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ppt/tags/tag5.xml" ContentType="application/vnd.openxmlformats-officedocument.presentationml.tags+xml"/>
  <Override PartName="/docProps/core.xml" ContentType="application/vnd.openxmlformats-package.core-properties+xml"/>
  <Override PartName="/ppt/tags/tag4.xml" ContentType="application/vnd.openxmlformats-officedocument.presentationml.tag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40"/>
  </p:notesMasterIdLst>
  <p:handoutMasterIdLst>
    <p:handoutMasterId r:id="rId41"/>
  </p:handoutMasterIdLst>
  <p:sldIdLst>
    <p:sldId id="296" r:id="rId2"/>
    <p:sldId id="374" r:id="rId3"/>
    <p:sldId id="375" r:id="rId4"/>
    <p:sldId id="816" r:id="rId5"/>
    <p:sldId id="297" r:id="rId6"/>
    <p:sldId id="298" r:id="rId7"/>
    <p:sldId id="299" r:id="rId8"/>
    <p:sldId id="262" r:id="rId9"/>
    <p:sldId id="264" r:id="rId10"/>
    <p:sldId id="300" r:id="rId11"/>
    <p:sldId id="921" r:id="rId12"/>
    <p:sldId id="267" r:id="rId13"/>
    <p:sldId id="268" r:id="rId14"/>
    <p:sldId id="269" r:id="rId15"/>
    <p:sldId id="922" r:id="rId16"/>
    <p:sldId id="923" r:id="rId17"/>
    <p:sldId id="924" r:id="rId18"/>
    <p:sldId id="274" r:id="rId19"/>
    <p:sldId id="925" r:id="rId20"/>
    <p:sldId id="301" r:id="rId21"/>
    <p:sldId id="302" r:id="rId22"/>
    <p:sldId id="278" r:id="rId23"/>
    <p:sldId id="279" r:id="rId24"/>
    <p:sldId id="280" r:id="rId25"/>
    <p:sldId id="281" r:id="rId26"/>
    <p:sldId id="282" r:id="rId27"/>
    <p:sldId id="283" r:id="rId28"/>
    <p:sldId id="284" r:id="rId29"/>
    <p:sldId id="285" r:id="rId30"/>
    <p:sldId id="926" r:id="rId31"/>
    <p:sldId id="305" r:id="rId32"/>
    <p:sldId id="927" r:id="rId33"/>
    <p:sldId id="303" r:id="rId34"/>
    <p:sldId id="292" r:id="rId35"/>
    <p:sldId id="293" r:id="rId36"/>
    <p:sldId id="294" r:id="rId37"/>
    <p:sldId id="304" r:id="rId38"/>
    <p:sldId id="273" r:id="rId39"/>
  </p:sldIdLst>
  <p:sldSz cx="12192000" cy="6858000"/>
  <p:notesSz cx="6858000" cy="9144000"/>
  <p:custDataLst>
    <p:tags r:id="rId4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74"/>
            <p14:sldId id="375"/>
            <p14:sldId id="816"/>
            <p14:sldId id="297"/>
            <p14:sldId id="298"/>
            <p14:sldId id="299"/>
            <p14:sldId id="262"/>
            <p14:sldId id="264"/>
            <p14:sldId id="300"/>
            <p14:sldId id="921"/>
            <p14:sldId id="267"/>
            <p14:sldId id="268"/>
            <p14:sldId id="269"/>
            <p14:sldId id="922"/>
            <p14:sldId id="923"/>
            <p14:sldId id="924"/>
            <p14:sldId id="274"/>
            <p14:sldId id="925"/>
            <p14:sldId id="301"/>
            <p14:sldId id="302"/>
            <p14:sldId id="278"/>
            <p14:sldId id="279"/>
            <p14:sldId id="280"/>
            <p14:sldId id="281"/>
            <p14:sldId id="282"/>
            <p14:sldId id="283"/>
            <p14:sldId id="284"/>
            <p14:sldId id="285"/>
            <p14:sldId id="926"/>
            <p14:sldId id="305"/>
            <p14:sldId id="927"/>
            <p14:sldId id="303"/>
            <p14:sldId id="292"/>
            <p14:sldId id="293"/>
            <p14:sldId id="294"/>
            <p14:sldId id="304"/>
            <p14:sldId id="273"/>
          </p14:sldIdLst>
        </p14:section>
      </p14:sectionLst>
    </p:ext>
    <p:ext uri="{EFAFB233-063F-42B5-8137-9DF3F51BA10A}">
      <p15:sldGuideLst xmlns:p15="http://schemas.microsoft.com/office/powerpoint/2012/main">
        <p15:guide id="5" orient="horz" pos="1706"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y, Arnab" initials="RA" lastIdx="2" clrIdx="0">
    <p:extLst>
      <p:ext uri="{19B8F6BF-5375-455C-9EA6-DF929625EA0E}">
        <p15:presenceInfo xmlns:p15="http://schemas.microsoft.com/office/powerpoint/2012/main" userId="S::arnab.b.roy@capgemini.com::6423fad1-f8e4-4831-8423-222099b118d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37B"/>
    <a:srgbClr val="0070AD"/>
    <a:srgbClr val="FF7E83"/>
    <a:srgbClr val="2B0A3D"/>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362" autoAdjust="0"/>
  </p:normalViewPr>
  <p:slideViewPr>
    <p:cSldViewPr>
      <p:cViewPr>
        <p:scale>
          <a:sx n="67" d="100"/>
          <a:sy n="67" d="100"/>
        </p:scale>
        <p:origin x="644" y="48"/>
      </p:cViewPr>
      <p:guideLst>
        <p:guide orient="horz" pos="1706"/>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tableStyles" Target="tableStyles.xml"/><Relationship Id="rId50"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 Id="rId48" Type="http://schemas.openxmlformats.org/officeDocument/2006/relationships/customXml" Target="../customXml/item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7/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7/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dirty="0"/>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lnSpc>
                <a:spcPct val="100000"/>
              </a:lnSpc>
              <a:spcBef>
                <a:spcPts val="1200"/>
              </a:spcBef>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25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475"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5144983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pl-PL" dirty="0"/>
          </a:p>
        </p:txBody>
      </p:sp>
    </p:spTree>
    <p:extLst>
      <p:ext uri="{BB962C8B-B14F-4D97-AF65-F5344CB8AC3E}">
        <p14:creationId xmlns:p14="http://schemas.microsoft.com/office/powerpoint/2010/main" val="3177718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8646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1" y="0"/>
            <a:ext cx="7651751"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Verdana"/>
              <a:ea typeface="+mn-ea"/>
              <a:cs typeface="+mn-cs"/>
            </a:endParaRP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1"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9" y="434515"/>
            <a:ext cx="5419268" cy="1902287"/>
          </a:xfrm>
          <a:prstGeom prst="rect">
            <a:avLst/>
          </a:prstGeom>
        </p:spPr>
        <p:txBody>
          <a:bodyPr>
            <a:noAutofit/>
          </a:bodyPr>
          <a:lstStyle>
            <a:lvl1pPr marL="0" indent="0">
              <a:buNone/>
              <a:defRPr sz="270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300229157"/>
      </p:ext>
    </p:extLst>
  </p:cSld>
  <p:clrMapOvr>
    <a:masterClrMapping/>
  </p:clrMapOvr>
  <p:extLst>
    <p:ext uri="{DCECCB84-F9BA-43D5-87BE-67443E8EF086}">
      <p15:sldGuideLst xmlns:p15="http://schemas.microsoft.com/office/powerpoint/2012/main">
        <p15:guide id="1" pos="3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sz="2400"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1012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704"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ERP &amp; SAP S/4HANA Overview</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92" r:id="rId4"/>
    <p:sldLayoutId id="2147483893" r:id="rId5"/>
    <p:sldLayoutId id="2147483895" r:id="rId6"/>
    <p:sldLayoutId id="2147483896"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5.pn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image" Target="../media/image36.png"/><Relationship Id="rId1" Type="http://schemas.openxmlformats.org/officeDocument/2006/relationships/slideLayout" Target="../slideLayouts/slideLayout5.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48.png"/></Relationships>
</file>

<file path=ppt/slides/_rels/slide1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26" Type="http://schemas.openxmlformats.org/officeDocument/2006/relationships/image" Target="../media/image74.png"/><Relationship Id="rId3" Type="http://schemas.openxmlformats.org/officeDocument/2006/relationships/image" Target="../media/image39.png"/><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5" Type="http://schemas.openxmlformats.org/officeDocument/2006/relationships/image" Target="../media/image73.png"/><Relationship Id="rId2" Type="http://schemas.openxmlformats.org/officeDocument/2006/relationships/image" Target="../media/image51.png"/><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slideLayout" Target="../slideLayouts/slideLayout5.xml"/><Relationship Id="rId6" Type="http://schemas.openxmlformats.org/officeDocument/2006/relationships/image" Target="../media/image54.png"/><Relationship Id="rId11" Type="http://schemas.openxmlformats.org/officeDocument/2006/relationships/image" Target="../media/image59.png"/><Relationship Id="rId24" Type="http://schemas.openxmlformats.org/officeDocument/2006/relationships/image" Target="../media/image72.png"/><Relationship Id="rId5" Type="http://schemas.openxmlformats.org/officeDocument/2006/relationships/image" Target="../media/image53.png"/><Relationship Id="rId15" Type="http://schemas.openxmlformats.org/officeDocument/2006/relationships/image" Target="../media/image63.png"/><Relationship Id="rId23" Type="http://schemas.openxmlformats.org/officeDocument/2006/relationships/image" Target="../media/image71.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png"/></Relationships>
</file>

<file path=ppt/slides/_rels/slide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18" Type="http://schemas.openxmlformats.org/officeDocument/2006/relationships/image" Target="../media/image91.png"/><Relationship Id="rId26" Type="http://schemas.openxmlformats.org/officeDocument/2006/relationships/image" Target="../media/image99.png"/><Relationship Id="rId3" Type="http://schemas.openxmlformats.org/officeDocument/2006/relationships/image" Target="../media/image39.png"/><Relationship Id="rId21" Type="http://schemas.openxmlformats.org/officeDocument/2006/relationships/image" Target="../media/image94.png"/><Relationship Id="rId34" Type="http://schemas.openxmlformats.org/officeDocument/2006/relationships/image" Target="../media/image105.png"/><Relationship Id="rId7" Type="http://schemas.openxmlformats.org/officeDocument/2006/relationships/image" Target="../media/image80.png"/><Relationship Id="rId12" Type="http://schemas.openxmlformats.org/officeDocument/2006/relationships/image" Target="../media/image85.png"/><Relationship Id="rId17" Type="http://schemas.openxmlformats.org/officeDocument/2006/relationships/image" Target="../media/image90.png"/><Relationship Id="rId25" Type="http://schemas.openxmlformats.org/officeDocument/2006/relationships/image" Target="../media/image98.png"/><Relationship Id="rId33" Type="http://schemas.openxmlformats.org/officeDocument/2006/relationships/image" Target="../media/image104.png"/><Relationship Id="rId38" Type="http://schemas.openxmlformats.org/officeDocument/2006/relationships/image" Target="../media/image109.png"/><Relationship Id="rId2" Type="http://schemas.openxmlformats.org/officeDocument/2006/relationships/image" Target="../media/image76.png"/><Relationship Id="rId16" Type="http://schemas.openxmlformats.org/officeDocument/2006/relationships/image" Target="../media/image89.png"/><Relationship Id="rId20" Type="http://schemas.openxmlformats.org/officeDocument/2006/relationships/image" Target="../media/image93.png"/><Relationship Id="rId29" Type="http://schemas.openxmlformats.org/officeDocument/2006/relationships/image" Target="../media/image101.png"/><Relationship Id="rId1" Type="http://schemas.openxmlformats.org/officeDocument/2006/relationships/slideLayout" Target="../slideLayouts/slideLayout5.xml"/><Relationship Id="rId6" Type="http://schemas.openxmlformats.org/officeDocument/2006/relationships/image" Target="../media/image79.png"/><Relationship Id="rId11" Type="http://schemas.openxmlformats.org/officeDocument/2006/relationships/image" Target="../media/image84.png"/><Relationship Id="rId24" Type="http://schemas.openxmlformats.org/officeDocument/2006/relationships/image" Target="../media/image97.png"/><Relationship Id="rId32" Type="http://schemas.openxmlformats.org/officeDocument/2006/relationships/image" Target="../media/image103.png"/><Relationship Id="rId37" Type="http://schemas.openxmlformats.org/officeDocument/2006/relationships/image" Target="../media/image108.png"/><Relationship Id="rId5" Type="http://schemas.openxmlformats.org/officeDocument/2006/relationships/image" Target="../media/image78.png"/><Relationship Id="rId15" Type="http://schemas.openxmlformats.org/officeDocument/2006/relationships/image" Target="../media/image88.png"/><Relationship Id="rId23" Type="http://schemas.openxmlformats.org/officeDocument/2006/relationships/image" Target="../media/image96.png"/><Relationship Id="rId28" Type="http://schemas.openxmlformats.org/officeDocument/2006/relationships/image" Target="../media/image100.png"/><Relationship Id="rId36" Type="http://schemas.openxmlformats.org/officeDocument/2006/relationships/image" Target="../media/image107.png"/><Relationship Id="rId10" Type="http://schemas.openxmlformats.org/officeDocument/2006/relationships/image" Target="../media/image83.png"/><Relationship Id="rId19" Type="http://schemas.openxmlformats.org/officeDocument/2006/relationships/image" Target="../media/image92.png"/><Relationship Id="rId31" Type="http://schemas.openxmlformats.org/officeDocument/2006/relationships/image" Target="../media/image102.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87.png"/><Relationship Id="rId22" Type="http://schemas.openxmlformats.org/officeDocument/2006/relationships/image" Target="../media/image95.png"/><Relationship Id="rId27" Type="http://schemas.openxmlformats.org/officeDocument/2006/relationships/image" Target="../media/image73.png"/><Relationship Id="rId30" Type="http://schemas.openxmlformats.org/officeDocument/2006/relationships/image" Target="../media/image61.png"/><Relationship Id="rId35" Type="http://schemas.openxmlformats.org/officeDocument/2006/relationships/image" Target="../media/image10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5.xml"/><Relationship Id="rId4" Type="http://schemas.openxmlformats.org/officeDocument/2006/relationships/image" Target="../media/image117.png"/></Relationships>
</file>

<file path=ppt/slides/_rels/slide2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a:xfrm>
            <a:off x="5592000" y="549001"/>
            <a:ext cx="5976608" cy="2058654"/>
          </a:xfrm>
        </p:spPr>
        <p:txBody>
          <a:bodyPr>
            <a:normAutofit/>
          </a:bodyPr>
          <a:lstStyle/>
          <a:p>
            <a:r>
              <a:rPr lang="en-US" altLang="en-US" dirty="0"/>
              <a:t>OTC Shipping Process</a:t>
            </a:r>
            <a:endParaRPr lang="en-US" dirty="0"/>
          </a:p>
        </p:txBody>
      </p:sp>
      <p:sp>
        <p:nvSpPr>
          <p:cNvPr id="3" name="Subtitle 2">
            <a:extLst>
              <a:ext uri="{FF2B5EF4-FFF2-40B4-BE49-F238E27FC236}">
                <a16:creationId xmlns:a16="http://schemas.microsoft.com/office/drawing/2014/main" id="{21DB3E48-57B5-46C4-86DB-6E7D2FFC24F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9"/>
          <p:cNvSpPr txBox="1"/>
          <p:nvPr/>
        </p:nvSpPr>
        <p:spPr>
          <a:xfrm>
            <a:off x="1752601" y="1340768"/>
            <a:ext cx="9227368" cy="4729430"/>
          </a:xfrm>
          <a:prstGeom prst="rect">
            <a:avLst/>
          </a:prstGeom>
        </p:spPr>
        <p:txBody>
          <a:bodyPr wrap="square" lIns="0" tIns="0" rIns="0" bIns="0" rtlCol="0">
            <a:noAutofit/>
          </a:bodyPr>
          <a:lstStyle/>
          <a:p>
            <a:pPr marL="355600" indent="-342900">
              <a:lnSpc>
                <a:spcPts val="2150"/>
              </a:lnSpc>
              <a:spcBef>
                <a:spcPts val="107"/>
              </a:spcBef>
              <a:buClr>
                <a:srgbClr val="00B0F0"/>
              </a:buClr>
              <a:buFont typeface="Wingdings" panose="05000000000000000000" pitchFamily="2" charset="2"/>
              <a:buChar char="§"/>
            </a:pPr>
            <a:r>
              <a:rPr dirty="0">
                <a:cs typeface="Arial"/>
              </a:rPr>
              <a:t>Sh</a:t>
            </a:r>
            <a:r>
              <a:rPr spc="-9" dirty="0">
                <a:cs typeface="Arial"/>
              </a:rPr>
              <a:t>i</a:t>
            </a:r>
            <a:r>
              <a:rPr dirty="0">
                <a:cs typeface="Arial"/>
              </a:rPr>
              <a:t>ppi</a:t>
            </a:r>
            <a:r>
              <a:rPr spc="-4" dirty="0">
                <a:cs typeface="Arial"/>
              </a:rPr>
              <a:t>n</a:t>
            </a:r>
            <a:r>
              <a:rPr dirty="0">
                <a:cs typeface="Arial"/>
              </a:rPr>
              <a:t>g</a:t>
            </a:r>
            <a:r>
              <a:rPr spc="-84" dirty="0">
                <a:cs typeface="Arial"/>
              </a:rPr>
              <a:t> </a:t>
            </a:r>
            <a:r>
              <a:rPr dirty="0">
                <a:cs typeface="Arial"/>
              </a:rPr>
              <a:t>A</a:t>
            </a:r>
            <a:r>
              <a:rPr spc="4" dirty="0">
                <a:cs typeface="Arial"/>
              </a:rPr>
              <a:t>c</a:t>
            </a:r>
            <a:r>
              <a:rPr dirty="0">
                <a:cs typeface="Arial"/>
              </a:rPr>
              <a:t>ti</a:t>
            </a:r>
            <a:r>
              <a:rPr spc="-19" dirty="0">
                <a:cs typeface="Arial"/>
              </a:rPr>
              <a:t>v</a:t>
            </a:r>
            <a:r>
              <a:rPr dirty="0">
                <a:cs typeface="Arial"/>
              </a:rPr>
              <a:t>ities</a:t>
            </a:r>
            <a:r>
              <a:rPr spc="-14" dirty="0">
                <a:cs typeface="Arial"/>
              </a:rPr>
              <a:t> </a:t>
            </a:r>
            <a:r>
              <a:rPr dirty="0">
                <a:cs typeface="Arial"/>
              </a:rPr>
              <a:t>are</a:t>
            </a:r>
            <a:r>
              <a:rPr spc="-25" dirty="0">
                <a:cs typeface="Arial"/>
              </a:rPr>
              <a:t> </a:t>
            </a:r>
            <a:r>
              <a:rPr dirty="0">
                <a:cs typeface="Arial"/>
              </a:rPr>
              <a:t>in</a:t>
            </a:r>
            <a:r>
              <a:rPr spc="-9" dirty="0">
                <a:cs typeface="Arial"/>
              </a:rPr>
              <a:t>i</a:t>
            </a:r>
            <a:r>
              <a:rPr dirty="0">
                <a:cs typeface="Arial"/>
              </a:rPr>
              <a:t>tiat</a:t>
            </a:r>
            <a:r>
              <a:rPr spc="4" dirty="0">
                <a:cs typeface="Arial"/>
              </a:rPr>
              <a:t>e</a:t>
            </a:r>
            <a:r>
              <a:rPr dirty="0">
                <a:cs typeface="Arial"/>
              </a:rPr>
              <a:t>d</a:t>
            </a:r>
            <a:r>
              <a:rPr spc="-24" dirty="0">
                <a:cs typeface="Arial"/>
              </a:rPr>
              <a:t> </a:t>
            </a:r>
            <a:r>
              <a:rPr dirty="0">
                <a:cs typeface="Arial"/>
              </a:rPr>
              <a:t>by</a:t>
            </a:r>
            <a:r>
              <a:rPr spc="-14" dirty="0">
                <a:cs typeface="Arial"/>
              </a:rPr>
              <a:t> </a:t>
            </a:r>
            <a:r>
              <a:rPr dirty="0">
                <a:cs typeface="Arial"/>
              </a:rPr>
              <a:t>the</a:t>
            </a:r>
            <a:r>
              <a:rPr spc="-9" dirty="0">
                <a:cs typeface="Arial"/>
              </a:rPr>
              <a:t> </a:t>
            </a:r>
            <a:r>
              <a:rPr dirty="0">
                <a:cs typeface="Arial"/>
              </a:rPr>
              <a:t>crea</a:t>
            </a:r>
            <a:r>
              <a:rPr spc="9" dirty="0">
                <a:cs typeface="Arial"/>
              </a:rPr>
              <a:t>t</a:t>
            </a:r>
            <a:r>
              <a:rPr dirty="0">
                <a:cs typeface="Arial"/>
              </a:rPr>
              <a:t>ion</a:t>
            </a:r>
            <a:r>
              <a:rPr spc="-34" dirty="0">
                <a:cs typeface="Arial"/>
              </a:rPr>
              <a:t> </a:t>
            </a:r>
            <a:r>
              <a:rPr dirty="0">
                <a:cs typeface="Arial"/>
              </a:rPr>
              <a:t>of</a:t>
            </a:r>
            <a:r>
              <a:rPr spc="-9" dirty="0">
                <a:cs typeface="Arial"/>
              </a:rPr>
              <a:t> </a:t>
            </a:r>
            <a:r>
              <a:rPr dirty="0">
                <a:cs typeface="Arial"/>
              </a:rPr>
              <a:t>the</a:t>
            </a:r>
            <a:r>
              <a:rPr spc="-9" dirty="0">
                <a:cs typeface="Arial"/>
              </a:rPr>
              <a:t> </a:t>
            </a:r>
            <a:r>
              <a:rPr dirty="0">
                <a:cs typeface="Arial"/>
              </a:rPr>
              <a:t>outbound</a:t>
            </a:r>
            <a:r>
              <a:rPr lang="en-US" dirty="0">
                <a:cs typeface="Arial"/>
              </a:rPr>
              <a:t> delivery</a:t>
            </a:r>
          </a:p>
          <a:p>
            <a:pPr marL="12700">
              <a:lnSpc>
                <a:spcPts val="2150"/>
              </a:lnSpc>
              <a:spcBef>
                <a:spcPts val="107"/>
              </a:spcBef>
              <a:buClr>
                <a:srgbClr val="00B0F0"/>
              </a:buClr>
            </a:pPr>
            <a:endParaRPr lang="en-US" dirty="0">
              <a:cs typeface="Arial"/>
            </a:endParaRPr>
          </a:p>
          <a:p>
            <a:pPr marL="355600" indent="-342900">
              <a:lnSpc>
                <a:spcPts val="2150"/>
              </a:lnSpc>
              <a:spcBef>
                <a:spcPts val="107"/>
              </a:spcBef>
              <a:buClr>
                <a:srgbClr val="00B0F0"/>
              </a:buClr>
              <a:buFont typeface="Wingdings" panose="05000000000000000000" pitchFamily="2" charset="2"/>
              <a:buChar char="§"/>
            </a:pPr>
            <a:r>
              <a:rPr lang="en-US" dirty="0">
                <a:cs typeface="Arial"/>
              </a:rPr>
              <a:t>An outbound delivery always belongs to one Shipping Point</a:t>
            </a:r>
          </a:p>
          <a:p>
            <a:pPr marL="12700">
              <a:lnSpc>
                <a:spcPts val="2150"/>
              </a:lnSpc>
              <a:spcBef>
                <a:spcPts val="107"/>
              </a:spcBef>
              <a:buClr>
                <a:srgbClr val="00B0F0"/>
              </a:buClr>
            </a:pPr>
            <a:endParaRPr lang="en-US" dirty="0">
              <a:cs typeface="Arial"/>
            </a:endParaRPr>
          </a:p>
          <a:p>
            <a:pPr marL="355600" indent="-342900">
              <a:lnSpc>
                <a:spcPts val="2150"/>
              </a:lnSpc>
              <a:spcBef>
                <a:spcPts val="107"/>
              </a:spcBef>
              <a:buClr>
                <a:srgbClr val="00B0F0"/>
              </a:buClr>
              <a:buFont typeface="Wingdings" panose="05000000000000000000" pitchFamily="2" charset="2"/>
              <a:buChar char="§"/>
            </a:pPr>
            <a:r>
              <a:rPr lang="en-US" dirty="0">
                <a:cs typeface="Arial"/>
              </a:rPr>
              <a:t>An</a:t>
            </a:r>
            <a:r>
              <a:rPr lang="en-US" spc="-9" dirty="0">
                <a:cs typeface="Arial"/>
              </a:rPr>
              <a:t> </a:t>
            </a:r>
            <a:r>
              <a:rPr lang="en-US" dirty="0">
                <a:cs typeface="Arial"/>
              </a:rPr>
              <a:t>outbound</a:t>
            </a:r>
            <a:r>
              <a:rPr lang="en-US" spc="-14" dirty="0">
                <a:cs typeface="Arial"/>
              </a:rPr>
              <a:t> </a:t>
            </a:r>
            <a:r>
              <a:rPr lang="en-US" dirty="0">
                <a:cs typeface="Arial"/>
              </a:rPr>
              <a:t>del</a:t>
            </a:r>
            <a:r>
              <a:rPr lang="en-US" spc="-9" dirty="0">
                <a:cs typeface="Arial"/>
              </a:rPr>
              <a:t>i</a:t>
            </a:r>
            <a:r>
              <a:rPr lang="en-US" spc="-19" dirty="0">
                <a:cs typeface="Arial"/>
              </a:rPr>
              <a:t>v</a:t>
            </a:r>
            <a:r>
              <a:rPr lang="en-US" dirty="0">
                <a:cs typeface="Arial"/>
              </a:rPr>
              <a:t>ery can be</a:t>
            </a:r>
            <a:r>
              <a:rPr lang="en-US" spc="-14" dirty="0">
                <a:cs typeface="Arial"/>
              </a:rPr>
              <a:t> </a:t>
            </a:r>
            <a:r>
              <a:rPr lang="en-US" dirty="0">
                <a:cs typeface="Arial"/>
              </a:rPr>
              <a:t>crea</a:t>
            </a:r>
            <a:r>
              <a:rPr lang="en-US" spc="9" dirty="0">
                <a:cs typeface="Arial"/>
              </a:rPr>
              <a:t>t</a:t>
            </a:r>
            <a:r>
              <a:rPr lang="en-US" dirty="0">
                <a:cs typeface="Arial"/>
              </a:rPr>
              <a:t>ed:</a:t>
            </a:r>
          </a:p>
          <a:p>
            <a:pPr marL="812800" lvl="1" indent="-342900">
              <a:lnSpc>
                <a:spcPts val="2150"/>
              </a:lnSpc>
              <a:spcBef>
                <a:spcPts val="107"/>
              </a:spcBef>
              <a:buClr>
                <a:srgbClr val="C00000"/>
              </a:buClr>
              <a:buFont typeface="Wingdings" panose="05000000000000000000" pitchFamily="2" charset="2"/>
              <a:buChar char="§"/>
            </a:pPr>
            <a:r>
              <a:rPr lang="en-US" spc="-9" dirty="0">
                <a:cs typeface="Arial"/>
              </a:rPr>
              <a:t>W</a:t>
            </a:r>
            <a:r>
              <a:rPr lang="en-US" dirty="0">
                <a:cs typeface="Arial"/>
              </a:rPr>
              <a:t>ithout</a:t>
            </a:r>
            <a:r>
              <a:rPr lang="en-US" spc="-34" dirty="0">
                <a:cs typeface="Arial"/>
              </a:rPr>
              <a:t> </a:t>
            </a:r>
            <a:r>
              <a:rPr lang="en-US" dirty="0">
                <a:cs typeface="Arial"/>
              </a:rPr>
              <a:t>re</a:t>
            </a:r>
            <a:r>
              <a:rPr lang="en-US" spc="4" dirty="0">
                <a:cs typeface="Arial"/>
              </a:rPr>
              <a:t>f</a:t>
            </a:r>
            <a:r>
              <a:rPr lang="en-US" dirty="0">
                <a:cs typeface="Arial"/>
              </a:rPr>
              <a:t>erence</a:t>
            </a:r>
            <a:r>
              <a:rPr lang="en-US" spc="-34" dirty="0">
                <a:cs typeface="Arial"/>
              </a:rPr>
              <a:t> </a:t>
            </a:r>
            <a:r>
              <a:rPr lang="en-US" dirty="0">
                <a:cs typeface="Arial"/>
              </a:rPr>
              <a:t>to</a:t>
            </a:r>
            <a:r>
              <a:rPr lang="en-US" spc="-9" dirty="0">
                <a:cs typeface="Arial"/>
              </a:rPr>
              <a:t> </a:t>
            </a:r>
            <a:r>
              <a:rPr lang="en-US" dirty="0">
                <a:cs typeface="Arial"/>
              </a:rPr>
              <a:t>an order</a:t>
            </a:r>
          </a:p>
          <a:p>
            <a:pPr marL="812800" marR="403842" lvl="1" indent="-342900">
              <a:lnSpc>
                <a:spcPts val="2150"/>
              </a:lnSpc>
              <a:spcBef>
                <a:spcPts val="107"/>
              </a:spcBef>
              <a:buClr>
                <a:srgbClr val="C00000"/>
              </a:buClr>
              <a:buFont typeface="Wingdings" panose="05000000000000000000" pitchFamily="2" charset="2"/>
              <a:buChar char="§"/>
            </a:pPr>
            <a:r>
              <a:rPr lang="en-US" spc="-9" dirty="0">
                <a:cs typeface="Arial"/>
              </a:rPr>
              <a:t>With reference to an order through delivery due list</a:t>
            </a:r>
          </a:p>
          <a:p>
            <a:pPr marL="12700" marR="403842">
              <a:lnSpc>
                <a:spcPct val="100041"/>
              </a:lnSpc>
            </a:pPr>
            <a:endParaRPr lang="en-US" dirty="0">
              <a:cs typeface="Arial"/>
            </a:endParaRPr>
          </a:p>
          <a:p>
            <a:pPr marL="355600" marR="403842" indent="-342900">
              <a:lnSpc>
                <a:spcPts val="2150"/>
              </a:lnSpc>
              <a:spcBef>
                <a:spcPts val="107"/>
              </a:spcBef>
              <a:buClr>
                <a:srgbClr val="00B0F0"/>
              </a:buClr>
              <a:buFont typeface="Wingdings" panose="05000000000000000000" pitchFamily="2" charset="2"/>
              <a:buChar char="§"/>
            </a:pPr>
            <a:r>
              <a:rPr lang="en-US" dirty="0">
                <a:cs typeface="Arial"/>
              </a:rPr>
              <a:t>The relationships between order and deliveries include:</a:t>
            </a:r>
          </a:p>
          <a:p>
            <a:pPr marL="812800" marR="403842" lvl="1" indent="-342900">
              <a:lnSpc>
                <a:spcPts val="2150"/>
              </a:lnSpc>
              <a:spcBef>
                <a:spcPts val="107"/>
              </a:spcBef>
              <a:buClr>
                <a:srgbClr val="C00000"/>
              </a:buClr>
              <a:buFont typeface="Wingdings" panose="05000000000000000000" pitchFamily="2" charset="2"/>
              <a:buChar char="§"/>
            </a:pPr>
            <a:r>
              <a:rPr lang="en-US" spc="-9" dirty="0">
                <a:cs typeface="Arial"/>
              </a:rPr>
              <a:t>Complete Delivery: One Order - One Delivery</a:t>
            </a:r>
          </a:p>
          <a:p>
            <a:pPr marL="812800" marR="403842" lvl="1" indent="-342900">
              <a:lnSpc>
                <a:spcPts val="2150"/>
              </a:lnSpc>
              <a:spcBef>
                <a:spcPts val="107"/>
              </a:spcBef>
              <a:buClr>
                <a:srgbClr val="C00000"/>
              </a:buClr>
              <a:buFont typeface="Wingdings" panose="05000000000000000000" pitchFamily="2" charset="2"/>
              <a:buChar char="§"/>
            </a:pPr>
            <a:r>
              <a:rPr lang="en-US" spc="-9" dirty="0">
                <a:cs typeface="Arial"/>
              </a:rPr>
              <a:t>One Order - Many Deliveries</a:t>
            </a:r>
          </a:p>
          <a:p>
            <a:pPr marL="812800" marR="403842" lvl="1" indent="-342900">
              <a:lnSpc>
                <a:spcPts val="2150"/>
              </a:lnSpc>
              <a:spcBef>
                <a:spcPts val="107"/>
              </a:spcBef>
              <a:buClr>
                <a:srgbClr val="C00000"/>
              </a:buClr>
              <a:buFont typeface="Wingdings" panose="05000000000000000000" pitchFamily="2" charset="2"/>
              <a:buChar char="§"/>
            </a:pPr>
            <a:r>
              <a:rPr lang="en-US" spc="-9" dirty="0">
                <a:cs typeface="Arial"/>
              </a:rPr>
              <a:t>Many Orders - One Delivery</a:t>
            </a:r>
          </a:p>
          <a:p>
            <a:pPr marL="812800" lvl="1" indent="-342900">
              <a:lnSpc>
                <a:spcPts val="2150"/>
              </a:lnSpc>
              <a:spcBef>
                <a:spcPts val="107"/>
              </a:spcBef>
              <a:buClr>
                <a:srgbClr val="00B0F0"/>
              </a:buClr>
              <a:buFont typeface="Wingdings" panose="05000000000000000000" pitchFamily="2" charset="2"/>
              <a:buChar char="§"/>
            </a:pPr>
            <a:endParaRPr lang="en-US" sz="2000" b="1" dirty="0">
              <a:latin typeface="Arial"/>
              <a:cs typeface="Arial"/>
            </a:endParaRPr>
          </a:p>
          <a:p>
            <a:pPr marL="355600" indent="-342900">
              <a:lnSpc>
                <a:spcPts val="2150"/>
              </a:lnSpc>
              <a:spcBef>
                <a:spcPts val="107"/>
              </a:spcBef>
              <a:buClr>
                <a:srgbClr val="00B0F0"/>
              </a:buClr>
              <a:buFont typeface="Wingdings" panose="05000000000000000000" pitchFamily="2" charset="2"/>
              <a:buChar char="§"/>
            </a:pPr>
            <a:endParaRPr lang="en-US" sz="2000" b="1" dirty="0">
              <a:latin typeface="Arial"/>
              <a:cs typeface="Arial"/>
            </a:endParaRPr>
          </a:p>
        </p:txBody>
      </p:sp>
      <p:sp>
        <p:nvSpPr>
          <p:cNvPr id="4" name="Title 3"/>
          <p:cNvSpPr>
            <a:spLocks noGrp="1"/>
          </p:cNvSpPr>
          <p:nvPr>
            <p:ph type="title"/>
          </p:nvPr>
        </p:nvSpPr>
        <p:spPr>
          <a:xfrm>
            <a:off x="1752601" y="304800"/>
            <a:ext cx="8509933" cy="859536"/>
          </a:xfrm>
        </p:spPr>
        <p:txBody>
          <a:bodyPr/>
          <a:lstStyle/>
          <a:p>
            <a:r>
              <a:rPr lang="en-US" sz="2400" dirty="0">
                <a:latin typeface="+mn-lt"/>
                <a:cs typeface="Arial"/>
              </a:rPr>
              <a:t>Outbound Delivery</a:t>
            </a:r>
            <a:br>
              <a:rPr lang="en-US" sz="2800" dirty="0">
                <a:latin typeface="Arial"/>
                <a:cs typeface="Arial"/>
              </a:rPr>
            </a:br>
            <a:endParaRPr lang="en-US" dirty="0"/>
          </a:p>
        </p:txBody>
      </p:sp>
    </p:spTree>
    <p:extLst>
      <p:ext uri="{BB962C8B-B14F-4D97-AF65-F5344CB8AC3E}">
        <p14:creationId xmlns:p14="http://schemas.microsoft.com/office/powerpoint/2010/main" val="7519637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p:cNvSpPr/>
          <p:nvPr/>
        </p:nvSpPr>
        <p:spPr>
          <a:xfrm>
            <a:off x="9464548" y="1921890"/>
            <a:ext cx="122300" cy="762000"/>
          </a:xfrm>
          <a:custGeom>
            <a:avLst/>
            <a:gdLst/>
            <a:ahLst/>
            <a:cxnLst/>
            <a:rect l="l" t="t" r="r" b="b"/>
            <a:pathLst>
              <a:path w="122300" h="762000">
                <a:moveTo>
                  <a:pt x="122300" y="762000"/>
                </a:moveTo>
                <a:lnTo>
                  <a:pt x="122300" y="0"/>
                </a:lnTo>
                <a:lnTo>
                  <a:pt x="27685" y="0"/>
                </a:lnTo>
                <a:lnTo>
                  <a:pt x="27685" y="604012"/>
                </a:lnTo>
                <a:lnTo>
                  <a:pt x="0" y="604012"/>
                </a:lnTo>
                <a:lnTo>
                  <a:pt x="0" y="762000"/>
                </a:lnTo>
                <a:lnTo>
                  <a:pt x="122300" y="762000"/>
                </a:lnTo>
                <a:close/>
              </a:path>
            </a:pathLst>
          </a:custGeom>
          <a:solidFill>
            <a:srgbClr val="B5B5B5"/>
          </a:solidFill>
        </p:spPr>
        <p:txBody>
          <a:bodyPr wrap="square" lIns="0" tIns="0" rIns="0" bIns="0" rtlCol="0">
            <a:noAutofit/>
          </a:bodyPr>
          <a:lstStyle/>
          <a:p>
            <a:endParaRPr/>
          </a:p>
        </p:txBody>
      </p:sp>
      <p:sp>
        <p:nvSpPr>
          <p:cNvPr id="39" name="object 39"/>
          <p:cNvSpPr/>
          <p:nvPr/>
        </p:nvSpPr>
        <p:spPr>
          <a:xfrm>
            <a:off x="9464548" y="1921890"/>
            <a:ext cx="122300" cy="762000"/>
          </a:xfrm>
          <a:custGeom>
            <a:avLst/>
            <a:gdLst/>
            <a:ahLst/>
            <a:cxnLst/>
            <a:rect l="l" t="t" r="r" b="b"/>
            <a:pathLst>
              <a:path w="122300" h="762000">
                <a:moveTo>
                  <a:pt x="122300" y="762000"/>
                </a:moveTo>
                <a:lnTo>
                  <a:pt x="122300" y="0"/>
                </a:lnTo>
                <a:lnTo>
                  <a:pt x="27685" y="0"/>
                </a:lnTo>
                <a:lnTo>
                  <a:pt x="27685" y="604012"/>
                </a:lnTo>
                <a:lnTo>
                  <a:pt x="0" y="604012"/>
                </a:lnTo>
                <a:lnTo>
                  <a:pt x="0" y="762000"/>
                </a:lnTo>
                <a:lnTo>
                  <a:pt x="122300" y="762000"/>
                </a:lnTo>
              </a:path>
            </a:pathLst>
          </a:custGeom>
          <a:ln w="12700">
            <a:solidFill>
              <a:srgbClr val="000000"/>
            </a:solidFill>
          </a:ln>
        </p:spPr>
        <p:txBody>
          <a:bodyPr wrap="square" lIns="0" tIns="0" rIns="0" bIns="0" rtlCol="0">
            <a:noAutofit/>
          </a:bodyPr>
          <a:lstStyle/>
          <a:p>
            <a:endParaRPr/>
          </a:p>
        </p:txBody>
      </p:sp>
      <p:sp>
        <p:nvSpPr>
          <p:cNvPr id="40" name="object 40"/>
          <p:cNvSpPr/>
          <p:nvPr/>
        </p:nvSpPr>
        <p:spPr>
          <a:xfrm>
            <a:off x="9500108" y="1676400"/>
            <a:ext cx="100584" cy="316102"/>
          </a:xfrm>
          <a:custGeom>
            <a:avLst/>
            <a:gdLst/>
            <a:ahLst/>
            <a:cxnLst/>
            <a:rect l="l" t="t" r="r" b="b"/>
            <a:pathLst>
              <a:path w="100584" h="316102">
                <a:moveTo>
                  <a:pt x="100584" y="42290"/>
                </a:moveTo>
                <a:lnTo>
                  <a:pt x="100584" y="30987"/>
                </a:lnTo>
                <a:lnTo>
                  <a:pt x="92710" y="22605"/>
                </a:lnTo>
                <a:lnTo>
                  <a:pt x="88773" y="11302"/>
                </a:lnTo>
                <a:lnTo>
                  <a:pt x="82803" y="2794"/>
                </a:lnTo>
                <a:lnTo>
                  <a:pt x="74930" y="0"/>
                </a:lnTo>
                <a:lnTo>
                  <a:pt x="67056" y="0"/>
                </a:lnTo>
                <a:lnTo>
                  <a:pt x="7874" y="11302"/>
                </a:lnTo>
                <a:lnTo>
                  <a:pt x="0" y="316102"/>
                </a:lnTo>
                <a:lnTo>
                  <a:pt x="86741" y="90297"/>
                </a:lnTo>
                <a:lnTo>
                  <a:pt x="90677" y="81787"/>
                </a:lnTo>
                <a:lnTo>
                  <a:pt x="94615" y="64897"/>
                </a:lnTo>
                <a:lnTo>
                  <a:pt x="100584" y="42290"/>
                </a:lnTo>
                <a:close/>
              </a:path>
            </a:pathLst>
          </a:custGeom>
          <a:solidFill>
            <a:srgbClr val="B5B5B5"/>
          </a:solidFill>
        </p:spPr>
        <p:txBody>
          <a:bodyPr wrap="square" lIns="0" tIns="0" rIns="0" bIns="0" rtlCol="0">
            <a:noAutofit/>
          </a:bodyPr>
          <a:lstStyle/>
          <a:p>
            <a:endParaRPr/>
          </a:p>
        </p:txBody>
      </p:sp>
      <p:sp>
        <p:nvSpPr>
          <p:cNvPr id="41" name="object 41"/>
          <p:cNvSpPr/>
          <p:nvPr/>
        </p:nvSpPr>
        <p:spPr>
          <a:xfrm>
            <a:off x="9500108" y="1676400"/>
            <a:ext cx="100584" cy="316102"/>
          </a:xfrm>
          <a:custGeom>
            <a:avLst/>
            <a:gdLst/>
            <a:ahLst/>
            <a:cxnLst/>
            <a:rect l="l" t="t" r="r" b="b"/>
            <a:pathLst>
              <a:path w="100584" h="316102">
                <a:moveTo>
                  <a:pt x="0" y="316102"/>
                </a:moveTo>
                <a:lnTo>
                  <a:pt x="86741" y="90297"/>
                </a:lnTo>
                <a:lnTo>
                  <a:pt x="90677" y="81787"/>
                </a:lnTo>
                <a:lnTo>
                  <a:pt x="94615" y="64897"/>
                </a:lnTo>
                <a:lnTo>
                  <a:pt x="100584" y="42290"/>
                </a:lnTo>
                <a:lnTo>
                  <a:pt x="100584" y="30987"/>
                </a:lnTo>
                <a:lnTo>
                  <a:pt x="92710" y="22605"/>
                </a:lnTo>
                <a:lnTo>
                  <a:pt x="88773" y="11302"/>
                </a:lnTo>
                <a:lnTo>
                  <a:pt x="82803" y="2794"/>
                </a:lnTo>
                <a:lnTo>
                  <a:pt x="74930" y="0"/>
                </a:lnTo>
                <a:lnTo>
                  <a:pt x="67056" y="0"/>
                </a:lnTo>
                <a:lnTo>
                  <a:pt x="7874" y="11302"/>
                </a:lnTo>
                <a:lnTo>
                  <a:pt x="0" y="316102"/>
                </a:lnTo>
              </a:path>
            </a:pathLst>
          </a:custGeom>
          <a:ln w="12700">
            <a:solidFill>
              <a:srgbClr val="000000"/>
            </a:solidFill>
          </a:ln>
        </p:spPr>
        <p:txBody>
          <a:bodyPr wrap="square" lIns="0" tIns="0" rIns="0" bIns="0" rtlCol="0">
            <a:noAutofit/>
          </a:bodyPr>
          <a:lstStyle/>
          <a:p>
            <a:endParaRPr/>
          </a:p>
        </p:txBody>
      </p:sp>
      <p:sp>
        <p:nvSpPr>
          <p:cNvPr id="42" name="object 42"/>
          <p:cNvSpPr/>
          <p:nvPr/>
        </p:nvSpPr>
        <p:spPr>
          <a:xfrm>
            <a:off x="7772400" y="2618995"/>
            <a:ext cx="1893316" cy="149605"/>
          </a:xfrm>
          <a:custGeom>
            <a:avLst/>
            <a:gdLst/>
            <a:ahLst/>
            <a:cxnLst/>
            <a:rect l="l" t="t" r="r" b="b"/>
            <a:pathLst>
              <a:path w="1893316" h="149605">
                <a:moveTo>
                  <a:pt x="0" y="149605"/>
                </a:moveTo>
                <a:lnTo>
                  <a:pt x="1893316" y="146811"/>
                </a:lnTo>
                <a:lnTo>
                  <a:pt x="1893316" y="0"/>
                </a:lnTo>
                <a:lnTo>
                  <a:pt x="57150" y="0"/>
                </a:lnTo>
                <a:lnTo>
                  <a:pt x="0" y="149605"/>
                </a:lnTo>
                <a:close/>
              </a:path>
            </a:pathLst>
          </a:custGeom>
          <a:solidFill>
            <a:srgbClr val="B5B5B5"/>
          </a:solidFill>
        </p:spPr>
        <p:txBody>
          <a:bodyPr wrap="square" lIns="0" tIns="0" rIns="0" bIns="0" rtlCol="0">
            <a:noAutofit/>
          </a:bodyPr>
          <a:lstStyle/>
          <a:p>
            <a:endParaRPr/>
          </a:p>
        </p:txBody>
      </p:sp>
      <p:sp>
        <p:nvSpPr>
          <p:cNvPr id="43" name="object 43"/>
          <p:cNvSpPr/>
          <p:nvPr/>
        </p:nvSpPr>
        <p:spPr>
          <a:xfrm>
            <a:off x="7772400" y="2618995"/>
            <a:ext cx="1893316" cy="149605"/>
          </a:xfrm>
          <a:custGeom>
            <a:avLst/>
            <a:gdLst/>
            <a:ahLst/>
            <a:cxnLst/>
            <a:rect l="l" t="t" r="r" b="b"/>
            <a:pathLst>
              <a:path w="1893316" h="149605">
                <a:moveTo>
                  <a:pt x="0" y="149605"/>
                </a:moveTo>
                <a:lnTo>
                  <a:pt x="57150" y="0"/>
                </a:lnTo>
                <a:lnTo>
                  <a:pt x="1893316" y="0"/>
                </a:lnTo>
                <a:lnTo>
                  <a:pt x="1893316" y="146811"/>
                </a:lnTo>
                <a:lnTo>
                  <a:pt x="0" y="149605"/>
                </a:lnTo>
              </a:path>
            </a:pathLst>
          </a:custGeom>
          <a:ln w="12699">
            <a:solidFill>
              <a:srgbClr val="000000"/>
            </a:solidFill>
          </a:ln>
        </p:spPr>
        <p:txBody>
          <a:bodyPr wrap="square" lIns="0" tIns="0" rIns="0" bIns="0" rtlCol="0">
            <a:noAutofit/>
          </a:bodyPr>
          <a:lstStyle/>
          <a:p>
            <a:endParaRPr/>
          </a:p>
        </p:txBody>
      </p:sp>
      <p:sp>
        <p:nvSpPr>
          <p:cNvPr id="44" name="object 44"/>
          <p:cNvSpPr/>
          <p:nvPr/>
        </p:nvSpPr>
        <p:spPr>
          <a:xfrm>
            <a:off x="7896606" y="2613405"/>
            <a:ext cx="1575816" cy="0"/>
          </a:xfrm>
          <a:custGeom>
            <a:avLst/>
            <a:gdLst/>
            <a:ahLst/>
            <a:cxnLst/>
            <a:rect l="l" t="t" r="r" b="b"/>
            <a:pathLst>
              <a:path w="1575816">
                <a:moveTo>
                  <a:pt x="0" y="0"/>
                </a:moveTo>
                <a:lnTo>
                  <a:pt x="1575816" y="0"/>
                </a:lnTo>
              </a:path>
            </a:pathLst>
          </a:custGeom>
          <a:ln w="46482">
            <a:solidFill>
              <a:srgbClr val="B5B5B5"/>
            </a:solidFill>
          </a:ln>
        </p:spPr>
        <p:txBody>
          <a:bodyPr wrap="square" lIns="0" tIns="0" rIns="0" bIns="0" rtlCol="0">
            <a:noAutofit/>
          </a:bodyPr>
          <a:lstStyle/>
          <a:p>
            <a:endParaRPr/>
          </a:p>
        </p:txBody>
      </p:sp>
      <p:sp>
        <p:nvSpPr>
          <p:cNvPr id="45" name="object 45"/>
          <p:cNvSpPr/>
          <p:nvPr/>
        </p:nvSpPr>
        <p:spPr>
          <a:xfrm>
            <a:off x="7896606" y="2590800"/>
            <a:ext cx="1575816" cy="45212"/>
          </a:xfrm>
          <a:custGeom>
            <a:avLst/>
            <a:gdLst/>
            <a:ahLst/>
            <a:cxnLst/>
            <a:rect l="l" t="t" r="r" b="b"/>
            <a:pathLst>
              <a:path w="1575816" h="45212">
                <a:moveTo>
                  <a:pt x="1575816" y="45212"/>
                </a:moveTo>
                <a:lnTo>
                  <a:pt x="1575816" y="0"/>
                </a:lnTo>
                <a:lnTo>
                  <a:pt x="0" y="0"/>
                </a:lnTo>
                <a:lnTo>
                  <a:pt x="0" y="45212"/>
                </a:lnTo>
                <a:lnTo>
                  <a:pt x="1575816" y="45212"/>
                </a:lnTo>
              </a:path>
            </a:pathLst>
          </a:custGeom>
          <a:ln w="12700">
            <a:solidFill>
              <a:srgbClr val="000000"/>
            </a:solidFill>
          </a:ln>
        </p:spPr>
        <p:txBody>
          <a:bodyPr wrap="square" lIns="0" tIns="0" rIns="0" bIns="0" rtlCol="0">
            <a:noAutofit/>
          </a:bodyPr>
          <a:lstStyle/>
          <a:p>
            <a:endParaRPr/>
          </a:p>
        </p:txBody>
      </p:sp>
      <p:sp>
        <p:nvSpPr>
          <p:cNvPr id="46" name="object 46"/>
          <p:cNvSpPr/>
          <p:nvPr/>
        </p:nvSpPr>
        <p:spPr>
          <a:xfrm>
            <a:off x="9498076" y="1693290"/>
            <a:ext cx="0" cy="908812"/>
          </a:xfrm>
          <a:custGeom>
            <a:avLst/>
            <a:gdLst/>
            <a:ahLst/>
            <a:cxnLst/>
            <a:rect l="l" t="t" r="r" b="b"/>
            <a:pathLst>
              <a:path h="908812">
                <a:moveTo>
                  <a:pt x="0" y="0"/>
                </a:moveTo>
                <a:lnTo>
                  <a:pt x="0" y="908812"/>
                </a:lnTo>
              </a:path>
            </a:pathLst>
          </a:custGeom>
          <a:ln w="32766">
            <a:solidFill>
              <a:srgbClr val="B5B5B5"/>
            </a:solidFill>
          </a:ln>
        </p:spPr>
        <p:txBody>
          <a:bodyPr wrap="square" lIns="0" tIns="0" rIns="0" bIns="0" rtlCol="0">
            <a:noAutofit/>
          </a:bodyPr>
          <a:lstStyle/>
          <a:p>
            <a:endParaRPr/>
          </a:p>
        </p:txBody>
      </p:sp>
      <p:sp>
        <p:nvSpPr>
          <p:cNvPr id="47" name="object 47"/>
          <p:cNvSpPr/>
          <p:nvPr/>
        </p:nvSpPr>
        <p:spPr>
          <a:xfrm>
            <a:off x="9482328" y="1693290"/>
            <a:ext cx="31496" cy="908812"/>
          </a:xfrm>
          <a:custGeom>
            <a:avLst/>
            <a:gdLst/>
            <a:ahLst/>
            <a:cxnLst/>
            <a:rect l="l" t="t" r="r" b="b"/>
            <a:pathLst>
              <a:path w="31496" h="908812">
                <a:moveTo>
                  <a:pt x="31496" y="908812"/>
                </a:moveTo>
                <a:lnTo>
                  <a:pt x="31496" y="0"/>
                </a:lnTo>
                <a:lnTo>
                  <a:pt x="0" y="0"/>
                </a:lnTo>
                <a:lnTo>
                  <a:pt x="0" y="908812"/>
                </a:lnTo>
                <a:lnTo>
                  <a:pt x="31496" y="908812"/>
                </a:lnTo>
              </a:path>
            </a:pathLst>
          </a:custGeom>
          <a:ln w="12699">
            <a:solidFill>
              <a:srgbClr val="000000"/>
            </a:solidFill>
          </a:ln>
        </p:spPr>
        <p:txBody>
          <a:bodyPr wrap="square" lIns="0" tIns="0" rIns="0" bIns="0" rtlCol="0">
            <a:noAutofit/>
          </a:bodyPr>
          <a:lstStyle/>
          <a:p>
            <a:endParaRPr/>
          </a:p>
        </p:txBody>
      </p:sp>
      <p:sp>
        <p:nvSpPr>
          <p:cNvPr id="48" name="object 48"/>
          <p:cNvSpPr/>
          <p:nvPr/>
        </p:nvSpPr>
        <p:spPr>
          <a:xfrm>
            <a:off x="9385682" y="2590801"/>
            <a:ext cx="96647" cy="81787"/>
          </a:xfrm>
          <a:custGeom>
            <a:avLst/>
            <a:gdLst/>
            <a:ahLst/>
            <a:cxnLst/>
            <a:rect l="l" t="t" r="r" b="b"/>
            <a:pathLst>
              <a:path w="96647" h="81787">
                <a:moveTo>
                  <a:pt x="96647" y="81787"/>
                </a:moveTo>
                <a:lnTo>
                  <a:pt x="96647" y="0"/>
                </a:lnTo>
                <a:lnTo>
                  <a:pt x="0" y="0"/>
                </a:lnTo>
                <a:lnTo>
                  <a:pt x="0" y="81787"/>
                </a:lnTo>
                <a:lnTo>
                  <a:pt x="96647" y="81787"/>
                </a:lnTo>
                <a:close/>
              </a:path>
            </a:pathLst>
          </a:custGeom>
          <a:solidFill>
            <a:srgbClr val="B5B5B5"/>
          </a:solidFill>
        </p:spPr>
        <p:txBody>
          <a:bodyPr wrap="square" lIns="0" tIns="0" rIns="0" bIns="0" rtlCol="0">
            <a:noAutofit/>
          </a:bodyPr>
          <a:lstStyle/>
          <a:p>
            <a:endParaRPr/>
          </a:p>
        </p:txBody>
      </p:sp>
      <p:sp>
        <p:nvSpPr>
          <p:cNvPr id="49" name="object 49"/>
          <p:cNvSpPr/>
          <p:nvPr/>
        </p:nvSpPr>
        <p:spPr>
          <a:xfrm>
            <a:off x="9385682" y="2590801"/>
            <a:ext cx="96647" cy="81787"/>
          </a:xfrm>
          <a:custGeom>
            <a:avLst/>
            <a:gdLst/>
            <a:ahLst/>
            <a:cxnLst/>
            <a:rect l="l" t="t" r="r" b="b"/>
            <a:pathLst>
              <a:path w="96647" h="81787">
                <a:moveTo>
                  <a:pt x="96647" y="81787"/>
                </a:moveTo>
                <a:lnTo>
                  <a:pt x="96647" y="0"/>
                </a:lnTo>
                <a:lnTo>
                  <a:pt x="0" y="0"/>
                </a:lnTo>
                <a:lnTo>
                  <a:pt x="0" y="81787"/>
                </a:lnTo>
                <a:lnTo>
                  <a:pt x="96647" y="81787"/>
                </a:lnTo>
              </a:path>
            </a:pathLst>
          </a:custGeom>
          <a:ln w="12699">
            <a:solidFill>
              <a:srgbClr val="000000"/>
            </a:solidFill>
          </a:ln>
        </p:spPr>
        <p:txBody>
          <a:bodyPr wrap="square" lIns="0" tIns="0" rIns="0" bIns="0" rtlCol="0">
            <a:noAutofit/>
          </a:bodyPr>
          <a:lstStyle/>
          <a:p>
            <a:endParaRPr/>
          </a:p>
        </p:txBody>
      </p:sp>
      <p:sp>
        <p:nvSpPr>
          <p:cNvPr id="50" name="object 50"/>
          <p:cNvSpPr/>
          <p:nvPr/>
        </p:nvSpPr>
        <p:spPr>
          <a:xfrm>
            <a:off x="7809865" y="2590801"/>
            <a:ext cx="92710" cy="81787"/>
          </a:xfrm>
          <a:custGeom>
            <a:avLst/>
            <a:gdLst/>
            <a:ahLst/>
            <a:cxnLst/>
            <a:rect l="l" t="t" r="r" b="b"/>
            <a:pathLst>
              <a:path w="92710" h="81787">
                <a:moveTo>
                  <a:pt x="92710" y="81787"/>
                </a:moveTo>
                <a:lnTo>
                  <a:pt x="92710" y="0"/>
                </a:lnTo>
                <a:lnTo>
                  <a:pt x="0" y="0"/>
                </a:lnTo>
                <a:lnTo>
                  <a:pt x="0" y="81787"/>
                </a:lnTo>
                <a:lnTo>
                  <a:pt x="92710" y="81787"/>
                </a:lnTo>
                <a:close/>
              </a:path>
            </a:pathLst>
          </a:custGeom>
          <a:solidFill>
            <a:srgbClr val="B5B5B5"/>
          </a:solidFill>
        </p:spPr>
        <p:txBody>
          <a:bodyPr wrap="square" lIns="0" tIns="0" rIns="0" bIns="0" rtlCol="0">
            <a:noAutofit/>
          </a:bodyPr>
          <a:lstStyle/>
          <a:p>
            <a:endParaRPr/>
          </a:p>
        </p:txBody>
      </p:sp>
      <p:sp>
        <p:nvSpPr>
          <p:cNvPr id="51" name="object 51"/>
          <p:cNvSpPr/>
          <p:nvPr/>
        </p:nvSpPr>
        <p:spPr>
          <a:xfrm>
            <a:off x="7809865" y="2590801"/>
            <a:ext cx="92710" cy="81787"/>
          </a:xfrm>
          <a:custGeom>
            <a:avLst/>
            <a:gdLst/>
            <a:ahLst/>
            <a:cxnLst/>
            <a:rect l="l" t="t" r="r" b="b"/>
            <a:pathLst>
              <a:path w="92710" h="81787">
                <a:moveTo>
                  <a:pt x="92710" y="81787"/>
                </a:moveTo>
                <a:lnTo>
                  <a:pt x="92710" y="0"/>
                </a:lnTo>
                <a:lnTo>
                  <a:pt x="0" y="0"/>
                </a:lnTo>
                <a:lnTo>
                  <a:pt x="0" y="81787"/>
                </a:lnTo>
                <a:lnTo>
                  <a:pt x="92710" y="81787"/>
                </a:lnTo>
              </a:path>
            </a:pathLst>
          </a:custGeom>
          <a:ln w="12699">
            <a:solidFill>
              <a:srgbClr val="000000"/>
            </a:solidFill>
          </a:ln>
        </p:spPr>
        <p:txBody>
          <a:bodyPr wrap="square" lIns="0" tIns="0" rIns="0" bIns="0" rtlCol="0">
            <a:noAutofit/>
          </a:bodyPr>
          <a:lstStyle/>
          <a:p>
            <a:endParaRPr/>
          </a:p>
        </p:txBody>
      </p:sp>
      <p:sp>
        <p:nvSpPr>
          <p:cNvPr id="52" name="object 52"/>
          <p:cNvSpPr/>
          <p:nvPr/>
        </p:nvSpPr>
        <p:spPr>
          <a:xfrm>
            <a:off x="9583928" y="1893697"/>
            <a:ext cx="0" cy="59308"/>
          </a:xfrm>
          <a:custGeom>
            <a:avLst/>
            <a:gdLst/>
            <a:ahLst/>
            <a:cxnLst/>
            <a:rect l="l" t="t" r="r" b="b"/>
            <a:pathLst>
              <a:path h="59308">
                <a:moveTo>
                  <a:pt x="0" y="0"/>
                </a:moveTo>
                <a:lnTo>
                  <a:pt x="0" y="59308"/>
                </a:lnTo>
              </a:path>
            </a:pathLst>
          </a:custGeom>
          <a:ln w="50545">
            <a:solidFill>
              <a:srgbClr val="006695"/>
            </a:solidFill>
          </a:ln>
        </p:spPr>
        <p:txBody>
          <a:bodyPr wrap="square" lIns="0" tIns="0" rIns="0" bIns="0" rtlCol="0">
            <a:noAutofit/>
          </a:bodyPr>
          <a:lstStyle/>
          <a:p>
            <a:endParaRPr/>
          </a:p>
        </p:txBody>
      </p:sp>
      <p:sp>
        <p:nvSpPr>
          <p:cNvPr id="53" name="object 53"/>
          <p:cNvSpPr/>
          <p:nvPr/>
        </p:nvSpPr>
        <p:spPr>
          <a:xfrm>
            <a:off x="9559291" y="1893697"/>
            <a:ext cx="49275" cy="59308"/>
          </a:xfrm>
          <a:custGeom>
            <a:avLst/>
            <a:gdLst/>
            <a:ahLst/>
            <a:cxnLst/>
            <a:rect l="l" t="t" r="r" b="b"/>
            <a:pathLst>
              <a:path w="49275" h="59308">
                <a:moveTo>
                  <a:pt x="49275" y="59308"/>
                </a:moveTo>
                <a:lnTo>
                  <a:pt x="49275" y="0"/>
                </a:lnTo>
                <a:lnTo>
                  <a:pt x="0" y="0"/>
                </a:lnTo>
                <a:lnTo>
                  <a:pt x="0" y="59308"/>
                </a:lnTo>
                <a:lnTo>
                  <a:pt x="49275" y="59308"/>
                </a:lnTo>
              </a:path>
            </a:pathLst>
          </a:custGeom>
          <a:ln w="12700">
            <a:solidFill>
              <a:srgbClr val="000000"/>
            </a:solidFill>
          </a:ln>
        </p:spPr>
        <p:txBody>
          <a:bodyPr wrap="square" lIns="0" tIns="0" rIns="0" bIns="0" rtlCol="0">
            <a:noAutofit/>
          </a:bodyPr>
          <a:lstStyle/>
          <a:p>
            <a:endParaRPr/>
          </a:p>
        </p:txBody>
      </p:sp>
      <p:sp>
        <p:nvSpPr>
          <p:cNvPr id="54" name="object 54"/>
          <p:cNvSpPr/>
          <p:nvPr/>
        </p:nvSpPr>
        <p:spPr>
          <a:xfrm>
            <a:off x="9381744" y="2441194"/>
            <a:ext cx="264286" cy="361314"/>
          </a:xfrm>
          <a:custGeom>
            <a:avLst/>
            <a:gdLst/>
            <a:ahLst/>
            <a:cxnLst/>
            <a:rect l="l" t="t" r="r" b="b"/>
            <a:pathLst>
              <a:path w="264286" h="361314">
                <a:moveTo>
                  <a:pt x="185420" y="205993"/>
                </a:moveTo>
                <a:lnTo>
                  <a:pt x="147954" y="290702"/>
                </a:lnTo>
                <a:lnTo>
                  <a:pt x="0" y="290702"/>
                </a:lnTo>
                <a:lnTo>
                  <a:pt x="0" y="352805"/>
                </a:lnTo>
                <a:lnTo>
                  <a:pt x="256412" y="361314"/>
                </a:lnTo>
                <a:lnTo>
                  <a:pt x="264286" y="0"/>
                </a:lnTo>
                <a:lnTo>
                  <a:pt x="141985" y="0"/>
                </a:lnTo>
                <a:lnTo>
                  <a:pt x="141985" y="205993"/>
                </a:lnTo>
                <a:lnTo>
                  <a:pt x="185420" y="205993"/>
                </a:lnTo>
                <a:close/>
              </a:path>
            </a:pathLst>
          </a:custGeom>
          <a:solidFill>
            <a:srgbClr val="006695"/>
          </a:solidFill>
        </p:spPr>
        <p:txBody>
          <a:bodyPr wrap="square" lIns="0" tIns="0" rIns="0" bIns="0" rtlCol="0">
            <a:noAutofit/>
          </a:bodyPr>
          <a:lstStyle/>
          <a:p>
            <a:endParaRPr/>
          </a:p>
        </p:txBody>
      </p:sp>
      <p:sp>
        <p:nvSpPr>
          <p:cNvPr id="55" name="object 55"/>
          <p:cNvSpPr/>
          <p:nvPr/>
        </p:nvSpPr>
        <p:spPr>
          <a:xfrm>
            <a:off x="9381744" y="2441194"/>
            <a:ext cx="264286" cy="361314"/>
          </a:xfrm>
          <a:custGeom>
            <a:avLst/>
            <a:gdLst/>
            <a:ahLst/>
            <a:cxnLst/>
            <a:rect l="l" t="t" r="r" b="b"/>
            <a:pathLst>
              <a:path w="264286" h="361314">
                <a:moveTo>
                  <a:pt x="141985" y="194817"/>
                </a:moveTo>
                <a:lnTo>
                  <a:pt x="141985" y="0"/>
                </a:lnTo>
                <a:lnTo>
                  <a:pt x="264286" y="0"/>
                </a:lnTo>
                <a:lnTo>
                  <a:pt x="256412" y="361314"/>
                </a:lnTo>
                <a:lnTo>
                  <a:pt x="0" y="352805"/>
                </a:lnTo>
                <a:lnTo>
                  <a:pt x="0" y="290702"/>
                </a:lnTo>
                <a:lnTo>
                  <a:pt x="147954" y="290702"/>
                </a:lnTo>
                <a:lnTo>
                  <a:pt x="185420" y="205993"/>
                </a:lnTo>
                <a:lnTo>
                  <a:pt x="141985" y="205993"/>
                </a:lnTo>
                <a:lnTo>
                  <a:pt x="141985" y="194817"/>
                </a:lnTo>
              </a:path>
            </a:pathLst>
          </a:custGeom>
          <a:ln w="12699">
            <a:solidFill>
              <a:srgbClr val="000000"/>
            </a:solidFill>
          </a:ln>
        </p:spPr>
        <p:txBody>
          <a:bodyPr wrap="square" lIns="0" tIns="0" rIns="0" bIns="0" rtlCol="0">
            <a:noAutofit/>
          </a:bodyPr>
          <a:lstStyle/>
          <a:p>
            <a:endParaRPr/>
          </a:p>
        </p:txBody>
      </p:sp>
      <p:sp>
        <p:nvSpPr>
          <p:cNvPr id="56" name="object 56"/>
          <p:cNvSpPr/>
          <p:nvPr/>
        </p:nvSpPr>
        <p:spPr>
          <a:xfrm>
            <a:off x="9533635" y="1933195"/>
            <a:ext cx="108458" cy="581405"/>
          </a:xfrm>
          <a:custGeom>
            <a:avLst/>
            <a:gdLst/>
            <a:ahLst/>
            <a:cxnLst/>
            <a:rect l="l" t="t" r="r" b="b"/>
            <a:pathLst>
              <a:path w="108458" h="581405">
                <a:moveTo>
                  <a:pt x="108458" y="578611"/>
                </a:moveTo>
                <a:lnTo>
                  <a:pt x="108458" y="0"/>
                </a:lnTo>
                <a:lnTo>
                  <a:pt x="0" y="0"/>
                </a:lnTo>
                <a:lnTo>
                  <a:pt x="0" y="513714"/>
                </a:lnTo>
                <a:lnTo>
                  <a:pt x="11811" y="544702"/>
                </a:lnTo>
                <a:lnTo>
                  <a:pt x="27559" y="564514"/>
                </a:lnTo>
                <a:lnTo>
                  <a:pt x="49275" y="578611"/>
                </a:lnTo>
                <a:lnTo>
                  <a:pt x="72898" y="581405"/>
                </a:lnTo>
                <a:lnTo>
                  <a:pt x="108458" y="578611"/>
                </a:lnTo>
                <a:close/>
              </a:path>
            </a:pathLst>
          </a:custGeom>
          <a:solidFill>
            <a:srgbClr val="006695"/>
          </a:solidFill>
        </p:spPr>
        <p:txBody>
          <a:bodyPr wrap="square" lIns="0" tIns="0" rIns="0" bIns="0" rtlCol="0">
            <a:noAutofit/>
          </a:bodyPr>
          <a:lstStyle/>
          <a:p>
            <a:endParaRPr/>
          </a:p>
        </p:txBody>
      </p:sp>
      <p:sp>
        <p:nvSpPr>
          <p:cNvPr id="57" name="object 57"/>
          <p:cNvSpPr/>
          <p:nvPr/>
        </p:nvSpPr>
        <p:spPr>
          <a:xfrm>
            <a:off x="9533635" y="1933195"/>
            <a:ext cx="108458" cy="581405"/>
          </a:xfrm>
          <a:custGeom>
            <a:avLst/>
            <a:gdLst/>
            <a:ahLst/>
            <a:cxnLst/>
            <a:rect l="l" t="t" r="r" b="b"/>
            <a:pathLst>
              <a:path w="108458" h="581405">
                <a:moveTo>
                  <a:pt x="108458" y="578611"/>
                </a:moveTo>
                <a:lnTo>
                  <a:pt x="108458" y="0"/>
                </a:lnTo>
                <a:lnTo>
                  <a:pt x="0" y="0"/>
                </a:lnTo>
                <a:lnTo>
                  <a:pt x="0" y="502411"/>
                </a:lnTo>
                <a:lnTo>
                  <a:pt x="0" y="513714"/>
                </a:lnTo>
                <a:lnTo>
                  <a:pt x="11811" y="544702"/>
                </a:lnTo>
                <a:lnTo>
                  <a:pt x="27559" y="564514"/>
                </a:lnTo>
                <a:lnTo>
                  <a:pt x="49275" y="578611"/>
                </a:lnTo>
                <a:lnTo>
                  <a:pt x="72898" y="581405"/>
                </a:lnTo>
                <a:lnTo>
                  <a:pt x="108458" y="578611"/>
                </a:lnTo>
              </a:path>
            </a:pathLst>
          </a:custGeom>
          <a:ln w="12700">
            <a:solidFill>
              <a:srgbClr val="000000"/>
            </a:solidFill>
          </a:ln>
        </p:spPr>
        <p:txBody>
          <a:bodyPr wrap="square" lIns="0" tIns="0" rIns="0" bIns="0" rtlCol="0">
            <a:noAutofit/>
          </a:bodyPr>
          <a:lstStyle/>
          <a:p>
            <a:endParaRPr/>
          </a:p>
        </p:txBody>
      </p:sp>
      <p:sp>
        <p:nvSpPr>
          <p:cNvPr id="58" name="object 58"/>
          <p:cNvSpPr/>
          <p:nvPr/>
        </p:nvSpPr>
        <p:spPr>
          <a:xfrm>
            <a:off x="9537574" y="2621789"/>
            <a:ext cx="408177" cy="180721"/>
          </a:xfrm>
          <a:custGeom>
            <a:avLst/>
            <a:gdLst/>
            <a:ahLst/>
            <a:cxnLst/>
            <a:rect l="l" t="t" r="r" b="b"/>
            <a:pathLst>
              <a:path w="408177" h="180721">
                <a:moveTo>
                  <a:pt x="27558" y="76200"/>
                </a:moveTo>
                <a:lnTo>
                  <a:pt x="0" y="166624"/>
                </a:lnTo>
                <a:lnTo>
                  <a:pt x="408177" y="180721"/>
                </a:lnTo>
                <a:lnTo>
                  <a:pt x="398399" y="0"/>
                </a:lnTo>
                <a:lnTo>
                  <a:pt x="27558" y="76200"/>
                </a:lnTo>
                <a:close/>
              </a:path>
            </a:pathLst>
          </a:custGeom>
          <a:solidFill>
            <a:srgbClr val="FFFFFF"/>
          </a:solidFill>
        </p:spPr>
        <p:txBody>
          <a:bodyPr wrap="square" lIns="0" tIns="0" rIns="0" bIns="0" rtlCol="0">
            <a:noAutofit/>
          </a:bodyPr>
          <a:lstStyle/>
          <a:p>
            <a:endParaRPr/>
          </a:p>
        </p:txBody>
      </p:sp>
      <p:sp>
        <p:nvSpPr>
          <p:cNvPr id="59" name="object 59"/>
          <p:cNvSpPr/>
          <p:nvPr/>
        </p:nvSpPr>
        <p:spPr>
          <a:xfrm>
            <a:off x="9537574" y="2621789"/>
            <a:ext cx="408177" cy="180721"/>
          </a:xfrm>
          <a:custGeom>
            <a:avLst/>
            <a:gdLst/>
            <a:ahLst/>
            <a:cxnLst/>
            <a:rect l="l" t="t" r="r" b="b"/>
            <a:pathLst>
              <a:path w="408177" h="180721">
                <a:moveTo>
                  <a:pt x="27558" y="76200"/>
                </a:moveTo>
                <a:lnTo>
                  <a:pt x="0" y="166624"/>
                </a:lnTo>
                <a:lnTo>
                  <a:pt x="408177" y="180721"/>
                </a:lnTo>
                <a:lnTo>
                  <a:pt x="398399" y="0"/>
                </a:lnTo>
                <a:lnTo>
                  <a:pt x="27558" y="76200"/>
                </a:lnTo>
              </a:path>
            </a:pathLst>
          </a:custGeom>
          <a:ln w="12699">
            <a:solidFill>
              <a:srgbClr val="000000"/>
            </a:solidFill>
          </a:ln>
        </p:spPr>
        <p:txBody>
          <a:bodyPr wrap="square" lIns="0" tIns="0" rIns="0" bIns="0" rtlCol="0">
            <a:noAutofit/>
          </a:bodyPr>
          <a:lstStyle/>
          <a:p>
            <a:endParaRPr/>
          </a:p>
        </p:txBody>
      </p:sp>
      <p:sp>
        <p:nvSpPr>
          <p:cNvPr id="60" name="object 60"/>
          <p:cNvSpPr/>
          <p:nvPr/>
        </p:nvSpPr>
        <p:spPr>
          <a:xfrm>
            <a:off x="7827645" y="2856103"/>
            <a:ext cx="329310" cy="62102"/>
          </a:xfrm>
          <a:custGeom>
            <a:avLst/>
            <a:gdLst/>
            <a:ahLst/>
            <a:cxnLst/>
            <a:rect l="l" t="t" r="r" b="b"/>
            <a:pathLst>
              <a:path w="329310" h="62102">
                <a:moveTo>
                  <a:pt x="329310" y="33909"/>
                </a:moveTo>
                <a:lnTo>
                  <a:pt x="25653" y="36702"/>
                </a:lnTo>
                <a:lnTo>
                  <a:pt x="21716" y="33909"/>
                </a:lnTo>
                <a:lnTo>
                  <a:pt x="15747" y="28194"/>
                </a:lnTo>
                <a:lnTo>
                  <a:pt x="15747" y="0"/>
                </a:lnTo>
                <a:lnTo>
                  <a:pt x="0" y="0"/>
                </a:lnTo>
                <a:lnTo>
                  <a:pt x="0" y="42291"/>
                </a:lnTo>
                <a:lnTo>
                  <a:pt x="5841" y="50800"/>
                </a:lnTo>
                <a:lnTo>
                  <a:pt x="17779" y="62102"/>
                </a:lnTo>
                <a:lnTo>
                  <a:pt x="31495" y="62102"/>
                </a:lnTo>
                <a:lnTo>
                  <a:pt x="321436" y="56387"/>
                </a:lnTo>
                <a:lnTo>
                  <a:pt x="329310" y="33909"/>
                </a:lnTo>
                <a:close/>
              </a:path>
            </a:pathLst>
          </a:custGeom>
          <a:solidFill>
            <a:srgbClr val="000000"/>
          </a:solidFill>
        </p:spPr>
        <p:txBody>
          <a:bodyPr wrap="square" lIns="0" tIns="0" rIns="0" bIns="0" rtlCol="0">
            <a:noAutofit/>
          </a:bodyPr>
          <a:lstStyle/>
          <a:p>
            <a:endParaRPr/>
          </a:p>
        </p:txBody>
      </p:sp>
      <p:sp>
        <p:nvSpPr>
          <p:cNvPr id="61" name="object 61"/>
          <p:cNvSpPr/>
          <p:nvPr/>
        </p:nvSpPr>
        <p:spPr>
          <a:xfrm>
            <a:off x="7827645" y="2856103"/>
            <a:ext cx="329310" cy="62102"/>
          </a:xfrm>
          <a:custGeom>
            <a:avLst/>
            <a:gdLst/>
            <a:ahLst/>
            <a:cxnLst/>
            <a:rect l="l" t="t" r="r" b="b"/>
            <a:pathLst>
              <a:path w="329310" h="62102">
                <a:moveTo>
                  <a:pt x="329310" y="33909"/>
                </a:moveTo>
                <a:lnTo>
                  <a:pt x="25653" y="36702"/>
                </a:lnTo>
                <a:lnTo>
                  <a:pt x="21716" y="33909"/>
                </a:lnTo>
                <a:lnTo>
                  <a:pt x="15747" y="28194"/>
                </a:lnTo>
                <a:lnTo>
                  <a:pt x="15747" y="0"/>
                </a:lnTo>
                <a:lnTo>
                  <a:pt x="0" y="0"/>
                </a:lnTo>
                <a:lnTo>
                  <a:pt x="0" y="42291"/>
                </a:lnTo>
                <a:lnTo>
                  <a:pt x="5841" y="50800"/>
                </a:lnTo>
                <a:lnTo>
                  <a:pt x="17779" y="62102"/>
                </a:lnTo>
                <a:lnTo>
                  <a:pt x="31495" y="62102"/>
                </a:lnTo>
                <a:lnTo>
                  <a:pt x="321436" y="56387"/>
                </a:lnTo>
                <a:lnTo>
                  <a:pt x="329310" y="33909"/>
                </a:lnTo>
              </a:path>
            </a:pathLst>
          </a:custGeom>
          <a:ln w="12699">
            <a:solidFill>
              <a:srgbClr val="000000"/>
            </a:solidFill>
          </a:ln>
        </p:spPr>
        <p:txBody>
          <a:bodyPr wrap="square" lIns="0" tIns="0" rIns="0" bIns="0" rtlCol="0">
            <a:noAutofit/>
          </a:bodyPr>
          <a:lstStyle/>
          <a:p>
            <a:endParaRPr/>
          </a:p>
        </p:txBody>
      </p:sp>
      <p:sp>
        <p:nvSpPr>
          <p:cNvPr id="62" name="object 62"/>
          <p:cNvSpPr/>
          <p:nvPr/>
        </p:nvSpPr>
        <p:spPr>
          <a:xfrm>
            <a:off x="8638158" y="2853310"/>
            <a:ext cx="57276" cy="81787"/>
          </a:xfrm>
          <a:custGeom>
            <a:avLst/>
            <a:gdLst/>
            <a:ahLst/>
            <a:cxnLst/>
            <a:rect l="l" t="t" r="r" b="b"/>
            <a:pathLst>
              <a:path w="57276" h="81787">
                <a:moveTo>
                  <a:pt x="57276" y="11302"/>
                </a:moveTo>
                <a:lnTo>
                  <a:pt x="47371" y="81787"/>
                </a:lnTo>
                <a:lnTo>
                  <a:pt x="0" y="81787"/>
                </a:lnTo>
                <a:lnTo>
                  <a:pt x="0" y="0"/>
                </a:lnTo>
                <a:lnTo>
                  <a:pt x="57276" y="11302"/>
                </a:lnTo>
              </a:path>
            </a:pathLst>
          </a:custGeom>
          <a:ln w="12700">
            <a:solidFill>
              <a:srgbClr val="000000"/>
            </a:solidFill>
          </a:ln>
        </p:spPr>
        <p:txBody>
          <a:bodyPr wrap="square" lIns="0" tIns="0" rIns="0" bIns="0" rtlCol="0">
            <a:noAutofit/>
          </a:bodyPr>
          <a:lstStyle/>
          <a:p>
            <a:endParaRPr/>
          </a:p>
        </p:txBody>
      </p:sp>
      <p:sp>
        <p:nvSpPr>
          <p:cNvPr id="63" name="object 63"/>
          <p:cNvSpPr/>
          <p:nvPr/>
        </p:nvSpPr>
        <p:spPr>
          <a:xfrm>
            <a:off x="8687562" y="2856104"/>
            <a:ext cx="556133" cy="172085"/>
          </a:xfrm>
          <a:custGeom>
            <a:avLst/>
            <a:gdLst/>
            <a:ahLst/>
            <a:cxnLst/>
            <a:rect l="l" t="t" r="r" b="b"/>
            <a:pathLst>
              <a:path w="556133" h="172085">
                <a:moveTo>
                  <a:pt x="556133" y="172085"/>
                </a:moveTo>
                <a:lnTo>
                  <a:pt x="556133" y="0"/>
                </a:lnTo>
                <a:lnTo>
                  <a:pt x="0" y="0"/>
                </a:lnTo>
                <a:lnTo>
                  <a:pt x="0" y="172085"/>
                </a:lnTo>
                <a:lnTo>
                  <a:pt x="556133" y="172085"/>
                </a:lnTo>
                <a:close/>
              </a:path>
            </a:pathLst>
          </a:custGeom>
          <a:solidFill>
            <a:srgbClr val="FFFFFF"/>
          </a:solidFill>
        </p:spPr>
        <p:txBody>
          <a:bodyPr wrap="square" lIns="0" tIns="0" rIns="0" bIns="0" rtlCol="0">
            <a:noAutofit/>
          </a:bodyPr>
          <a:lstStyle/>
          <a:p>
            <a:endParaRPr/>
          </a:p>
        </p:txBody>
      </p:sp>
      <p:sp>
        <p:nvSpPr>
          <p:cNvPr id="64" name="object 64"/>
          <p:cNvSpPr/>
          <p:nvPr/>
        </p:nvSpPr>
        <p:spPr>
          <a:xfrm>
            <a:off x="8687562" y="2856104"/>
            <a:ext cx="556133" cy="172085"/>
          </a:xfrm>
          <a:custGeom>
            <a:avLst/>
            <a:gdLst/>
            <a:ahLst/>
            <a:cxnLst/>
            <a:rect l="l" t="t" r="r" b="b"/>
            <a:pathLst>
              <a:path w="556133" h="172085">
                <a:moveTo>
                  <a:pt x="556133" y="172085"/>
                </a:moveTo>
                <a:lnTo>
                  <a:pt x="556133" y="0"/>
                </a:lnTo>
                <a:lnTo>
                  <a:pt x="0" y="0"/>
                </a:lnTo>
                <a:lnTo>
                  <a:pt x="0" y="172085"/>
                </a:lnTo>
                <a:lnTo>
                  <a:pt x="556133" y="172085"/>
                </a:lnTo>
              </a:path>
            </a:pathLst>
          </a:custGeom>
          <a:ln w="12699">
            <a:solidFill>
              <a:srgbClr val="000000"/>
            </a:solidFill>
          </a:ln>
        </p:spPr>
        <p:txBody>
          <a:bodyPr wrap="square" lIns="0" tIns="0" rIns="0" bIns="0" rtlCol="0">
            <a:noAutofit/>
          </a:bodyPr>
          <a:lstStyle/>
          <a:p>
            <a:endParaRPr/>
          </a:p>
        </p:txBody>
      </p:sp>
      <p:sp>
        <p:nvSpPr>
          <p:cNvPr id="65" name="object 65"/>
          <p:cNvSpPr/>
          <p:nvPr/>
        </p:nvSpPr>
        <p:spPr>
          <a:xfrm>
            <a:off x="9241664" y="2937892"/>
            <a:ext cx="528573" cy="79121"/>
          </a:xfrm>
          <a:custGeom>
            <a:avLst/>
            <a:gdLst/>
            <a:ahLst/>
            <a:cxnLst/>
            <a:rect l="l" t="t" r="r" b="b"/>
            <a:pathLst>
              <a:path w="528573" h="79121">
                <a:moveTo>
                  <a:pt x="528573" y="79121"/>
                </a:moveTo>
                <a:lnTo>
                  <a:pt x="528573" y="0"/>
                </a:lnTo>
                <a:lnTo>
                  <a:pt x="0" y="0"/>
                </a:lnTo>
                <a:lnTo>
                  <a:pt x="0" y="79121"/>
                </a:lnTo>
                <a:lnTo>
                  <a:pt x="528573" y="79121"/>
                </a:lnTo>
                <a:close/>
              </a:path>
            </a:pathLst>
          </a:custGeom>
          <a:solidFill>
            <a:srgbClr val="FFFFFF"/>
          </a:solidFill>
        </p:spPr>
        <p:txBody>
          <a:bodyPr wrap="square" lIns="0" tIns="0" rIns="0" bIns="0" rtlCol="0">
            <a:noAutofit/>
          </a:bodyPr>
          <a:lstStyle/>
          <a:p>
            <a:endParaRPr/>
          </a:p>
        </p:txBody>
      </p:sp>
      <p:sp>
        <p:nvSpPr>
          <p:cNvPr id="66" name="object 66"/>
          <p:cNvSpPr/>
          <p:nvPr/>
        </p:nvSpPr>
        <p:spPr>
          <a:xfrm>
            <a:off x="9241664" y="2937892"/>
            <a:ext cx="528573" cy="79121"/>
          </a:xfrm>
          <a:custGeom>
            <a:avLst/>
            <a:gdLst/>
            <a:ahLst/>
            <a:cxnLst/>
            <a:rect l="l" t="t" r="r" b="b"/>
            <a:pathLst>
              <a:path w="528573" h="79121">
                <a:moveTo>
                  <a:pt x="528573" y="79121"/>
                </a:moveTo>
                <a:lnTo>
                  <a:pt x="528573" y="0"/>
                </a:lnTo>
                <a:lnTo>
                  <a:pt x="0" y="0"/>
                </a:lnTo>
                <a:lnTo>
                  <a:pt x="0" y="79121"/>
                </a:lnTo>
                <a:lnTo>
                  <a:pt x="528573" y="79121"/>
                </a:lnTo>
              </a:path>
            </a:pathLst>
          </a:custGeom>
          <a:ln w="12700">
            <a:solidFill>
              <a:srgbClr val="000000"/>
            </a:solidFill>
          </a:ln>
        </p:spPr>
        <p:txBody>
          <a:bodyPr wrap="square" lIns="0" tIns="0" rIns="0" bIns="0" rtlCol="0">
            <a:noAutofit/>
          </a:bodyPr>
          <a:lstStyle/>
          <a:p>
            <a:endParaRPr/>
          </a:p>
        </p:txBody>
      </p:sp>
      <p:sp>
        <p:nvSpPr>
          <p:cNvPr id="67" name="object 67"/>
          <p:cNvSpPr/>
          <p:nvPr/>
        </p:nvSpPr>
        <p:spPr>
          <a:xfrm>
            <a:off x="9241664" y="2872994"/>
            <a:ext cx="982217" cy="76200"/>
          </a:xfrm>
          <a:custGeom>
            <a:avLst/>
            <a:gdLst/>
            <a:ahLst/>
            <a:cxnLst/>
            <a:rect l="l" t="t" r="r" b="b"/>
            <a:pathLst>
              <a:path w="982217" h="76200">
                <a:moveTo>
                  <a:pt x="982217" y="76200"/>
                </a:moveTo>
                <a:lnTo>
                  <a:pt x="982217" y="0"/>
                </a:lnTo>
                <a:lnTo>
                  <a:pt x="0" y="0"/>
                </a:lnTo>
                <a:lnTo>
                  <a:pt x="0" y="76200"/>
                </a:lnTo>
                <a:lnTo>
                  <a:pt x="982217" y="76200"/>
                </a:lnTo>
                <a:close/>
              </a:path>
            </a:pathLst>
          </a:custGeom>
          <a:solidFill>
            <a:srgbClr val="FFFFFF"/>
          </a:solidFill>
        </p:spPr>
        <p:txBody>
          <a:bodyPr wrap="square" lIns="0" tIns="0" rIns="0" bIns="0" rtlCol="0">
            <a:noAutofit/>
          </a:bodyPr>
          <a:lstStyle/>
          <a:p>
            <a:endParaRPr/>
          </a:p>
        </p:txBody>
      </p:sp>
      <p:sp>
        <p:nvSpPr>
          <p:cNvPr id="68" name="object 68"/>
          <p:cNvSpPr/>
          <p:nvPr/>
        </p:nvSpPr>
        <p:spPr>
          <a:xfrm>
            <a:off x="9241664" y="2872994"/>
            <a:ext cx="982217" cy="76200"/>
          </a:xfrm>
          <a:custGeom>
            <a:avLst/>
            <a:gdLst/>
            <a:ahLst/>
            <a:cxnLst/>
            <a:rect l="l" t="t" r="r" b="b"/>
            <a:pathLst>
              <a:path w="982217" h="76200">
                <a:moveTo>
                  <a:pt x="982217" y="76200"/>
                </a:moveTo>
                <a:lnTo>
                  <a:pt x="982217" y="0"/>
                </a:lnTo>
                <a:lnTo>
                  <a:pt x="0" y="0"/>
                </a:lnTo>
                <a:lnTo>
                  <a:pt x="0" y="76200"/>
                </a:lnTo>
                <a:lnTo>
                  <a:pt x="982217" y="76200"/>
                </a:lnTo>
              </a:path>
            </a:pathLst>
          </a:custGeom>
          <a:ln w="12700">
            <a:solidFill>
              <a:srgbClr val="000000"/>
            </a:solidFill>
          </a:ln>
        </p:spPr>
        <p:txBody>
          <a:bodyPr wrap="square" lIns="0" tIns="0" rIns="0" bIns="0" rtlCol="0">
            <a:noAutofit/>
          </a:bodyPr>
          <a:lstStyle/>
          <a:p>
            <a:endParaRPr/>
          </a:p>
        </p:txBody>
      </p:sp>
      <p:sp>
        <p:nvSpPr>
          <p:cNvPr id="69" name="object 69"/>
          <p:cNvSpPr/>
          <p:nvPr/>
        </p:nvSpPr>
        <p:spPr>
          <a:xfrm>
            <a:off x="7772400" y="2765805"/>
            <a:ext cx="2212848" cy="107188"/>
          </a:xfrm>
          <a:custGeom>
            <a:avLst/>
            <a:gdLst/>
            <a:ahLst/>
            <a:cxnLst/>
            <a:rect l="l" t="t" r="r" b="b"/>
            <a:pathLst>
              <a:path w="2212848" h="107188">
                <a:moveTo>
                  <a:pt x="2212848" y="107188"/>
                </a:moveTo>
                <a:lnTo>
                  <a:pt x="2212848" y="0"/>
                </a:lnTo>
                <a:lnTo>
                  <a:pt x="0" y="0"/>
                </a:lnTo>
                <a:lnTo>
                  <a:pt x="0" y="104394"/>
                </a:lnTo>
                <a:lnTo>
                  <a:pt x="2212848" y="107188"/>
                </a:lnTo>
                <a:close/>
              </a:path>
            </a:pathLst>
          </a:custGeom>
          <a:solidFill>
            <a:srgbClr val="FFFFFF"/>
          </a:solidFill>
        </p:spPr>
        <p:txBody>
          <a:bodyPr wrap="square" lIns="0" tIns="0" rIns="0" bIns="0" rtlCol="0">
            <a:noAutofit/>
          </a:bodyPr>
          <a:lstStyle/>
          <a:p>
            <a:endParaRPr/>
          </a:p>
        </p:txBody>
      </p:sp>
      <p:sp>
        <p:nvSpPr>
          <p:cNvPr id="70" name="object 70"/>
          <p:cNvSpPr/>
          <p:nvPr/>
        </p:nvSpPr>
        <p:spPr>
          <a:xfrm>
            <a:off x="7772400" y="2765805"/>
            <a:ext cx="2212848" cy="107188"/>
          </a:xfrm>
          <a:custGeom>
            <a:avLst/>
            <a:gdLst/>
            <a:ahLst/>
            <a:cxnLst/>
            <a:rect l="l" t="t" r="r" b="b"/>
            <a:pathLst>
              <a:path w="2212848" h="107188">
                <a:moveTo>
                  <a:pt x="2212848" y="107188"/>
                </a:moveTo>
                <a:lnTo>
                  <a:pt x="2212848" y="0"/>
                </a:lnTo>
                <a:lnTo>
                  <a:pt x="0" y="0"/>
                </a:lnTo>
                <a:lnTo>
                  <a:pt x="0" y="104394"/>
                </a:lnTo>
                <a:lnTo>
                  <a:pt x="2212848" y="107188"/>
                </a:lnTo>
              </a:path>
            </a:pathLst>
          </a:custGeom>
          <a:ln w="12700">
            <a:solidFill>
              <a:srgbClr val="000000"/>
            </a:solidFill>
          </a:ln>
        </p:spPr>
        <p:txBody>
          <a:bodyPr wrap="square" lIns="0" tIns="0" rIns="0" bIns="0" rtlCol="0">
            <a:noAutofit/>
          </a:bodyPr>
          <a:lstStyle/>
          <a:p>
            <a:endParaRPr/>
          </a:p>
        </p:txBody>
      </p:sp>
      <p:sp>
        <p:nvSpPr>
          <p:cNvPr id="71" name="object 71"/>
          <p:cNvSpPr/>
          <p:nvPr/>
        </p:nvSpPr>
        <p:spPr>
          <a:xfrm>
            <a:off x="10180447" y="2621788"/>
            <a:ext cx="90804" cy="132714"/>
          </a:xfrm>
          <a:custGeom>
            <a:avLst/>
            <a:gdLst/>
            <a:ahLst/>
            <a:cxnLst/>
            <a:rect l="l" t="t" r="r" b="b"/>
            <a:pathLst>
              <a:path w="90804" h="132714">
                <a:moveTo>
                  <a:pt x="90804" y="8509"/>
                </a:moveTo>
                <a:lnTo>
                  <a:pt x="84835" y="0"/>
                </a:lnTo>
                <a:lnTo>
                  <a:pt x="0" y="0"/>
                </a:lnTo>
                <a:lnTo>
                  <a:pt x="0" y="132714"/>
                </a:lnTo>
                <a:lnTo>
                  <a:pt x="84835" y="132714"/>
                </a:lnTo>
                <a:lnTo>
                  <a:pt x="90804" y="124206"/>
                </a:lnTo>
                <a:lnTo>
                  <a:pt x="90804" y="8509"/>
                </a:lnTo>
                <a:close/>
              </a:path>
            </a:pathLst>
          </a:custGeom>
          <a:solidFill>
            <a:srgbClr val="000000"/>
          </a:solidFill>
        </p:spPr>
        <p:txBody>
          <a:bodyPr wrap="square" lIns="0" tIns="0" rIns="0" bIns="0" rtlCol="0">
            <a:noAutofit/>
          </a:bodyPr>
          <a:lstStyle/>
          <a:p>
            <a:endParaRPr/>
          </a:p>
        </p:txBody>
      </p:sp>
      <p:sp>
        <p:nvSpPr>
          <p:cNvPr id="72" name="object 72"/>
          <p:cNvSpPr/>
          <p:nvPr/>
        </p:nvSpPr>
        <p:spPr>
          <a:xfrm>
            <a:off x="10180447" y="2621788"/>
            <a:ext cx="90804" cy="132714"/>
          </a:xfrm>
          <a:custGeom>
            <a:avLst/>
            <a:gdLst/>
            <a:ahLst/>
            <a:cxnLst/>
            <a:rect l="l" t="t" r="r" b="b"/>
            <a:pathLst>
              <a:path w="90804" h="132714">
                <a:moveTo>
                  <a:pt x="90804" y="8509"/>
                </a:moveTo>
                <a:lnTo>
                  <a:pt x="84835" y="0"/>
                </a:lnTo>
                <a:lnTo>
                  <a:pt x="0" y="0"/>
                </a:lnTo>
                <a:lnTo>
                  <a:pt x="0" y="132714"/>
                </a:lnTo>
                <a:lnTo>
                  <a:pt x="84835" y="132714"/>
                </a:lnTo>
                <a:lnTo>
                  <a:pt x="90804" y="124206"/>
                </a:lnTo>
                <a:lnTo>
                  <a:pt x="90804" y="8509"/>
                </a:lnTo>
              </a:path>
            </a:pathLst>
          </a:custGeom>
          <a:ln w="12700">
            <a:solidFill>
              <a:srgbClr val="000000"/>
            </a:solidFill>
          </a:ln>
        </p:spPr>
        <p:txBody>
          <a:bodyPr wrap="square" lIns="0" tIns="0" rIns="0" bIns="0" rtlCol="0">
            <a:noAutofit/>
          </a:bodyPr>
          <a:lstStyle/>
          <a:p>
            <a:endParaRPr/>
          </a:p>
        </p:txBody>
      </p:sp>
      <p:sp>
        <p:nvSpPr>
          <p:cNvPr id="73" name="object 73"/>
          <p:cNvSpPr/>
          <p:nvPr/>
        </p:nvSpPr>
        <p:spPr>
          <a:xfrm>
            <a:off x="9634221" y="1789302"/>
            <a:ext cx="619251" cy="1052702"/>
          </a:xfrm>
          <a:custGeom>
            <a:avLst/>
            <a:gdLst/>
            <a:ahLst/>
            <a:cxnLst/>
            <a:rect l="l" t="t" r="r" b="b"/>
            <a:pathLst>
              <a:path w="619251" h="1052702">
                <a:moveTo>
                  <a:pt x="238632" y="894588"/>
                </a:moveTo>
                <a:lnTo>
                  <a:pt x="331343" y="1052702"/>
                </a:lnTo>
                <a:lnTo>
                  <a:pt x="542289" y="1038606"/>
                </a:lnTo>
                <a:lnTo>
                  <a:pt x="542289" y="668909"/>
                </a:lnTo>
                <a:lnTo>
                  <a:pt x="619251" y="643509"/>
                </a:lnTo>
                <a:lnTo>
                  <a:pt x="615314" y="516509"/>
                </a:lnTo>
                <a:lnTo>
                  <a:pt x="506856" y="73406"/>
                </a:lnTo>
                <a:lnTo>
                  <a:pt x="504825" y="64897"/>
                </a:lnTo>
                <a:lnTo>
                  <a:pt x="506856" y="64897"/>
                </a:lnTo>
                <a:lnTo>
                  <a:pt x="495046" y="48006"/>
                </a:lnTo>
                <a:lnTo>
                  <a:pt x="483107" y="36702"/>
                </a:lnTo>
                <a:lnTo>
                  <a:pt x="467359" y="28194"/>
                </a:lnTo>
                <a:lnTo>
                  <a:pt x="449579" y="16891"/>
                </a:lnTo>
                <a:lnTo>
                  <a:pt x="429895" y="8509"/>
                </a:lnTo>
                <a:lnTo>
                  <a:pt x="404240" y="2794"/>
                </a:lnTo>
                <a:lnTo>
                  <a:pt x="384555" y="0"/>
                </a:lnTo>
                <a:lnTo>
                  <a:pt x="3936" y="0"/>
                </a:lnTo>
                <a:lnTo>
                  <a:pt x="0" y="104394"/>
                </a:lnTo>
                <a:lnTo>
                  <a:pt x="0" y="877697"/>
                </a:lnTo>
                <a:lnTo>
                  <a:pt x="238632" y="894588"/>
                </a:lnTo>
                <a:close/>
              </a:path>
            </a:pathLst>
          </a:custGeom>
          <a:solidFill>
            <a:srgbClr val="006695"/>
          </a:solidFill>
        </p:spPr>
        <p:txBody>
          <a:bodyPr wrap="square" lIns="0" tIns="0" rIns="0" bIns="0" rtlCol="0">
            <a:noAutofit/>
          </a:bodyPr>
          <a:lstStyle/>
          <a:p>
            <a:endParaRPr/>
          </a:p>
        </p:txBody>
      </p:sp>
      <p:sp>
        <p:nvSpPr>
          <p:cNvPr id="74" name="object 74"/>
          <p:cNvSpPr/>
          <p:nvPr/>
        </p:nvSpPr>
        <p:spPr>
          <a:xfrm>
            <a:off x="9634221" y="1789302"/>
            <a:ext cx="619251" cy="1052702"/>
          </a:xfrm>
          <a:custGeom>
            <a:avLst/>
            <a:gdLst/>
            <a:ahLst/>
            <a:cxnLst/>
            <a:rect l="l" t="t" r="r" b="b"/>
            <a:pathLst>
              <a:path w="619251" h="1052702">
                <a:moveTo>
                  <a:pt x="619251" y="643509"/>
                </a:moveTo>
                <a:lnTo>
                  <a:pt x="542289" y="668909"/>
                </a:lnTo>
                <a:lnTo>
                  <a:pt x="542289" y="1038606"/>
                </a:lnTo>
                <a:lnTo>
                  <a:pt x="331343" y="1052702"/>
                </a:lnTo>
                <a:lnTo>
                  <a:pt x="238632" y="894588"/>
                </a:lnTo>
                <a:lnTo>
                  <a:pt x="0" y="877697"/>
                </a:lnTo>
                <a:lnTo>
                  <a:pt x="0" y="104394"/>
                </a:lnTo>
                <a:lnTo>
                  <a:pt x="3936" y="0"/>
                </a:lnTo>
                <a:lnTo>
                  <a:pt x="358901" y="0"/>
                </a:lnTo>
                <a:lnTo>
                  <a:pt x="384555" y="0"/>
                </a:lnTo>
                <a:lnTo>
                  <a:pt x="404240" y="2794"/>
                </a:lnTo>
                <a:lnTo>
                  <a:pt x="429895" y="8509"/>
                </a:lnTo>
                <a:lnTo>
                  <a:pt x="449579" y="16891"/>
                </a:lnTo>
                <a:lnTo>
                  <a:pt x="467359" y="28194"/>
                </a:lnTo>
                <a:lnTo>
                  <a:pt x="483107" y="36702"/>
                </a:lnTo>
                <a:lnTo>
                  <a:pt x="495046" y="48006"/>
                </a:lnTo>
                <a:lnTo>
                  <a:pt x="506856" y="64897"/>
                </a:lnTo>
                <a:lnTo>
                  <a:pt x="504825" y="64897"/>
                </a:lnTo>
                <a:lnTo>
                  <a:pt x="506856" y="73406"/>
                </a:lnTo>
                <a:lnTo>
                  <a:pt x="615314" y="516509"/>
                </a:lnTo>
                <a:lnTo>
                  <a:pt x="619251" y="643509"/>
                </a:lnTo>
              </a:path>
            </a:pathLst>
          </a:custGeom>
          <a:ln w="12700">
            <a:solidFill>
              <a:srgbClr val="000000"/>
            </a:solidFill>
          </a:ln>
        </p:spPr>
        <p:txBody>
          <a:bodyPr wrap="square" lIns="0" tIns="0" rIns="0" bIns="0" rtlCol="0">
            <a:noAutofit/>
          </a:bodyPr>
          <a:lstStyle/>
          <a:p>
            <a:endParaRPr/>
          </a:p>
        </p:txBody>
      </p:sp>
      <p:sp>
        <p:nvSpPr>
          <p:cNvPr id="75" name="object 75"/>
          <p:cNvSpPr/>
          <p:nvPr/>
        </p:nvSpPr>
        <p:spPr>
          <a:xfrm>
            <a:off x="10184384" y="2370709"/>
            <a:ext cx="86868" cy="239902"/>
          </a:xfrm>
          <a:custGeom>
            <a:avLst/>
            <a:gdLst/>
            <a:ahLst/>
            <a:cxnLst/>
            <a:rect l="l" t="t" r="r" b="b"/>
            <a:pathLst>
              <a:path w="86868" h="239902">
                <a:moveTo>
                  <a:pt x="0" y="239902"/>
                </a:moveTo>
                <a:lnTo>
                  <a:pt x="80899" y="239902"/>
                </a:lnTo>
                <a:lnTo>
                  <a:pt x="86868" y="217296"/>
                </a:lnTo>
                <a:lnTo>
                  <a:pt x="86868" y="22478"/>
                </a:lnTo>
                <a:lnTo>
                  <a:pt x="80899" y="0"/>
                </a:lnTo>
                <a:lnTo>
                  <a:pt x="0" y="0"/>
                </a:lnTo>
                <a:lnTo>
                  <a:pt x="0" y="239902"/>
                </a:lnTo>
                <a:close/>
              </a:path>
            </a:pathLst>
          </a:custGeom>
          <a:solidFill>
            <a:srgbClr val="006695"/>
          </a:solidFill>
        </p:spPr>
        <p:txBody>
          <a:bodyPr wrap="square" lIns="0" tIns="0" rIns="0" bIns="0" rtlCol="0">
            <a:noAutofit/>
          </a:bodyPr>
          <a:lstStyle/>
          <a:p>
            <a:endParaRPr/>
          </a:p>
        </p:txBody>
      </p:sp>
      <p:sp>
        <p:nvSpPr>
          <p:cNvPr id="76" name="object 76"/>
          <p:cNvSpPr/>
          <p:nvPr/>
        </p:nvSpPr>
        <p:spPr>
          <a:xfrm>
            <a:off x="10184384" y="2370709"/>
            <a:ext cx="86868" cy="239902"/>
          </a:xfrm>
          <a:custGeom>
            <a:avLst/>
            <a:gdLst/>
            <a:ahLst/>
            <a:cxnLst/>
            <a:rect l="l" t="t" r="r" b="b"/>
            <a:pathLst>
              <a:path w="86868" h="239902">
                <a:moveTo>
                  <a:pt x="0" y="239902"/>
                </a:moveTo>
                <a:lnTo>
                  <a:pt x="80899" y="239902"/>
                </a:lnTo>
                <a:lnTo>
                  <a:pt x="86868" y="217296"/>
                </a:lnTo>
                <a:lnTo>
                  <a:pt x="86868" y="22478"/>
                </a:lnTo>
                <a:lnTo>
                  <a:pt x="80899" y="0"/>
                </a:lnTo>
                <a:lnTo>
                  <a:pt x="0" y="0"/>
                </a:lnTo>
                <a:lnTo>
                  <a:pt x="0" y="239902"/>
                </a:lnTo>
              </a:path>
            </a:pathLst>
          </a:custGeom>
          <a:ln w="12700">
            <a:solidFill>
              <a:srgbClr val="000000"/>
            </a:solidFill>
          </a:ln>
        </p:spPr>
        <p:txBody>
          <a:bodyPr wrap="square" lIns="0" tIns="0" rIns="0" bIns="0" rtlCol="0">
            <a:noAutofit/>
          </a:bodyPr>
          <a:lstStyle/>
          <a:p>
            <a:endParaRPr/>
          </a:p>
        </p:txBody>
      </p:sp>
      <p:sp>
        <p:nvSpPr>
          <p:cNvPr id="77" name="object 77"/>
          <p:cNvSpPr/>
          <p:nvPr/>
        </p:nvSpPr>
        <p:spPr>
          <a:xfrm>
            <a:off x="10180448" y="2314194"/>
            <a:ext cx="88773" cy="59308"/>
          </a:xfrm>
          <a:custGeom>
            <a:avLst/>
            <a:gdLst/>
            <a:ahLst/>
            <a:cxnLst/>
            <a:rect l="l" t="t" r="r" b="b"/>
            <a:pathLst>
              <a:path w="88773" h="59308">
                <a:moveTo>
                  <a:pt x="76961" y="0"/>
                </a:moveTo>
                <a:lnTo>
                  <a:pt x="0" y="0"/>
                </a:lnTo>
                <a:lnTo>
                  <a:pt x="8000" y="56514"/>
                </a:lnTo>
                <a:lnTo>
                  <a:pt x="88773" y="59308"/>
                </a:lnTo>
                <a:lnTo>
                  <a:pt x="76961" y="0"/>
                </a:lnTo>
                <a:close/>
              </a:path>
            </a:pathLst>
          </a:custGeom>
          <a:solidFill>
            <a:srgbClr val="006695"/>
          </a:solidFill>
        </p:spPr>
        <p:txBody>
          <a:bodyPr wrap="square" lIns="0" tIns="0" rIns="0" bIns="0" rtlCol="0">
            <a:noAutofit/>
          </a:bodyPr>
          <a:lstStyle/>
          <a:p>
            <a:endParaRPr/>
          </a:p>
        </p:txBody>
      </p:sp>
      <p:sp>
        <p:nvSpPr>
          <p:cNvPr id="78" name="object 78"/>
          <p:cNvSpPr/>
          <p:nvPr/>
        </p:nvSpPr>
        <p:spPr>
          <a:xfrm>
            <a:off x="10180448" y="2314194"/>
            <a:ext cx="88773" cy="59308"/>
          </a:xfrm>
          <a:custGeom>
            <a:avLst/>
            <a:gdLst/>
            <a:ahLst/>
            <a:cxnLst/>
            <a:rect l="l" t="t" r="r" b="b"/>
            <a:pathLst>
              <a:path w="88773" h="59308">
                <a:moveTo>
                  <a:pt x="76961" y="0"/>
                </a:moveTo>
                <a:lnTo>
                  <a:pt x="0" y="0"/>
                </a:lnTo>
                <a:lnTo>
                  <a:pt x="8000" y="56514"/>
                </a:lnTo>
                <a:lnTo>
                  <a:pt x="88773" y="59308"/>
                </a:lnTo>
                <a:lnTo>
                  <a:pt x="76961" y="0"/>
                </a:lnTo>
              </a:path>
            </a:pathLst>
          </a:custGeom>
          <a:ln w="12699">
            <a:solidFill>
              <a:srgbClr val="000000"/>
            </a:solidFill>
          </a:ln>
        </p:spPr>
        <p:txBody>
          <a:bodyPr wrap="square" lIns="0" tIns="0" rIns="0" bIns="0" rtlCol="0">
            <a:noAutofit/>
          </a:bodyPr>
          <a:lstStyle/>
          <a:p>
            <a:endParaRPr/>
          </a:p>
        </p:txBody>
      </p:sp>
      <p:sp>
        <p:nvSpPr>
          <p:cNvPr id="79" name="object 79"/>
          <p:cNvSpPr/>
          <p:nvPr/>
        </p:nvSpPr>
        <p:spPr>
          <a:xfrm>
            <a:off x="9567165" y="2590800"/>
            <a:ext cx="678433" cy="386588"/>
          </a:xfrm>
          <a:custGeom>
            <a:avLst/>
            <a:gdLst/>
            <a:ahLst/>
            <a:cxnLst/>
            <a:rect l="l" t="t" r="r" b="b"/>
            <a:pathLst>
              <a:path w="678433" h="386588">
                <a:moveTo>
                  <a:pt x="611377" y="200405"/>
                </a:moveTo>
                <a:lnTo>
                  <a:pt x="678433" y="200405"/>
                </a:lnTo>
                <a:lnTo>
                  <a:pt x="678433" y="175005"/>
                </a:lnTo>
                <a:lnTo>
                  <a:pt x="388492" y="175005"/>
                </a:lnTo>
                <a:lnTo>
                  <a:pt x="388492" y="0"/>
                </a:lnTo>
                <a:lnTo>
                  <a:pt x="43306" y="0"/>
                </a:lnTo>
                <a:lnTo>
                  <a:pt x="35432" y="25400"/>
                </a:lnTo>
                <a:lnTo>
                  <a:pt x="0" y="104394"/>
                </a:lnTo>
                <a:lnTo>
                  <a:pt x="222884" y="107187"/>
                </a:lnTo>
                <a:lnTo>
                  <a:pt x="238632" y="107187"/>
                </a:lnTo>
                <a:lnTo>
                  <a:pt x="264286" y="112902"/>
                </a:lnTo>
                <a:lnTo>
                  <a:pt x="286003" y="124205"/>
                </a:lnTo>
                <a:lnTo>
                  <a:pt x="305688" y="141097"/>
                </a:lnTo>
                <a:lnTo>
                  <a:pt x="319531" y="157987"/>
                </a:lnTo>
                <a:lnTo>
                  <a:pt x="335279" y="175005"/>
                </a:lnTo>
                <a:lnTo>
                  <a:pt x="348995" y="194690"/>
                </a:lnTo>
                <a:lnTo>
                  <a:pt x="362838" y="220090"/>
                </a:lnTo>
                <a:lnTo>
                  <a:pt x="372744" y="242697"/>
                </a:lnTo>
                <a:lnTo>
                  <a:pt x="382524" y="268097"/>
                </a:lnTo>
                <a:lnTo>
                  <a:pt x="388492" y="296290"/>
                </a:lnTo>
                <a:lnTo>
                  <a:pt x="394461" y="324612"/>
                </a:lnTo>
                <a:lnTo>
                  <a:pt x="398399" y="352805"/>
                </a:lnTo>
                <a:lnTo>
                  <a:pt x="398399" y="358394"/>
                </a:lnTo>
                <a:lnTo>
                  <a:pt x="443737" y="358394"/>
                </a:lnTo>
                <a:lnTo>
                  <a:pt x="461517" y="386588"/>
                </a:lnTo>
                <a:lnTo>
                  <a:pt x="566038" y="386588"/>
                </a:lnTo>
                <a:lnTo>
                  <a:pt x="611377" y="358394"/>
                </a:lnTo>
                <a:lnTo>
                  <a:pt x="611377" y="200405"/>
                </a:lnTo>
                <a:close/>
              </a:path>
            </a:pathLst>
          </a:custGeom>
          <a:solidFill>
            <a:srgbClr val="000000"/>
          </a:solidFill>
        </p:spPr>
        <p:txBody>
          <a:bodyPr wrap="square" lIns="0" tIns="0" rIns="0" bIns="0" rtlCol="0">
            <a:noAutofit/>
          </a:bodyPr>
          <a:lstStyle/>
          <a:p>
            <a:endParaRPr/>
          </a:p>
        </p:txBody>
      </p:sp>
      <p:sp>
        <p:nvSpPr>
          <p:cNvPr id="80" name="object 80"/>
          <p:cNvSpPr/>
          <p:nvPr/>
        </p:nvSpPr>
        <p:spPr>
          <a:xfrm>
            <a:off x="9567165" y="2590800"/>
            <a:ext cx="678433" cy="386588"/>
          </a:xfrm>
          <a:custGeom>
            <a:avLst/>
            <a:gdLst/>
            <a:ahLst/>
            <a:cxnLst/>
            <a:rect l="l" t="t" r="r" b="b"/>
            <a:pathLst>
              <a:path w="678433" h="386588">
                <a:moveTo>
                  <a:pt x="678433" y="200405"/>
                </a:moveTo>
                <a:lnTo>
                  <a:pt x="611377" y="200405"/>
                </a:lnTo>
                <a:lnTo>
                  <a:pt x="611377" y="358394"/>
                </a:lnTo>
                <a:lnTo>
                  <a:pt x="566038" y="386588"/>
                </a:lnTo>
                <a:lnTo>
                  <a:pt x="461517" y="386588"/>
                </a:lnTo>
                <a:lnTo>
                  <a:pt x="443737" y="358394"/>
                </a:lnTo>
                <a:lnTo>
                  <a:pt x="398399" y="358394"/>
                </a:lnTo>
                <a:lnTo>
                  <a:pt x="398399" y="352805"/>
                </a:lnTo>
                <a:lnTo>
                  <a:pt x="394461" y="324612"/>
                </a:lnTo>
                <a:lnTo>
                  <a:pt x="388492" y="296290"/>
                </a:lnTo>
                <a:lnTo>
                  <a:pt x="382524" y="268097"/>
                </a:lnTo>
                <a:lnTo>
                  <a:pt x="372744" y="242697"/>
                </a:lnTo>
                <a:lnTo>
                  <a:pt x="362838" y="220090"/>
                </a:lnTo>
                <a:lnTo>
                  <a:pt x="348995" y="194690"/>
                </a:lnTo>
                <a:lnTo>
                  <a:pt x="335279" y="175005"/>
                </a:lnTo>
                <a:lnTo>
                  <a:pt x="319531" y="157987"/>
                </a:lnTo>
                <a:lnTo>
                  <a:pt x="305688" y="141097"/>
                </a:lnTo>
                <a:lnTo>
                  <a:pt x="286003" y="124205"/>
                </a:lnTo>
                <a:lnTo>
                  <a:pt x="264286" y="112902"/>
                </a:lnTo>
                <a:lnTo>
                  <a:pt x="238632" y="107187"/>
                </a:lnTo>
                <a:lnTo>
                  <a:pt x="222884" y="107187"/>
                </a:lnTo>
                <a:lnTo>
                  <a:pt x="0" y="104394"/>
                </a:lnTo>
                <a:lnTo>
                  <a:pt x="35432" y="25400"/>
                </a:lnTo>
                <a:lnTo>
                  <a:pt x="43306" y="0"/>
                </a:lnTo>
                <a:lnTo>
                  <a:pt x="388492" y="0"/>
                </a:lnTo>
                <a:lnTo>
                  <a:pt x="388492" y="175005"/>
                </a:lnTo>
                <a:lnTo>
                  <a:pt x="678433" y="175005"/>
                </a:lnTo>
                <a:lnTo>
                  <a:pt x="678433" y="200405"/>
                </a:lnTo>
              </a:path>
            </a:pathLst>
          </a:custGeom>
          <a:ln w="12700">
            <a:solidFill>
              <a:srgbClr val="000000"/>
            </a:solidFill>
          </a:ln>
        </p:spPr>
        <p:txBody>
          <a:bodyPr wrap="square" lIns="0" tIns="0" rIns="0" bIns="0" rtlCol="0">
            <a:noAutofit/>
          </a:bodyPr>
          <a:lstStyle/>
          <a:p>
            <a:endParaRPr/>
          </a:p>
        </p:txBody>
      </p:sp>
      <p:sp>
        <p:nvSpPr>
          <p:cNvPr id="81" name="object 81"/>
          <p:cNvSpPr/>
          <p:nvPr/>
        </p:nvSpPr>
        <p:spPr>
          <a:xfrm>
            <a:off x="9604630" y="1896491"/>
            <a:ext cx="139953" cy="725297"/>
          </a:xfrm>
          <a:custGeom>
            <a:avLst/>
            <a:gdLst/>
            <a:ahLst/>
            <a:cxnLst/>
            <a:rect l="l" t="t" r="r" b="b"/>
            <a:pathLst>
              <a:path w="139953" h="725297">
                <a:moveTo>
                  <a:pt x="139953" y="725297"/>
                </a:moveTo>
                <a:lnTo>
                  <a:pt x="139953" y="0"/>
                </a:lnTo>
                <a:lnTo>
                  <a:pt x="27559" y="0"/>
                </a:lnTo>
                <a:lnTo>
                  <a:pt x="0" y="525018"/>
                </a:lnTo>
                <a:lnTo>
                  <a:pt x="0" y="725297"/>
                </a:lnTo>
                <a:lnTo>
                  <a:pt x="139953" y="725297"/>
                </a:lnTo>
                <a:close/>
              </a:path>
            </a:pathLst>
          </a:custGeom>
          <a:solidFill>
            <a:srgbClr val="006695"/>
          </a:solidFill>
        </p:spPr>
        <p:txBody>
          <a:bodyPr wrap="square" lIns="0" tIns="0" rIns="0" bIns="0" rtlCol="0">
            <a:noAutofit/>
          </a:bodyPr>
          <a:lstStyle/>
          <a:p>
            <a:endParaRPr/>
          </a:p>
        </p:txBody>
      </p:sp>
      <p:sp>
        <p:nvSpPr>
          <p:cNvPr id="82" name="object 82"/>
          <p:cNvSpPr/>
          <p:nvPr/>
        </p:nvSpPr>
        <p:spPr>
          <a:xfrm>
            <a:off x="9604630" y="1896491"/>
            <a:ext cx="139953" cy="725297"/>
          </a:xfrm>
          <a:custGeom>
            <a:avLst/>
            <a:gdLst/>
            <a:ahLst/>
            <a:cxnLst/>
            <a:rect l="l" t="t" r="r" b="b"/>
            <a:pathLst>
              <a:path w="139953" h="725297">
                <a:moveTo>
                  <a:pt x="139953" y="725297"/>
                </a:moveTo>
                <a:lnTo>
                  <a:pt x="139953" y="0"/>
                </a:lnTo>
                <a:lnTo>
                  <a:pt x="27559" y="0"/>
                </a:lnTo>
                <a:lnTo>
                  <a:pt x="0" y="525018"/>
                </a:lnTo>
                <a:lnTo>
                  <a:pt x="0" y="725297"/>
                </a:lnTo>
                <a:lnTo>
                  <a:pt x="139953" y="725297"/>
                </a:lnTo>
              </a:path>
            </a:pathLst>
          </a:custGeom>
          <a:ln w="12700">
            <a:solidFill>
              <a:srgbClr val="000000"/>
            </a:solidFill>
          </a:ln>
        </p:spPr>
        <p:txBody>
          <a:bodyPr wrap="square" lIns="0" tIns="0" rIns="0" bIns="0" rtlCol="0">
            <a:noAutofit/>
          </a:bodyPr>
          <a:lstStyle/>
          <a:p>
            <a:endParaRPr/>
          </a:p>
        </p:txBody>
      </p:sp>
      <p:sp>
        <p:nvSpPr>
          <p:cNvPr id="83" name="object 83"/>
          <p:cNvSpPr/>
          <p:nvPr/>
        </p:nvSpPr>
        <p:spPr>
          <a:xfrm>
            <a:off x="9744583" y="1896491"/>
            <a:ext cx="439800" cy="872109"/>
          </a:xfrm>
          <a:custGeom>
            <a:avLst/>
            <a:gdLst/>
            <a:ahLst/>
            <a:cxnLst/>
            <a:rect l="l" t="t" r="r" b="b"/>
            <a:pathLst>
              <a:path w="439800" h="872109">
                <a:moveTo>
                  <a:pt x="297815" y="0"/>
                </a:moveTo>
                <a:lnTo>
                  <a:pt x="0" y="0"/>
                </a:lnTo>
                <a:lnTo>
                  <a:pt x="0" y="722503"/>
                </a:lnTo>
                <a:lnTo>
                  <a:pt x="57276" y="722503"/>
                </a:lnTo>
                <a:lnTo>
                  <a:pt x="76962" y="725297"/>
                </a:lnTo>
                <a:lnTo>
                  <a:pt x="108585" y="731012"/>
                </a:lnTo>
                <a:lnTo>
                  <a:pt x="138049" y="745109"/>
                </a:lnTo>
                <a:lnTo>
                  <a:pt x="163702" y="770509"/>
                </a:lnTo>
                <a:lnTo>
                  <a:pt x="185420" y="804418"/>
                </a:lnTo>
                <a:lnTo>
                  <a:pt x="199263" y="846709"/>
                </a:lnTo>
                <a:lnTo>
                  <a:pt x="205105" y="872109"/>
                </a:lnTo>
                <a:lnTo>
                  <a:pt x="439800" y="872109"/>
                </a:lnTo>
                <a:lnTo>
                  <a:pt x="439800" y="474218"/>
                </a:lnTo>
                <a:lnTo>
                  <a:pt x="353060" y="64897"/>
                </a:lnTo>
                <a:lnTo>
                  <a:pt x="353060" y="59309"/>
                </a:lnTo>
                <a:lnTo>
                  <a:pt x="347218" y="31114"/>
                </a:lnTo>
                <a:lnTo>
                  <a:pt x="333375" y="11303"/>
                </a:lnTo>
                <a:lnTo>
                  <a:pt x="315595" y="0"/>
                </a:lnTo>
                <a:lnTo>
                  <a:pt x="297815" y="0"/>
                </a:lnTo>
                <a:close/>
              </a:path>
            </a:pathLst>
          </a:custGeom>
          <a:solidFill>
            <a:srgbClr val="006695"/>
          </a:solidFill>
        </p:spPr>
        <p:txBody>
          <a:bodyPr wrap="square" lIns="0" tIns="0" rIns="0" bIns="0" rtlCol="0">
            <a:noAutofit/>
          </a:bodyPr>
          <a:lstStyle/>
          <a:p>
            <a:endParaRPr/>
          </a:p>
        </p:txBody>
      </p:sp>
      <p:sp>
        <p:nvSpPr>
          <p:cNvPr id="84" name="object 84"/>
          <p:cNvSpPr/>
          <p:nvPr/>
        </p:nvSpPr>
        <p:spPr>
          <a:xfrm>
            <a:off x="9744583" y="1896491"/>
            <a:ext cx="439800" cy="872109"/>
          </a:xfrm>
          <a:custGeom>
            <a:avLst/>
            <a:gdLst/>
            <a:ahLst/>
            <a:cxnLst/>
            <a:rect l="l" t="t" r="r" b="b"/>
            <a:pathLst>
              <a:path w="439800" h="872109">
                <a:moveTo>
                  <a:pt x="0" y="722503"/>
                </a:moveTo>
                <a:lnTo>
                  <a:pt x="45466" y="722503"/>
                </a:lnTo>
                <a:lnTo>
                  <a:pt x="57276" y="722503"/>
                </a:lnTo>
                <a:lnTo>
                  <a:pt x="76962" y="725297"/>
                </a:lnTo>
                <a:lnTo>
                  <a:pt x="108585" y="731012"/>
                </a:lnTo>
                <a:lnTo>
                  <a:pt x="138049" y="745109"/>
                </a:lnTo>
                <a:lnTo>
                  <a:pt x="163702" y="770509"/>
                </a:lnTo>
                <a:lnTo>
                  <a:pt x="185420" y="804418"/>
                </a:lnTo>
                <a:lnTo>
                  <a:pt x="199263" y="846709"/>
                </a:lnTo>
                <a:lnTo>
                  <a:pt x="205105" y="872109"/>
                </a:lnTo>
                <a:lnTo>
                  <a:pt x="439800" y="872109"/>
                </a:lnTo>
                <a:lnTo>
                  <a:pt x="439800" y="474218"/>
                </a:lnTo>
                <a:lnTo>
                  <a:pt x="353060" y="64897"/>
                </a:lnTo>
                <a:lnTo>
                  <a:pt x="353060" y="59309"/>
                </a:lnTo>
                <a:lnTo>
                  <a:pt x="347218" y="31114"/>
                </a:lnTo>
                <a:lnTo>
                  <a:pt x="333375" y="11303"/>
                </a:lnTo>
                <a:lnTo>
                  <a:pt x="315595" y="0"/>
                </a:lnTo>
                <a:lnTo>
                  <a:pt x="297815" y="0"/>
                </a:lnTo>
                <a:lnTo>
                  <a:pt x="0" y="0"/>
                </a:lnTo>
                <a:lnTo>
                  <a:pt x="0" y="722503"/>
                </a:lnTo>
              </a:path>
            </a:pathLst>
          </a:custGeom>
          <a:ln w="12700">
            <a:solidFill>
              <a:srgbClr val="000000"/>
            </a:solidFill>
          </a:ln>
        </p:spPr>
        <p:txBody>
          <a:bodyPr wrap="square" lIns="0" tIns="0" rIns="0" bIns="0" rtlCol="0">
            <a:noAutofit/>
          </a:bodyPr>
          <a:lstStyle/>
          <a:p>
            <a:endParaRPr/>
          </a:p>
        </p:txBody>
      </p:sp>
      <p:sp>
        <p:nvSpPr>
          <p:cNvPr id="85" name="object 85"/>
          <p:cNvSpPr/>
          <p:nvPr/>
        </p:nvSpPr>
        <p:spPr>
          <a:xfrm>
            <a:off x="10186417" y="2802509"/>
            <a:ext cx="98551" cy="141096"/>
          </a:xfrm>
          <a:custGeom>
            <a:avLst/>
            <a:gdLst/>
            <a:ahLst/>
            <a:cxnLst/>
            <a:rect l="l" t="t" r="r" b="b"/>
            <a:pathLst>
              <a:path w="98551" h="141096">
                <a:moveTo>
                  <a:pt x="98551" y="16890"/>
                </a:moveTo>
                <a:lnTo>
                  <a:pt x="78866" y="0"/>
                </a:lnTo>
                <a:lnTo>
                  <a:pt x="0" y="0"/>
                </a:lnTo>
                <a:lnTo>
                  <a:pt x="0" y="141096"/>
                </a:lnTo>
                <a:lnTo>
                  <a:pt x="67055" y="141096"/>
                </a:lnTo>
                <a:lnTo>
                  <a:pt x="98551" y="90296"/>
                </a:lnTo>
                <a:lnTo>
                  <a:pt x="98551" y="16890"/>
                </a:lnTo>
                <a:close/>
              </a:path>
            </a:pathLst>
          </a:custGeom>
          <a:solidFill>
            <a:srgbClr val="000000"/>
          </a:solidFill>
        </p:spPr>
        <p:txBody>
          <a:bodyPr wrap="square" lIns="0" tIns="0" rIns="0" bIns="0" rtlCol="0">
            <a:noAutofit/>
          </a:bodyPr>
          <a:lstStyle/>
          <a:p>
            <a:endParaRPr/>
          </a:p>
        </p:txBody>
      </p:sp>
      <p:sp>
        <p:nvSpPr>
          <p:cNvPr id="86" name="object 86"/>
          <p:cNvSpPr/>
          <p:nvPr/>
        </p:nvSpPr>
        <p:spPr>
          <a:xfrm>
            <a:off x="10186417" y="2802509"/>
            <a:ext cx="98551" cy="141096"/>
          </a:xfrm>
          <a:custGeom>
            <a:avLst/>
            <a:gdLst/>
            <a:ahLst/>
            <a:cxnLst/>
            <a:rect l="l" t="t" r="r" b="b"/>
            <a:pathLst>
              <a:path w="98551" h="141096">
                <a:moveTo>
                  <a:pt x="98551" y="16890"/>
                </a:moveTo>
                <a:lnTo>
                  <a:pt x="78866" y="0"/>
                </a:lnTo>
                <a:lnTo>
                  <a:pt x="0" y="0"/>
                </a:lnTo>
                <a:lnTo>
                  <a:pt x="0" y="141096"/>
                </a:lnTo>
                <a:lnTo>
                  <a:pt x="67055" y="141096"/>
                </a:lnTo>
                <a:lnTo>
                  <a:pt x="98551" y="90296"/>
                </a:lnTo>
                <a:lnTo>
                  <a:pt x="98551" y="16890"/>
                </a:lnTo>
              </a:path>
            </a:pathLst>
          </a:custGeom>
          <a:ln w="12699">
            <a:solidFill>
              <a:srgbClr val="000000"/>
            </a:solidFill>
          </a:ln>
        </p:spPr>
        <p:txBody>
          <a:bodyPr wrap="square" lIns="0" tIns="0" rIns="0" bIns="0" rtlCol="0">
            <a:noAutofit/>
          </a:bodyPr>
          <a:lstStyle/>
          <a:p>
            <a:endParaRPr/>
          </a:p>
        </p:txBody>
      </p:sp>
      <p:sp>
        <p:nvSpPr>
          <p:cNvPr id="87" name="object 87"/>
          <p:cNvSpPr/>
          <p:nvPr/>
        </p:nvSpPr>
        <p:spPr>
          <a:xfrm>
            <a:off x="9642095" y="2413000"/>
            <a:ext cx="130175" cy="96012"/>
          </a:xfrm>
          <a:custGeom>
            <a:avLst/>
            <a:gdLst/>
            <a:ahLst/>
            <a:cxnLst/>
            <a:rect l="l" t="t" r="r" b="b"/>
            <a:pathLst>
              <a:path w="130175" h="96012">
                <a:moveTo>
                  <a:pt x="128142" y="96012"/>
                </a:moveTo>
                <a:lnTo>
                  <a:pt x="130175" y="0"/>
                </a:lnTo>
                <a:lnTo>
                  <a:pt x="0" y="0"/>
                </a:lnTo>
                <a:lnTo>
                  <a:pt x="0" y="96012"/>
                </a:lnTo>
                <a:lnTo>
                  <a:pt x="128142" y="96012"/>
                </a:lnTo>
                <a:close/>
              </a:path>
            </a:pathLst>
          </a:custGeom>
          <a:solidFill>
            <a:srgbClr val="000000"/>
          </a:solidFill>
        </p:spPr>
        <p:txBody>
          <a:bodyPr wrap="square" lIns="0" tIns="0" rIns="0" bIns="0" rtlCol="0">
            <a:noAutofit/>
          </a:bodyPr>
          <a:lstStyle/>
          <a:p>
            <a:endParaRPr/>
          </a:p>
        </p:txBody>
      </p:sp>
      <p:sp>
        <p:nvSpPr>
          <p:cNvPr id="88" name="object 88"/>
          <p:cNvSpPr/>
          <p:nvPr/>
        </p:nvSpPr>
        <p:spPr>
          <a:xfrm>
            <a:off x="9642095" y="2413000"/>
            <a:ext cx="130175" cy="96012"/>
          </a:xfrm>
          <a:custGeom>
            <a:avLst/>
            <a:gdLst/>
            <a:ahLst/>
            <a:cxnLst/>
            <a:rect l="l" t="t" r="r" b="b"/>
            <a:pathLst>
              <a:path w="130175" h="96012">
                <a:moveTo>
                  <a:pt x="128142" y="96012"/>
                </a:moveTo>
                <a:lnTo>
                  <a:pt x="130175" y="0"/>
                </a:lnTo>
                <a:lnTo>
                  <a:pt x="0" y="0"/>
                </a:lnTo>
                <a:lnTo>
                  <a:pt x="0" y="96012"/>
                </a:lnTo>
                <a:lnTo>
                  <a:pt x="128142" y="96012"/>
                </a:lnTo>
              </a:path>
            </a:pathLst>
          </a:custGeom>
          <a:ln w="12700">
            <a:solidFill>
              <a:srgbClr val="000000"/>
            </a:solidFill>
          </a:ln>
        </p:spPr>
        <p:txBody>
          <a:bodyPr wrap="square" lIns="0" tIns="0" rIns="0" bIns="0" rtlCol="0">
            <a:noAutofit/>
          </a:bodyPr>
          <a:lstStyle/>
          <a:p>
            <a:endParaRPr/>
          </a:p>
        </p:txBody>
      </p:sp>
      <p:sp>
        <p:nvSpPr>
          <p:cNvPr id="89" name="object 89"/>
          <p:cNvSpPr/>
          <p:nvPr/>
        </p:nvSpPr>
        <p:spPr>
          <a:xfrm>
            <a:off x="9652000" y="2540000"/>
            <a:ext cx="88646" cy="45212"/>
          </a:xfrm>
          <a:custGeom>
            <a:avLst/>
            <a:gdLst/>
            <a:ahLst/>
            <a:cxnLst/>
            <a:rect l="l" t="t" r="r" b="b"/>
            <a:pathLst>
              <a:path w="88646" h="45212">
                <a:moveTo>
                  <a:pt x="88646" y="0"/>
                </a:moveTo>
                <a:lnTo>
                  <a:pt x="0" y="0"/>
                </a:lnTo>
                <a:lnTo>
                  <a:pt x="0" y="42290"/>
                </a:lnTo>
                <a:lnTo>
                  <a:pt x="88646" y="45212"/>
                </a:lnTo>
                <a:lnTo>
                  <a:pt x="88646" y="0"/>
                </a:lnTo>
                <a:close/>
              </a:path>
            </a:pathLst>
          </a:custGeom>
          <a:solidFill>
            <a:srgbClr val="000000"/>
          </a:solidFill>
        </p:spPr>
        <p:txBody>
          <a:bodyPr wrap="square" lIns="0" tIns="0" rIns="0" bIns="0" rtlCol="0">
            <a:noAutofit/>
          </a:bodyPr>
          <a:lstStyle/>
          <a:p>
            <a:endParaRPr/>
          </a:p>
        </p:txBody>
      </p:sp>
      <p:sp>
        <p:nvSpPr>
          <p:cNvPr id="90" name="object 90"/>
          <p:cNvSpPr/>
          <p:nvPr/>
        </p:nvSpPr>
        <p:spPr>
          <a:xfrm>
            <a:off x="9652000" y="2540000"/>
            <a:ext cx="88646" cy="45212"/>
          </a:xfrm>
          <a:custGeom>
            <a:avLst/>
            <a:gdLst/>
            <a:ahLst/>
            <a:cxnLst/>
            <a:rect l="l" t="t" r="r" b="b"/>
            <a:pathLst>
              <a:path w="88646" h="45212">
                <a:moveTo>
                  <a:pt x="88646" y="0"/>
                </a:moveTo>
                <a:lnTo>
                  <a:pt x="0" y="0"/>
                </a:lnTo>
                <a:lnTo>
                  <a:pt x="0" y="42290"/>
                </a:lnTo>
                <a:lnTo>
                  <a:pt x="88646" y="45212"/>
                </a:lnTo>
                <a:lnTo>
                  <a:pt x="88646" y="0"/>
                </a:lnTo>
              </a:path>
            </a:pathLst>
          </a:custGeom>
          <a:ln w="12700">
            <a:solidFill>
              <a:srgbClr val="000000"/>
            </a:solidFill>
          </a:ln>
        </p:spPr>
        <p:txBody>
          <a:bodyPr wrap="square" lIns="0" tIns="0" rIns="0" bIns="0" rtlCol="0">
            <a:noAutofit/>
          </a:bodyPr>
          <a:lstStyle/>
          <a:p>
            <a:endParaRPr/>
          </a:p>
        </p:txBody>
      </p:sp>
      <p:sp>
        <p:nvSpPr>
          <p:cNvPr id="91" name="object 91"/>
          <p:cNvSpPr/>
          <p:nvPr/>
        </p:nvSpPr>
        <p:spPr>
          <a:xfrm>
            <a:off x="10070084" y="2709354"/>
            <a:ext cx="82804" cy="0"/>
          </a:xfrm>
          <a:custGeom>
            <a:avLst/>
            <a:gdLst/>
            <a:ahLst/>
            <a:cxnLst/>
            <a:rect l="l" t="t" r="r" b="b"/>
            <a:pathLst>
              <a:path w="82804">
                <a:moveTo>
                  <a:pt x="0" y="0"/>
                </a:moveTo>
                <a:lnTo>
                  <a:pt x="82804" y="0"/>
                </a:lnTo>
              </a:path>
            </a:pathLst>
          </a:custGeom>
          <a:ln w="46355">
            <a:solidFill>
              <a:srgbClr val="000000"/>
            </a:solidFill>
          </a:ln>
        </p:spPr>
        <p:txBody>
          <a:bodyPr wrap="square" lIns="0" tIns="0" rIns="0" bIns="0" rtlCol="0">
            <a:noAutofit/>
          </a:bodyPr>
          <a:lstStyle/>
          <a:p>
            <a:endParaRPr/>
          </a:p>
        </p:txBody>
      </p:sp>
      <p:sp>
        <p:nvSpPr>
          <p:cNvPr id="92" name="object 92"/>
          <p:cNvSpPr/>
          <p:nvPr/>
        </p:nvSpPr>
        <p:spPr>
          <a:xfrm>
            <a:off x="10070084" y="2686813"/>
            <a:ext cx="82804" cy="45085"/>
          </a:xfrm>
          <a:custGeom>
            <a:avLst/>
            <a:gdLst/>
            <a:ahLst/>
            <a:cxnLst/>
            <a:rect l="l" t="t" r="r" b="b"/>
            <a:pathLst>
              <a:path w="82804" h="45085">
                <a:moveTo>
                  <a:pt x="82804" y="45085"/>
                </a:moveTo>
                <a:lnTo>
                  <a:pt x="82804" y="0"/>
                </a:lnTo>
                <a:lnTo>
                  <a:pt x="0" y="0"/>
                </a:lnTo>
                <a:lnTo>
                  <a:pt x="0" y="45085"/>
                </a:lnTo>
                <a:lnTo>
                  <a:pt x="82804" y="45085"/>
                </a:lnTo>
              </a:path>
            </a:pathLst>
          </a:custGeom>
          <a:ln w="12700">
            <a:solidFill>
              <a:srgbClr val="000000"/>
            </a:solidFill>
          </a:ln>
        </p:spPr>
        <p:txBody>
          <a:bodyPr wrap="square" lIns="0" tIns="0" rIns="0" bIns="0" rtlCol="0">
            <a:noAutofit/>
          </a:bodyPr>
          <a:lstStyle/>
          <a:p>
            <a:endParaRPr/>
          </a:p>
        </p:txBody>
      </p:sp>
      <p:sp>
        <p:nvSpPr>
          <p:cNvPr id="93" name="object 93"/>
          <p:cNvSpPr/>
          <p:nvPr/>
        </p:nvSpPr>
        <p:spPr>
          <a:xfrm>
            <a:off x="9981311" y="2813813"/>
            <a:ext cx="175514" cy="95885"/>
          </a:xfrm>
          <a:custGeom>
            <a:avLst/>
            <a:gdLst/>
            <a:ahLst/>
            <a:cxnLst/>
            <a:rect l="l" t="t" r="r" b="b"/>
            <a:pathLst>
              <a:path w="175514" h="95885">
                <a:moveTo>
                  <a:pt x="175514" y="0"/>
                </a:moveTo>
                <a:lnTo>
                  <a:pt x="155829" y="28193"/>
                </a:lnTo>
                <a:lnTo>
                  <a:pt x="15748" y="28193"/>
                </a:lnTo>
                <a:lnTo>
                  <a:pt x="0" y="0"/>
                </a:lnTo>
                <a:lnTo>
                  <a:pt x="0" y="50800"/>
                </a:lnTo>
                <a:lnTo>
                  <a:pt x="9906" y="95885"/>
                </a:lnTo>
                <a:lnTo>
                  <a:pt x="155829" y="95885"/>
                </a:lnTo>
                <a:lnTo>
                  <a:pt x="175514" y="50800"/>
                </a:lnTo>
                <a:lnTo>
                  <a:pt x="175514" y="2793"/>
                </a:lnTo>
              </a:path>
            </a:pathLst>
          </a:custGeom>
          <a:ln w="12700">
            <a:solidFill>
              <a:srgbClr val="FFFFFF"/>
            </a:solidFill>
          </a:ln>
        </p:spPr>
        <p:txBody>
          <a:bodyPr wrap="square" lIns="0" tIns="0" rIns="0" bIns="0" rtlCol="0">
            <a:noAutofit/>
          </a:bodyPr>
          <a:lstStyle/>
          <a:p>
            <a:endParaRPr/>
          </a:p>
        </p:txBody>
      </p:sp>
      <p:sp>
        <p:nvSpPr>
          <p:cNvPr id="94" name="object 94"/>
          <p:cNvSpPr/>
          <p:nvPr/>
        </p:nvSpPr>
        <p:spPr>
          <a:xfrm>
            <a:off x="9772269" y="1938909"/>
            <a:ext cx="347090" cy="341502"/>
          </a:xfrm>
          <a:custGeom>
            <a:avLst/>
            <a:gdLst/>
            <a:ahLst/>
            <a:cxnLst/>
            <a:rect l="l" t="t" r="r" b="b"/>
            <a:pathLst>
              <a:path w="347090" h="341502">
                <a:moveTo>
                  <a:pt x="1904" y="301878"/>
                </a:moveTo>
                <a:lnTo>
                  <a:pt x="9778" y="310388"/>
                </a:lnTo>
                <a:lnTo>
                  <a:pt x="17779" y="310388"/>
                </a:lnTo>
                <a:lnTo>
                  <a:pt x="311530" y="341502"/>
                </a:lnTo>
                <a:lnTo>
                  <a:pt x="323469" y="341502"/>
                </a:lnTo>
                <a:lnTo>
                  <a:pt x="331342" y="335788"/>
                </a:lnTo>
                <a:lnTo>
                  <a:pt x="335279" y="332993"/>
                </a:lnTo>
                <a:lnTo>
                  <a:pt x="341122" y="324485"/>
                </a:lnTo>
                <a:lnTo>
                  <a:pt x="343153" y="316102"/>
                </a:lnTo>
                <a:lnTo>
                  <a:pt x="347090" y="307593"/>
                </a:lnTo>
                <a:lnTo>
                  <a:pt x="347090" y="296290"/>
                </a:lnTo>
                <a:lnTo>
                  <a:pt x="299720" y="22478"/>
                </a:lnTo>
                <a:lnTo>
                  <a:pt x="297814" y="14096"/>
                </a:lnTo>
                <a:lnTo>
                  <a:pt x="293877" y="5587"/>
                </a:lnTo>
                <a:lnTo>
                  <a:pt x="289940" y="2793"/>
                </a:lnTo>
                <a:lnTo>
                  <a:pt x="283972" y="0"/>
                </a:lnTo>
                <a:lnTo>
                  <a:pt x="1904" y="0"/>
                </a:lnTo>
                <a:lnTo>
                  <a:pt x="0" y="8381"/>
                </a:lnTo>
                <a:lnTo>
                  <a:pt x="0" y="296290"/>
                </a:lnTo>
                <a:lnTo>
                  <a:pt x="1904" y="301878"/>
                </a:lnTo>
                <a:close/>
              </a:path>
            </a:pathLst>
          </a:custGeom>
          <a:solidFill>
            <a:srgbClr val="FFFFFF"/>
          </a:solidFill>
        </p:spPr>
        <p:txBody>
          <a:bodyPr wrap="square" lIns="0" tIns="0" rIns="0" bIns="0" rtlCol="0">
            <a:noAutofit/>
          </a:bodyPr>
          <a:lstStyle/>
          <a:p>
            <a:endParaRPr/>
          </a:p>
        </p:txBody>
      </p:sp>
      <p:sp>
        <p:nvSpPr>
          <p:cNvPr id="95" name="object 95"/>
          <p:cNvSpPr/>
          <p:nvPr/>
        </p:nvSpPr>
        <p:spPr>
          <a:xfrm>
            <a:off x="9772269" y="1938909"/>
            <a:ext cx="347090" cy="341502"/>
          </a:xfrm>
          <a:custGeom>
            <a:avLst/>
            <a:gdLst/>
            <a:ahLst/>
            <a:cxnLst/>
            <a:rect l="l" t="t" r="r" b="b"/>
            <a:pathLst>
              <a:path w="347090" h="341502">
                <a:moveTo>
                  <a:pt x="323469" y="341502"/>
                </a:moveTo>
                <a:lnTo>
                  <a:pt x="331342" y="335788"/>
                </a:lnTo>
                <a:lnTo>
                  <a:pt x="335279" y="332993"/>
                </a:lnTo>
                <a:lnTo>
                  <a:pt x="341122" y="324485"/>
                </a:lnTo>
                <a:lnTo>
                  <a:pt x="343153" y="316102"/>
                </a:lnTo>
                <a:lnTo>
                  <a:pt x="347090" y="307593"/>
                </a:lnTo>
                <a:lnTo>
                  <a:pt x="347090" y="296290"/>
                </a:lnTo>
                <a:lnTo>
                  <a:pt x="299720" y="22478"/>
                </a:lnTo>
                <a:lnTo>
                  <a:pt x="293877" y="5587"/>
                </a:lnTo>
                <a:lnTo>
                  <a:pt x="283972" y="0"/>
                </a:lnTo>
                <a:lnTo>
                  <a:pt x="278002" y="0"/>
                </a:lnTo>
                <a:lnTo>
                  <a:pt x="15748" y="0"/>
                </a:lnTo>
                <a:lnTo>
                  <a:pt x="7874" y="0"/>
                </a:lnTo>
                <a:lnTo>
                  <a:pt x="1904" y="0"/>
                </a:lnTo>
                <a:lnTo>
                  <a:pt x="0" y="8381"/>
                </a:lnTo>
                <a:lnTo>
                  <a:pt x="0" y="296290"/>
                </a:lnTo>
                <a:lnTo>
                  <a:pt x="1904" y="301878"/>
                </a:lnTo>
                <a:lnTo>
                  <a:pt x="9778" y="310388"/>
                </a:lnTo>
                <a:lnTo>
                  <a:pt x="17779" y="310388"/>
                </a:lnTo>
                <a:lnTo>
                  <a:pt x="311530" y="341502"/>
                </a:lnTo>
                <a:lnTo>
                  <a:pt x="323469" y="341502"/>
                </a:lnTo>
              </a:path>
            </a:pathLst>
          </a:custGeom>
          <a:ln w="12700">
            <a:solidFill>
              <a:srgbClr val="000000"/>
            </a:solidFill>
          </a:ln>
        </p:spPr>
        <p:txBody>
          <a:bodyPr wrap="square" lIns="0" tIns="0" rIns="0" bIns="0" rtlCol="0">
            <a:noAutofit/>
          </a:bodyPr>
          <a:lstStyle/>
          <a:p>
            <a:endParaRPr/>
          </a:p>
        </p:txBody>
      </p:sp>
      <p:sp>
        <p:nvSpPr>
          <p:cNvPr id="96" name="object 96"/>
          <p:cNvSpPr/>
          <p:nvPr/>
        </p:nvSpPr>
        <p:spPr>
          <a:xfrm>
            <a:off x="10003028" y="1935989"/>
            <a:ext cx="0" cy="333121"/>
          </a:xfrm>
          <a:custGeom>
            <a:avLst/>
            <a:gdLst/>
            <a:ahLst/>
            <a:cxnLst/>
            <a:rect l="l" t="t" r="r" b="b"/>
            <a:pathLst>
              <a:path h="333121">
                <a:moveTo>
                  <a:pt x="0" y="0"/>
                </a:moveTo>
                <a:lnTo>
                  <a:pt x="0" y="333121"/>
                </a:lnTo>
              </a:path>
            </a:pathLst>
          </a:custGeom>
          <a:ln w="12700">
            <a:solidFill>
              <a:srgbClr val="000000"/>
            </a:solidFill>
          </a:ln>
        </p:spPr>
        <p:txBody>
          <a:bodyPr wrap="square" lIns="0" tIns="0" rIns="0" bIns="0" rtlCol="0">
            <a:noAutofit/>
          </a:bodyPr>
          <a:lstStyle/>
          <a:p>
            <a:endParaRPr/>
          </a:p>
        </p:txBody>
      </p:sp>
      <p:sp>
        <p:nvSpPr>
          <p:cNvPr id="97" name="object 97"/>
          <p:cNvSpPr/>
          <p:nvPr/>
        </p:nvSpPr>
        <p:spPr>
          <a:xfrm>
            <a:off x="9928099" y="2147697"/>
            <a:ext cx="177419" cy="118490"/>
          </a:xfrm>
          <a:custGeom>
            <a:avLst/>
            <a:gdLst/>
            <a:ahLst/>
            <a:cxnLst/>
            <a:rect l="l" t="t" r="r" b="b"/>
            <a:pathLst>
              <a:path w="177419" h="118490">
                <a:moveTo>
                  <a:pt x="173481" y="0"/>
                </a:moveTo>
                <a:lnTo>
                  <a:pt x="0" y="115697"/>
                </a:lnTo>
                <a:lnTo>
                  <a:pt x="35432" y="118490"/>
                </a:lnTo>
                <a:lnTo>
                  <a:pt x="177419" y="22605"/>
                </a:lnTo>
                <a:lnTo>
                  <a:pt x="173481" y="0"/>
                </a:lnTo>
                <a:close/>
              </a:path>
            </a:pathLst>
          </a:custGeom>
          <a:solidFill>
            <a:srgbClr val="000000"/>
          </a:solidFill>
        </p:spPr>
        <p:txBody>
          <a:bodyPr wrap="square" lIns="0" tIns="0" rIns="0" bIns="0" rtlCol="0">
            <a:noAutofit/>
          </a:bodyPr>
          <a:lstStyle/>
          <a:p>
            <a:endParaRPr/>
          </a:p>
        </p:txBody>
      </p:sp>
      <p:sp>
        <p:nvSpPr>
          <p:cNvPr id="98" name="object 98"/>
          <p:cNvSpPr/>
          <p:nvPr/>
        </p:nvSpPr>
        <p:spPr>
          <a:xfrm>
            <a:off x="9928099" y="2147697"/>
            <a:ext cx="177419" cy="118490"/>
          </a:xfrm>
          <a:custGeom>
            <a:avLst/>
            <a:gdLst/>
            <a:ahLst/>
            <a:cxnLst/>
            <a:rect l="l" t="t" r="r" b="b"/>
            <a:pathLst>
              <a:path w="177419" h="118490">
                <a:moveTo>
                  <a:pt x="173481" y="0"/>
                </a:moveTo>
                <a:lnTo>
                  <a:pt x="0" y="115697"/>
                </a:lnTo>
                <a:lnTo>
                  <a:pt x="35432" y="118490"/>
                </a:lnTo>
                <a:lnTo>
                  <a:pt x="177419" y="22605"/>
                </a:lnTo>
                <a:lnTo>
                  <a:pt x="173481" y="0"/>
                </a:lnTo>
              </a:path>
            </a:pathLst>
          </a:custGeom>
          <a:ln w="12700">
            <a:solidFill>
              <a:srgbClr val="000000"/>
            </a:solidFill>
          </a:ln>
        </p:spPr>
        <p:txBody>
          <a:bodyPr wrap="square" lIns="0" tIns="0" rIns="0" bIns="0" rtlCol="0">
            <a:noAutofit/>
          </a:bodyPr>
          <a:lstStyle/>
          <a:p>
            <a:endParaRPr/>
          </a:p>
        </p:txBody>
      </p:sp>
      <p:sp>
        <p:nvSpPr>
          <p:cNvPr id="99" name="object 99"/>
          <p:cNvSpPr/>
          <p:nvPr/>
        </p:nvSpPr>
        <p:spPr>
          <a:xfrm>
            <a:off x="10105517" y="1856995"/>
            <a:ext cx="147954" cy="454405"/>
          </a:xfrm>
          <a:custGeom>
            <a:avLst/>
            <a:gdLst/>
            <a:ahLst/>
            <a:cxnLst/>
            <a:rect l="l" t="t" r="r" b="b"/>
            <a:pathLst>
              <a:path w="147954" h="454405">
                <a:moveTo>
                  <a:pt x="147954" y="454405"/>
                </a:moveTo>
                <a:lnTo>
                  <a:pt x="35559" y="0"/>
                </a:lnTo>
                <a:lnTo>
                  <a:pt x="15875" y="0"/>
                </a:lnTo>
                <a:lnTo>
                  <a:pt x="9905" y="5714"/>
                </a:lnTo>
                <a:lnTo>
                  <a:pt x="5968" y="8508"/>
                </a:lnTo>
                <a:lnTo>
                  <a:pt x="0" y="14096"/>
                </a:lnTo>
                <a:lnTo>
                  <a:pt x="0" y="45211"/>
                </a:lnTo>
                <a:lnTo>
                  <a:pt x="70992" y="454405"/>
                </a:lnTo>
                <a:lnTo>
                  <a:pt x="147954" y="454405"/>
                </a:lnTo>
                <a:close/>
              </a:path>
            </a:pathLst>
          </a:custGeom>
          <a:solidFill>
            <a:srgbClr val="FFFFFF"/>
          </a:solidFill>
        </p:spPr>
        <p:txBody>
          <a:bodyPr wrap="square" lIns="0" tIns="0" rIns="0" bIns="0" rtlCol="0">
            <a:noAutofit/>
          </a:bodyPr>
          <a:lstStyle/>
          <a:p>
            <a:endParaRPr/>
          </a:p>
        </p:txBody>
      </p:sp>
      <p:sp>
        <p:nvSpPr>
          <p:cNvPr id="100" name="object 100"/>
          <p:cNvSpPr/>
          <p:nvPr/>
        </p:nvSpPr>
        <p:spPr>
          <a:xfrm>
            <a:off x="10105517" y="1856995"/>
            <a:ext cx="147954" cy="454405"/>
          </a:xfrm>
          <a:custGeom>
            <a:avLst/>
            <a:gdLst/>
            <a:ahLst/>
            <a:cxnLst/>
            <a:rect l="l" t="t" r="r" b="b"/>
            <a:pathLst>
              <a:path w="147954" h="454405">
                <a:moveTo>
                  <a:pt x="147954" y="454405"/>
                </a:moveTo>
                <a:lnTo>
                  <a:pt x="70992" y="454405"/>
                </a:lnTo>
                <a:lnTo>
                  <a:pt x="0" y="45211"/>
                </a:lnTo>
                <a:lnTo>
                  <a:pt x="0" y="33908"/>
                </a:lnTo>
                <a:lnTo>
                  <a:pt x="0" y="25400"/>
                </a:lnTo>
                <a:lnTo>
                  <a:pt x="0" y="14096"/>
                </a:lnTo>
                <a:lnTo>
                  <a:pt x="5968" y="8508"/>
                </a:lnTo>
                <a:lnTo>
                  <a:pt x="9905" y="5714"/>
                </a:lnTo>
                <a:lnTo>
                  <a:pt x="15875" y="0"/>
                </a:lnTo>
                <a:lnTo>
                  <a:pt x="23749" y="0"/>
                </a:lnTo>
                <a:lnTo>
                  <a:pt x="29590" y="0"/>
                </a:lnTo>
                <a:lnTo>
                  <a:pt x="35559" y="0"/>
                </a:lnTo>
                <a:lnTo>
                  <a:pt x="147954" y="454405"/>
                </a:lnTo>
              </a:path>
            </a:pathLst>
          </a:custGeom>
          <a:ln w="12700">
            <a:solidFill>
              <a:srgbClr val="000000"/>
            </a:solidFill>
          </a:ln>
        </p:spPr>
        <p:txBody>
          <a:bodyPr wrap="square" lIns="0" tIns="0" rIns="0" bIns="0" rtlCol="0">
            <a:noAutofit/>
          </a:bodyPr>
          <a:lstStyle/>
          <a:p>
            <a:endParaRPr/>
          </a:p>
        </p:txBody>
      </p:sp>
      <p:sp>
        <p:nvSpPr>
          <p:cNvPr id="101" name="object 101"/>
          <p:cNvSpPr/>
          <p:nvPr/>
        </p:nvSpPr>
        <p:spPr>
          <a:xfrm>
            <a:off x="9369933" y="2935097"/>
            <a:ext cx="31496" cy="45212"/>
          </a:xfrm>
          <a:custGeom>
            <a:avLst/>
            <a:gdLst/>
            <a:ahLst/>
            <a:cxnLst/>
            <a:rect l="l" t="t" r="r" b="b"/>
            <a:pathLst>
              <a:path w="31496" h="45212">
                <a:moveTo>
                  <a:pt x="31496" y="45212"/>
                </a:moveTo>
                <a:lnTo>
                  <a:pt x="31496" y="25400"/>
                </a:lnTo>
                <a:lnTo>
                  <a:pt x="19685" y="0"/>
                </a:lnTo>
                <a:lnTo>
                  <a:pt x="7874" y="0"/>
                </a:lnTo>
                <a:lnTo>
                  <a:pt x="0" y="22605"/>
                </a:lnTo>
                <a:lnTo>
                  <a:pt x="0" y="45212"/>
                </a:lnTo>
                <a:lnTo>
                  <a:pt x="31496" y="45212"/>
                </a:lnTo>
                <a:close/>
              </a:path>
            </a:pathLst>
          </a:custGeom>
          <a:solidFill>
            <a:srgbClr val="FFFFFF"/>
          </a:solidFill>
        </p:spPr>
        <p:txBody>
          <a:bodyPr wrap="square" lIns="0" tIns="0" rIns="0" bIns="0" rtlCol="0">
            <a:noAutofit/>
          </a:bodyPr>
          <a:lstStyle/>
          <a:p>
            <a:endParaRPr/>
          </a:p>
        </p:txBody>
      </p:sp>
      <p:sp>
        <p:nvSpPr>
          <p:cNvPr id="102" name="object 102"/>
          <p:cNvSpPr/>
          <p:nvPr/>
        </p:nvSpPr>
        <p:spPr>
          <a:xfrm>
            <a:off x="9369933" y="2935097"/>
            <a:ext cx="31496" cy="45212"/>
          </a:xfrm>
          <a:custGeom>
            <a:avLst/>
            <a:gdLst/>
            <a:ahLst/>
            <a:cxnLst/>
            <a:rect l="l" t="t" r="r" b="b"/>
            <a:pathLst>
              <a:path w="31496" h="45212">
                <a:moveTo>
                  <a:pt x="31496" y="45212"/>
                </a:moveTo>
                <a:lnTo>
                  <a:pt x="31496" y="25400"/>
                </a:lnTo>
                <a:lnTo>
                  <a:pt x="19685" y="0"/>
                </a:lnTo>
                <a:lnTo>
                  <a:pt x="7874" y="0"/>
                </a:lnTo>
                <a:lnTo>
                  <a:pt x="0" y="22605"/>
                </a:lnTo>
                <a:lnTo>
                  <a:pt x="0" y="45212"/>
                </a:lnTo>
                <a:lnTo>
                  <a:pt x="31496" y="45212"/>
                </a:lnTo>
              </a:path>
            </a:pathLst>
          </a:custGeom>
          <a:ln w="12700">
            <a:solidFill>
              <a:srgbClr val="000000"/>
            </a:solidFill>
          </a:ln>
        </p:spPr>
        <p:txBody>
          <a:bodyPr wrap="square" lIns="0" tIns="0" rIns="0" bIns="0" rtlCol="0">
            <a:noAutofit/>
          </a:bodyPr>
          <a:lstStyle/>
          <a:p>
            <a:endParaRPr/>
          </a:p>
        </p:txBody>
      </p:sp>
      <p:sp>
        <p:nvSpPr>
          <p:cNvPr id="103" name="object 103"/>
          <p:cNvSpPr/>
          <p:nvPr/>
        </p:nvSpPr>
        <p:spPr>
          <a:xfrm>
            <a:off x="9354184" y="2816606"/>
            <a:ext cx="65024" cy="118491"/>
          </a:xfrm>
          <a:custGeom>
            <a:avLst/>
            <a:gdLst/>
            <a:ahLst/>
            <a:cxnLst/>
            <a:rect l="l" t="t" r="r" b="b"/>
            <a:pathLst>
              <a:path w="65024" h="118491">
                <a:moveTo>
                  <a:pt x="65024" y="0"/>
                </a:moveTo>
                <a:lnTo>
                  <a:pt x="0" y="0"/>
                </a:lnTo>
                <a:lnTo>
                  <a:pt x="0" y="50800"/>
                </a:lnTo>
                <a:lnTo>
                  <a:pt x="19685" y="118491"/>
                </a:lnTo>
                <a:lnTo>
                  <a:pt x="45339" y="118491"/>
                </a:lnTo>
                <a:lnTo>
                  <a:pt x="65024" y="50800"/>
                </a:lnTo>
                <a:lnTo>
                  <a:pt x="65024" y="0"/>
                </a:lnTo>
                <a:close/>
              </a:path>
            </a:pathLst>
          </a:custGeom>
          <a:solidFill>
            <a:srgbClr val="FFFFFF"/>
          </a:solidFill>
        </p:spPr>
        <p:txBody>
          <a:bodyPr wrap="square" lIns="0" tIns="0" rIns="0" bIns="0" rtlCol="0">
            <a:noAutofit/>
          </a:bodyPr>
          <a:lstStyle/>
          <a:p>
            <a:endParaRPr/>
          </a:p>
        </p:txBody>
      </p:sp>
      <p:sp>
        <p:nvSpPr>
          <p:cNvPr id="104" name="object 104"/>
          <p:cNvSpPr/>
          <p:nvPr/>
        </p:nvSpPr>
        <p:spPr>
          <a:xfrm>
            <a:off x="9354184" y="2816606"/>
            <a:ext cx="65024" cy="118491"/>
          </a:xfrm>
          <a:custGeom>
            <a:avLst/>
            <a:gdLst/>
            <a:ahLst/>
            <a:cxnLst/>
            <a:rect l="l" t="t" r="r" b="b"/>
            <a:pathLst>
              <a:path w="65024" h="118491">
                <a:moveTo>
                  <a:pt x="65024" y="0"/>
                </a:moveTo>
                <a:lnTo>
                  <a:pt x="65024" y="50800"/>
                </a:lnTo>
                <a:lnTo>
                  <a:pt x="45339" y="118491"/>
                </a:lnTo>
                <a:lnTo>
                  <a:pt x="19685" y="118491"/>
                </a:lnTo>
                <a:lnTo>
                  <a:pt x="0" y="50800"/>
                </a:lnTo>
                <a:lnTo>
                  <a:pt x="0" y="0"/>
                </a:lnTo>
                <a:lnTo>
                  <a:pt x="65024" y="0"/>
                </a:lnTo>
              </a:path>
            </a:pathLst>
          </a:custGeom>
          <a:ln w="12700">
            <a:solidFill>
              <a:srgbClr val="000000"/>
            </a:solidFill>
          </a:ln>
        </p:spPr>
        <p:txBody>
          <a:bodyPr wrap="square" lIns="0" tIns="0" rIns="0" bIns="0" rtlCol="0">
            <a:noAutofit/>
          </a:bodyPr>
          <a:lstStyle/>
          <a:p>
            <a:endParaRPr/>
          </a:p>
        </p:txBody>
      </p:sp>
      <p:sp>
        <p:nvSpPr>
          <p:cNvPr id="105" name="object 105"/>
          <p:cNvSpPr/>
          <p:nvPr/>
        </p:nvSpPr>
        <p:spPr>
          <a:xfrm>
            <a:off x="8306817" y="2884298"/>
            <a:ext cx="333375" cy="104393"/>
          </a:xfrm>
          <a:custGeom>
            <a:avLst/>
            <a:gdLst/>
            <a:ahLst/>
            <a:cxnLst/>
            <a:rect l="l" t="t" r="r" b="b"/>
            <a:pathLst>
              <a:path w="333375" h="104393">
                <a:moveTo>
                  <a:pt x="333375" y="0"/>
                </a:moveTo>
                <a:lnTo>
                  <a:pt x="0" y="50800"/>
                </a:lnTo>
                <a:lnTo>
                  <a:pt x="8000" y="104393"/>
                </a:lnTo>
                <a:lnTo>
                  <a:pt x="333375" y="50800"/>
                </a:lnTo>
                <a:lnTo>
                  <a:pt x="333375" y="0"/>
                </a:lnTo>
                <a:close/>
              </a:path>
            </a:pathLst>
          </a:custGeom>
          <a:solidFill>
            <a:srgbClr val="FFFFFF"/>
          </a:solidFill>
        </p:spPr>
        <p:txBody>
          <a:bodyPr wrap="square" lIns="0" tIns="0" rIns="0" bIns="0" rtlCol="0">
            <a:noAutofit/>
          </a:bodyPr>
          <a:lstStyle/>
          <a:p>
            <a:endParaRPr/>
          </a:p>
        </p:txBody>
      </p:sp>
      <p:sp>
        <p:nvSpPr>
          <p:cNvPr id="106" name="object 106"/>
          <p:cNvSpPr/>
          <p:nvPr/>
        </p:nvSpPr>
        <p:spPr>
          <a:xfrm>
            <a:off x="8306817" y="2884298"/>
            <a:ext cx="333375" cy="104393"/>
          </a:xfrm>
          <a:custGeom>
            <a:avLst/>
            <a:gdLst/>
            <a:ahLst/>
            <a:cxnLst/>
            <a:rect l="l" t="t" r="r" b="b"/>
            <a:pathLst>
              <a:path w="333375" h="104393">
                <a:moveTo>
                  <a:pt x="333375" y="0"/>
                </a:moveTo>
                <a:lnTo>
                  <a:pt x="0" y="50800"/>
                </a:lnTo>
                <a:lnTo>
                  <a:pt x="8000" y="104393"/>
                </a:lnTo>
                <a:lnTo>
                  <a:pt x="333375" y="50800"/>
                </a:lnTo>
                <a:lnTo>
                  <a:pt x="333375" y="0"/>
                </a:lnTo>
              </a:path>
            </a:pathLst>
          </a:custGeom>
          <a:ln w="12700">
            <a:solidFill>
              <a:srgbClr val="000000"/>
            </a:solidFill>
          </a:ln>
        </p:spPr>
        <p:txBody>
          <a:bodyPr wrap="square" lIns="0" tIns="0" rIns="0" bIns="0" rtlCol="0">
            <a:noAutofit/>
          </a:bodyPr>
          <a:lstStyle/>
          <a:p>
            <a:endParaRPr/>
          </a:p>
        </p:txBody>
      </p:sp>
      <p:sp>
        <p:nvSpPr>
          <p:cNvPr id="107" name="object 107"/>
          <p:cNvSpPr/>
          <p:nvPr/>
        </p:nvSpPr>
        <p:spPr>
          <a:xfrm>
            <a:off x="8632318" y="2794000"/>
            <a:ext cx="84835" cy="78994"/>
          </a:xfrm>
          <a:custGeom>
            <a:avLst/>
            <a:gdLst/>
            <a:ahLst/>
            <a:cxnLst/>
            <a:rect l="l" t="t" r="r" b="b"/>
            <a:pathLst>
              <a:path w="84835" h="78994">
                <a:moveTo>
                  <a:pt x="78866" y="78994"/>
                </a:moveTo>
                <a:lnTo>
                  <a:pt x="84835" y="25400"/>
                </a:lnTo>
                <a:lnTo>
                  <a:pt x="74929" y="0"/>
                </a:lnTo>
                <a:lnTo>
                  <a:pt x="9778" y="0"/>
                </a:lnTo>
                <a:lnTo>
                  <a:pt x="0" y="28194"/>
                </a:lnTo>
                <a:lnTo>
                  <a:pt x="3936" y="78994"/>
                </a:lnTo>
                <a:lnTo>
                  <a:pt x="78866" y="78994"/>
                </a:lnTo>
                <a:close/>
              </a:path>
            </a:pathLst>
          </a:custGeom>
          <a:solidFill>
            <a:srgbClr val="FFFFFF"/>
          </a:solidFill>
        </p:spPr>
        <p:txBody>
          <a:bodyPr wrap="square" lIns="0" tIns="0" rIns="0" bIns="0" rtlCol="0">
            <a:noAutofit/>
          </a:bodyPr>
          <a:lstStyle/>
          <a:p>
            <a:endParaRPr/>
          </a:p>
        </p:txBody>
      </p:sp>
      <p:sp>
        <p:nvSpPr>
          <p:cNvPr id="108" name="object 108"/>
          <p:cNvSpPr/>
          <p:nvPr/>
        </p:nvSpPr>
        <p:spPr>
          <a:xfrm>
            <a:off x="8632318" y="2794000"/>
            <a:ext cx="84835" cy="78994"/>
          </a:xfrm>
          <a:custGeom>
            <a:avLst/>
            <a:gdLst/>
            <a:ahLst/>
            <a:cxnLst/>
            <a:rect l="l" t="t" r="r" b="b"/>
            <a:pathLst>
              <a:path w="84835" h="78994">
                <a:moveTo>
                  <a:pt x="78866" y="78994"/>
                </a:moveTo>
                <a:lnTo>
                  <a:pt x="84835" y="25400"/>
                </a:lnTo>
                <a:lnTo>
                  <a:pt x="74929" y="0"/>
                </a:lnTo>
                <a:lnTo>
                  <a:pt x="9778" y="0"/>
                </a:lnTo>
                <a:lnTo>
                  <a:pt x="0" y="28194"/>
                </a:lnTo>
                <a:lnTo>
                  <a:pt x="3936" y="78994"/>
                </a:lnTo>
                <a:lnTo>
                  <a:pt x="78866" y="78994"/>
                </a:lnTo>
              </a:path>
            </a:pathLst>
          </a:custGeom>
          <a:ln w="12700">
            <a:solidFill>
              <a:srgbClr val="000000"/>
            </a:solidFill>
          </a:ln>
        </p:spPr>
        <p:txBody>
          <a:bodyPr wrap="square" lIns="0" tIns="0" rIns="0" bIns="0" rtlCol="0">
            <a:noAutofit/>
          </a:bodyPr>
          <a:lstStyle/>
          <a:p>
            <a:endParaRPr/>
          </a:p>
        </p:txBody>
      </p:sp>
      <p:sp>
        <p:nvSpPr>
          <p:cNvPr id="109" name="object 109"/>
          <p:cNvSpPr/>
          <p:nvPr/>
        </p:nvSpPr>
        <p:spPr>
          <a:xfrm>
            <a:off x="7799960" y="2782698"/>
            <a:ext cx="78993" cy="73405"/>
          </a:xfrm>
          <a:custGeom>
            <a:avLst/>
            <a:gdLst/>
            <a:ahLst/>
            <a:cxnLst/>
            <a:rect l="l" t="t" r="r" b="b"/>
            <a:pathLst>
              <a:path w="78993" h="73405">
                <a:moveTo>
                  <a:pt x="67055" y="0"/>
                </a:moveTo>
                <a:lnTo>
                  <a:pt x="9905" y="0"/>
                </a:lnTo>
                <a:lnTo>
                  <a:pt x="0" y="22605"/>
                </a:lnTo>
                <a:lnTo>
                  <a:pt x="0" y="73405"/>
                </a:lnTo>
                <a:lnTo>
                  <a:pt x="78993" y="73405"/>
                </a:lnTo>
                <a:lnTo>
                  <a:pt x="78993" y="25400"/>
                </a:lnTo>
                <a:lnTo>
                  <a:pt x="67055" y="0"/>
                </a:lnTo>
                <a:close/>
              </a:path>
            </a:pathLst>
          </a:custGeom>
          <a:solidFill>
            <a:srgbClr val="FFFFFF"/>
          </a:solidFill>
        </p:spPr>
        <p:txBody>
          <a:bodyPr wrap="square" lIns="0" tIns="0" rIns="0" bIns="0" rtlCol="0">
            <a:noAutofit/>
          </a:bodyPr>
          <a:lstStyle/>
          <a:p>
            <a:endParaRPr/>
          </a:p>
        </p:txBody>
      </p:sp>
      <p:sp>
        <p:nvSpPr>
          <p:cNvPr id="110" name="object 110"/>
          <p:cNvSpPr/>
          <p:nvPr/>
        </p:nvSpPr>
        <p:spPr>
          <a:xfrm>
            <a:off x="7799960" y="2782698"/>
            <a:ext cx="78993" cy="73405"/>
          </a:xfrm>
          <a:custGeom>
            <a:avLst/>
            <a:gdLst/>
            <a:ahLst/>
            <a:cxnLst/>
            <a:rect l="l" t="t" r="r" b="b"/>
            <a:pathLst>
              <a:path w="78993" h="73405">
                <a:moveTo>
                  <a:pt x="67055" y="0"/>
                </a:moveTo>
                <a:lnTo>
                  <a:pt x="9905" y="0"/>
                </a:lnTo>
                <a:lnTo>
                  <a:pt x="0" y="22605"/>
                </a:lnTo>
                <a:lnTo>
                  <a:pt x="0" y="73405"/>
                </a:lnTo>
                <a:lnTo>
                  <a:pt x="78993" y="73405"/>
                </a:lnTo>
                <a:lnTo>
                  <a:pt x="78993" y="25400"/>
                </a:lnTo>
                <a:lnTo>
                  <a:pt x="67055" y="0"/>
                </a:lnTo>
              </a:path>
            </a:pathLst>
          </a:custGeom>
          <a:ln w="12700">
            <a:solidFill>
              <a:srgbClr val="000000"/>
            </a:solidFill>
          </a:ln>
        </p:spPr>
        <p:txBody>
          <a:bodyPr wrap="square" lIns="0" tIns="0" rIns="0" bIns="0" rtlCol="0">
            <a:noAutofit/>
          </a:bodyPr>
          <a:lstStyle/>
          <a:p>
            <a:endParaRPr/>
          </a:p>
        </p:txBody>
      </p:sp>
      <p:sp>
        <p:nvSpPr>
          <p:cNvPr id="111" name="object 111"/>
          <p:cNvSpPr/>
          <p:nvPr/>
        </p:nvSpPr>
        <p:spPr>
          <a:xfrm>
            <a:off x="8985377" y="2872994"/>
            <a:ext cx="0" cy="76200"/>
          </a:xfrm>
          <a:custGeom>
            <a:avLst/>
            <a:gdLst/>
            <a:ahLst/>
            <a:cxnLst/>
            <a:rect l="l" t="t" r="r" b="b"/>
            <a:pathLst>
              <a:path h="76200">
                <a:moveTo>
                  <a:pt x="0" y="0"/>
                </a:moveTo>
                <a:lnTo>
                  <a:pt x="0" y="76200"/>
                </a:lnTo>
              </a:path>
            </a:pathLst>
          </a:custGeom>
          <a:ln w="12700">
            <a:solidFill>
              <a:srgbClr val="000000"/>
            </a:solidFill>
          </a:ln>
        </p:spPr>
        <p:txBody>
          <a:bodyPr wrap="square" lIns="0" tIns="0" rIns="0" bIns="0" rtlCol="0">
            <a:noAutofit/>
          </a:bodyPr>
          <a:lstStyle/>
          <a:p>
            <a:endParaRPr/>
          </a:p>
        </p:txBody>
      </p:sp>
      <p:sp>
        <p:nvSpPr>
          <p:cNvPr id="112" name="object 112"/>
          <p:cNvSpPr/>
          <p:nvPr/>
        </p:nvSpPr>
        <p:spPr>
          <a:xfrm>
            <a:off x="9480296" y="2706497"/>
            <a:ext cx="128270" cy="335914"/>
          </a:xfrm>
          <a:custGeom>
            <a:avLst/>
            <a:gdLst/>
            <a:ahLst/>
            <a:cxnLst/>
            <a:rect l="l" t="t" r="r" b="b"/>
            <a:pathLst>
              <a:path w="128270" h="335914">
                <a:moveTo>
                  <a:pt x="39497" y="335914"/>
                </a:moveTo>
                <a:lnTo>
                  <a:pt x="45465" y="287908"/>
                </a:lnTo>
                <a:lnTo>
                  <a:pt x="53339" y="242697"/>
                </a:lnTo>
                <a:lnTo>
                  <a:pt x="63119" y="194690"/>
                </a:lnTo>
                <a:lnTo>
                  <a:pt x="73025" y="155193"/>
                </a:lnTo>
                <a:lnTo>
                  <a:pt x="86868" y="101600"/>
                </a:lnTo>
                <a:lnTo>
                  <a:pt x="98678" y="64897"/>
                </a:lnTo>
                <a:lnTo>
                  <a:pt x="114426" y="28193"/>
                </a:lnTo>
                <a:lnTo>
                  <a:pt x="128270" y="0"/>
                </a:lnTo>
                <a:lnTo>
                  <a:pt x="82930" y="0"/>
                </a:lnTo>
                <a:lnTo>
                  <a:pt x="69087" y="31114"/>
                </a:lnTo>
                <a:lnTo>
                  <a:pt x="59181" y="62102"/>
                </a:lnTo>
                <a:lnTo>
                  <a:pt x="47371" y="93090"/>
                </a:lnTo>
                <a:lnTo>
                  <a:pt x="37592" y="129793"/>
                </a:lnTo>
                <a:lnTo>
                  <a:pt x="23749" y="189102"/>
                </a:lnTo>
                <a:lnTo>
                  <a:pt x="11937" y="254000"/>
                </a:lnTo>
                <a:lnTo>
                  <a:pt x="0" y="332993"/>
                </a:lnTo>
                <a:lnTo>
                  <a:pt x="39497" y="335914"/>
                </a:lnTo>
                <a:close/>
              </a:path>
            </a:pathLst>
          </a:custGeom>
          <a:solidFill>
            <a:srgbClr val="000000"/>
          </a:solidFill>
        </p:spPr>
        <p:txBody>
          <a:bodyPr wrap="square" lIns="0" tIns="0" rIns="0" bIns="0" rtlCol="0">
            <a:noAutofit/>
          </a:bodyPr>
          <a:lstStyle/>
          <a:p>
            <a:endParaRPr/>
          </a:p>
        </p:txBody>
      </p:sp>
      <p:sp>
        <p:nvSpPr>
          <p:cNvPr id="113" name="object 113"/>
          <p:cNvSpPr/>
          <p:nvPr/>
        </p:nvSpPr>
        <p:spPr>
          <a:xfrm>
            <a:off x="9480296" y="2706497"/>
            <a:ext cx="128270" cy="335914"/>
          </a:xfrm>
          <a:custGeom>
            <a:avLst/>
            <a:gdLst/>
            <a:ahLst/>
            <a:cxnLst/>
            <a:rect l="l" t="t" r="r" b="b"/>
            <a:pathLst>
              <a:path w="128270" h="335914">
                <a:moveTo>
                  <a:pt x="82930" y="0"/>
                </a:moveTo>
                <a:lnTo>
                  <a:pt x="69087" y="31114"/>
                </a:lnTo>
                <a:lnTo>
                  <a:pt x="59181" y="62102"/>
                </a:lnTo>
                <a:lnTo>
                  <a:pt x="47371" y="93090"/>
                </a:lnTo>
                <a:lnTo>
                  <a:pt x="37592" y="129793"/>
                </a:lnTo>
                <a:lnTo>
                  <a:pt x="23749" y="189102"/>
                </a:lnTo>
                <a:lnTo>
                  <a:pt x="11937" y="254000"/>
                </a:lnTo>
                <a:lnTo>
                  <a:pt x="0" y="332993"/>
                </a:lnTo>
                <a:lnTo>
                  <a:pt x="39497" y="335914"/>
                </a:lnTo>
                <a:lnTo>
                  <a:pt x="45465" y="287908"/>
                </a:lnTo>
                <a:lnTo>
                  <a:pt x="53339" y="242697"/>
                </a:lnTo>
                <a:lnTo>
                  <a:pt x="63119" y="194690"/>
                </a:lnTo>
                <a:lnTo>
                  <a:pt x="73025" y="155193"/>
                </a:lnTo>
                <a:lnTo>
                  <a:pt x="86868" y="101600"/>
                </a:lnTo>
                <a:lnTo>
                  <a:pt x="98678" y="64897"/>
                </a:lnTo>
                <a:lnTo>
                  <a:pt x="114426" y="28193"/>
                </a:lnTo>
                <a:lnTo>
                  <a:pt x="128270" y="0"/>
                </a:lnTo>
                <a:lnTo>
                  <a:pt x="82930" y="0"/>
                </a:lnTo>
              </a:path>
            </a:pathLst>
          </a:custGeom>
          <a:ln w="12700">
            <a:solidFill>
              <a:srgbClr val="000000"/>
            </a:solidFill>
          </a:ln>
        </p:spPr>
        <p:txBody>
          <a:bodyPr wrap="square" lIns="0" tIns="0" rIns="0" bIns="0" rtlCol="0">
            <a:noAutofit/>
          </a:bodyPr>
          <a:lstStyle/>
          <a:p>
            <a:endParaRPr/>
          </a:p>
        </p:txBody>
      </p:sp>
      <p:sp>
        <p:nvSpPr>
          <p:cNvPr id="114" name="object 114"/>
          <p:cNvSpPr/>
          <p:nvPr/>
        </p:nvSpPr>
        <p:spPr>
          <a:xfrm>
            <a:off x="8784208" y="2892805"/>
            <a:ext cx="134112" cy="0"/>
          </a:xfrm>
          <a:custGeom>
            <a:avLst/>
            <a:gdLst/>
            <a:ahLst/>
            <a:cxnLst/>
            <a:rect l="l" t="t" r="r" b="b"/>
            <a:pathLst>
              <a:path w="134112">
                <a:moveTo>
                  <a:pt x="0" y="0"/>
                </a:moveTo>
                <a:lnTo>
                  <a:pt x="134112" y="0"/>
                </a:lnTo>
              </a:path>
            </a:pathLst>
          </a:custGeom>
          <a:ln w="46482">
            <a:solidFill>
              <a:srgbClr val="000000"/>
            </a:solidFill>
          </a:ln>
        </p:spPr>
        <p:txBody>
          <a:bodyPr wrap="square" lIns="0" tIns="0" rIns="0" bIns="0" rtlCol="0">
            <a:noAutofit/>
          </a:bodyPr>
          <a:lstStyle/>
          <a:p>
            <a:endParaRPr/>
          </a:p>
        </p:txBody>
      </p:sp>
      <p:sp>
        <p:nvSpPr>
          <p:cNvPr id="115" name="object 115"/>
          <p:cNvSpPr/>
          <p:nvPr/>
        </p:nvSpPr>
        <p:spPr>
          <a:xfrm>
            <a:off x="8784208" y="2870200"/>
            <a:ext cx="134112" cy="45212"/>
          </a:xfrm>
          <a:custGeom>
            <a:avLst/>
            <a:gdLst/>
            <a:ahLst/>
            <a:cxnLst/>
            <a:rect l="l" t="t" r="r" b="b"/>
            <a:pathLst>
              <a:path w="134112" h="45212">
                <a:moveTo>
                  <a:pt x="134112" y="45212"/>
                </a:moveTo>
                <a:lnTo>
                  <a:pt x="134112" y="0"/>
                </a:lnTo>
                <a:lnTo>
                  <a:pt x="0" y="0"/>
                </a:lnTo>
                <a:lnTo>
                  <a:pt x="0" y="45212"/>
                </a:lnTo>
                <a:lnTo>
                  <a:pt x="134112" y="45212"/>
                </a:lnTo>
              </a:path>
            </a:pathLst>
          </a:custGeom>
          <a:ln w="12700">
            <a:solidFill>
              <a:srgbClr val="000000"/>
            </a:solidFill>
          </a:ln>
        </p:spPr>
        <p:txBody>
          <a:bodyPr wrap="square" lIns="0" tIns="0" rIns="0" bIns="0" rtlCol="0">
            <a:noAutofit/>
          </a:bodyPr>
          <a:lstStyle/>
          <a:p>
            <a:endParaRPr/>
          </a:p>
        </p:txBody>
      </p:sp>
      <p:sp>
        <p:nvSpPr>
          <p:cNvPr id="116" name="object 116"/>
          <p:cNvSpPr/>
          <p:nvPr/>
        </p:nvSpPr>
        <p:spPr>
          <a:xfrm>
            <a:off x="8657971" y="2895600"/>
            <a:ext cx="378586" cy="155194"/>
          </a:xfrm>
          <a:custGeom>
            <a:avLst/>
            <a:gdLst/>
            <a:ahLst/>
            <a:cxnLst/>
            <a:rect l="l" t="t" r="r" b="b"/>
            <a:pathLst>
              <a:path w="378586" h="155194">
                <a:moveTo>
                  <a:pt x="345058" y="0"/>
                </a:moveTo>
                <a:lnTo>
                  <a:pt x="31496" y="0"/>
                </a:lnTo>
                <a:lnTo>
                  <a:pt x="0" y="33909"/>
                </a:lnTo>
                <a:lnTo>
                  <a:pt x="0" y="124205"/>
                </a:lnTo>
                <a:lnTo>
                  <a:pt x="31496" y="155194"/>
                </a:lnTo>
                <a:lnTo>
                  <a:pt x="345058" y="155194"/>
                </a:lnTo>
                <a:lnTo>
                  <a:pt x="378586" y="124205"/>
                </a:lnTo>
                <a:lnTo>
                  <a:pt x="378586" y="30987"/>
                </a:lnTo>
                <a:lnTo>
                  <a:pt x="345058" y="0"/>
                </a:lnTo>
                <a:close/>
              </a:path>
            </a:pathLst>
          </a:custGeom>
          <a:solidFill>
            <a:srgbClr val="000000"/>
          </a:solidFill>
        </p:spPr>
        <p:txBody>
          <a:bodyPr wrap="square" lIns="0" tIns="0" rIns="0" bIns="0" rtlCol="0">
            <a:noAutofit/>
          </a:bodyPr>
          <a:lstStyle/>
          <a:p>
            <a:endParaRPr/>
          </a:p>
        </p:txBody>
      </p:sp>
      <p:sp>
        <p:nvSpPr>
          <p:cNvPr id="117" name="object 117"/>
          <p:cNvSpPr/>
          <p:nvPr/>
        </p:nvSpPr>
        <p:spPr>
          <a:xfrm>
            <a:off x="8657971" y="2895600"/>
            <a:ext cx="378586" cy="155194"/>
          </a:xfrm>
          <a:custGeom>
            <a:avLst/>
            <a:gdLst/>
            <a:ahLst/>
            <a:cxnLst/>
            <a:rect l="l" t="t" r="r" b="b"/>
            <a:pathLst>
              <a:path w="378586" h="155194">
                <a:moveTo>
                  <a:pt x="345058" y="0"/>
                </a:moveTo>
                <a:lnTo>
                  <a:pt x="31496" y="0"/>
                </a:lnTo>
                <a:lnTo>
                  <a:pt x="0" y="33909"/>
                </a:lnTo>
                <a:lnTo>
                  <a:pt x="0" y="124205"/>
                </a:lnTo>
                <a:lnTo>
                  <a:pt x="31496" y="155194"/>
                </a:lnTo>
                <a:lnTo>
                  <a:pt x="345058" y="155194"/>
                </a:lnTo>
                <a:lnTo>
                  <a:pt x="378586" y="124205"/>
                </a:lnTo>
                <a:lnTo>
                  <a:pt x="378586" y="30987"/>
                </a:lnTo>
                <a:lnTo>
                  <a:pt x="345058" y="0"/>
                </a:lnTo>
              </a:path>
            </a:pathLst>
          </a:custGeom>
          <a:ln w="12700">
            <a:solidFill>
              <a:srgbClr val="000000"/>
            </a:solidFill>
          </a:ln>
        </p:spPr>
        <p:txBody>
          <a:bodyPr wrap="square" lIns="0" tIns="0" rIns="0" bIns="0" rtlCol="0">
            <a:noAutofit/>
          </a:bodyPr>
          <a:lstStyle/>
          <a:p>
            <a:endParaRPr/>
          </a:p>
        </p:txBody>
      </p:sp>
      <p:sp>
        <p:nvSpPr>
          <p:cNvPr id="118" name="object 118"/>
          <p:cNvSpPr/>
          <p:nvPr/>
        </p:nvSpPr>
        <p:spPr>
          <a:xfrm>
            <a:off x="8661909" y="2932303"/>
            <a:ext cx="372745" cy="0"/>
          </a:xfrm>
          <a:custGeom>
            <a:avLst/>
            <a:gdLst/>
            <a:ahLst/>
            <a:cxnLst/>
            <a:rect l="l" t="t" r="r" b="b"/>
            <a:pathLst>
              <a:path w="372745">
                <a:moveTo>
                  <a:pt x="0" y="0"/>
                </a:moveTo>
                <a:lnTo>
                  <a:pt x="372745" y="0"/>
                </a:lnTo>
              </a:path>
            </a:pathLst>
          </a:custGeom>
          <a:ln w="12700">
            <a:solidFill>
              <a:srgbClr val="FFFFFF"/>
            </a:solidFill>
          </a:ln>
        </p:spPr>
        <p:txBody>
          <a:bodyPr wrap="square" lIns="0" tIns="0" rIns="0" bIns="0" rtlCol="0">
            <a:noAutofit/>
          </a:bodyPr>
          <a:lstStyle/>
          <a:p>
            <a:endParaRPr/>
          </a:p>
        </p:txBody>
      </p:sp>
      <p:sp>
        <p:nvSpPr>
          <p:cNvPr id="119" name="object 119"/>
          <p:cNvSpPr/>
          <p:nvPr/>
        </p:nvSpPr>
        <p:spPr>
          <a:xfrm>
            <a:off x="8618475" y="2881504"/>
            <a:ext cx="31623" cy="56387"/>
          </a:xfrm>
          <a:custGeom>
            <a:avLst/>
            <a:gdLst/>
            <a:ahLst/>
            <a:cxnLst/>
            <a:rect l="l" t="t" r="r" b="b"/>
            <a:pathLst>
              <a:path w="31623" h="56387">
                <a:moveTo>
                  <a:pt x="31623" y="53594"/>
                </a:moveTo>
                <a:lnTo>
                  <a:pt x="31623" y="0"/>
                </a:lnTo>
                <a:lnTo>
                  <a:pt x="0" y="2794"/>
                </a:lnTo>
                <a:lnTo>
                  <a:pt x="0" y="56387"/>
                </a:lnTo>
                <a:lnTo>
                  <a:pt x="31623" y="53594"/>
                </a:lnTo>
                <a:close/>
              </a:path>
            </a:pathLst>
          </a:custGeom>
          <a:solidFill>
            <a:srgbClr val="000000"/>
          </a:solidFill>
        </p:spPr>
        <p:txBody>
          <a:bodyPr wrap="square" lIns="0" tIns="0" rIns="0" bIns="0" rtlCol="0">
            <a:noAutofit/>
          </a:bodyPr>
          <a:lstStyle/>
          <a:p>
            <a:endParaRPr/>
          </a:p>
        </p:txBody>
      </p:sp>
      <p:sp>
        <p:nvSpPr>
          <p:cNvPr id="120" name="object 120"/>
          <p:cNvSpPr/>
          <p:nvPr/>
        </p:nvSpPr>
        <p:spPr>
          <a:xfrm>
            <a:off x="8618475" y="2881504"/>
            <a:ext cx="31623" cy="56387"/>
          </a:xfrm>
          <a:custGeom>
            <a:avLst/>
            <a:gdLst/>
            <a:ahLst/>
            <a:cxnLst/>
            <a:rect l="l" t="t" r="r" b="b"/>
            <a:pathLst>
              <a:path w="31623" h="56387">
                <a:moveTo>
                  <a:pt x="31623" y="53594"/>
                </a:moveTo>
                <a:lnTo>
                  <a:pt x="0" y="56387"/>
                </a:lnTo>
                <a:lnTo>
                  <a:pt x="0" y="2794"/>
                </a:lnTo>
                <a:lnTo>
                  <a:pt x="31623" y="0"/>
                </a:lnTo>
                <a:lnTo>
                  <a:pt x="31623" y="53594"/>
                </a:lnTo>
              </a:path>
            </a:pathLst>
          </a:custGeom>
          <a:ln w="12700">
            <a:solidFill>
              <a:srgbClr val="000000"/>
            </a:solidFill>
          </a:ln>
        </p:spPr>
        <p:txBody>
          <a:bodyPr wrap="square" lIns="0" tIns="0" rIns="0" bIns="0" rtlCol="0">
            <a:noAutofit/>
          </a:bodyPr>
          <a:lstStyle/>
          <a:p>
            <a:endParaRPr/>
          </a:p>
        </p:txBody>
      </p:sp>
      <p:sp>
        <p:nvSpPr>
          <p:cNvPr id="121" name="object 121"/>
          <p:cNvSpPr/>
          <p:nvPr/>
        </p:nvSpPr>
        <p:spPr>
          <a:xfrm>
            <a:off x="9728834" y="2726309"/>
            <a:ext cx="201168" cy="471296"/>
          </a:xfrm>
          <a:custGeom>
            <a:avLst/>
            <a:gdLst/>
            <a:ahLst/>
            <a:cxnLst/>
            <a:rect l="l" t="t" r="r" b="b"/>
            <a:pathLst>
              <a:path w="201168" h="471296">
                <a:moveTo>
                  <a:pt x="0" y="2793"/>
                </a:moveTo>
                <a:lnTo>
                  <a:pt x="17780" y="471296"/>
                </a:lnTo>
                <a:lnTo>
                  <a:pt x="53213" y="471296"/>
                </a:lnTo>
                <a:lnTo>
                  <a:pt x="84836" y="462788"/>
                </a:lnTo>
                <a:lnTo>
                  <a:pt x="116332" y="445896"/>
                </a:lnTo>
                <a:lnTo>
                  <a:pt x="144018" y="417702"/>
                </a:lnTo>
                <a:lnTo>
                  <a:pt x="165735" y="378078"/>
                </a:lnTo>
                <a:lnTo>
                  <a:pt x="185420" y="335788"/>
                </a:lnTo>
                <a:lnTo>
                  <a:pt x="197231" y="287781"/>
                </a:lnTo>
                <a:lnTo>
                  <a:pt x="201168" y="234187"/>
                </a:lnTo>
                <a:lnTo>
                  <a:pt x="197231" y="180593"/>
                </a:lnTo>
                <a:lnTo>
                  <a:pt x="185420" y="129793"/>
                </a:lnTo>
                <a:lnTo>
                  <a:pt x="165735" y="87502"/>
                </a:lnTo>
                <a:lnTo>
                  <a:pt x="141986" y="50800"/>
                </a:lnTo>
                <a:lnTo>
                  <a:pt x="114426" y="22478"/>
                </a:lnTo>
                <a:lnTo>
                  <a:pt x="84836" y="2793"/>
                </a:lnTo>
                <a:lnTo>
                  <a:pt x="51308" y="0"/>
                </a:lnTo>
                <a:lnTo>
                  <a:pt x="17780" y="0"/>
                </a:lnTo>
                <a:lnTo>
                  <a:pt x="0" y="2793"/>
                </a:lnTo>
                <a:close/>
              </a:path>
            </a:pathLst>
          </a:custGeom>
          <a:solidFill>
            <a:srgbClr val="000000"/>
          </a:solidFill>
        </p:spPr>
        <p:txBody>
          <a:bodyPr wrap="square" lIns="0" tIns="0" rIns="0" bIns="0" rtlCol="0">
            <a:noAutofit/>
          </a:bodyPr>
          <a:lstStyle/>
          <a:p>
            <a:endParaRPr/>
          </a:p>
        </p:txBody>
      </p:sp>
      <p:sp>
        <p:nvSpPr>
          <p:cNvPr id="122" name="object 122"/>
          <p:cNvSpPr/>
          <p:nvPr/>
        </p:nvSpPr>
        <p:spPr>
          <a:xfrm>
            <a:off x="9728834" y="2726309"/>
            <a:ext cx="201168" cy="471296"/>
          </a:xfrm>
          <a:custGeom>
            <a:avLst/>
            <a:gdLst/>
            <a:ahLst/>
            <a:cxnLst/>
            <a:rect l="l" t="t" r="r" b="b"/>
            <a:pathLst>
              <a:path w="201168" h="471296">
                <a:moveTo>
                  <a:pt x="0" y="2793"/>
                </a:moveTo>
                <a:lnTo>
                  <a:pt x="17780" y="0"/>
                </a:lnTo>
                <a:lnTo>
                  <a:pt x="51308" y="0"/>
                </a:lnTo>
                <a:lnTo>
                  <a:pt x="84836" y="2793"/>
                </a:lnTo>
                <a:lnTo>
                  <a:pt x="114426" y="22478"/>
                </a:lnTo>
                <a:lnTo>
                  <a:pt x="141986" y="50800"/>
                </a:lnTo>
                <a:lnTo>
                  <a:pt x="165735" y="87502"/>
                </a:lnTo>
                <a:lnTo>
                  <a:pt x="185420" y="129793"/>
                </a:lnTo>
                <a:lnTo>
                  <a:pt x="197231" y="180593"/>
                </a:lnTo>
                <a:lnTo>
                  <a:pt x="201168" y="234187"/>
                </a:lnTo>
                <a:lnTo>
                  <a:pt x="197231" y="287781"/>
                </a:lnTo>
                <a:lnTo>
                  <a:pt x="185420" y="335788"/>
                </a:lnTo>
                <a:lnTo>
                  <a:pt x="165735" y="378078"/>
                </a:lnTo>
                <a:lnTo>
                  <a:pt x="144018" y="417702"/>
                </a:lnTo>
                <a:lnTo>
                  <a:pt x="116332" y="445896"/>
                </a:lnTo>
                <a:lnTo>
                  <a:pt x="84836" y="462788"/>
                </a:lnTo>
                <a:lnTo>
                  <a:pt x="53213" y="471296"/>
                </a:lnTo>
                <a:lnTo>
                  <a:pt x="17780" y="471296"/>
                </a:lnTo>
                <a:lnTo>
                  <a:pt x="0" y="2793"/>
                </a:lnTo>
              </a:path>
            </a:pathLst>
          </a:custGeom>
          <a:ln w="12700">
            <a:solidFill>
              <a:srgbClr val="000000"/>
            </a:solidFill>
          </a:ln>
        </p:spPr>
        <p:txBody>
          <a:bodyPr wrap="square" lIns="0" tIns="0" rIns="0" bIns="0" rtlCol="0">
            <a:noAutofit/>
          </a:bodyPr>
          <a:lstStyle/>
          <a:p>
            <a:endParaRPr/>
          </a:p>
        </p:txBody>
      </p:sp>
      <p:sp>
        <p:nvSpPr>
          <p:cNvPr id="123" name="object 123"/>
          <p:cNvSpPr/>
          <p:nvPr/>
        </p:nvSpPr>
        <p:spPr>
          <a:xfrm>
            <a:off x="9592818" y="2726309"/>
            <a:ext cx="295782" cy="471296"/>
          </a:xfrm>
          <a:custGeom>
            <a:avLst/>
            <a:gdLst/>
            <a:ahLst/>
            <a:cxnLst/>
            <a:rect l="l" t="t" r="r" b="b"/>
            <a:pathLst>
              <a:path w="295782" h="471296">
                <a:moveTo>
                  <a:pt x="0" y="234187"/>
                </a:moveTo>
                <a:lnTo>
                  <a:pt x="3936" y="287781"/>
                </a:lnTo>
                <a:lnTo>
                  <a:pt x="13715" y="338581"/>
                </a:lnTo>
                <a:lnTo>
                  <a:pt x="31496" y="381000"/>
                </a:lnTo>
                <a:lnTo>
                  <a:pt x="55117" y="420496"/>
                </a:lnTo>
                <a:lnTo>
                  <a:pt x="82803" y="445896"/>
                </a:lnTo>
                <a:lnTo>
                  <a:pt x="116331" y="462788"/>
                </a:lnTo>
                <a:lnTo>
                  <a:pt x="147827" y="471296"/>
                </a:lnTo>
                <a:lnTo>
                  <a:pt x="181355" y="462788"/>
                </a:lnTo>
                <a:lnTo>
                  <a:pt x="212978" y="445896"/>
                </a:lnTo>
                <a:lnTo>
                  <a:pt x="240537" y="417702"/>
                </a:lnTo>
                <a:lnTo>
                  <a:pt x="264286" y="378078"/>
                </a:lnTo>
                <a:lnTo>
                  <a:pt x="280034" y="335788"/>
                </a:lnTo>
                <a:lnTo>
                  <a:pt x="289813" y="287781"/>
                </a:lnTo>
                <a:lnTo>
                  <a:pt x="295782" y="234187"/>
                </a:lnTo>
                <a:lnTo>
                  <a:pt x="289813" y="180593"/>
                </a:lnTo>
                <a:lnTo>
                  <a:pt x="280034" y="129793"/>
                </a:lnTo>
                <a:lnTo>
                  <a:pt x="262254" y="87502"/>
                </a:lnTo>
                <a:lnTo>
                  <a:pt x="238632" y="50800"/>
                </a:lnTo>
                <a:lnTo>
                  <a:pt x="210947" y="22478"/>
                </a:lnTo>
                <a:lnTo>
                  <a:pt x="179450" y="2793"/>
                </a:lnTo>
                <a:lnTo>
                  <a:pt x="147827" y="0"/>
                </a:lnTo>
                <a:lnTo>
                  <a:pt x="114300" y="5587"/>
                </a:lnTo>
                <a:lnTo>
                  <a:pt x="82803" y="22478"/>
                </a:lnTo>
                <a:lnTo>
                  <a:pt x="55117" y="50800"/>
                </a:lnTo>
                <a:lnTo>
                  <a:pt x="31496" y="87502"/>
                </a:lnTo>
                <a:lnTo>
                  <a:pt x="13715" y="132587"/>
                </a:lnTo>
                <a:lnTo>
                  <a:pt x="3936" y="180593"/>
                </a:lnTo>
                <a:lnTo>
                  <a:pt x="0" y="234187"/>
                </a:lnTo>
                <a:close/>
              </a:path>
            </a:pathLst>
          </a:custGeom>
          <a:solidFill>
            <a:srgbClr val="000000"/>
          </a:solidFill>
        </p:spPr>
        <p:txBody>
          <a:bodyPr wrap="square" lIns="0" tIns="0" rIns="0" bIns="0" rtlCol="0">
            <a:noAutofit/>
          </a:bodyPr>
          <a:lstStyle/>
          <a:p>
            <a:endParaRPr/>
          </a:p>
        </p:txBody>
      </p:sp>
      <p:sp>
        <p:nvSpPr>
          <p:cNvPr id="124" name="object 124"/>
          <p:cNvSpPr/>
          <p:nvPr/>
        </p:nvSpPr>
        <p:spPr>
          <a:xfrm>
            <a:off x="9592818" y="2726309"/>
            <a:ext cx="295782" cy="471296"/>
          </a:xfrm>
          <a:custGeom>
            <a:avLst/>
            <a:gdLst/>
            <a:ahLst/>
            <a:cxnLst/>
            <a:rect l="l" t="t" r="r" b="b"/>
            <a:pathLst>
              <a:path w="295782" h="471296">
                <a:moveTo>
                  <a:pt x="0" y="234187"/>
                </a:moveTo>
                <a:lnTo>
                  <a:pt x="3936" y="180593"/>
                </a:lnTo>
                <a:lnTo>
                  <a:pt x="13715" y="132587"/>
                </a:lnTo>
                <a:lnTo>
                  <a:pt x="31496" y="87502"/>
                </a:lnTo>
                <a:lnTo>
                  <a:pt x="55117" y="50800"/>
                </a:lnTo>
                <a:lnTo>
                  <a:pt x="82803" y="22478"/>
                </a:lnTo>
                <a:lnTo>
                  <a:pt x="114300" y="5587"/>
                </a:lnTo>
                <a:lnTo>
                  <a:pt x="147827" y="0"/>
                </a:lnTo>
                <a:lnTo>
                  <a:pt x="179450" y="2793"/>
                </a:lnTo>
                <a:lnTo>
                  <a:pt x="210947" y="22478"/>
                </a:lnTo>
                <a:lnTo>
                  <a:pt x="238632" y="50800"/>
                </a:lnTo>
                <a:lnTo>
                  <a:pt x="262254" y="87502"/>
                </a:lnTo>
                <a:lnTo>
                  <a:pt x="280034" y="129793"/>
                </a:lnTo>
                <a:lnTo>
                  <a:pt x="289813" y="180593"/>
                </a:lnTo>
                <a:lnTo>
                  <a:pt x="295782" y="234187"/>
                </a:lnTo>
                <a:lnTo>
                  <a:pt x="289813" y="287781"/>
                </a:lnTo>
                <a:lnTo>
                  <a:pt x="280034" y="335788"/>
                </a:lnTo>
                <a:lnTo>
                  <a:pt x="264286" y="378078"/>
                </a:lnTo>
                <a:lnTo>
                  <a:pt x="240537" y="417702"/>
                </a:lnTo>
                <a:lnTo>
                  <a:pt x="212978" y="445896"/>
                </a:lnTo>
                <a:lnTo>
                  <a:pt x="181355" y="462788"/>
                </a:lnTo>
                <a:lnTo>
                  <a:pt x="147827" y="471296"/>
                </a:lnTo>
                <a:lnTo>
                  <a:pt x="116331" y="462788"/>
                </a:lnTo>
                <a:lnTo>
                  <a:pt x="82803" y="445896"/>
                </a:lnTo>
                <a:lnTo>
                  <a:pt x="55117" y="420496"/>
                </a:lnTo>
                <a:lnTo>
                  <a:pt x="31496" y="381000"/>
                </a:lnTo>
                <a:lnTo>
                  <a:pt x="13715" y="338581"/>
                </a:lnTo>
                <a:lnTo>
                  <a:pt x="3936" y="287781"/>
                </a:lnTo>
                <a:lnTo>
                  <a:pt x="0" y="234187"/>
                </a:lnTo>
              </a:path>
            </a:pathLst>
          </a:custGeom>
          <a:ln w="12700">
            <a:solidFill>
              <a:srgbClr val="000000"/>
            </a:solidFill>
          </a:ln>
        </p:spPr>
        <p:txBody>
          <a:bodyPr wrap="square" lIns="0" tIns="0" rIns="0" bIns="0" rtlCol="0">
            <a:noAutofit/>
          </a:bodyPr>
          <a:lstStyle/>
          <a:p>
            <a:endParaRPr/>
          </a:p>
        </p:txBody>
      </p:sp>
      <p:sp>
        <p:nvSpPr>
          <p:cNvPr id="125" name="object 125"/>
          <p:cNvSpPr/>
          <p:nvPr/>
        </p:nvSpPr>
        <p:spPr>
          <a:xfrm>
            <a:off x="9643999" y="2813812"/>
            <a:ext cx="193294" cy="304800"/>
          </a:xfrm>
          <a:custGeom>
            <a:avLst/>
            <a:gdLst/>
            <a:ahLst/>
            <a:cxnLst/>
            <a:rect l="l" t="t" r="r" b="b"/>
            <a:pathLst>
              <a:path w="193294" h="304800">
                <a:moveTo>
                  <a:pt x="0" y="149478"/>
                </a:moveTo>
                <a:lnTo>
                  <a:pt x="0" y="166497"/>
                </a:lnTo>
                <a:lnTo>
                  <a:pt x="5969" y="208787"/>
                </a:lnTo>
                <a:lnTo>
                  <a:pt x="19811" y="245490"/>
                </a:lnTo>
                <a:lnTo>
                  <a:pt x="41528" y="276478"/>
                </a:lnTo>
                <a:lnTo>
                  <a:pt x="65150" y="293497"/>
                </a:lnTo>
                <a:lnTo>
                  <a:pt x="90804" y="304800"/>
                </a:lnTo>
                <a:lnTo>
                  <a:pt x="118364" y="299085"/>
                </a:lnTo>
                <a:lnTo>
                  <a:pt x="144018" y="284988"/>
                </a:lnTo>
                <a:lnTo>
                  <a:pt x="163702" y="256793"/>
                </a:lnTo>
                <a:lnTo>
                  <a:pt x="179577" y="222885"/>
                </a:lnTo>
                <a:lnTo>
                  <a:pt x="191389" y="183387"/>
                </a:lnTo>
                <a:lnTo>
                  <a:pt x="193294" y="141097"/>
                </a:lnTo>
                <a:lnTo>
                  <a:pt x="187451" y="98678"/>
                </a:lnTo>
                <a:lnTo>
                  <a:pt x="173608" y="61975"/>
                </a:lnTo>
                <a:lnTo>
                  <a:pt x="155828" y="28193"/>
                </a:lnTo>
                <a:lnTo>
                  <a:pt x="132206" y="5587"/>
                </a:lnTo>
                <a:lnTo>
                  <a:pt x="106552" y="0"/>
                </a:lnTo>
                <a:lnTo>
                  <a:pt x="78994" y="0"/>
                </a:lnTo>
                <a:lnTo>
                  <a:pt x="53340" y="11175"/>
                </a:lnTo>
                <a:lnTo>
                  <a:pt x="29591" y="36575"/>
                </a:lnTo>
                <a:lnTo>
                  <a:pt x="13843" y="67690"/>
                </a:lnTo>
                <a:lnTo>
                  <a:pt x="3936" y="107187"/>
                </a:lnTo>
                <a:lnTo>
                  <a:pt x="0" y="149478"/>
                </a:lnTo>
                <a:close/>
              </a:path>
            </a:pathLst>
          </a:custGeom>
          <a:solidFill>
            <a:srgbClr val="FFFFFF"/>
          </a:solidFill>
        </p:spPr>
        <p:txBody>
          <a:bodyPr wrap="square" lIns="0" tIns="0" rIns="0" bIns="0" rtlCol="0">
            <a:noAutofit/>
          </a:bodyPr>
          <a:lstStyle/>
          <a:p>
            <a:endParaRPr/>
          </a:p>
        </p:txBody>
      </p:sp>
      <p:sp>
        <p:nvSpPr>
          <p:cNvPr id="126" name="object 126"/>
          <p:cNvSpPr/>
          <p:nvPr/>
        </p:nvSpPr>
        <p:spPr>
          <a:xfrm>
            <a:off x="9643999" y="2813812"/>
            <a:ext cx="193294" cy="304800"/>
          </a:xfrm>
          <a:custGeom>
            <a:avLst/>
            <a:gdLst/>
            <a:ahLst/>
            <a:cxnLst/>
            <a:rect l="l" t="t" r="r" b="b"/>
            <a:pathLst>
              <a:path w="193294" h="304800">
                <a:moveTo>
                  <a:pt x="0" y="149478"/>
                </a:moveTo>
                <a:lnTo>
                  <a:pt x="3936" y="107187"/>
                </a:lnTo>
                <a:lnTo>
                  <a:pt x="13843" y="67690"/>
                </a:lnTo>
                <a:lnTo>
                  <a:pt x="29591" y="36575"/>
                </a:lnTo>
                <a:lnTo>
                  <a:pt x="53340" y="11175"/>
                </a:lnTo>
                <a:lnTo>
                  <a:pt x="78994" y="0"/>
                </a:lnTo>
                <a:lnTo>
                  <a:pt x="106552" y="0"/>
                </a:lnTo>
                <a:lnTo>
                  <a:pt x="132206" y="5587"/>
                </a:lnTo>
                <a:lnTo>
                  <a:pt x="155828" y="28193"/>
                </a:lnTo>
                <a:lnTo>
                  <a:pt x="173608" y="61975"/>
                </a:lnTo>
                <a:lnTo>
                  <a:pt x="187451" y="98678"/>
                </a:lnTo>
                <a:lnTo>
                  <a:pt x="193294" y="141097"/>
                </a:lnTo>
                <a:lnTo>
                  <a:pt x="191389" y="183387"/>
                </a:lnTo>
                <a:lnTo>
                  <a:pt x="179577" y="222885"/>
                </a:lnTo>
                <a:lnTo>
                  <a:pt x="163702" y="256793"/>
                </a:lnTo>
                <a:lnTo>
                  <a:pt x="144018" y="284988"/>
                </a:lnTo>
                <a:lnTo>
                  <a:pt x="118364" y="299085"/>
                </a:lnTo>
                <a:lnTo>
                  <a:pt x="90804" y="304800"/>
                </a:lnTo>
                <a:lnTo>
                  <a:pt x="65150" y="293497"/>
                </a:lnTo>
                <a:lnTo>
                  <a:pt x="41528" y="276478"/>
                </a:lnTo>
                <a:lnTo>
                  <a:pt x="19811" y="245490"/>
                </a:lnTo>
                <a:lnTo>
                  <a:pt x="5969" y="208787"/>
                </a:lnTo>
                <a:lnTo>
                  <a:pt x="0" y="166497"/>
                </a:lnTo>
                <a:lnTo>
                  <a:pt x="0" y="149478"/>
                </a:lnTo>
              </a:path>
            </a:pathLst>
          </a:custGeom>
          <a:ln w="12700">
            <a:solidFill>
              <a:srgbClr val="FFFFFF"/>
            </a:solidFill>
          </a:ln>
        </p:spPr>
        <p:txBody>
          <a:bodyPr wrap="square" lIns="0" tIns="0" rIns="0" bIns="0" rtlCol="0">
            <a:noAutofit/>
          </a:bodyPr>
          <a:lstStyle/>
          <a:p>
            <a:endParaRPr/>
          </a:p>
        </p:txBody>
      </p:sp>
      <p:sp>
        <p:nvSpPr>
          <p:cNvPr id="127" name="object 127"/>
          <p:cNvSpPr/>
          <p:nvPr/>
        </p:nvSpPr>
        <p:spPr>
          <a:xfrm>
            <a:off x="9667749" y="2850389"/>
            <a:ext cx="145923" cy="237109"/>
          </a:xfrm>
          <a:custGeom>
            <a:avLst/>
            <a:gdLst/>
            <a:ahLst/>
            <a:cxnLst/>
            <a:rect l="l" t="t" r="r" b="b"/>
            <a:pathLst>
              <a:path w="145923" h="237109">
                <a:moveTo>
                  <a:pt x="0" y="118617"/>
                </a:moveTo>
                <a:lnTo>
                  <a:pt x="1904" y="79121"/>
                </a:lnTo>
                <a:lnTo>
                  <a:pt x="13716" y="45212"/>
                </a:lnTo>
                <a:lnTo>
                  <a:pt x="29591" y="19812"/>
                </a:lnTo>
                <a:lnTo>
                  <a:pt x="49275" y="2921"/>
                </a:lnTo>
                <a:lnTo>
                  <a:pt x="72898" y="0"/>
                </a:lnTo>
                <a:lnTo>
                  <a:pt x="96647" y="5714"/>
                </a:lnTo>
                <a:lnTo>
                  <a:pt x="116331" y="22606"/>
                </a:lnTo>
                <a:lnTo>
                  <a:pt x="132079" y="50800"/>
                </a:lnTo>
                <a:lnTo>
                  <a:pt x="141985" y="84709"/>
                </a:lnTo>
                <a:lnTo>
                  <a:pt x="145923" y="124206"/>
                </a:lnTo>
                <a:lnTo>
                  <a:pt x="139953" y="160909"/>
                </a:lnTo>
                <a:lnTo>
                  <a:pt x="128143" y="192024"/>
                </a:lnTo>
                <a:lnTo>
                  <a:pt x="110362" y="220217"/>
                </a:lnTo>
                <a:lnTo>
                  <a:pt x="88773" y="231521"/>
                </a:lnTo>
                <a:lnTo>
                  <a:pt x="67055" y="237109"/>
                </a:lnTo>
                <a:lnTo>
                  <a:pt x="43306" y="228600"/>
                </a:lnTo>
                <a:lnTo>
                  <a:pt x="25653" y="208914"/>
                </a:lnTo>
                <a:lnTo>
                  <a:pt x="9778" y="180721"/>
                </a:lnTo>
                <a:lnTo>
                  <a:pt x="0" y="144017"/>
                </a:lnTo>
                <a:lnTo>
                  <a:pt x="0" y="118617"/>
                </a:lnTo>
              </a:path>
            </a:pathLst>
          </a:custGeom>
          <a:ln w="12699">
            <a:solidFill>
              <a:srgbClr val="000000"/>
            </a:solidFill>
          </a:ln>
        </p:spPr>
        <p:txBody>
          <a:bodyPr wrap="square" lIns="0" tIns="0" rIns="0" bIns="0" rtlCol="0">
            <a:noAutofit/>
          </a:bodyPr>
          <a:lstStyle/>
          <a:p>
            <a:endParaRPr/>
          </a:p>
        </p:txBody>
      </p:sp>
      <p:sp>
        <p:nvSpPr>
          <p:cNvPr id="128" name="object 128"/>
          <p:cNvSpPr/>
          <p:nvPr/>
        </p:nvSpPr>
        <p:spPr>
          <a:xfrm>
            <a:off x="9859010" y="2830703"/>
            <a:ext cx="31623" cy="279400"/>
          </a:xfrm>
          <a:custGeom>
            <a:avLst/>
            <a:gdLst/>
            <a:ahLst/>
            <a:cxnLst/>
            <a:rect l="l" t="t" r="r" b="b"/>
            <a:pathLst>
              <a:path w="31623" h="279400">
                <a:moveTo>
                  <a:pt x="2032" y="0"/>
                </a:moveTo>
                <a:lnTo>
                  <a:pt x="19685" y="45085"/>
                </a:lnTo>
                <a:lnTo>
                  <a:pt x="29591" y="93091"/>
                </a:lnTo>
                <a:lnTo>
                  <a:pt x="31623" y="146685"/>
                </a:lnTo>
                <a:lnTo>
                  <a:pt x="23622" y="200406"/>
                </a:lnTo>
                <a:lnTo>
                  <a:pt x="11811" y="248285"/>
                </a:lnTo>
                <a:lnTo>
                  <a:pt x="0" y="279400"/>
                </a:lnTo>
              </a:path>
            </a:pathLst>
          </a:custGeom>
          <a:ln w="12700">
            <a:solidFill>
              <a:srgbClr val="FFFFFF"/>
            </a:solidFill>
          </a:ln>
        </p:spPr>
        <p:txBody>
          <a:bodyPr wrap="square" lIns="0" tIns="0" rIns="0" bIns="0" rtlCol="0">
            <a:noAutofit/>
          </a:bodyPr>
          <a:lstStyle/>
          <a:p>
            <a:endParaRPr/>
          </a:p>
        </p:txBody>
      </p:sp>
      <p:sp>
        <p:nvSpPr>
          <p:cNvPr id="129" name="object 129"/>
          <p:cNvSpPr/>
          <p:nvPr/>
        </p:nvSpPr>
        <p:spPr>
          <a:xfrm>
            <a:off x="9105646" y="2763013"/>
            <a:ext cx="31496" cy="70485"/>
          </a:xfrm>
          <a:custGeom>
            <a:avLst/>
            <a:gdLst/>
            <a:ahLst/>
            <a:cxnLst/>
            <a:rect l="l" t="t" r="r" b="b"/>
            <a:pathLst>
              <a:path w="31496" h="70485">
                <a:moveTo>
                  <a:pt x="31496" y="70485"/>
                </a:moveTo>
                <a:lnTo>
                  <a:pt x="31496" y="0"/>
                </a:lnTo>
                <a:lnTo>
                  <a:pt x="0" y="0"/>
                </a:lnTo>
                <a:lnTo>
                  <a:pt x="0" y="70485"/>
                </a:lnTo>
                <a:lnTo>
                  <a:pt x="31496" y="70485"/>
                </a:lnTo>
              </a:path>
            </a:pathLst>
          </a:custGeom>
          <a:ln w="12700">
            <a:solidFill>
              <a:srgbClr val="000000"/>
            </a:solidFill>
          </a:ln>
        </p:spPr>
        <p:txBody>
          <a:bodyPr wrap="square" lIns="0" tIns="0" rIns="0" bIns="0" rtlCol="0">
            <a:noAutofit/>
          </a:bodyPr>
          <a:lstStyle/>
          <a:p>
            <a:endParaRPr/>
          </a:p>
        </p:txBody>
      </p:sp>
      <p:sp>
        <p:nvSpPr>
          <p:cNvPr id="130" name="object 130"/>
          <p:cNvSpPr/>
          <p:nvPr/>
        </p:nvSpPr>
        <p:spPr>
          <a:xfrm>
            <a:off x="9141079" y="2763012"/>
            <a:ext cx="126238" cy="118490"/>
          </a:xfrm>
          <a:custGeom>
            <a:avLst/>
            <a:gdLst/>
            <a:ahLst/>
            <a:cxnLst/>
            <a:rect l="l" t="t" r="r" b="b"/>
            <a:pathLst>
              <a:path w="126238" h="118490">
                <a:moveTo>
                  <a:pt x="15875" y="118490"/>
                </a:moveTo>
                <a:lnTo>
                  <a:pt x="106552" y="118490"/>
                </a:lnTo>
                <a:lnTo>
                  <a:pt x="110490" y="112775"/>
                </a:lnTo>
                <a:lnTo>
                  <a:pt x="120396" y="87375"/>
                </a:lnTo>
                <a:lnTo>
                  <a:pt x="126238" y="56387"/>
                </a:lnTo>
                <a:lnTo>
                  <a:pt x="118364" y="25400"/>
                </a:lnTo>
                <a:lnTo>
                  <a:pt x="106552" y="0"/>
                </a:lnTo>
                <a:lnTo>
                  <a:pt x="15875" y="0"/>
                </a:lnTo>
                <a:lnTo>
                  <a:pt x="3937" y="25400"/>
                </a:lnTo>
                <a:lnTo>
                  <a:pt x="0" y="56387"/>
                </a:lnTo>
                <a:lnTo>
                  <a:pt x="2031" y="87375"/>
                </a:lnTo>
                <a:lnTo>
                  <a:pt x="13843" y="115697"/>
                </a:lnTo>
                <a:lnTo>
                  <a:pt x="15875" y="118490"/>
                </a:lnTo>
                <a:close/>
              </a:path>
            </a:pathLst>
          </a:custGeom>
          <a:solidFill>
            <a:srgbClr val="FFFFFF"/>
          </a:solidFill>
        </p:spPr>
        <p:txBody>
          <a:bodyPr wrap="square" lIns="0" tIns="0" rIns="0" bIns="0" rtlCol="0">
            <a:noAutofit/>
          </a:bodyPr>
          <a:lstStyle/>
          <a:p>
            <a:endParaRPr/>
          </a:p>
        </p:txBody>
      </p:sp>
      <p:sp>
        <p:nvSpPr>
          <p:cNvPr id="131" name="object 131"/>
          <p:cNvSpPr/>
          <p:nvPr/>
        </p:nvSpPr>
        <p:spPr>
          <a:xfrm>
            <a:off x="9141079" y="2763012"/>
            <a:ext cx="126238" cy="118490"/>
          </a:xfrm>
          <a:custGeom>
            <a:avLst/>
            <a:gdLst/>
            <a:ahLst/>
            <a:cxnLst/>
            <a:rect l="l" t="t" r="r" b="b"/>
            <a:pathLst>
              <a:path w="126238" h="118490">
                <a:moveTo>
                  <a:pt x="15875" y="118490"/>
                </a:moveTo>
                <a:lnTo>
                  <a:pt x="13843" y="115697"/>
                </a:lnTo>
                <a:lnTo>
                  <a:pt x="2031" y="87375"/>
                </a:lnTo>
                <a:lnTo>
                  <a:pt x="0" y="56387"/>
                </a:lnTo>
                <a:lnTo>
                  <a:pt x="3937" y="25400"/>
                </a:lnTo>
                <a:lnTo>
                  <a:pt x="15875" y="0"/>
                </a:lnTo>
                <a:lnTo>
                  <a:pt x="106552" y="0"/>
                </a:lnTo>
                <a:lnTo>
                  <a:pt x="118364" y="25400"/>
                </a:lnTo>
                <a:lnTo>
                  <a:pt x="126238" y="56387"/>
                </a:lnTo>
                <a:lnTo>
                  <a:pt x="120396" y="87375"/>
                </a:lnTo>
                <a:lnTo>
                  <a:pt x="110490" y="112775"/>
                </a:lnTo>
                <a:lnTo>
                  <a:pt x="106552" y="118490"/>
                </a:lnTo>
                <a:lnTo>
                  <a:pt x="15875" y="118490"/>
                </a:lnTo>
              </a:path>
            </a:pathLst>
          </a:custGeom>
          <a:ln w="12700">
            <a:solidFill>
              <a:srgbClr val="000000"/>
            </a:solidFill>
          </a:ln>
        </p:spPr>
        <p:txBody>
          <a:bodyPr wrap="square" lIns="0" tIns="0" rIns="0" bIns="0" rtlCol="0">
            <a:noAutofit/>
          </a:bodyPr>
          <a:lstStyle/>
          <a:p>
            <a:endParaRPr/>
          </a:p>
        </p:txBody>
      </p:sp>
      <p:sp>
        <p:nvSpPr>
          <p:cNvPr id="132" name="object 132"/>
          <p:cNvSpPr/>
          <p:nvPr/>
        </p:nvSpPr>
        <p:spPr>
          <a:xfrm>
            <a:off x="9367901" y="2966213"/>
            <a:ext cx="230758" cy="45085"/>
          </a:xfrm>
          <a:custGeom>
            <a:avLst/>
            <a:gdLst/>
            <a:ahLst/>
            <a:cxnLst/>
            <a:rect l="l" t="t" r="r" b="b"/>
            <a:pathLst>
              <a:path w="230758" h="45085">
                <a:moveTo>
                  <a:pt x="29591" y="22478"/>
                </a:moveTo>
                <a:lnTo>
                  <a:pt x="29591" y="0"/>
                </a:lnTo>
                <a:lnTo>
                  <a:pt x="0" y="0"/>
                </a:lnTo>
                <a:lnTo>
                  <a:pt x="0" y="45085"/>
                </a:lnTo>
                <a:lnTo>
                  <a:pt x="226822" y="45085"/>
                </a:lnTo>
                <a:lnTo>
                  <a:pt x="230758" y="22478"/>
                </a:lnTo>
                <a:lnTo>
                  <a:pt x="29591" y="22478"/>
                </a:lnTo>
                <a:close/>
              </a:path>
            </a:pathLst>
          </a:custGeom>
          <a:solidFill>
            <a:srgbClr val="000000"/>
          </a:solidFill>
        </p:spPr>
        <p:txBody>
          <a:bodyPr wrap="square" lIns="0" tIns="0" rIns="0" bIns="0" rtlCol="0">
            <a:noAutofit/>
          </a:bodyPr>
          <a:lstStyle/>
          <a:p>
            <a:endParaRPr/>
          </a:p>
        </p:txBody>
      </p:sp>
      <p:sp>
        <p:nvSpPr>
          <p:cNvPr id="133" name="object 133"/>
          <p:cNvSpPr/>
          <p:nvPr/>
        </p:nvSpPr>
        <p:spPr>
          <a:xfrm>
            <a:off x="9367901" y="2966213"/>
            <a:ext cx="230758" cy="45085"/>
          </a:xfrm>
          <a:custGeom>
            <a:avLst/>
            <a:gdLst/>
            <a:ahLst/>
            <a:cxnLst/>
            <a:rect l="l" t="t" r="r" b="b"/>
            <a:pathLst>
              <a:path w="230758" h="45085">
                <a:moveTo>
                  <a:pt x="29591" y="0"/>
                </a:moveTo>
                <a:lnTo>
                  <a:pt x="29591" y="22478"/>
                </a:lnTo>
                <a:lnTo>
                  <a:pt x="230758" y="22478"/>
                </a:lnTo>
                <a:lnTo>
                  <a:pt x="226822" y="45085"/>
                </a:lnTo>
                <a:lnTo>
                  <a:pt x="0" y="45085"/>
                </a:lnTo>
                <a:lnTo>
                  <a:pt x="0" y="0"/>
                </a:lnTo>
                <a:lnTo>
                  <a:pt x="29591" y="0"/>
                </a:lnTo>
              </a:path>
            </a:pathLst>
          </a:custGeom>
          <a:ln w="12700">
            <a:solidFill>
              <a:srgbClr val="000000"/>
            </a:solidFill>
          </a:ln>
        </p:spPr>
        <p:txBody>
          <a:bodyPr wrap="square" lIns="0" tIns="0" rIns="0" bIns="0" rtlCol="0">
            <a:noAutofit/>
          </a:bodyPr>
          <a:lstStyle/>
          <a:p>
            <a:endParaRPr/>
          </a:p>
        </p:txBody>
      </p:sp>
      <p:sp>
        <p:nvSpPr>
          <p:cNvPr id="134" name="object 134"/>
          <p:cNvSpPr/>
          <p:nvPr/>
        </p:nvSpPr>
        <p:spPr>
          <a:xfrm>
            <a:off x="8790051" y="2782697"/>
            <a:ext cx="122300" cy="110108"/>
          </a:xfrm>
          <a:custGeom>
            <a:avLst/>
            <a:gdLst/>
            <a:ahLst/>
            <a:cxnLst/>
            <a:rect l="l" t="t" r="r" b="b"/>
            <a:pathLst>
              <a:path w="122300" h="110108">
                <a:moveTo>
                  <a:pt x="122300" y="110108"/>
                </a:moveTo>
                <a:lnTo>
                  <a:pt x="122300" y="0"/>
                </a:lnTo>
                <a:lnTo>
                  <a:pt x="0" y="0"/>
                </a:lnTo>
                <a:lnTo>
                  <a:pt x="0" y="110108"/>
                </a:lnTo>
                <a:lnTo>
                  <a:pt x="122300" y="110108"/>
                </a:lnTo>
                <a:close/>
              </a:path>
            </a:pathLst>
          </a:custGeom>
          <a:solidFill>
            <a:srgbClr val="FFFFFF"/>
          </a:solidFill>
        </p:spPr>
        <p:txBody>
          <a:bodyPr wrap="square" lIns="0" tIns="0" rIns="0" bIns="0" rtlCol="0">
            <a:noAutofit/>
          </a:bodyPr>
          <a:lstStyle/>
          <a:p>
            <a:endParaRPr/>
          </a:p>
        </p:txBody>
      </p:sp>
      <p:sp>
        <p:nvSpPr>
          <p:cNvPr id="135" name="object 135"/>
          <p:cNvSpPr/>
          <p:nvPr/>
        </p:nvSpPr>
        <p:spPr>
          <a:xfrm>
            <a:off x="8790051" y="2782697"/>
            <a:ext cx="122300" cy="110108"/>
          </a:xfrm>
          <a:custGeom>
            <a:avLst/>
            <a:gdLst/>
            <a:ahLst/>
            <a:cxnLst/>
            <a:rect l="l" t="t" r="r" b="b"/>
            <a:pathLst>
              <a:path w="122300" h="110108">
                <a:moveTo>
                  <a:pt x="122300" y="110108"/>
                </a:moveTo>
                <a:lnTo>
                  <a:pt x="122300" y="0"/>
                </a:lnTo>
                <a:lnTo>
                  <a:pt x="0" y="0"/>
                </a:lnTo>
                <a:lnTo>
                  <a:pt x="0" y="110108"/>
                </a:lnTo>
                <a:lnTo>
                  <a:pt x="122300" y="110108"/>
                </a:lnTo>
              </a:path>
            </a:pathLst>
          </a:custGeom>
          <a:ln w="12700">
            <a:solidFill>
              <a:srgbClr val="000000"/>
            </a:solidFill>
          </a:ln>
        </p:spPr>
        <p:txBody>
          <a:bodyPr wrap="square" lIns="0" tIns="0" rIns="0" bIns="0" rtlCol="0">
            <a:noAutofit/>
          </a:bodyPr>
          <a:lstStyle/>
          <a:p>
            <a:endParaRPr/>
          </a:p>
        </p:txBody>
      </p:sp>
      <p:sp>
        <p:nvSpPr>
          <p:cNvPr id="136" name="object 136"/>
          <p:cNvSpPr/>
          <p:nvPr/>
        </p:nvSpPr>
        <p:spPr>
          <a:xfrm>
            <a:off x="8829548" y="2808098"/>
            <a:ext cx="39370" cy="53593"/>
          </a:xfrm>
          <a:custGeom>
            <a:avLst/>
            <a:gdLst/>
            <a:ahLst/>
            <a:cxnLst/>
            <a:rect l="l" t="t" r="r" b="b"/>
            <a:pathLst>
              <a:path w="39370" h="53593">
                <a:moveTo>
                  <a:pt x="0" y="25400"/>
                </a:moveTo>
                <a:lnTo>
                  <a:pt x="1904" y="11302"/>
                </a:lnTo>
                <a:lnTo>
                  <a:pt x="9778" y="0"/>
                </a:lnTo>
                <a:lnTo>
                  <a:pt x="19684" y="0"/>
                </a:lnTo>
                <a:lnTo>
                  <a:pt x="27558" y="0"/>
                </a:lnTo>
                <a:lnTo>
                  <a:pt x="37465" y="11302"/>
                </a:lnTo>
                <a:lnTo>
                  <a:pt x="39370" y="25400"/>
                </a:lnTo>
                <a:lnTo>
                  <a:pt x="37465" y="36702"/>
                </a:lnTo>
                <a:lnTo>
                  <a:pt x="27558" y="48005"/>
                </a:lnTo>
                <a:lnTo>
                  <a:pt x="19684" y="53593"/>
                </a:lnTo>
                <a:lnTo>
                  <a:pt x="9778" y="48005"/>
                </a:lnTo>
                <a:lnTo>
                  <a:pt x="1904" y="36702"/>
                </a:lnTo>
                <a:lnTo>
                  <a:pt x="0" y="25400"/>
                </a:lnTo>
              </a:path>
            </a:pathLst>
          </a:custGeom>
          <a:ln w="12700">
            <a:solidFill>
              <a:srgbClr val="000000"/>
            </a:solidFill>
          </a:ln>
        </p:spPr>
        <p:txBody>
          <a:bodyPr wrap="square" lIns="0" tIns="0" rIns="0" bIns="0" rtlCol="0">
            <a:noAutofit/>
          </a:bodyPr>
          <a:lstStyle/>
          <a:p>
            <a:endParaRPr/>
          </a:p>
        </p:txBody>
      </p:sp>
      <p:sp>
        <p:nvSpPr>
          <p:cNvPr id="137" name="object 137"/>
          <p:cNvSpPr/>
          <p:nvPr/>
        </p:nvSpPr>
        <p:spPr>
          <a:xfrm>
            <a:off x="8099807" y="2644395"/>
            <a:ext cx="392429" cy="223011"/>
          </a:xfrm>
          <a:custGeom>
            <a:avLst/>
            <a:gdLst/>
            <a:ahLst/>
            <a:cxnLst/>
            <a:rect l="l" t="t" r="r" b="b"/>
            <a:pathLst>
              <a:path w="392429" h="223011">
                <a:moveTo>
                  <a:pt x="341122" y="223011"/>
                </a:moveTo>
                <a:lnTo>
                  <a:pt x="392429" y="223011"/>
                </a:lnTo>
                <a:lnTo>
                  <a:pt x="368808" y="121411"/>
                </a:lnTo>
                <a:lnTo>
                  <a:pt x="319532" y="48005"/>
                </a:lnTo>
                <a:lnTo>
                  <a:pt x="264287" y="14096"/>
                </a:lnTo>
                <a:lnTo>
                  <a:pt x="181483" y="0"/>
                </a:lnTo>
                <a:lnTo>
                  <a:pt x="104521" y="31114"/>
                </a:lnTo>
                <a:lnTo>
                  <a:pt x="51308" y="90296"/>
                </a:lnTo>
                <a:lnTo>
                  <a:pt x="25653" y="141096"/>
                </a:lnTo>
                <a:lnTo>
                  <a:pt x="9905" y="175005"/>
                </a:lnTo>
                <a:lnTo>
                  <a:pt x="0" y="223011"/>
                </a:lnTo>
                <a:lnTo>
                  <a:pt x="341122" y="223011"/>
                </a:lnTo>
                <a:close/>
              </a:path>
            </a:pathLst>
          </a:custGeom>
          <a:solidFill>
            <a:srgbClr val="FFFFFF"/>
          </a:solidFill>
        </p:spPr>
        <p:txBody>
          <a:bodyPr wrap="square" lIns="0" tIns="0" rIns="0" bIns="0" rtlCol="0">
            <a:noAutofit/>
          </a:bodyPr>
          <a:lstStyle/>
          <a:p>
            <a:endParaRPr/>
          </a:p>
        </p:txBody>
      </p:sp>
      <p:sp>
        <p:nvSpPr>
          <p:cNvPr id="138" name="object 138"/>
          <p:cNvSpPr/>
          <p:nvPr/>
        </p:nvSpPr>
        <p:spPr>
          <a:xfrm>
            <a:off x="8099807" y="2644395"/>
            <a:ext cx="392429" cy="223011"/>
          </a:xfrm>
          <a:custGeom>
            <a:avLst/>
            <a:gdLst/>
            <a:ahLst/>
            <a:cxnLst/>
            <a:rect l="l" t="t" r="r" b="b"/>
            <a:pathLst>
              <a:path w="392429" h="223011">
                <a:moveTo>
                  <a:pt x="341122" y="223011"/>
                </a:moveTo>
                <a:lnTo>
                  <a:pt x="392429" y="223011"/>
                </a:lnTo>
                <a:lnTo>
                  <a:pt x="368808" y="121411"/>
                </a:lnTo>
                <a:lnTo>
                  <a:pt x="319532" y="48005"/>
                </a:lnTo>
                <a:lnTo>
                  <a:pt x="264287" y="14096"/>
                </a:lnTo>
                <a:lnTo>
                  <a:pt x="181483" y="0"/>
                </a:lnTo>
                <a:lnTo>
                  <a:pt x="104521" y="31114"/>
                </a:lnTo>
                <a:lnTo>
                  <a:pt x="51308" y="90296"/>
                </a:lnTo>
                <a:lnTo>
                  <a:pt x="25653" y="141096"/>
                </a:lnTo>
                <a:lnTo>
                  <a:pt x="9905" y="175005"/>
                </a:lnTo>
                <a:lnTo>
                  <a:pt x="0" y="223011"/>
                </a:lnTo>
                <a:lnTo>
                  <a:pt x="264287" y="223011"/>
                </a:lnTo>
                <a:lnTo>
                  <a:pt x="341122" y="223011"/>
                </a:lnTo>
              </a:path>
            </a:pathLst>
          </a:custGeom>
          <a:ln w="12700">
            <a:solidFill>
              <a:srgbClr val="000000"/>
            </a:solidFill>
          </a:ln>
        </p:spPr>
        <p:txBody>
          <a:bodyPr wrap="square" lIns="0" tIns="0" rIns="0" bIns="0" rtlCol="0">
            <a:noAutofit/>
          </a:bodyPr>
          <a:lstStyle/>
          <a:p>
            <a:endParaRPr/>
          </a:p>
        </p:txBody>
      </p:sp>
      <p:sp>
        <p:nvSpPr>
          <p:cNvPr id="139" name="object 139"/>
          <p:cNvSpPr/>
          <p:nvPr/>
        </p:nvSpPr>
        <p:spPr>
          <a:xfrm>
            <a:off x="8373872" y="2715006"/>
            <a:ext cx="57276" cy="87503"/>
          </a:xfrm>
          <a:custGeom>
            <a:avLst/>
            <a:gdLst/>
            <a:ahLst/>
            <a:cxnLst/>
            <a:rect l="l" t="t" r="r" b="b"/>
            <a:pathLst>
              <a:path w="57276" h="87503">
                <a:moveTo>
                  <a:pt x="57276" y="14097"/>
                </a:moveTo>
                <a:lnTo>
                  <a:pt x="43433" y="0"/>
                </a:lnTo>
                <a:lnTo>
                  <a:pt x="0" y="70485"/>
                </a:lnTo>
                <a:lnTo>
                  <a:pt x="5969" y="87503"/>
                </a:lnTo>
                <a:lnTo>
                  <a:pt x="57276" y="14097"/>
                </a:lnTo>
                <a:close/>
              </a:path>
            </a:pathLst>
          </a:custGeom>
          <a:solidFill>
            <a:srgbClr val="FFFFFF"/>
          </a:solidFill>
        </p:spPr>
        <p:txBody>
          <a:bodyPr wrap="square" lIns="0" tIns="0" rIns="0" bIns="0" rtlCol="0">
            <a:noAutofit/>
          </a:bodyPr>
          <a:lstStyle/>
          <a:p>
            <a:endParaRPr/>
          </a:p>
        </p:txBody>
      </p:sp>
      <p:sp>
        <p:nvSpPr>
          <p:cNvPr id="140" name="object 140"/>
          <p:cNvSpPr/>
          <p:nvPr/>
        </p:nvSpPr>
        <p:spPr>
          <a:xfrm>
            <a:off x="8373872" y="2715006"/>
            <a:ext cx="57276" cy="87503"/>
          </a:xfrm>
          <a:custGeom>
            <a:avLst/>
            <a:gdLst/>
            <a:ahLst/>
            <a:cxnLst/>
            <a:rect l="l" t="t" r="r" b="b"/>
            <a:pathLst>
              <a:path w="57276" h="87503">
                <a:moveTo>
                  <a:pt x="57276" y="14097"/>
                </a:moveTo>
                <a:lnTo>
                  <a:pt x="5969" y="87503"/>
                </a:lnTo>
                <a:lnTo>
                  <a:pt x="0" y="70485"/>
                </a:lnTo>
                <a:lnTo>
                  <a:pt x="43433" y="0"/>
                </a:lnTo>
                <a:lnTo>
                  <a:pt x="57276" y="14097"/>
                </a:lnTo>
              </a:path>
            </a:pathLst>
          </a:custGeom>
          <a:ln w="12700">
            <a:solidFill>
              <a:srgbClr val="000000"/>
            </a:solidFill>
          </a:ln>
        </p:spPr>
        <p:txBody>
          <a:bodyPr wrap="square" lIns="0" tIns="0" rIns="0" bIns="0" rtlCol="0">
            <a:noAutofit/>
          </a:bodyPr>
          <a:lstStyle/>
          <a:p>
            <a:endParaRPr/>
          </a:p>
        </p:txBody>
      </p:sp>
      <p:sp>
        <p:nvSpPr>
          <p:cNvPr id="141" name="object 141"/>
          <p:cNvSpPr/>
          <p:nvPr/>
        </p:nvSpPr>
        <p:spPr>
          <a:xfrm>
            <a:off x="8166862" y="2715006"/>
            <a:ext cx="55245" cy="87503"/>
          </a:xfrm>
          <a:custGeom>
            <a:avLst/>
            <a:gdLst/>
            <a:ahLst/>
            <a:cxnLst/>
            <a:rect l="l" t="t" r="r" b="b"/>
            <a:pathLst>
              <a:path w="55245" h="87503">
                <a:moveTo>
                  <a:pt x="0" y="14097"/>
                </a:moveTo>
                <a:lnTo>
                  <a:pt x="45339" y="87503"/>
                </a:lnTo>
                <a:lnTo>
                  <a:pt x="55245" y="70485"/>
                </a:lnTo>
                <a:lnTo>
                  <a:pt x="11811" y="0"/>
                </a:lnTo>
                <a:lnTo>
                  <a:pt x="0" y="14097"/>
                </a:lnTo>
                <a:close/>
              </a:path>
            </a:pathLst>
          </a:custGeom>
          <a:solidFill>
            <a:srgbClr val="FFFFFF"/>
          </a:solidFill>
        </p:spPr>
        <p:txBody>
          <a:bodyPr wrap="square" lIns="0" tIns="0" rIns="0" bIns="0" rtlCol="0">
            <a:noAutofit/>
          </a:bodyPr>
          <a:lstStyle/>
          <a:p>
            <a:endParaRPr/>
          </a:p>
        </p:txBody>
      </p:sp>
      <p:sp>
        <p:nvSpPr>
          <p:cNvPr id="142" name="object 142"/>
          <p:cNvSpPr/>
          <p:nvPr/>
        </p:nvSpPr>
        <p:spPr>
          <a:xfrm>
            <a:off x="8166862" y="2715006"/>
            <a:ext cx="55245" cy="87503"/>
          </a:xfrm>
          <a:custGeom>
            <a:avLst/>
            <a:gdLst/>
            <a:ahLst/>
            <a:cxnLst/>
            <a:rect l="l" t="t" r="r" b="b"/>
            <a:pathLst>
              <a:path w="55245" h="87503">
                <a:moveTo>
                  <a:pt x="0" y="14097"/>
                </a:moveTo>
                <a:lnTo>
                  <a:pt x="45339" y="87503"/>
                </a:lnTo>
                <a:lnTo>
                  <a:pt x="55245" y="70485"/>
                </a:lnTo>
                <a:lnTo>
                  <a:pt x="11811" y="0"/>
                </a:lnTo>
                <a:lnTo>
                  <a:pt x="0" y="14097"/>
                </a:lnTo>
              </a:path>
            </a:pathLst>
          </a:custGeom>
          <a:ln w="12700">
            <a:solidFill>
              <a:srgbClr val="000000"/>
            </a:solidFill>
          </a:ln>
        </p:spPr>
        <p:txBody>
          <a:bodyPr wrap="square" lIns="0" tIns="0" rIns="0" bIns="0" rtlCol="0">
            <a:noAutofit/>
          </a:bodyPr>
          <a:lstStyle/>
          <a:p>
            <a:endParaRPr/>
          </a:p>
        </p:txBody>
      </p:sp>
      <p:sp>
        <p:nvSpPr>
          <p:cNvPr id="143" name="object 143"/>
          <p:cNvSpPr/>
          <p:nvPr/>
        </p:nvSpPr>
        <p:spPr>
          <a:xfrm>
            <a:off x="8129397" y="2720595"/>
            <a:ext cx="333248" cy="477011"/>
          </a:xfrm>
          <a:custGeom>
            <a:avLst/>
            <a:gdLst/>
            <a:ahLst/>
            <a:cxnLst/>
            <a:rect l="l" t="t" r="r" b="b"/>
            <a:pathLst>
              <a:path w="333248" h="477011">
                <a:moveTo>
                  <a:pt x="0" y="237108"/>
                </a:moveTo>
                <a:lnTo>
                  <a:pt x="0" y="248411"/>
                </a:lnTo>
                <a:lnTo>
                  <a:pt x="3936" y="302005"/>
                </a:lnTo>
                <a:lnTo>
                  <a:pt x="19684" y="350011"/>
                </a:lnTo>
                <a:lnTo>
                  <a:pt x="39370" y="395096"/>
                </a:lnTo>
                <a:lnTo>
                  <a:pt x="67055" y="431800"/>
                </a:lnTo>
                <a:lnTo>
                  <a:pt x="100583" y="457200"/>
                </a:lnTo>
                <a:lnTo>
                  <a:pt x="134111" y="474217"/>
                </a:lnTo>
                <a:lnTo>
                  <a:pt x="171576" y="477011"/>
                </a:lnTo>
                <a:lnTo>
                  <a:pt x="209042" y="468502"/>
                </a:lnTo>
                <a:lnTo>
                  <a:pt x="242570" y="451611"/>
                </a:lnTo>
                <a:lnTo>
                  <a:pt x="274066" y="420496"/>
                </a:lnTo>
                <a:lnTo>
                  <a:pt x="297814" y="381000"/>
                </a:lnTo>
                <a:lnTo>
                  <a:pt x="317500" y="332993"/>
                </a:lnTo>
                <a:lnTo>
                  <a:pt x="329310" y="282193"/>
                </a:lnTo>
                <a:lnTo>
                  <a:pt x="333248" y="234314"/>
                </a:lnTo>
                <a:lnTo>
                  <a:pt x="327405" y="180593"/>
                </a:lnTo>
                <a:lnTo>
                  <a:pt x="313562" y="129793"/>
                </a:lnTo>
                <a:lnTo>
                  <a:pt x="293877" y="84708"/>
                </a:lnTo>
                <a:lnTo>
                  <a:pt x="268224" y="48005"/>
                </a:lnTo>
                <a:lnTo>
                  <a:pt x="234696" y="19811"/>
                </a:lnTo>
                <a:lnTo>
                  <a:pt x="199135" y="2793"/>
                </a:lnTo>
                <a:lnTo>
                  <a:pt x="163702" y="0"/>
                </a:lnTo>
                <a:lnTo>
                  <a:pt x="128143" y="5714"/>
                </a:lnTo>
                <a:lnTo>
                  <a:pt x="92709" y="22605"/>
                </a:lnTo>
                <a:lnTo>
                  <a:pt x="61086" y="50800"/>
                </a:lnTo>
                <a:lnTo>
                  <a:pt x="33527" y="90296"/>
                </a:lnTo>
                <a:lnTo>
                  <a:pt x="15748" y="132714"/>
                </a:lnTo>
                <a:lnTo>
                  <a:pt x="3936" y="183514"/>
                </a:lnTo>
                <a:lnTo>
                  <a:pt x="0" y="237108"/>
                </a:lnTo>
                <a:close/>
              </a:path>
            </a:pathLst>
          </a:custGeom>
          <a:solidFill>
            <a:srgbClr val="000000"/>
          </a:solidFill>
        </p:spPr>
        <p:txBody>
          <a:bodyPr wrap="square" lIns="0" tIns="0" rIns="0" bIns="0" rtlCol="0">
            <a:noAutofit/>
          </a:bodyPr>
          <a:lstStyle/>
          <a:p>
            <a:endParaRPr/>
          </a:p>
        </p:txBody>
      </p:sp>
      <p:sp>
        <p:nvSpPr>
          <p:cNvPr id="144" name="object 144"/>
          <p:cNvSpPr/>
          <p:nvPr/>
        </p:nvSpPr>
        <p:spPr>
          <a:xfrm>
            <a:off x="8129397" y="2720595"/>
            <a:ext cx="333248" cy="477011"/>
          </a:xfrm>
          <a:custGeom>
            <a:avLst/>
            <a:gdLst/>
            <a:ahLst/>
            <a:cxnLst/>
            <a:rect l="l" t="t" r="r" b="b"/>
            <a:pathLst>
              <a:path w="333248" h="477011">
                <a:moveTo>
                  <a:pt x="0" y="237108"/>
                </a:moveTo>
                <a:lnTo>
                  <a:pt x="3936" y="183514"/>
                </a:lnTo>
                <a:lnTo>
                  <a:pt x="15748" y="132714"/>
                </a:lnTo>
                <a:lnTo>
                  <a:pt x="33527" y="90296"/>
                </a:lnTo>
                <a:lnTo>
                  <a:pt x="61086" y="50800"/>
                </a:lnTo>
                <a:lnTo>
                  <a:pt x="92709" y="22605"/>
                </a:lnTo>
                <a:lnTo>
                  <a:pt x="128143" y="5714"/>
                </a:lnTo>
                <a:lnTo>
                  <a:pt x="163702" y="0"/>
                </a:lnTo>
                <a:lnTo>
                  <a:pt x="199135" y="2793"/>
                </a:lnTo>
                <a:lnTo>
                  <a:pt x="234696" y="19811"/>
                </a:lnTo>
                <a:lnTo>
                  <a:pt x="268224" y="48005"/>
                </a:lnTo>
                <a:lnTo>
                  <a:pt x="293877" y="84708"/>
                </a:lnTo>
                <a:lnTo>
                  <a:pt x="313562" y="129793"/>
                </a:lnTo>
                <a:lnTo>
                  <a:pt x="327405" y="180593"/>
                </a:lnTo>
                <a:lnTo>
                  <a:pt x="333248" y="234314"/>
                </a:lnTo>
                <a:lnTo>
                  <a:pt x="329310" y="282193"/>
                </a:lnTo>
                <a:lnTo>
                  <a:pt x="317500" y="332993"/>
                </a:lnTo>
                <a:lnTo>
                  <a:pt x="297814" y="381000"/>
                </a:lnTo>
                <a:lnTo>
                  <a:pt x="274066" y="420496"/>
                </a:lnTo>
                <a:lnTo>
                  <a:pt x="242570" y="451611"/>
                </a:lnTo>
                <a:lnTo>
                  <a:pt x="209042" y="468502"/>
                </a:lnTo>
                <a:lnTo>
                  <a:pt x="171576" y="477011"/>
                </a:lnTo>
                <a:lnTo>
                  <a:pt x="134111" y="474217"/>
                </a:lnTo>
                <a:lnTo>
                  <a:pt x="100583" y="457200"/>
                </a:lnTo>
                <a:lnTo>
                  <a:pt x="67055" y="431800"/>
                </a:lnTo>
                <a:lnTo>
                  <a:pt x="39370" y="395096"/>
                </a:lnTo>
                <a:lnTo>
                  <a:pt x="19684" y="350011"/>
                </a:lnTo>
                <a:lnTo>
                  <a:pt x="3936" y="302005"/>
                </a:lnTo>
                <a:lnTo>
                  <a:pt x="0" y="248411"/>
                </a:lnTo>
                <a:lnTo>
                  <a:pt x="0" y="237108"/>
                </a:lnTo>
              </a:path>
            </a:pathLst>
          </a:custGeom>
          <a:ln w="12700">
            <a:solidFill>
              <a:srgbClr val="000000"/>
            </a:solidFill>
          </a:ln>
        </p:spPr>
        <p:txBody>
          <a:bodyPr wrap="square" lIns="0" tIns="0" rIns="0" bIns="0" rtlCol="0">
            <a:noAutofit/>
          </a:bodyPr>
          <a:lstStyle/>
          <a:p>
            <a:endParaRPr/>
          </a:p>
        </p:txBody>
      </p:sp>
      <p:sp>
        <p:nvSpPr>
          <p:cNvPr id="145" name="object 145"/>
          <p:cNvSpPr/>
          <p:nvPr/>
        </p:nvSpPr>
        <p:spPr>
          <a:xfrm>
            <a:off x="8200391" y="2822195"/>
            <a:ext cx="195199" cy="282193"/>
          </a:xfrm>
          <a:custGeom>
            <a:avLst/>
            <a:gdLst/>
            <a:ahLst/>
            <a:cxnLst/>
            <a:rect l="l" t="t" r="r" b="b"/>
            <a:pathLst>
              <a:path w="195199" h="282193">
                <a:moveTo>
                  <a:pt x="0" y="138302"/>
                </a:moveTo>
                <a:lnTo>
                  <a:pt x="3936" y="98805"/>
                </a:lnTo>
                <a:lnTo>
                  <a:pt x="15748" y="62102"/>
                </a:lnTo>
                <a:lnTo>
                  <a:pt x="33527" y="31114"/>
                </a:lnTo>
                <a:lnTo>
                  <a:pt x="57150" y="8508"/>
                </a:lnTo>
                <a:lnTo>
                  <a:pt x="84835" y="0"/>
                </a:lnTo>
                <a:lnTo>
                  <a:pt x="112394" y="0"/>
                </a:lnTo>
                <a:lnTo>
                  <a:pt x="139953" y="11302"/>
                </a:lnTo>
                <a:lnTo>
                  <a:pt x="163702" y="31114"/>
                </a:lnTo>
                <a:lnTo>
                  <a:pt x="181482" y="62102"/>
                </a:lnTo>
                <a:lnTo>
                  <a:pt x="193293" y="101600"/>
                </a:lnTo>
                <a:lnTo>
                  <a:pt x="195199" y="144017"/>
                </a:lnTo>
                <a:lnTo>
                  <a:pt x="189356" y="183514"/>
                </a:lnTo>
                <a:lnTo>
                  <a:pt x="177545" y="220217"/>
                </a:lnTo>
                <a:lnTo>
                  <a:pt x="159765" y="248411"/>
                </a:lnTo>
                <a:lnTo>
                  <a:pt x="134111" y="271017"/>
                </a:lnTo>
                <a:lnTo>
                  <a:pt x="108457" y="282193"/>
                </a:lnTo>
                <a:lnTo>
                  <a:pt x="78866" y="279400"/>
                </a:lnTo>
                <a:lnTo>
                  <a:pt x="53212" y="265302"/>
                </a:lnTo>
                <a:lnTo>
                  <a:pt x="29590" y="242696"/>
                </a:lnTo>
                <a:lnTo>
                  <a:pt x="11810" y="211708"/>
                </a:lnTo>
                <a:lnTo>
                  <a:pt x="1904" y="172211"/>
                </a:lnTo>
                <a:lnTo>
                  <a:pt x="0" y="138302"/>
                </a:lnTo>
              </a:path>
            </a:pathLst>
          </a:custGeom>
          <a:ln w="12700">
            <a:solidFill>
              <a:srgbClr val="FFFFFF"/>
            </a:solidFill>
          </a:ln>
        </p:spPr>
        <p:txBody>
          <a:bodyPr wrap="square" lIns="0" tIns="0" rIns="0" bIns="0" rtlCol="0">
            <a:noAutofit/>
          </a:bodyPr>
          <a:lstStyle/>
          <a:p>
            <a:endParaRPr/>
          </a:p>
        </p:txBody>
      </p:sp>
      <p:sp>
        <p:nvSpPr>
          <p:cNvPr id="146" name="object 146"/>
          <p:cNvSpPr/>
          <p:nvPr/>
        </p:nvSpPr>
        <p:spPr>
          <a:xfrm>
            <a:off x="8099806" y="2624709"/>
            <a:ext cx="402336" cy="304800"/>
          </a:xfrm>
          <a:custGeom>
            <a:avLst/>
            <a:gdLst/>
            <a:ahLst/>
            <a:cxnLst/>
            <a:rect l="l" t="t" r="r" b="b"/>
            <a:pathLst>
              <a:path w="402336" h="304800">
                <a:moveTo>
                  <a:pt x="0" y="245490"/>
                </a:moveTo>
                <a:lnTo>
                  <a:pt x="0" y="304800"/>
                </a:lnTo>
                <a:lnTo>
                  <a:pt x="3937" y="245490"/>
                </a:lnTo>
                <a:lnTo>
                  <a:pt x="19685" y="191896"/>
                </a:lnTo>
                <a:lnTo>
                  <a:pt x="41401" y="146685"/>
                </a:lnTo>
                <a:lnTo>
                  <a:pt x="68961" y="104393"/>
                </a:lnTo>
                <a:lnTo>
                  <a:pt x="102489" y="73278"/>
                </a:lnTo>
                <a:lnTo>
                  <a:pt x="139953" y="47878"/>
                </a:lnTo>
                <a:lnTo>
                  <a:pt x="179450" y="36702"/>
                </a:lnTo>
                <a:lnTo>
                  <a:pt x="218948" y="36702"/>
                </a:lnTo>
                <a:lnTo>
                  <a:pt x="258318" y="47878"/>
                </a:lnTo>
                <a:lnTo>
                  <a:pt x="295783" y="73278"/>
                </a:lnTo>
                <a:lnTo>
                  <a:pt x="329311" y="104393"/>
                </a:lnTo>
                <a:lnTo>
                  <a:pt x="356997" y="143890"/>
                </a:lnTo>
                <a:lnTo>
                  <a:pt x="378714" y="191896"/>
                </a:lnTo>
                <a:lnTo>
                  <a:pt x="392429" y="245490"/>
                </a:lnTo>
                <a:lnTo>
                  <a:pt x="400303" y="304800"/>
                </a:lnTo>
                <a:lnTo>
                  <a:pt x="402336" y="284988"/>
                </a:lnTo>
                <a:lnTo>
                  <a:pt x="396367" y="228600"/>
                </a:lnTo>
                <a:lnTo>
                  <a:pt x="384555" y="172085"/>
                </a:lnTo>
                <a:lnTo>
                  <a:pt x="364871" y="121285"/>
                </a:lnTo>
                <a:lnTo>
                  <a:pt x="339217" y="78993"/>
                </a:lnTo>
                <a:lnTo>
                  <a:pt x="307594" y="42290"/>
                </a:lnTo>
                <a:lnTo>
                  <a:pt x="272161" y="16890"/>
                </a:lnTo>
                <a:lnTo>
                  <a:pt x="232664" y="0"/>
                </a:lnTo>
                <a:lnTo>
                  <a:pt x="191262" y="0"/>
                </a:lnTo>
                <a:lnTo>
                  <a:pt x="151892" y="5587"/>
                </a:lnTo>
                <a:lnTo>
                  <a:pt x="116332" y="22478"/>
                </a:lnTo>
                <a:lnTo>
                  <a:pt x="80899" y="53593"/>
                </a:lnTo>
                <a:lnTo>
                  <a:pt x="51308" y="90296"/>
                </a:lnTo>
                <a:lnTo>
                  <a:pt x="27559" y="138302"/>
                </a:lnTo>
                <a:lnTo>
                  <a:pt x="9905" y="189102"/>
                </a:lnTo>
                <a:lnTo>
                  <a:pt x="0" y="245490"/>
                </a:lnTo>
                <a:close/>
              </a:path>
            </a:pathLst>
          </a:custGeom>
          <a:solidFill>
            <a:srgbClr val="000000"/>
          </a:solidFill>
        </p:spPr>
        <p:txBody>
          <a:bodyPr wrap="square" lIns="0" tIns="0" rIns="0" bIns="0" rtlCol="0">
            <a:noAutofit/>
          </a:bodyPr>
          <a:lstStyle/>
          <a:p>
            <a:endParaRPr/>
          </a:p>
        </p:txBody>
      </p:sp>
      <p:sp>
        <p:nvSpPr>
          <p:cNvPr id="147" name="object 147"/>
          <p:cNvSpPr/>
          <p:nvPr/>
        </p:nvSpPr>
        <p:spPr>
          <a:xfrm>
            <a:off x="8099806" y="2624709"/>
            <a:ext cx="402336" cy="304800"/>
          </a:xfrm>
          <a:custGeom>
            <a:avLst/>
            <a:gdLst/>
            <a:ahLst/>
            <a:cxnLst/>
            <a:rect l="l" t="t" r="r" b="b"/>
            <a:pathLst>
              <a:path w="402336" h="304800">
                <a:moveTo>
                  <a:pt x="400303" y="304800"/>
                </a:moveTo>
                <a:lnTo>
                  <a:pt x="402336" y="284988"/>
                </a:lnTo>
                <a:lnTo>
                  <a:pt x="396367" y="228600"/>
                </a:lnTo>
                <a:lnTo>
                  <a:pt x="384555" y="172085"/>
                </a:lnTo>
                <a:lnTo>
                  <a:pt x="364871" y="121285"/>
                </a:lnTo>
                <a:lnTo>
                  <a:pt x="339217" y="78993"/>
                </a:lnTo>
                <a:lnTo>
                  <a:pt x="307594" y="42290"/>
                </a:lnTo>
                <a:lnTo>
                  <a:pt x="272161" y="16890"/>
                </a:lnTo>
                <a:lnTo>
                  <a:pt x="232664" y="0"/>
                </a:lnTo>
                <a:lnTo>
                  <a:pt x="191262" y="0"/>
                </a:lnTo>
                <a:lnTo>
                  <a:pt x="151892" y="5587"/>
                </a:lnTo>
                <a:lnTo>
                  <a:pt x="116332" y="22478"/>
                </a:lnTo>
                <a:lnTo>
                  <a:pt x="80899" y="53593"/>
                </a:lnTo>
                <a:lnTo>
                  <a:pt x="51308" y="90296"/>
                </a:lnTo>
                <a:lnTo>
                  <a:pt x="27559" y="138302"/>
                </a:lnTo>
                <a:lnTo>
                  <a:pt x="9905" y="189102"/>
                </a:lnTo>
                <a:lnTo>
                  <a:pt x="0" y="245490"/>
                </a:lnTo>
                <a:lnTo>
                  <a:pt x="0" y="304800"/>
                </a:lnTo>
                <a:lnTo>
                  <a:pt x="3937" y="245490"/>
                </a:lnTo>
                <a:lnTo>
                  <a:pt x="19685" y="191896"/>
                </a:lnTo>
                <a:lnTo>
                  <a:pt x="41401" y="146685"/>
                </a:lnTo>
                <a:lnTo>
                  <a:pt x="68961" y="104393"/>
                </a:lnTo>
                <a:lnTo>
                  <a:pt x="102489" y="73278"/>
                </a:lnTo>
                <a:lnTo>
                  <a:pt x="139953" y="47878"/>
                </a:lnTo>
                <a:lnTo>
                  <a:pt x="179450" y="36702"/>
                </a:lnTo>
                <a:lnTo>
                  <a:pt x="218948" y="36702"/>
                </a:lnTo>
                <a:lnTo>
                  <a:pt x="258318" y="47878"/>
                </a:lnTo>
                <a:lnTo>
                  <a:pt x="295783" y="73278"/>
                </a:lnTo>
                <a:lnTo>
                  <a:pt x="329311" y="104393"/>
                </a:lnTo>
                <a:lnTo>
                  <a:pt x="356997" y="143890"/>
                </a:lnTo>
                <a:lnTo>
                  <a:pt x="378714" y="191896"/>
                </a:lnTo>
                <a:lnTo>
                  <a:pt x="392429" y="245490"/>
                </a:lnTo>
                <a:lnTo>
                  <a:pt x="400303" y="304800"/>
                </a:lnTo>
              </a:path>
            </a:pathLst>
          </a:custGeom>
          <a:ln w="12700">
            <a:solidFill>
              <a:srgbClr val="000000"/>
            </a:solidFill>
          </a:ln>
        </p:spPr>
        <p:txBody>
          <a:bodyPr wrap="square" lIns="0" tIns="0" rIns="0" bIns="0" rtlCol="0">
            <a:noAutofit/>
          </a:bodyPr>
          <a:lstStyle/>
          <a:p>
            <a:endParaRPr/>
          </a:p>
        </p:txBody>
      </p:sp>
      <p:sp>
        <p:nvSpPr>
          <p:cNvPr id="148" name="object 148"/>
          <p:cNvSpPr/>
          <p:nvPr/>
        </p:nvSpPr>
        <p:spPr>
          <a:xfrm>
            <a:off x="9541509" y="2525904"/>
            <a:ext cx="31496" cy="95885"/>
          </a:xfrm>
          <a:custGeom>
            <a:avLst/>
            <a:gdLst/>
            <a:ahLst/>
            <a:cxnLst/>
            <a:rect l="l" t="t" r="r" b="b"/>
            <a:pathLst>
              <a:path w="31496" h="95885">
                <a:moveTo>
                  <a:pt x="31496" y="95885"/>
                </a:moveTo>
                <a:lnTo>
                  <a:pt x="31496" y="0"/>
                </a:lnTo>
                <a:lnTo>
                  <a:pt x="0" y="0"/>
                </a:lnTo>
                <a:lnTo>
                  <a:pt x="0" y="95885"/>
                </a:lnTo>
                <a:lnTo>
                  <a:pt x="31496" y="95885"/>
                </a:lnTo>
              </a:path>
            </a:pathLst>
          </a:custGeom>
          <a:ln w="12700">
            <a:solidFill>
              <a:srgbClr val="000000"/>
            </a:solidFill>
          </a:ln>
        </p:spPr>
        <p:txBody>
          <a:bodyPr wrap="square" lIns="0" tIns="0" rIns="0" bIns="0" rtlCol="0">
            <a:noAutofit/>
          </a:bodyPr>
          <a:lstStyle/>
          <a:p>
            <a:endParaRPr/>
          </a:p>
        </p:txBody>
      </p:sp>
      <p:sp>
        <p:nvSpPr>
          <p:cNvPr id="149" name="object 149"/>
          <p:cNvSpPr/>
          <p:nvPr/>
        </p:nvSpPr>
        <p:spPr>
          <a:xfrm>
            <a:off x="9541509" y="2570988"/>
            <a:ext cx="25654" cy="0"/>
          </a:xfrm>
          <a:custGeom>
            <a:avLst/>
            <a:gdLst/>
            <a:ahLst/>
            <a:cxnLst/>
            <a:rect l="l" t="t" r="r" b="b"/>
            <a:pathLst>
              <a:path w="25654">
                <a:moveTo>
                  <a:pt x="0" y="0"/>
                </a:moveTo>
                <a:lnTo>
                  <a:pt x="25654" y="0"/>
                </a:lnTo>
              </a:path>
            </a:pathLst>
          </a:custGeom>
          <a:ln w="12700">
            <a:solidFill>
              <a:srgbClr val="000000"/>
            </a:solidFill>
          </a:ln>
        </p:spPr>
        <p:txBody>
          <a:bodyPr wrap="square" lIns="0" tIns="0" rIns="0" bIns="0" rtlCol="0">
            <a:noAutofit/>
          </a:bodyPr>
          <a:lstStyle/>
          <a:p>
            <a:endParaRPr/>
          </a:p>
        </p:txBody>
      </p:sp>
      <p:sp>
        <p:nvSpPr>
          <p:cNvPr id="150" name="object 150"/>
          <p:cNvSpPr/>
          <p:nvPr/>
        </p:nvSpPr>
        <p:spPr>
          <a:xfrm>
            <a:off x="7807961" y="2500476"/>
            <a:ext cx="534479" cy="79021"/>
          </a:xfrm>
          <a:prstGeom prst="rect">
            <a:avLst/>
          </a:prstGeom>
          <a:blipFill>
            <a:blip r:embed="rId2" cstate="print"/>
            <a:stretch>
              <a:fillRect/>
            </a:stretch>
          </a:blipFill>
        </p:spPr>
        <p:txBody>
          <a:bodyPr wrap="square" lIns="0" tIns="0" rIns="0" bIns="0" rtlCol="0">
            <a:noAutofit/>
          </a:bodyPr>
          <a:lstStyle/>
          <a:p>
            <a:endParaRPr/>
          </a:p>
        </p:txBody>
      </p:sp>
      <p:sp>
        <p:nvSpPr>
          <p:cNvPr id="151" name="object 151"/>
          <p:cNvSpPr/>
          <p:nvPr/>
        </p:nvSpPr>
        <p:spPr>
          <a:xfrm>
            <a:off x="8371967" y="2500476"/>
            <a:ext cx="532498" cy="79021"/>
          </a:xfrm>
          <a:prstGeom prst="rect">
            <a:avLst/>
          </a:prstGeom>
          <a:blipFill>
            <a:blip r:embed="rId3" cstate="print"/>
            <a:stretch>
              <a:fillRect/>
            </a:stretch>
          </a:blipFill>
        </p:spPr>
        <p:txBody>
          <a:bodyPr wrap="square" lIns="0" tIns="0" rIns="0" bIns="0" rtlCol="0">
            <a:noAutofit/>
          </a:bodyPr>
          <a:lstStyle/>
          <a:p>
            <a:endParaRPr/>
          </a:p>
        </p:txBody>
      </p:sp>
      <p:sp>
        <p:nvSpPr>
          <p:cNvPr id="152" name="object 152"/>
          <p:cNvSpPr/>
          <p:nvPr/>
        </p:nvSpPr>
        <p:spPr>
          <a:xfrm>
            <a:off x="8934069" y="2500476"/>
            <a:ext cx="536448" cy="79021"/>
          </a:xfrm>
          <a:prstGeom prst="rect">
            <a:avLst/>
          </a:prstGeom>
          <a:blipFill>
            <a:blip r:embed="rId3" cstate="print"/>
            <a:stretch>
              <a:fillRect/>
            </a:stretch>
          </a:blipFill>
        </p:spPr>
        <p:txBody>
          <a:bodyPr wrap="square" lIns="0" tIns="0" rIns="0" bIns="0" rtlCol="0">
            <a:noAutofit/>
          </a:bodyPr>
          <a:lstStyle/>
          <a:p>
            <a:endParaRPr/>
          </a:p>
        </p:txBody>
      </p:sp>
      <p:sp>
        <p:nvSpPr>
          <p:cNvPr id="153" name="object 153"/>
          <p:cNvSpPr/>
          <p:nvPr/>
        </p:nvSpPr>
        <p:spPr>
          <a:xfrm>
            <a:off x="7823709" y="1989620"/>
            <a:ext cx="502919" cy="491070"/>
          </a:xfrm>
          <a:custGeom>
            <a:avLst/>
            <a:gdLst/>
            <a:ahLst/>
            <a:cxnLst/>
            <a:rect l="l" t="t" r="r" b="b"/>
            <a:pathLst>
              <a:path w="502919" h="491070">
                <a:moveTo>
                  <a:pt x="0" y="491070"/>
                </a:moveTo>
                <a:lnTo>
                  <a:pt x="502919" y="491070"/>
                </a:lnTo>
                <a:lnTo>
                  <a:pt x="502919" y="0"/>
                </a:lnTo>
                <a:lnTo>
                  <a:pt x="0" y="0"/>
                </a:lnTo>
                <a:lnTo>
                  <a:pt x="0" y="491070"/>
                </a:lnTo>
                <a:close/>
              </a:path>
            </a:pathLst>
          </a:custGeom>
          <a:solidFill>
            <a:srgbClr val="FFCC66"/>
          </a:solidFill>
        </p:spPr>
        <p:txBody>
          <a:bodyPr wrap="square" lIns="0" tIns="0" rIns="0" bIns="0" rtlCol="0">
            <a:noAutofit/>
          </a:bodyPr>
          <a:lstStyle/>
          <a:p>
            <a:endParaRPr/>
          </a:p>
        </p:txBody>
      </p:sp>
      <p:sp>
        <p:nvSpPr>
          <p:cNvPr id="154" name="object 154"/>
          <p:cNvSpPr/>
          <p:nvPr/>
        </p:nvSpPr>
        <p:spPr>
          <a:xfrm>
            <a:off x="7823709" y="1989620"/>
            <a:ext cx="502919" cy="491070"/>
          </a:xfrm>
          <a:custGeom>
            <a:avLst/>
            <a:gdLst/>
            <a:ahLst/>
            <a:cxnLst/>
            <a:rect l="l" t="t" r="r" b="b"/>
            <a:pathLst>
              <a:path w="502919" h="491070">
                <a:moveTo>
                  <a:pt x="0" y="491070"/>
                </a:moveTo>
                <a:lnTo>
                  <a:pt x="502919" y="491070"/>
                </a:lnTo>
                <a:lnTo>
                  <a:pt x="502919" y="0"/>
                </a:lnTo>
                <a:lnTo>
                  <a:pt x="0" y="0"/>
                </a:lnTo>
                <a:lnTo>
                  <a:pt x="0" y="491070"/>
                </a:lnTo>
                <a:close/>
              </a:path>
            </a:pathLst>
          </a:custGeom>
          <a:ln w="25400">
            <a:solidFill>
              <a:srgbClr val="000000"/>
            </a:solidFill>
          </a:ln>
        </p:spPr>
        <p:txBody>
          <a:bodyPr wrap="square" lIns="0" tIns="0" rIns="0" bIns="0" rtlCol="0">
            <a:noAutofit/>
          </a:bodyPr>
          <a:lstStyle/>
          <a:p>
            <a:endParaRPr/>
          </a:p>
        </p:txBody>
      </p:sp>
      <p:sp>
        <p:nvSpPr>
          <p:cNvPr id="155" name="object 155"/>
          <p:cNvSpPr/>
          <p:nvPr/>
        </p:nvSpPr>
        <p:spPr>
          <a:xfrm>
            <a:off x="8387716" y="1910600"/>
            <a:ext cx="500951" cy="570090"/>
          </a:xfrm>
          <a:custGeom>
            <a:avLst/>
            <a:gdLst/>
            <a:ahLst/>
            <a:cxnLst/>
            <a:rect l="l" t="t" r="r" b="b"/>
            <a:pathLst>
              <a:path w="500951" h="570090">
                <a:moveTo>
                  <a:pt x="0" y="570090"/>
                </a:moveTo>
                <a:lnTo>
                  <a:pt x="500951" y="570090"/>
                </a:lnTo>
                <a:lnTo>
                  <a:pt x="500951" y="0"/>
                </a:lnTo>
                <a:lnTo>
                  <a:pt x="0" y="0"/>
                </a:lnTo>
                <a:lnTo>
                  <a:pt x="0" y="570090"/>
                </a:lnTo>
                <a:close/>
              </a:path>
            </a:pathLst>
          </a:custGeom>
          <a:solidFill>
            <a:srgbClr val="FFCC66"/>
          </a:solidFill>
        </p:spPr>
        <p:txBody>
          <a:bodyPr wrap="square" lIns="0" tIns="0" rIns="0" bIns="0" rtlCol="0">
            <a:noAutofit/>
          </a:bodyPr>
          <a:lstStyle/>
          <a:p>
            <a:endParaRPr/>
          </a:p>
        </p:txBody>
      </p:sp>
      <p:sp>
        <p:nvSpPr>
          <p:cNvPr id="156" name="object 156"/>
          <p:cNvSpPr/>
          <p:nvPr/>
        </p:nvSpPr>
        <p:spPr>
          <a:xfrm>
            <a:off x="8387716" y="1910600"/>
            <a:ext cx="500951" cy="570090"/>
          </a:xfrm>
          <a:custGeom>
            <a:avLst/>
            <a:gdLst/>
            <a:ahLst/>
            <a:cxnLst/>
            <a:rect l="l" t="t" r="r" b="b"/>
            <a:pathLst>
              <a:path w="500951" h="570090">
                <a:moveTo>
                  <a:pt x="0" y="570090"/>
                </a:moveTo>
                <a:lnTo>
                  <a:pt x="500951" y="570090"/>
                </a:lnTo>
                <a:lnTo>
                  <a:pt x="500951" y="0"/>
                </a:lnTo>
                <a:lnTo>
                  <a:pt x="0" y="0"/>
                </a:lnTo>
                <a:lnTo>
                  <a:pt x="0" y="570090"/>
                </a:lnTo>
                <a:close/>
              </a:path>
            </a:pathLst>
          </a:custGeom>
          <a:ln w="25400">
            <a:solidFill>
              <a:srgbClr val="000000"/>
            </a:solidFill>
          </a:ln>
        </p:spPr>
        <p:txBody>
          <a:bodyPr wrap="square" lIns="0" tIns="0" rIns="0" bIns="0" rtlCol="0">
            <a:noAutofit/>
          </a:bodyPr>
          <a:lstStyle/>
          <a:p>
            <a:endParaRPr/>
          </a:p>
        </p:txBody>
      </p:sp>
      <p:sp>
        <p:nvSpPr>
          <p:cNvPr id="157" name="object 157"/>
          <p:cNvSpPr/>
          <p:nvPr/>
        </p:nvSpPr>
        <p:spPr>
          <a:xfrm>
            <a:off x="8949817" y="2116620"/>
            <a:ext cx="504888" cy="364070"/>
          </a:xfrm>
          <a:custGeom>
            <a:avLst/>
            <a:gdLst/>
            <a:ahLst/>
            <a:cxnLst/>
            <a:rect l="l" t="t" r="r" b="b"/>
            <a:pathLst>
              <a:path w="504888" h="364070">
                <a:moveTo>
                  <a:pt x="0" y="364070"/>
                </a:moveTo>
                <a:lnTo>
                  <a:pt x="504888" y="364070"/>
                </a:lnTo>
                <a:lnTo>
                  <a:pt x="504888" y="0"/>
                </a:lnTo>
                <a:lnTo>
                  <a:pt x="0" y="0"/>
                </a:lnTo>
                <a:lnTo>
                  <a:pt x="0" y="364070"/>
                </a:lnTo>
                <a:close/>
              </a:path>
            </a:pathLst>
          </a:custGeom>
          <a:solidFill>
            <a:srgbClr val="FFCC66"/>
          </a:solidFill>
        </p:spPr>
        <p:txBody>
          <a:bodyPr wrap="square" lIns="0" tIns="0" rIns="0" bIns="0" rtlCol="0">
            <a:noAutofit/>
          </a:bodyPr>
          <a:lstStyle/>
          <a:p>
            <a:endParaRPr/>
          </a:p>
        </p:txBody>
      </p:sp>
      <p:sp>
        <p:nvSpPr>
          <p:cNvPr id="158" name="object 158"/>
          <p:cNvSpPr/>
          <p:nvPr/>
        </p:nvSpPr>
        <p:spPr>
          <a:xfrm>
            <a:off x="8949817" y="2116620"/>
            <a:ext cx="504888" cy="364070"/>
          </a:xfrm>
          <a:custGeom>
            <a:avLst/>
            <a:gdLst/>
            <a:ahLst/>
            <a:cxnLst/>
            <a:rect l="l" t="t" r="r" b="b"/>
            <a:pathLst>
              <a:path w="504888" h="364070">
                <a:moveTo>
                  <a:pt x="0" y="364070"/>
                </a:moveTo>
                <a:lnTo>
                  <a:pt x="504888" y="364070"/>
                </a:lnTo>
                <a:lnTo>
                  <a:pt x="504888" y="0"/>
                </a:lnTo>
                <a:lnTo>
                  <a:pt x="0" y="0"/>
                </a:lnTo>
                <a:lnTo>
                  <a:pt x="0" y="364070"/>
                </a:lnTo>
                <a:close/>
              </a:path>
            </a:pathLst>
          </a:custGeom>
          <a:ln w="25400">
            <a:solidFill>
              <a:srgbClr val="000000"/>
            </a:solidFill>
          </a:ln>
        </p:spPr>
        <p:txBody>
          <a:bodyPr wrap="square" lIns="0" tIns="0" rIns="0" bIns="0" rtlCol="0">
            <a:noAutofit/>
          </a:bodyPr>
          <a:lstStyle/>
          <a:p>
            <a:endParaRPr/>
          </a:p>
        </p:txBody>
      </p:sp>
      <p:sp>
        <p:nvSpPr>
          <p:cNvPr id="31" name="object 31"/>
          <p:cNvSpPr txBox="1"/>
          <p:nvPr/>
        </p:nvSpPr>
        <p:spPr>
          <a:xfrm>
            <a:off x="2074898" y="1295401"/>
            <a:ext cx="4567329" cy="4136263"/>
          </a:xfrm>
          <a:prstGeom prst="rect">
            <a:avLst/>
          </a:prstGeom>
        </p:spPr>
        <p:txBody>
          <a:bodyPr wrap="square" lIns="0" tIns="0" rIns="0" bIns="0" rtlCol="0">
            <a:noAutofit/>
          </a:bodyPr>
          <a:lstStyle/>
          <a:p>
            <a:pPr marL="469900" indent="-457200">
              <a:lnSpc>
                <a:spcPts val="2960"/>
              </a:lnSpc>
              <a:spcBef>
                <a:spcPts val="148"/>
              </a:spcBef>
              <a:buClr>
                <a:srgbClr val="00B0F0"/>
              </a:buClr>
              <a:buFont typeface="Wingdings" panose="05000000000000000000" pitchFamily="2" charset="2"/>
              <a:buChar char="§"/>
            </a:pPr>
            <a:r>
              <a:rPr dirty="0">
                <a:cs typeface="Arial"/>
              </a:rPr>
              <a:t>Ava</a:t>
            </a:r>
            <a:r>
              <a:rPr spc="9" dirty="0">
                <a:cs typeface="Arial"/>
              </a:rPr>
              <a:t>i</a:t>
            </a:r>
            <a:r>
              <a:rPr dirty="0">
                <a:cs typeface="Arial"/>
              </a:rPr>
              <a:t>labi</a:t>
            </a:r>
            <a:r>
              <a:rPr spc="4" dirty="0">
                <a:cs typeface="Arial"/>
              </a:rPr>
              <a:t>l</a:t>
            </a:r>
            <a:r>
              <a:rPr dirty="0">
                <a:cs typeface="Arial"/>
              </a:rPr>
              <a:t>ity</a:t>
            </a:r>
            <a:r>
              <a:rPr spc="-91" dirty="0">
                <a:cs typeface="Arial"/>
              </a:rPr>
              <a:t> </a:t>
            </a:r>
            <a:r>
              <a:rPr dirty="0">
                <a:cs typeface="Arial"/>
              </a:rPr>
              <a:t>che</a:t>
            </a:r>
            <a:r>
              <a:rPr spc="9" dirty="0">
                <a:cs typeface="Arial"/>
              </a:rPr>
              <a:t>c</a:t>
            </a:r>
            <a:r>
              <a:rPr dirty="0">
                <a:cs typeface="Arial"/>
              </a:rPr>
              <a:t>k</a:t>
            </a:r>
            <a:r>
              <a:rPr spc="-59" dirty="0">
                <a:cs typeface="Arial"/>
              </a:rPr>
              <a:t> </a:t>
            </a:r>
            <a:r>
              <a:rPr dirty="0">
                <a:cs typeface="Arial"/>
              </a:rPr>
              <a:t>&amp;</a:t>
            </a:r>
            <a:r>
              <a:rPr spc="-20" dirty="0">
                <a:cs typeface="Arial"/>
              </a:rPr>
              <a:t> </a:t>
            </a:r>
            <a:r>
              <a:rPr dirty="0">
                <a:cs typeface="Arial"/>
              </a:rPr>
              <a:t>TOR</a:t>
            </a:r>
          </a:p>
          <a:p>
            <a:pPr marL="469900" marR="501401" indent="-457200">
              <a:lnSpc>
                <a:spcPts val="3219"/>
              </a:lnSpc>
              <a:spcBef>
                <a:spcPts val="326"/>
              </a:spcBef>
              <a:buClr>
                <a:srgbClr val="00B0F0"/>
              </a:buClr>
              <a:buFont typeface="Wingdings" panose="05000000000000000000" pitchFamily="2" charset="2"/>
              <a:buChar char="§"/>
            </a:pPr>
            <a:r>
              <a:rPr dirty="0">
                <a:cs typeface="Arial"/>
              </a:rPr>
              <a:t>Par</a:t>
            </a:r>
            <a:r>
              <a:rPr spc="4" dirty="0">
                <a:cs typeface="Arial"/>
              </a:rPr>
              <a:t>t</a:t>
            </a:r>
            <a:r>
              <a:rPr dirty="0">
                <a:cs typeface="Arial"/>
              </a:rPr>
              <a:t>ner</a:t>
            </a:r>
            <a:r>
              <a:rPr spc="-97" dirty="0">
                <a:cs typeface="Arial"/>
              </a:rPr>
              <a:t> </a:t>
            </a:r>
            <a:r>
              <a:rPr dirty="0">
                <a:cs typeface="Arial"/>
              </a:rPr>
              <a:t>dete</a:t>
            </a:r>
            <a:r>
              <a:rPr spc="9" dirty="0">
                <a:cs typeface="Arial"/>
              </a:rPr>
              <a:t>r</a:t>
            </a:r>
            <a:r>
              <a:rPr dirty="0">
                <a:cs typeface="Arial"/>
              </a:rPr>
              <a:t>minat</a:t>
            </a:r>
            <a:r>
              <a:rPr spc="4" dirty="0">
                <a:cs typeface="Arial"/>
              </a:rPr>
              <a:t>i</a:t>
            </a:r>
            <a:r>
              <a:rPr dirty="0">
                <a:cs typeface="Arial"/>
              </a:rPr>
              <a:t>on </a:t>
            </a:r>
          </a:p>
          <a:p>
            <a:pPr marL="469900" marR="501401" indent="-457200">
              <a:lnSpc>
                <a:spcPts val="3219"/>
              </a:lnSpc>
              <a:spcBef>
                <a:spcPts val="476"/>
              </a:spcBef>
              <a:buClr>
                <a:srgbClr val="00B0F0"/>
              </a:buClr>
              <a:buFont typeface="Wingdings" panose="05000000000000000000" pitchFamily="2" charset="2"/>
              <a:buChar char="§"/>
            </a:pPr>
            <a:r>
              <a:rPr dirty="0">
                <a:cs typeface="Arial"/>
              </a:rPr>
              <a:t>R</a:t>
            </a:r>
            <a:r>
              <a:rPr spc="-9" dirty="0">
                <a:cs typeface="Arial"/>
              </a:rPr>
              <a:t>o</a:t>
            </a:r>
            <a:r>
              <a:rPr dirty="0">
                <a:cs typeface="Arial"/>
              </a:rPr>
              <a:t>ute</a:t>
            </a:r>
            <a:r>
              <a:rPr spc="14" dirty="0">
                <a:cs typeface="Arial"/>
              </a:rPr>
              <a:t> </a:t>
            </a:r>
            <a:r>
              <a:rPr dirty="0">
                <a:cs typeface="Arial"/>
              </a:rPr>
              <a:t>Dete</a:t>
            </a:r>
            <a:r>
              <a:rPr spc="9" dirty="0">
                <a:cs typeface="Arial"/>
              </a:rPr>
              <a:t>r</a:t>
            </a:r>
            <a:r>
              <a:rPr dirty="0">
                <a:cs typeface="Arial"/>
              </a:rPr>
              <a:t>mination </a:t>
            </a:r>
          </a:p>
          <a:p>
            <a:pPr marL="469900" marR="501401" indent="-457200">
              <a:lnSpc>
                <a:spcPts val="3219"/>
              </a:lnSpc>
              <a:spcBef>
                <a:spcPts val="476"/>
              </a:spcBef>
              <a:buClr>
                <a:srgbClr val="00B0F0"/>
              </a:buClr>
              <a:buFont typeface="Wingdings" panose="05000000000000000000" pitchFamily="2" charset="2"/>
              <a:buChar char="§"/>
            </a:pPr>
            <a:r>
              <a:rPr dirty="0">
                <a:cs typeface="Arial"/>
              </a:rPr>
              <a:t>Credit</a:t>
            </a:r>
            <a:r>
              <a:rPr spc="-70" dirty="0">
                <a:cs typeface="Arial"/>
              </a:rPr>
              <a:t> </a:t>
            </a:r>
            <a:r>
              <a:rPr dirty="0">
                <a:cs typeface="Arial"/>
              </a:rPr>
              <a:t>Check</a:t>
            </a:r>
          </a:p>
          <a:p>
            <a:pPr marL="469900" marR="361404" indent="-457200">
              <a:lnSpc>
                <a:spcPts val="3219"/>
              </a:lnSpc>
              <a:spcBef>
                <a:spcPts val="486"/>
              </a:spcBef>
              <a:buClr>
                <a:srgbClr val="00B0F0"/>
              </a:buClr>
              <a:buFont typeface="Wingdings" panose="05000000000000000000" pitchFamily="2" charset="2"/>
              <a:buChar char="§"/>
            </a:pPr>
            <a:r>
              <a:rPr dirty="0">
                <a:cs typeface="Arial"/>
              </a:rPr>
              <a:t>Text</a:t>
            </a:r>
            <a:r>
              <a:rPr spc="-47" dirty="0">
                <a:cs typeface="Arial"/>
              </a:rPr>
              <a:t> </a:t>
            </a:r>
            <a:r>
              <a:rPr dirty="0">
                <a:cs typeface="Arial"/>
              </a:rPr>
              <a:t>De</a:t>
            </a:r>
            <a:r>
              <a:rPr spc="9" dirty="0">
                <a:cs typeface="Arial"/>
              </a:rPr>
              <a:t>t</a:t>
            </a:r>
            <a:r>
              <a:rPr dirty="0">
                <a:cs typeface="Arial"/>
              </a:rPr>
              <a:t>e</a:t>
            </a:r>
            <a:r>
              <a:rPr spc="4" dirty="0">
                <a:cs typeface="Arial"/>
              </a:rPr>
              <a:t>r</a:t>
            </a:r>
            <a:r>
              <a:rPr dirty="0">
                <a:cs typeface="Arial"/>
              </a:rPr>
              <a:t>minat</a:t>
            </a:r>
            <a:r>
              <a:rPr spc="4" dirty="0">
                <a:cs typeface="Arial"/>
              </a:rPr>
              <a:t>i</a:t>
            </a:r>
            <a:r>
              <a:rPr dirty="0">
                <a:cs typeface="Arial"/>
              </a:rPr>
              <a:t>on </a:t>
            </a:r>
          </a:p>
          <a:p>
            <a:pPr marL="469900" marR="361404" indent="-457200">
              <a:lnSpc>
                <a:spcPts val="3219"/>
              </a:lnSpc>
              <a:spcBef>
                <a:spcPts val="476"/>
              </a:spcBef>
              <a:buClr>
                <a:srgbClr val="00B0F0"/>
              </a:buClr>
              <a:buFont typeface="Wingdings" panose="05000000000000000000" pitchFamily="2" charset="2"/>
              <a:buChar char="§"/>
            </a:pPr>
            <a:r>
              <a:rPr dirty="0">
                <a:cs typeface="Arial"/>
              </a:rPr>
              <a:t>Mat</a:t>
            </a:r>
            <a:r>
              <a:rPr spc="4" dirty="0">
                <a:cs typeface="Arial"/>
              </a:rPr>
              <a:t>e</a:t>
            </a:r>
            <a:r>
              <a:rPr dirty="0">
                <a:cs typeface="Arial"/>
              </a:rPr>
              <a:t>ri</a:t>
            </a:r>
            <a:r>
              <a:rPr spc="4" dirty="0">
                <a:cs typeface="Arial"/>
              </a:rPr>
              <a:t>a</a:t>
            </a:r>
            <a:r>
              <a:rPr dirty="0">
                <a:cs typeface="Arial"/>
              </a:rPr>
              <a:t>l</a:t>
            </a:r>
            <a:r>
              <a:rPr spc="-63" dirty="0">
                <a:cs typeface="Arial"/>
              </a:rPr>
              <a:t> </a:t>
            </a:r>
            <a:r>
              <a:rPr spc="-9" dirty="0">
                <a:cs typeface="Arial"/>
              </a:rPr>
              <a:t>D</a:t>
            </a:r>
            <a:r>
              <a:rPr dirty="0">
                <a:cs typeface="Arial"/>
              </a:rPr>
              <a:t>et</a:t>
            </a:r>
            <a:r>
              <a:rPr spc="9" dirty="0">
                <a:cs typeface="Arial"/>
              </a:rPr>
              <a:t>e</a:t>
            </a:r>
            <a:r>
              <a:rPr dirty="0">
                <a:cs typeface="Arial"/>
              </a:rPr>
              <a:t>rmination </a:t>
            </a:r>
          </a:p>
          <a:p>
            <a:pPr marL="469900" marR="361404" indent="-457200">
              <a:lnSpc>
                <a:spcPts val="3219"/>
              </a:lnSpc>
              <a:spcBef>
                <a:spcPts val="476"/>
              </a:spcBef>
              <a:buClr>
                <a:srgbClr val="00B0F0"/>
              </a:buClr>
              <a:buFont typeface="Wingdings" panose="05000000000000000000" pitchFamily="2" charset="2"/>
              <a:buChar char="§"/>
            </a:pPr>
            <a:r>
              <a:rPr dirty="0">
                <a:cs typeface="Arial"/>
              </a:rPr>
              <a:t>Lis</a:t>
            </a:r>
            <a:r>
              <a:rPr spc="4" dirty="0">
                <a:cs typeface="Arial"/>
              </a:rPr>
              <a:t>t</a:t>
            </a:r>
            <a:r>
              <a:rPr dirty="0">
                <a:cs typeface="Arial"/>
              </a:rPr>
              <a:t>ing</a:t>
            </a:r>
            <a:r>
              <a:rPr spc="-49" dirty="0">
                <a:cs typeface="Arial"/>
              </a:rPr>
              <a:t> </a:t>
            </a:r>
            <a:r>
              <a:rPr dirty="0">
                <a:cs typeface="Arial"/>
              </a:rPr>
              <a:t>/</a:t>
            </a:r>
            <a:r>
              <a:rPr spc="-9" dirty="0">
                <a:cs typeface="Arial"/>
              </a:rPr>
              <a:t> </a:t>
            </a:r>
            <a:r>
              <a:rPr dirty="0">
                <a:cs typeface="Arial"/>
              </a:rPr>
              <a:t>Exc</a:t>
            </a:r>
            <a:r>
              <a:rPr spc="4" dirty="0">
                <a:cs typeface="Arial"/>
              </a:rPr>
              <a:t>l</a:t>
            </a:r>
            <a:r>
              <a:rPr dirty="0">
                <a:cs typeface="Arial"/>
              </a:rPr>
              <a:t>usion </a:t>
            </a:r>
          </a:p>
          <a:p>
            <a:pPr marL="469900" marR="361404" indent="-457200">
              <a:lnSpc>
                <a:spcPts val="3219"/>
              </a:lnSpc>
              <a:spcBef>
                <a:spcPts val="476"/>
              </a:spcBef>
              <a:buClr>
                <a:srgbClr val="00B0F0"/>
              </a:buClr>
              <a:buFont typeface="Wingdings" panose="05000000000000000000" pitchFamily="2" charset="2"/>
              <a:buChar char="§"/>
            </a:pPr>
            <a:r>
              <a:rPr dirty="0">
                <a:cs typeface="Arial"/>
              </a:rPr>
              <a:t>Outp</a:t>
            </a:r>
            <a:r>
              <a:rPr spc="-9" dirty="0">
                <a:cs typeface="Arial"/>
              </a:rPr>
              <a:t>u</a:t>
            </a:r>
            <a:r>
              <a:rPr dirty="0">
                <a:cs typeface="Arial"/>
              </a:rPr>
              <a:t>t</a:t>
            </a:r>
            <a:r>
              <a:rPr spc="-71" dirty="0">
                <a:cs typeface="Arial"/>
              </a:rPr>
              <a:t> </a:t>
            </a:r>
            <a:r>
              <a:rPr dirty="0">
                <a:cs typeface="Arial"/>
              </a:rPr>
              <a:t>Det</a:t>
            </a:r>
            <a:r>
              <a:rPr spc="9" dirty="0">
                <a:cs typeface="Arial"/>
              </a:rPr>
              <a:t>e</a:t>
            </a:r>
            <a:r>
              <a:rPr dirty="0">
                <a:cs typeface="Arial"/>
              </a:rPr>
              <a:t>rmina</a:t>
            </a:r>
            <a:r>
              <a:rPr spc="9" dirty="0">
                <a:cs typeface="Arial"/>
              </a:rPr>
              <a:t>t</a:t>
            </a:r>
            <a:r>
              <a:rPr dirty="0">
                <a:cs typeface="Arial"/>
              </a:rPr>
              <a:t>ion</a:t>
            </a:r>
          </a:p>
          <a:p>
            <a:pPr marL="469900" marR="53263" indent="-457200">
              <a:lnSpc>
                <a:spcPct val="95825"/>
              </a:lnSpc>
              <a:spcBef>
                <a:spcPts val="486"/>
              </a:spcBef>
              <a:buClr>
                <a:srgbClr val="00B0F0"/>
              </a:buClr>
              <a:buFont typeface="Wingdings" panose="05000000000000000000" pitchFamily="2" charset="2"/>
              <a:buChar char="§"/>
            </a:pPr>
            <a:r>
              <a:rPr dirty="0">
                <a:cs typeface="Arial"/>
              </a:rPr>
              <a:t>Transportation planning</a:t>
            </a:r>
          </a:p>
        </p:txBody>
      </p:sp>
      <p:sp>
        <p:nvSpPr>
          <p:cNvPr id="29" name="object 29"/>
          <p:cNvSpPr txBox="1"/>
          <p:nvPr/>
        </p:nvSpPr>
        <p:spPr>
          <a:xfrm>
            <a:off x="8687562" y="2782698"/>
            <a:ext cx="102489" cy="90297"/>
          </a:xfrm>
          <a:prstGeom prst="rect">
            <a:avLst/>
          </a:prstGeom>
        </p:spPr>
        <p:txBody>
          <a:bodyPr wrap="square" lIns="0" tIns="0" rIns="0" bIns="0" rtlCol="0">
            <a:noAutofit/>
          </a:bodyPr>
          <a:lstStyle/>
          <a:p>
            <a:pPr marL="25400">
              <a:lnSpc>
                <a:spcPts val="700"/>
              </a:lnSpc>
              <a:spcBef>
                <a:spcPts val="11"/>
              </a:spcBef>
            </a:pPr>
            <a:endParaRPr sz="700"/>
          </a:p>
        </p:txBody>
      </p:sp>
      <p:sp>
        <p:nvSpPr>
          <p:cNvPr id="28" name="object 28"/>
          <p:cNvSpPr txBox="1"/>
          <p:nvPr/>
        </p:nvSpPr>
        <p:spPr>
          <a:xfrm>
            <a:off x="8790051" y="2782698"/>
            <a:ext cx="122300" cy="90297"/>
          </a:xfrm>
          <a:prstGeom prst="rect">
            <a:avLst/>
          </a:prstGeom>
        </p:spPr>
        <p:txBody>
          <a:bodyPr wrap="square" lIns="0" tIns="0" rIns="0" bIns="0" rtlCol="0">
            <a:noAutofit/>
          </a:bodyPr>
          <a:lstStyle/>
          <a:p>
            <a:pPr marL="25400">
              <a:lnSpc>
                <a:spcPts val="700"/>
              </a:lnSpc>
              <a:spcBef>
                <a:spcPts val="11"/>
              </a:spcBef>
            </a:pPr>
            <a:endParaRPr sz="700"/>
          </a:p>
        </p:txBody>
      </p:sp>
      <p:sp>
        <p:nvSpPr>
          <p:cNvPr id="27" name="object 27"/>
          <p:cNvSpPr txBox="1"/>
          <p:nvPr/>
        </p:nvSpPr>
        <p:spPr>
          <a:xfrm>
            <a:off x="8912352" y="2782698"/>
            <a:ext cx="1311528" cy="90297"/>
          </a:xfrm>
          <a:prstGeom prst="rect">
            <a:avLst/>
          </a:prstGeom>
        </p:spPr>
        <p:txBody>
          <a:bodyPr wrap="square" lIns="0" tIns="0" rIns="0" bIns="0" rtlCol="0">
            <a:noAutofit/>
          </a:bodyPr>
          <a:lstStyle/>
          <a:p>
            <a:pPr marL="25400">
              <a:lnSpc>
                <a:spcPts val="700"/>
              </a:lnSpc>
              <a:spcBef>
                <a:spcPts val="11"/>
              </a:spcBef>
            </a:pPr>
            <a:endParaRPr sz="700"/>
          </a:p>
        </p:txBody>
      </p:sp>
      <p:sp>
        <p:nvSpPr>
          <p:cNvPr id="26" name="object 26"/>
          <p:cNvSpPr txBox="1"/>
          <p:nvPr/>
        </p:nvSpPr>
        <p:spPr>
          <a:xfrm>
            <a:off x="8687562" y="2872994"/>
            <a:ext cx="297815" cy="76200"/>
          </a:xfrm>
          <a:prstGeom prst="rect">
            <a:avLst/>
          </a:prstGeom>
        </p:spPr>
        <p:txBody>
          <a:bodyPr wrap="square" lIns="0" tIns="0" rIns="0" bIns="0" rtlCol="0">
            <a:noAutofit/>
          </a:bodyPr>
          <a:lstStyle/>
          <a:p>
            <a:pPr marL="25400">
              <a:lnSpc>
                <a:spcPts val="600"/>
              </a:lnSpc>
            </a:pPr>
            <a:endParaRPr sz="600"/>
          </a:p>
        </p:txBody>
      </p:sp>
      <p:sp>
        <p:nvSpPr>
          <p:cNvPr id="25" name="object 25"/>
          <p:cNvSpPr txBox="1"/>
          <p:nvPr/>
        </p:nvSpPr>
        <p:spPr>
          <a:xfrm>
            <a:off x="8790051" y="2872995"/>
            <a:ext cx="122300" cy="42417"/>
          </a:xfrm>
          <a:prstGeom prst="rect">
            <a:avLst/>
          </a:prstGeom>
        </p:spPr>
        <p:txBody>
          <a:bodyPr wrap="square" lIns="0" tIns="0" rIns="0" bIns="0" rtlCol="0">
            <a:noAutofit/>
          </a:bodyPr>
          <a:lstStyle/>
          <a:p>
            <a:endParaRPr/>
          </a:p>
        </p:txBody>
      </p:sp>
      <p:sp>
        <p:nvSpPr>
          <p:cNvPr id="24" name="object 24"/>
          <p:cNvSpPr txBox="1"/>
          <p:nvPr/>
        </p:nvSpPr>
        <p:spPr>
          <a:xfrm>
            <a:off x="8912353" y="2872995"/>
            <a:ext cx="73025" cy="42417"/>
          </a:xfrm>
          <a:prstGeom prst="rect">
            <a:avLst/>
          </a:prstGeom>
        </p:spPr>
        <p:txBody>
          <a:bodyPr wrap="square" lIns="0" tIns="0" rIns="0" bIns="0" rtlCol="0">
            <a:noAutofit/>
          </a:bodyPr>
          <a:lstStyle/>
          <a:p>
            <a:endParaRPr/>
          </a:p>
        </p:txBody>
      </p:sp>
      <p:sp>
        <p:nvSpPr>
          <p:cNvPr id="23" name="object 23"/>
          <p:cNvSpPr txBox="1"/>
          <p:nvPr/>
        </p:nvSpPr>
        <p:spPr>
          <a:xfrm>
            <a:off x="8985377" y="2872994"/>
            <a:ext cx="258318" cy="76200"/>
          </a:xfrm>
          <a:prstGeom prst="rect">
            <a:avLst/>
          </a:prstGeom>
        </p:spPr>
        <p:txBody>
          <a:bodyPr wrap="square" lIns="0" tIns="0" rIns="0" bIns="0" rtlCol="0">
            <a:noAutofit/>
          </a:bodyPr>
          <a:lstStyle/>
          <a:p>
            <a:pPr marL="25400">
              <a:lnSpc>
                <a:spcPts val="600"/>
              </a:lnSpc>
            </a:pPr>
            <a:endParaRPr sz="600"/>
          </a:p>
        </p:txBody>
      </p:sp>
      <p:sp>
        <p:nvSpPr>
          <p:cNvPr id="22" name="object 22"/>
          <p:cNvSpPr txBox="1"/>
          <p:nvPr/>
        </p:nvSpPr>
        <p:spPr>
          <a:xfrm>
            <a:off x="9243696" y="2872994"/>
            <a:ext cx="980185" cy="76200"/>
          </a:xfrm>
          <a:prstGeom prst="rect">
            <a:avLst/>
          </a:prstGeom>
        </p:spPr>
        <p:txBody>
          <a:bodyPr wrap="square" lIns="0" tIns="0" rIns="0" bIns="0" rtlCol="0">
            <a:noAutofit/>
          </a:bodyPr>
          <a:lstStyle/>
          <a:p>
            <a:pPr marL="25400">
              <a:lnSpc>
                <a:spcPts val="600"/>
              </a:lnSpc>
            </a:pPr>
            <a:endParaRPr sz="600"/>
          </a:p>
        </p:txBody>
      </p:sp>
      <p:sp>
        <p:nvSpPr>
          <p:cNvPr id="21" name="object 21"/>
          <p:cNvSpPr txBox="1"/>
          <p:nvPr/>
        </p:nvSpPr>
        <p:spPr>
          <a:xfrm>
            <a:off x="8687562" y="2949195"/>
            <a:ext cx="556133" cy="73405"/>
          </a:xfrm>
          <a:prstGeom prst="rect">
            <a:avLst/>
          </a:prstGeom>
        </p:spPr>
        <p:txBody>
          <a:bodyPr wrap="square" lIns="0" tIns="0" rIns="0" bIns="0" rtlCol="0">
            <a:noAutofit/>
          </a:bodyPr>
          <a:lstStyle/>
          <a:p>
            <a:pPr marL="25400">
              <a:lnSpc>
                <a:spcPts val="550"/>
              </a:lnSpc>
              <a:spcBef>
                <a:spcPts val="27"/>
              </a:spcBef>
            </a:pPr>
            <a:endParaRPr sz="550"/>
          </a:p>
        </p:txBody>
      </p:sp>
      <p:sp>
        <p:nvSpPr>
          <p:cNvPr id="20" name="object 20"/>
          <p:cNvSpPr txBox="1"/>
          <p:nvPr/>
        </p:nvSpPr>
        <p:spPr>
          <a:xfrm>
            <a:off x="9243696" y="2949195"/>
            <a:ext cx="526541" cy="73405"/>
          </a:xfrm>
          <a:prstGeom prst="rect">
            <a:avLst/>
          </a:prstGeom>
        </p:spPr>
        <p:txBody>
          <a:bodyPr wrap="square" lIns="0" tIns="0" rIns="0" bIns="0" rtlCol="0">
            <a:noAutofit/>
          </a:bodyPr>
          <a:lstStyle/>
          <a:p>
            <a:pPr marL="25400">
              <a:lnSpc>
                <a:spcPts val="550"/>
              </a:lnSpc>
              <a:spcBef>
                <a:spcPts val="27"/>
              </a:spcBef>
            </a:pPr>
            <a:endParaRPr sz="550"/>
          </a:p>
        </p:txBody>
      </p:sp>
      <p:sp>
        <p:nvSpPr>
          <p:cNvPr id="19" name="object 19"/>
          <p:cNvSpPr txBox="1"/>
          <p:nvPr/>
        </p:nvSpPr>
        <p:spPr>
          <a:xfrm>
            <a:off x="9770236" y="2949195"/>
            <a:ext cx="453644" cy="67817"/>
          </a:xfrm>
          <a:prstGeom prst="rect">
            <a:avLst/>
          </a:prstGeom>
        </p:spPr>
        <p:txBody>
          <a:bodyPr wrap="square" lIns="0" tIns="0" rIns="0" bIns="0" rtlCol="0">
            <a:noAutofit/>
          </a:bodyPr>
          <a:lstStyle/>
          <a:p>
            <a:pPr marL="25400">
              <a:lnSpc>
                <a:spcPts val="500"/>
              </a:lnSpc>
              <a:spcBef>
                <a:spcPts val="33"/>
              </a:spcBef>
            </a:pPr>
            <a:endParaRPr sz="500"/>
          </a:p>
        </p:txBody>
      </p:sp>
      <p:sp>
        <p:nvSpPr>
          <p:cNvPr id="18" name="object 18"/>
          <p:cNvSpPr txBox="1"/>
          <p:nvPr/>
        </p:nvSpPr>
        <p:spPr>
          <a:xfrm>
            <a:off x="10070084" y="2709354"/>
            <a:ext cx="82804" cy="22542"/>
          </a:xfrm>
          <a:prstGeom prst="rect">
            <a:avLst/>
          </a:prstGeom>
        </p:spPr>
        <p:txBody>
          <a:bodyPr wrap="square" lIns="0" tIns="0" rIns="0" bIns="0" rtlCol="0">
            <a:noAutofit/>
          </a:bodyPr>
          <a:lstStyle/>
          <a:p>
            <a:endParaRPr/>
          </a:p>
        </p:txBody>
      </p:sp>
      <p:sp>
        <p:nvSpPr>
          <p:cNvPr id="17" name="object 17"/>
          <p:cNvSpPr txBox="1"/>
          <p:nvPr/>
        </p:nvSpPr>
        <p:spPr>
          <a:xfrm>
            <a:off x="7823709" y="1693291"/>
            <a:ext cx="1657381" cy="217309"/>
          </a:xfrm>
          <a:prstGeom prst="rect">
            <a:avLst/>
          </a:prstGeom>
        </p:spPr>
        <p:txBody>
          <a:bodyPr wrap="square" lIns="0" tIns="0" rIns="0" bIns="0" rtlCol="0">
            <a:noAutofit/>
          </a:bodyPr>
          <a:lstStyle/>
          <a:p>
            <a:pPr marL="25400">
              <a:lnSpc>
                <a:spcPts val="1000"/>
              </a:lnSpc>
            </a:pPr>
            <a:endParaRPr sz="1000"/>
          </a:p>
        </p:txBody>
      </p:sp>
      <p:sp>
        <p:nvSpPr>
          <p:cNvPr id="16" name="object 16"/>
          <p:cNvSpPr txBox="1"/>
          <p:nvPr/>
        </p:nvSpPr>
        <p:spPr>
          <a:xfrm>
            <a:off x="9481089" y="1693291"/>
            <a:ext cx="127476" cy="217309"/>
          </a:xfrm>
          <a:prstGeom prst="rect">
            <a:avLst/>
          </a:prstGeom>
        </p:spPr>
        <p:txBody>
          <a:bodyPr wrap="square" lIns="0" tIns="0" rIns="0" bIns="0" rtlCol="0">
            <a:noAutofit/>
          </a:bodyPr>
          <a:lstStyle/>
          <a:p>
            <a:pPr marL="25400">
              <a:lnSpc>
                <a:spcPts val="1000"/>
              </a:lnSpc>
            </a:pPr>
            <a:endParaRPr sz="1000"/>
          </a:p>
        </p:txBody>
      </p:sp>
      <p:sp>
        <p:nvSpPr>
          <p:cNvPr id="15" name="object 15"/>
          <p:cNvSpPr txBox="1"/>
          <p:nvPr/>
        </p:nvSpPr>
        <p:spPr>
          <a:xfrm>
            <a:off x="7823709" y="1910601"/>
            <a:ext cx="564007" cy="79019"/>
          </a:xfrm>
          <a:prstGeom prst="rect">
            <a:avLst/>
          </a:prstGeom>
        </p:spPr>
        <p:txBody>
          <a:bodyPr wrap="square" lIns="0" tIns="0" rIns="0" bIns="0" rtlCol="0">
            <a:noAutofit/>
          </a:bodyPr>
          <a:lstStyle/>
          <a:p>
            <a:pPr marL="25400">
              <a:lnSpc>
                <a:spcPts val="600"/>
              </a:lnSpc>
              <a:spcBef>
                <a:spcPts val="22"/>
              </a:spcBef>
            </a:pPr>
            <a:endParaRPr sz="600"/>
          </a:p>
        </p:txBody>
      </p:sp>
      <p:sp>
        <p:nvSpPr>
          <p:cNvPr id="14" name="object 14"/>
          <p:cNvSpPr txBox="1"/>
          <p:nvPr/>
        </p:nvSpPr>
        <p:spPr>
          <a:xfrm>
            <a:off x="8387716" y="1910600"/>
            <a:ext cx="500951" cy="570090"/>
          </a:xfrm>
          <a:prstGeom prst="rect">
            <a:avLst/>
          </a:prstGeom>
        </p:spPr>
        <p:txBody>
          <a:bodyPr wrap="square" lIns="0" tIns="0" rIns="0" bIns="0" rtlCol="0">
            <a:noAutofit/>
          </a:bodyPr>
          <a:lstStyle/>
          <a:p>
            <a:pPr marL="25400">
              <a:lnSpc>
                <a:spcPts val="1000"/>
              </a:lnSpc>
            </a:pPr>
            <a:endParaRPr sz="1000"/>
          </a:p>
        </p:txBody>
      </p:sp>
      <p:sp>
        <p:nvSpPr>
          <p:cNvPr id="13" name="object 13"/>
          <p:cNvSpPr txBox="1"/>
          <p:nvPr/>
        </p:nvSpPr>
        <p:spPr>
          <a:xfrm>
            <a:off x="8888667" y="1910601"/>
            <a:ext cx="592423" cy="206019"/>
          </a:xfrm>
          <a:prstGeom prst="rect">
            <a:avLst/>
          </a:prstGeom>
        </p:spPr>
        <p:txBody>
          <a:bodyPr wrap="square" lIns="0" tIns="0" rIns="0" bIns="0" rtlCol="0">
            <a:noAutofit/>
          </a:bodyPr>
          <a:lstStyle/>
          <a:p>
            <a:pPr marL="25400">
              <a:lnSpc>
                <a:spcPts val="1000"/>
              </a:lnSpc>
            </a:pPr>
            <a:endParaRPr sz="1000"/>
          </a:p>
        </p:txBody>
      </p:sp>
      <p:sp>
        <p:nvSpPr>
          <p:cNvPr id="12" name="object 12"/>
          <p:cNvSpPr txBox="1"/>
          <p:nvPr/>
        </p:nvSpPr>
        <p:spPr>
          <a:xfrm>
            <a:off x="9481090" y="1910600"/>
            <a:ext cx="105759" cy="615302"/>
          </a:xfrm>
          <a:prstGeom prst="rect">
            <a:avLst/>
          </a:prstGeom>
        </p:spPr>
        <p:txBody>
          <a:bodyPr wrap="square" lIns="0" tIns="0" rIns="0" bIns="0" rtlCol="0">
            <a:noAutofit/>
          </a:bodyPr>
          <a:lstStyle/>
          <a:p>
            <a:pPr marL="25400">
              <a:lnSpc>
                <a:spcPts val="1000"/>
              </a:lnSpc>
            </a:pPr>
            <a:endParaRPr sz="1000"/>
          </a:p>
        </p:txBody>
      </p:sp>
      <p:sp>
        <p:nvSpPr>
          <p:cNvPr id="11" name="object 11"/>
          <p:cNvSpPr txBox="1"/>
          <p:nvPr/>
        </p:nvSpPr>
        <p:spPr>
          <a:xfrm>
            <a:off x="7823709" y="1989620"/>
            <a:ext cx="502919" cy="491070"/>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8326629" y="1989620"/>
            <a:ext cx="61087" cy="491070"/>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8888666" y="2116620"/>
            <a:ext cx="61150" cy="364070"/>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8949817" y="2116620"/>
            <a:ext cx="531272" cy="364070"/>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7823709" y="2480691"/>
            <a:ext cx="1657381" cy="132714"/>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9481090" y="2525903"/>
            <a:ext cx="105759" cy="87502"/>
          </a:xfrm>
          <a:prstGeom prst="rect">
            <a:avLst/>
          </a:prstGeom>
        </p:spPr>
        <p:txBody>
          <a:bodyPr wrap="square" lIns="0" tIns="0" rIns="0" bIns="0" rtlCol="0">
            <a:noAutofit/>
          </a:bodyPr>
          <a:lstStyle/>
          <a:p>
            <a:pPr marL="25400">
              <a:lnSpc>
                <a:spcPts val="650"/>
              </a:lnSpc>
              <a:spcBef>
                <a:spcPts val="38"/>
              </a:spcBef>
            </a:pPr>
            <a:endParaRPr sz="650"/>
          </a:p>
        </p:txBody>
      </p:sp>
      <p:sp>
        <p:nvSpPr>
          <p:cNvPr id="5" name="object 5"/>
          <p:cNvSpPr txBox="1"/>
          <p:nvPr/>
        </p:nvSpPr>
        <p:spPr>
          <a:xfrm>
            <a:off x="7823708" y="2613405"/>
            <a:ext cx="78866" cy="59182"/>
          </a:xfrm>
          <a:prstGeom prst="rect">
            <a:avLst/>
          </a:prstGeom>
        </p:spPr>
        <p:txBody>
          <a:bodyPr wrap="square" lIns="0" tIns="0" rIns="0" bIns="0" rtlCol="0">
            <a:noAutofit/>
          </a:bodyPr>
          <a:lstStyle/>
          <a:p>
            <a:endParaRPr/>
          </a:p>
        </p:txBody>
      </p:sp>
      <p:sp>
        <p:nvSpPr>
          <p:cNvPr id="4" name="object 4"/>
          <p:cNvSpPr txBox="1"/>
          <p:nvPr/>
        </p:nvSpPr>
        <p:spPr>
          <a:xfrm>
            <a:off x="7902576" y="2613406"/>
            <a:ext cx="1483105" cy="70485"/>
          </a:xfrm>
          <a:prstGeom prst="rect">
            <a:avLst/>
          </a:prstGeom>
        </p:spPr>
        <p:txBody>
          <a:bodyPr wrap="square" lIns="0" tIns="0" rIns="0" bIns="0" rtlCol="0">
            <a:noAutofit/>
          </a:bodyPr>
          <a:lstStyle/>
          <a:p>
            <a:pPr marL="25400">
              <a:lnSpc>
                <a:spcPts val="550"/>
              </a:lnSpc>
              <a:spcBef>
                <a:spcPts val="5"/>
              </a:spcBef>
            </a:pPr>
            <a:endParaRPr sz="550"/>
          </a:p>
        </p:txBody>
      </p:sp>
      <p:sp>
        <p:nvSpPr>
          <p:cNvPr id="3" name="object 3"/>
          <p:cNvSpPr txBox="1"/>
          <p:nvPr/>
        </p:nvSpPr>
        <p:spPr>
          <a:xfrm>
            <a:off x="9385681" y="2613406"/>
            <a:ext cx="95408" cy="64833"/>
          </a:xfrm>
          <a:prstGeom prst="rect">
            <a:avLst/>
          </a:prstGeom>
        </p:spPr>
        <p:txBody>
          <a:bodyPr wrap="square" lIns="0" tIns="0" rIns="0" bIns="0" rtlCol="0">
            <a:noAutofit/>
          </a:bodyPr>
          <a:lstStyle/>
          <a:p>
            <a:pPr marL="25400">
              <a:lnSpc>
                <a:spcPts val="500"/>
              </a:lnSpc>
              <a:spcBef>
                <a:spcPts val="10"/>
              </a:spcBef>
            </a:pPr>
            <a:endParaRPr sz="500"/>
          </a:p>
        </p:txBody>
      </p:sp>
      <p:sp>
        <p:nvSpPr>
          <p:cNvPr id="2" name="object 2"/>
          <p:cNvSpPr txBox="1"/>
          <p:nvPr/>
        </p:nvSpPr>
        <p:spPr>
          <a:xfrm>
            <a:off x="9481090" y="2613406"/>
            <a:ext cx="105759" cy="64833"/>
          </a:xfrm>
          <a:prstGeom prst="rect">
            <a:avLst/>
          </a:prstGeom>
        </p:spPr>
        <p:txBody>
          <a:bodyPr wrap="square" lIns="0" tIns="0" rIns="0" bIns="0" rtlCol="0">
            <a:noAutofit/>
          </a:bodyPr>
          <a:lstStyle/>
          <a:p>
            <a:pPr marL="25400">
              <a:lnSpc>
                <a:spcPts val="500"/>
              </a:lnSpc>
              <a:spcBef>
                <a:spcPts val="10"/>
              </a:spcBef>
            </a:pPr>
            <a:endParaRPr sz="500"/>
          </a:p>
        </p:txBody>
      </p:sp>
      <p:sp>
        <p:nvSpPr>
          <p:cNvPr id="30" name="Title 29"/>
          <p:cNvSpPr>
            <a:spLocks noGrp="1"/>
          </p:cNvSpPr>
          <p:nvPr>
            <p:ph type="title"/>
          </p:nvPr>
        </p:nvSpPr>
        <p:spPr>
          <a:xfrm>
            <a:off x="1676484" y="304800"/>
            <a:ext cx="8509933" cy="859536"/>
          </a:xfrm>
        </p:spPr>
        <p:txBody>
          <a:bodyPr/>
          <a:lstStyle/>
          <a:p>
            <a:r>
              <a:rPr lang="en-US" sz="2400" dirty="0">
                <a:latin typeface="+mn-lt"/>
                <a:cs typeface="Arial"/>
              </a:rPr>
              <a:t>Delivery-Associated Functions</a:t>
            </a:r>
            <a:br>
              <a:rPr lang="en-US" sz="2800" dirty="0">
                <a:latin typeface="Arial"/>
                <a:cs typeface="Arial"/>
              </a:rPr>
            </a:b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p:nvPr/>
        </p:nvSpPr>
        <p:spPr>
          <a:xfrm>
            <a:off x="7735951" y="604013"/>
            <a:ext cx="440562" cy="1608963"/>
          </a:xfrm>
          <a:prstGeom prst="rect">
            <a:avLst/>
          </a:prstGeom>
          <a:blipFill>
            <a:blip r:embed="rId2" cstate="print"/>
            <a:stretch>
              <a:fillRect/>
            </a:stretch>
          </a:blipFill>
        </p:spPr>
        <p:txBody>
          <a:bodyPr wrap="square" lIns="0" tIns="0" rIns="0" bIns="0" rtlCol="0">
            <a:noAutofit/>
          </a:bodyPr>
          <a:lstStyle/>
          <a:p>
            <a:endParaRPr/>
          </a:p>
        </p:txBody>
      </p:sp>
      <p:sp>
        <p:nvSpPr>
          <p:cNvPr id="9" name="object 9"/>
          <p:cNvSpPr/>
          <p:nvPr/>
        </p:nvSpPr>
        <p:spPr>
          <a:xfrm>
            <a:off x="8176387" y="457201"/>
            <a:ext cx="146939" cy="1755775"/>
          </a:xfrm>
          <a:prstGeom prst="rect">
            <a:avLst/>
          </a:prstGeom>
          <a:blipFill>
            <a:blip r:embed="rId3" cstate="print"/>
            <a:stretch>
              <a:fillRect/>
            </a:stretch>
          </a:blipFill>
        </p:spPr>
        <p:txBody>
          <a:bodyPr wrap="square" lIns="0" tIns="0" rIns="0" bIns="0" rtlCol="0">
            <a:noAutofit/>
          </a:bodyPr>
          <a:lstStyle/>
          <a:p>
            <a:endParaRPr/>
          </a:p>
        </p:txBody>
      </p:sp>
      <p:sp>
        <p:nvSpPr>
          <p:cNvPr id="10" name="object 10"/>
          <p:cNvSpPr/>
          <p:nvPr/>
        </p:nvSpPr>
        <p:spPr>
          <a:xfrm>
            <a:off x="7735952" y="457200"/>
            <a:ext cx="587375" cy="146812"/>
          </a:xfrm>
          <a:prstGeom prst="rect">
            <a:avLst/>
          </a:prstGeom>
          <a:blipFill>
            <a:blip r:embed="rId4" cstate="print"/>
            <a:stretch>
              <a:fillRect/>
            </a:stretch>
          </a:blipFill>
        </p:spPr>
        <p:txBody>
          <a:bodyPr wrap="square" lIns="0" tIns="0" rIns="0" bIns="0" rtlCol="0">
            <a:noAutofit/>
          </a:bodyPr>
          <a:lstStyle/>
          <a:p>
            <a:endParaRPr/>
          </a:p>
        </p:txBody>
      </p:sp>
      <p:sp>
        <p:nvSpPr>
          <p:cNvPr id="11" name="object 11"/>
          <p:cNvSpPr/>
          <p:nvPr/>
        </p:nvSpPr>
        <p:spPr>
          <a:xfrm>
            <a:off x="7735952" y="457201"/>
            <a:ext cx="587375" cy="1755775"/>
          </a:xfrm>
          <a:custGeom>
            <a:avLst/>
            <a:gdLst/>
            <a:ahLst/>
            <a:cxnLst/>
            <a:rect l="l" t="t" r="r" b="b"/>
            <a:pathLst>
              <a:path w="587375" h="1755775">
                <a:moveTo>
                  <a:pt x="0" y="146812"/>
                </a:moveTo>
                <a:lnTo>
                  <a:pt x="146812" y="0"/>
                </a:lnTo>
                <a:lnTo>
                  <a:pt x="587375" y="0"/>
                </a:lnTo>
                <a:lnTo>
                  <a:pt x="587375" y="1608963"/>
                </a:lnTo>
                <a:lnTo>
                  <a:pt x="440435" y="1755775"/>
                </a:lnTo>
                <a:lnTo>
                  <a:pt x="0" y="1755775"/>
                </a:lnTo>
                <a:lnTo>
                  <a:pt x="0" y="146812"/>
                </a:lnTo>
                <a:close/>
              </a:path>
            </a:pathLst>
          </a:custGeom>
          <a:ln w="25400">
            <a:solidFill>
              <a:srgbClr val="000000"/>
            </a:solidFill>
          </a:ln>
        </p:spPr>
        <p:txBody>
          <a:bodyPr wrap="square" lIns="0" tIns="0" rIns="0" bIns="0" rtlCol="0">
            <a:noAutofit/>
          </a:bodyPr>
          <a:lstStyle/>
          <a:p>
            <a:endParaRPr/>
          </a:p>
        </p:txBody>
      </p:sp>
      <p:sp>
        <p:nvSpPr>
          <p:cNvPr id="12" name="object 12"/>
          <p:cNvSpPr/>
          <p:nvPr/>
        </p:nvSpPr>
        <p:spPr>
          <a:xfrm>
            <a:off x="7735952" y="457200"/>
            <a:ext cx="587375" cy="146812"/>
          </a:xfrm>
          <a:custGeom>
            <a:avLst/>
            <a:gdLst/>
            <a:ahLst/>
            <a:cxnLst/>
            <a:rect l="l" t="t" r="r" b="b"/>
            <a:pathLst>
              <a:path w="587375" h="146812">
                <a:moveTo>
                  <a:pt x="0" y="146812"/>
                </a:moveTo>
                <a:lnTo>
                  <a:pt x="440435" y="146812"/>
                </a:lnTo>
                <a:lnTo>
                  <a:pt x="587375" y="0"/>
                </a:lnTo>
              </a:path>
            </a:pathLst>
          </a:custGeom>
          <a:ln w="25400">
            <a:solidFill>
              <a:srgbClr val="000000"/>
            </a:solidFill>
          </a:ln>
        </p:spPr>
        <p:txBody>
          <a:bodyPr wrap="square" lIns="0" tIns="0" rIns="0" bIns="0" rtlCol="0">
            <a:noAutofit/>
          </a:bodyPr>
          <a:lstStyle/>
          <a:p>
            <a:endParaRPr/>
          </a:p>
        </p:txBody>
      </p:sp>
      <p:sp>
        <p:nvSpPr>
          <p:cNvPr id="13" name="object 13"/>
          <p:cNvSpPr/>
          <p:nvPr/>
        </p:nvSpPr>
        <p:spPr>
          <a:xfrm>
            <a:off x="8176386" y="604013"/>
            <a:ext cx="0" cy="1608963"/>
          </a:xfrm>
          <a:custGeom>
            <a:avLst/>
            <a:gdLst/>
            <a:ahLst/>
            <a:cxnLst/>
            <a:rect l="l" t="t" r="r" b="b"/>
            <a:pathLst>
              <a:path h="1608963">
                <a:moveTo>
                  <a:pt x="0" y="0"/>
                </a:moveTo>
                <a:lnTo>
                  <a:pt x="0" y="1608963"/>
                </a:lnTo>
              </a:path>
            </a:pathLst>
          </a:custGeom>
          <a:ln w="25400">
            <a:solidFill>
              <a:srgbClr val="000000"/>
            </a:solidFill>
          </a:ln>
        </p:spPr>
        <p:txBody>
          <a:bodyPr wrap="square" lIns="0" tIns="0" rIns="0" bIns="0" rtlCol="0">
            <a:noAutofit/>
          </a:bodyPr>
          <a:lstStyle/>
          <a:p>
            <a:endParaRPr/>
          </a:p>
        </p:txBody>
      </p:sp>
      <p:sp>
        <p:nvSpPr>
          <p:cNvPr id="14" name="object 14"/>
          <p:cNvSpPr/>
          <p:nvPr/>
        </p:nvSpPr>
        <p:spPr>
          <a:xfrm>
            <a:off x="7772401" y="1029081"/>
            <a:ext cx="552703" cy="512953"/>
          </a:xfrm>
          <a:custGeom>
            <a:avLst/>
            <a:gdLst/>
            <a:ahLst/>
            <a:cxnLst/>
            <a:rect l="l" t="t" r="r" b="b"/>
            <a:pathLst>
              <a:path w="552703" h="512953">
                <a:moveTo>
                  <a:pt x="0" y="0"/>
                </a:moveTo>
                <a:lnTo>
                  <a:pt x="0" y="394081"/>
                </a:lnTo>
                <a:lnTo>
                  <a:pt x="552703" y="512953"/>
                </a:lnTo>
                <a:lnTo>
                  <a:pt x="552703" y="98552"/>
                </a:lnTo>
                <a:lnTo>
                  <a:pt x="0" y="0"/>
                </a:lnTo>
                <a:close/>
              </a:path>
            </a:pathLst>
          </a:custGeom>
          <a:solidFill>
            <a:srgbClr val="FFC080"/>
          </a:solidFill>
        </p:spPr>
        <p:txBody>
          <a:bodyPr wrap="square" lIns="0" tIns="0" rIns="0" bIns="0" rtlCol="0">
            <a:noAutofit/>
          </a:bodyPr>
          <a:lstStyle/>
          <a:p>
            <a:endParaRPr/>
          </a:p>
        </p:txBody>
      </p:sp>
      <p:sp>
        <p:nvSpPr>
          <p:cNvPr id="15" name="object 15"/>
          <p:cNvSpPr/>
          <p:nvPr/>
        </p:nvSpPr>
        <p:spPr>
          <a:xfrm>
            <a:off x="7772401" y="1029081"/>
            <a:ext cx="552703" cy="512953"/>
          </a:xfrm>
          <a:custGeom>
            <a:avLst/>
            <a:gdLst/>
            <a:ahLst/>
            <a:cxnLst/>
            <a:rect l="l" t="t" r="r" b="b"/>
            <a:pathLst>
              <a:path w="552703" h="512953">
                <a:moveTo>
                  <a:pt x="0" y="0"/>
                </a:moveTo>
                <a:lnTo>
                  <a:pt x="552703" y="98552"/>
                </a:lnTo>
                <a:lnTo>
                  <a:pt x="552703" y="512953"/>
                </a:lnTo>
                <a:lnTo>
                  <a:pt x="0" y="394081"/>
                </a:lnTo>
                <a:lnTo>
                  <a:pt x="0" y="0"/>
                </a:lnTo>
              </a:path>
            </a:pathLst>
          </a:custGeom>
          <a:ln w="12700">
            <a:solidFill>
              <a:srgbClr val="000000"/>
            </a:solidFill>
          </a:ln>
        </p:spPr>
        <p:txBody>
          <a:bodyPr wrap="square" lIns="0" tIns="0" rIns="0" bIns="0" rtlCol="0">
            <a:noAutofit/>
          </a:bodyPr>
          <a:lstStyle/>
          <a:p>
            <a:endParaRPr/>
          </a:p>
        </p:txBody>
      </p:sp>
      <p:sp>
        <p:nvSpPr>
          <p:cNvPr id="16" name="object 16"/>
          <p:cNvSpPr/>
          <p:nvPr/>
        </p:nvSpPr>
        <p:spPr>
          <a:xfrm>
            <a:off x="7772400" y="852551"/>
            <a:ext cx="1001776" cy="275082"/>
          </a:xfrm>
          <a:custGeom>
            <a:avLst/>
            <a:gdLst/>
            <a:ahLst/>
            <a:cxnLst/>
            <a:rect l="l" t="t" r="r" b="b"/>
            <a:pathLst>
              <a:path w="1001776" h="275082">
                <a:moveTo>
                  <a:pt x="0" y="176529"/>
                </a:moveTo>
                <a:lnTo>
                  <a:pt x="546989" y="275082"/>
                </a:lnTo>
                <a:lnTo>
                  <a:pt x="1001776" y="74675"/>
                </a:lnTo>
                <a:lnTo>
                  <a:pt x="546989" y="0"/>
                </a:lnTo>
                <a:lnTo>
                  <a:pt x="0" y="176529"/>
                </a:lnTo>
                <a:close/>
              </a:path>
            </a:pathLst>
          </a:custGeom>
          <a:solidFill>
            <a:srgbClr val="FFDFC0"/>
          </a:solidFill>
        </p:spPr>
        <p:txBody>
          <a:bodyPr wrap="square" lIns="0" tIns="0" rIns="0" bIns="0" rtlCol="0">
            <a:noAutofit/>
          </a:bodyPr>
          <a:lstStyle/>
          <a:p>
            <a:endParaRPr/>
          </a:p>
        </p:txBody>
      </p:sp>
      <p:sp>
        <p:nvSpPr>
          <p:cNvPr id="17" name="object 17"/>
          <p:cNvSpPr/>
          <p:nvPr/>
        </p:nvSpPr>
        <p:spPr>
          <a:xfrm>
            <a:off x="7772400" y="852551"/>
            <a:ext cx="1001776" cy="275082"/>
          </a:xfrm>
          <a:custGeom>
            <a:avLst/>
            <a:gdLst/>
            <a:ahLst/>
            <a:cxnLst/>
            <a:rect l="l" t="t" r="r" b="b"/>
            <a:pathLst>
              <a:path w="1001776" h="275082">
                <a:moveTo>
                  <a:pt x="0" y="176529"/>
                </a:moveTo>
                <a:lnTo>
                  <a:pt x="546989" y="0"/>
                </a:lnTo>
                <a:lnTo>
                  <a:pt x="1001776" y="74675"/>
                </a:lnTo>
                <a:lnTo>
                  <a:pt x="546989" y="275082"/>
                </a:lnTo>
                <a:lnTo>
                  <a:pt x="0" y="176529"/>
                </a:lnTo>
              </a:path>
            </a:pathLst>
          </a:custGeom>
          <a:ln w="12700">
            <a:solidFill>
              <a:srgbClr val="000000"/>
            </a:solidFill>
          </a:ln>
        </p:spPr>
        <p:txBody>
          <a:bodyPr wrap="square" lIns="0" tIns="0" rIns="0" bIns="0" rtlCol="0">
            <a:noAutofit/>
          </a:bodyPr>
          <a:lstStyle/>
          <a:p>
            <a:endParaRPr/>
          </a:p>
        </p:txBody>
      </p:sp>
      <p:sp>
        <p:nvSpPr>
          <p:cNvPr id="18" name="object 18"/>
          <p:cNvSpPr/>
          <p:nvPr/>
        </p:nvSpPr>
        <p:spPr>
          <a:xfrm>
            <a:off x="8630284" y="1246504"/>
            <a:ext cx="103632" cy="244602"/>
          </a:xfrm>
          <a:custGeom>
            <a:avLst/>
            <a:gdLst/>
            <a:ahLst/>
            <a:cxnLst/>
            <a:rect l="l" t="t" r="r" b="b"/>
            <a:pathLst>
              <a:path w="103632" h="244602">
                <a:moveTo>
                  <a:pt x="103632" y="0"/>
                </a:moveTo>
                <a:lnTo>
                  <a:pt x="80645" y="3429"/>
                </a:lnTo>
                <a:lnTo>
                  <a:pt x="91744" y="5319"/>
                </a:lnTo>
                <a:lnTo>
                  <a:pt x="103632" y="0"/>
                </a:lnTo>
                <a:close/>
              </a:path>
              <a:path w="103632" h="244602">
                <a:moveTo>
                  <a:pt x="57531" y="142748"/>
                </a:moveTo>
                <a:lnTo>
                  <a:pt x="40259" y="135890"/>
                </a:lnTo>
                <a:lnTo>
                  <a:pt x="22987" y="135890"/>
                </a:lnTo>
                <a:lnTo>
                  <a:pt x="5715" y="146177"/>
                </a:lnTo>
                <a:lnTo>
                  <a:pt x="11557" y="159766"/>
                </a:lnTo>
                <a:lnTo>
                  <a:pt x="28829" y="169925"/>
                </a:lnTo>
                <a:lnTo>
                  <a:pt x="69088" y="186944"/>
                </a:lnTo>
                <a:lnTo>
                  <a:pt x="103632" y="183515"/>
                </a:lnTo>
                <a:lnTo>
                  <a:pt x="149733" y="176657"/>
                </a:lnTo>
                <a:lnTo>
                  <a:pt x="161163" y="173355"/>
                </a:lnTo>
                <a:lnTo>
                  <a:pt x="172720" y="176657"/>
                </a:lnTo>
                <a:lnTo>
                  <a:pt x="201549" y="193675"/>
                </a:lnTo>
                <a:lnTo>
                  <a:pt x="241808" y="214122"/>
                </a:lnTo>
                <a:lnTo>
                  <a:pt x="299339" y="244602"/>
                </a:lnTo>
                <a:lnTo>
                  <a:pt x="334010" y="207264"/>
                </a:lnTo>
                <a:lnTo>
                  <a:pt x="276351" y="173355"/>
                </a:lnTo>
                <a:lnTo>
                  <a:pt x="247523" y="146177"/>
                </a:lnTo>
                <a:lnTo>
                  <a:pt x="253365" y="129159"/>
                </a:lnTo>
                <a:lnTo>
                  <a:pt x="259080" y="105410"/>
                </a:lnTo>
                <a:lnTo>
                  <a:pt x="247523" y="78232"/>
                </a:lnTo>
                <a:lnTo>
                  <a:pt x="218821" y="51054"/>
                </a:lnTo>
                <a:lnTo>
                  <a:pt x="161163" y="27178"/>
                </a:lnTo>
                <a:lnTo>
                  <a:pt x="120904" y="10287"/>
                </a:lnTo>
                <a:lnTo>
                  <a:pt x="91744" y="5319"/>
                </a:lnTo>
                <a:lnTo>
                  <a:pt x="80645" y="10287"/>
                </a:lnTo>
                <a:lnTo>
                  <a:pt x="74803" y="23875"/>
                </a:lnTo>
                <a:lnTo>
                  <a:pt x="80645" y="30607"/>
                </a:lnTo>
                <a:lnTo>
                  <a:pt x="120904" y="61214"/>
                </a:lnTo>
                <a:lnTo>
                  <a:pt x="149733" y="81534"/>
                </a:lnTo>
                <a:lnTo>
                  <a:pt x="92075" y="64643"/>
                </a:lnTo>
                <a:lnTo>
                  <a:pt x="57531" y="51054"/>
                </a:lnTo>
                <a:lnTo>
                  <a:pt x="11557" y="44196"/>
                </a:lnTo>
                <a:lnTo>
                  <a:pt x="0" y="54356"/>
                </a:lnTo>
                <a:lnTo>
                  <a:pt x="11557" y="78232"/>
                </a:lnTo>
                <a:lnTo>
                  <a:pt x="80645" y="98552"/>
                </a:lnTo>
                <a:lnTo>
                  <a:pt x="109347" y="115570"/>
                </a:lnTo>
                <a:lnTo>
                  <a:pt x="103632" y="129159"/>
                </a:lnTo>
                <a:lnTo>
                  <a:pt x="74803" y="135890"/>
                </a:lnTo>
                <a:lnTo>
                  <a:pt x="57531" y="142748"/>
                </a:lnTo>
                <a:close/>
              </a:path>
            </a:pathLst>
          </a:custGeom>
          <a:solidFill>
            <a:srgbClr val="FFDFC0"/>
          </a:solidFill>
        </p:spPr>
        <p:txBody>
          <a:bodyPr wrap="square" lIns="0" tIns="0" rIns="0" bIns="0" rtlCol="0">
            <a:noAutofit/>
          </a:bodyPr>
          <a:lstStyle/>
          <a:p>
            <a:endParaRPr/>
          </a:p>
        </p:txBody>
      </p:sp>
      <p:sp>
        <p:nvSpPr>
          <p:cNvPr id="19" name="object 19"/>
          <p:cNvSpPr/>
          <p:nvPr/>
        </p:nvSpPr>
        <p:spPr>
          <a:xfrm>
            <a:off x="8630284" y="1246504"/>
            <a:ext cx="334010" cy="244602"/>
          </a:xfrm>
          <a:custGeom>
            <a:avLst/>
            <a:gdLst/>
            <a:ahLst/>
            <a:cxnLst/>
            <a:rect l="l" t="t" r="r" b="b"/>
            <a:pathLst>
              <a:path w="334010" h="244602">
                <a:moveTo>
                  <a:pt x="276351" y="173355"/>
                </a:moveTo>
                <a:lnTo>
                  <a:pt x="247523" y="146177"/>
                </a:lnTo>
                <a:lnTo>
                  <a:pt x="253365" y="129159"/>
                </a:lnTo>
                <a:lnTo>
                  <a:pt x="259080" y="105410"/>
                </a:lnTo>
                <a:lnTo>
                  <a:pt x="247523" y="78232"/>
                </a:lnTo>
                <a:lnTo>
                  <a:pt x="218821" y="51054"/>
                </a:lnTo>
                <a:lnTo>
                  <a:pt x="161163" y="27178"/>
                </a:lnTo>
                <a:lnTo>
                  <a:pt x="120904" y="10287"/>
                </a:lnTo>
                <a:lnTo>
                  <a:pt x="80645" y="3429"/>
                </a:lnTo>
                <a:lnTo>
                  <a:pt x="103632" y="0"/>
                </a:lnTo>
                <a:lnTo>
                  <a:pt x="80645" y="10287"/>
                </a:lnTo>
                <a:lnTo>
                  <a:pt x="74803" y="23875"/>
                </a:lnTo>
                <a:lnTo>
                  <a:pt x="80645" y="30607"/>
                </a:lnTo>
                <a:lnTo>
                  <a:pt x="120904" y="61214"/>
                </a:lnTo>
                <a:lnTo>
                  <a:pt x="149733" y="81534"/>
                </a:lnTo>
                <a:lnTo>
                  <a:pt x="92075" y="64643"/>
                </a:lnTo>
                <a:lnTo>
                  <a:pt x="57531" y="51054"/>
                </a:lnTo>
                <a:lnTo>
                  <a:pt x="11557" y="44196"/>
                </a:lnTo>
                <a:lnTo>
                  <a:pt x="0" y="54356"/>
                </a:lnTo>
                <a:lnTo>
                  <a:pt x="11557" y="78232"/>
                </a:lnTo>
                <a:lnTo>
                  <a:pt x="80645" y="98552"/>
                </a:lnTo>
                <a:lnTo>
                  <a:pt x="109347" y="115570"/>
                </a:lnTo>
                <a:lnTo>
                  <a:pt x="103632" y="129159"/>
                </a:lnTo>
                <a:lnTo>
                  <a:pt x="74803" y="135890"/>
                </a:lnTo>
                <a:lnTo>
                  <a:pt x="57531" y="142748"/>
                </a:lnTo>
                <a:lnTo>
                  <a:pt x="40259" y="135890"/>
                </a:lnTo>
                <a:lnTo>
                  <a:pt x="22987" y="135890"/>
                </a:lnTo>
                <a:lnTo>
                  <a:pt x="5715" y="146177"/>
                </a:lnTo>
                <a:lnTo>
                  <a:pt x="11557" y="159766"/>
                </a:lnTo>
                <a:lnTo>
                  <a:pt x="28829" y="169925"/>
                </a:lnTo>
                <a:lnTo>
                  <a:pt x="69088" y="186944"/>
                </a:lnTo>
                <a:lnTo>
                  <a:pt x="103632" y="183515"/>
                </a:lnTo>
                <a:lnTo>
                  <a:pt x="149733" y="176657"/>
                </a:lnTo>
                <a:lnTo>
                  <a:pt x="161163" y="173355"/>
                </a:lnTo>
                <a:lnTo>
                  <a:pt x="172720" y="176657"/>
                </a:lnTo>
                <a:lnTo>
                  <a:pt x="201549" y="193675"/>
                </a:lnTo>
                <a:lnTo>
                  <a:pt x="241808" y="214122"/>
                </a:lnTo>
                <a:lnTo>
                  <a:pt x="299339" y="244602"/>
                </a:lnTo>
                <a:lnTo>
                  <a:pt x="334010" y="207264"/>
                </a:lnTo>
                <a:lnTo>
                  <a:pt x="276351" y="173355"/>
                </a:lnTo>
              </a:path>
            </a:pathLst>
          </a:custGeom>
          <a:ln w="12699">
            <a:solidFill>
              <a:srgbClr val="000000"/>
            </a:solidFill>
          </a:ln>
        </p:spPr>
        <p:txBody>
          <a:bodyPr wrap="square" lIns="0" tIns="0" rIns="0" bIns="0" rtlCol="0">
            <a:noAutofit/>
          </a:bodyPr>
          <a:lstStyle/>
          <a:p>
            <a:endParaRPr/>
          </a:p>
        </p:txBody>
      </p:sp>
      <p:sp>
        <p:nvSpPr>
          <p:cNvPr id="20" name="object 20"/>
          <p:cNvSpPr/>
          <p:nvPr/>
        </p:nvSpPr>
        <p:spPr>
          <a:xfrm>
            <a:off x="8831833" y="1406271"/>
            <a:ext cx="506602" cy="322706"/>
          </a:xfrm>
          <a:custGeom>
            <a:avLst/>
            <a:gdLst/>
            <a:ahLst/>
            <a:cxnLst/>
            <a:rect l="l" t="t" r="r" b="b"/>
            <a:pathLst>
              <a:path w="506602" h="322706">
                <a:moveTo>
                  <a:pt x="103632" y="135762"/>
                </a:moveTo>
                <a:lnTo>
                  <a:pt x="207264" y="200405"/>
                </a:lnTo>
                <a:lnTo>
                  <a:pt x="305181" y="251332"/>
                </a:lnTo>
                <a:lnTo>
                  <a:pt x="420243" y="322706"/>
                </a:lnTo>
                <a:lnTo>
                  <a:pt x="483616" y="298830"/>
                </a:lnTo>
                <a:lnTo>
                  <a:pt x="506602" y="261492"/>
                </a:lnTo>
                <a:lnTo>
                  <a:pt x="431800" y="234314"/>
                </a:lnTo>
                <a:lnTo>
                  <a:pt x="339725" y="179958"/>
                </a:lnTo>
                <a:lnTo>
                  <a:pt x="212979" y="101853"/>
                </a:lnTo>
                <a:lnTo>
                  <a:pt x="80518" y="0"/>
                </a:lnTo>
                <a:lnTo>
                  <a:pt x="28701" y="54355"/>
                </a:lnTo>
                <a:lnTo>
                  <a:pt x="0" y="81533"/>
                </a:lnTo>
                <a:lnTo>
                  <a:pt x="22987" y="95123"/>
                </a:lnTo>
                <a:lnTo>
                  <a:pt x="103632" y="135762"/>
                </a:lnTo>
                <a:close/>
              </a:path>
            </a:pathLst>
          </a:custGeom>
          <a:solidFill>
            <a:srgbClr val="4040FF"/>
          </a:solidFill>
        </p:spPr>
        <p:txBody>
          <a:bodyPr wrap="square" lIns="0" tIns="0" rIns="0" bIns="0" rtlCol="0">
            <a:noAutofit/>
          </a:bodyPr>
          <a:lstStyle/>
          <a:p>
            <a:endParaRPr/>
          </a:p>
        </p:txBody>
      </p:sp>
      <p:sp>
        <p:nvSpPr>
          <p:cNvPr id="21" name="object 21"/>
          <p:cNvSpPr/>
          <p:nvPr/>
        </p:nvSpPr>
        <p:spPr>
          <a:xfrm>
            <a:off x="8831833" y="1406271"/>
            <a:ext cx="506602" cy="322706"/>
          </a:xfrm>
          <a:custGeom>
            <a:avLst/>
            <a:gdLst/>
            <a:ahLst/>
            <a:cxnLst/>
            <a:rect l="l" t="t" r="r" b="b"/>
            <a:pathLst>
              <a:path w="506602" h="322706">
                <a:moveTo>
                  <a:pt x="80518" y="0"/>
                </a:moveTo>
                <a:lnTo>
                  <a:pt x="212979" y="101853"/>
                </a:lnTo>
                <a:lnTo>
                  <a:pt x="339725" y="179958"/>
                </a:lnTo>
                <a:lnTo>
                  <a:pt x="431800" y="234314"/>
                </a:lnTo>
                <a:lnTo>
                  <a:pt x="506602" y="261492"/>
                </a:lnTo>
                <a:lnTo>
                  <a:pt x="483616" y="298830"/>
                </a:lnTo>
                <a:lnTo>
                  <a:pt x="420243" y="322706"/>
                </a:lnTo>
                <a:lnTo>
                  <a:pt x="305181" y="251332"/>
                </a:lnTo>
                <a:lnTo>
                  <a:pt x="207264" y="200405"/>
                </a:lnTo>
                <a:lnTo>
                  <a:pt x="103632" y="135762"/>
                </a:lnTo>
                <a:lnTo>
                  <a:pt x="22987" y="95123"/>
                </a:lnTo>
                <a:lnTo>
                  <a:pt x="0" y="81533"/>
                </a:lnTo>
                <a:lnTo>
                  <a:pt x="28701" y="54355"/>
                </a:lnTo>
                <a:lnTo>
                  <a:pt x="80518" y="0"/>
                </a:lnTo>
              </a:path>
            </a:pathLst>
          </a:custGeom>
          <a:ln w="12699">
            <a:solidFill>
              <a:srgbClr val="000000"/>
            </a:solidFill>
          </a:ln>
        </p:spPr>
        <p:txBody>
          <a:bodyPr wrap="square" lIns="0" tIns="0" rIns="0" bIns="0" rtlCol="0">
            <a:noAutofit/>
          </a:bodyPr>
          <a:lstStyle/>
          <a:p>
            <a:endParaRPr/>
          </a:p>
        </p:txBody>
      </p:sp>
      <p:sp>
        <p:nvSpPr>
          <p:cNvPr id="22" name="object 22"/>
          <p:cNvSpPr/>
          <p:nvPr/>
        </p:nvSpPr>
        <p:spPr>
          <a:xfrm>
            <a:off x="8469123" y="1314451"/>
            <a:ext cx="420243" cy="244601"/>
          </a:xfrm>
          <a:custGeom>
            <a:avLst/>
            <a:gdLst/>
            <a:ahLst/>
            <a:cxnLst/>
            <a:rect l="l" t="t" r="r" b="b"/>
            <a:pathLst>
              <a:path w="420243" h="244601">
                <a:moveTo>
                  <a:pt x="5714" y="78232"/>
                </a:moveTo>
                <a:lnTo>
                  <a:pt x="0" y="105410"/>
                </a:lnTo>
                <a:lnTo>
                  <a:pt x="17272" y="112140"/>
                </a:lnTo>
                <a:lnTo>
                  <a:pt x="57530" y="149478"/>
                </a:lnTo>
                <a:lnTo>
                  <a:pt x="97789" y="176657"/>
                </a:lnTo>
                <a:lnTo>
                  <a:pt x="166877" y="186816"/>
                </a:lnTo>
                <a:lnTo>
                  <a:pt x="235966" y="197103"/>
                </a:lnTo>
                <a:lnTo>
                  <a:pt x="333882" y="244601"/>
                </a:lnTo>
                <a:lnTo>
                  <a:pt x="420243" y="197103"/>
                </a:lnTo>
                <a:lnTo>
                  <a:pt x="345439" y="166497"/>
                </a:lnTo>
                <a:lnTo>
                  <a:pt x="345439" y="129159"/>
                </a:lnTo>
                <a:lnTo>
                  <a:pt x="351154" y="101980"/>
                </a:lnTo>
                <a:lnTo>
                  <a:pt x="351154" y="71374"/>
                </a:lnTo>
                <a:lnTo>
                  <a:pt x="328168" y="30607"/>
                </a:lnTo>
                <a:lnTo>
                  <a:pt x="270509" y="3428"/>
                </a:lnTo>
                <a:lnTo>
                  <a:pt x="241807" y="0"/>
                </a:lnTo>
                <a:lnTo>
                  <a:pt x="224535" y="10287"/>
                </a:lnTo>
                <a:lnTo>
                  <a:pt x="241807" y="27177"/>
                </a:lnTo>
                <a:lnTo>
                  <a:pt x="270509" y="67945"/>
                </a:lnTo>
                <a:lnTo>
                  <a:pt x="241807" y="88391"/>
                </a:lnTo>
                <a:lnTo>
                  <a:pt x="212978" y="64642"/>
                </a:lnTo>
                <a:lnTo>
                  <a:pt x="126619" y="27177"/>
                </a:lnTo>
                <a:lnTo>
                  <a:pt x="92075" y="17017"/>
                </a:lnTo>
                <a:lnTo>
                  <a:pt x="74802" y="30607"/>
                </a:lnTo>
                <a:lnTo>
                  <a:pt x="86359" y="54355"/>
                </a:lnTo>
                <a:lnTo>
                  <a:pt x="155448" y="101980"/>
                </a:lnTo>
                <a:lnTo>
                  <a:pt x="109347" y="78232"/>
                </a:lnTo>
                <a:lnTo>
                  <a:pt x="45974" y="57785"/>
                </a:lnTo>
                <a:lnTo>
                  <a:pt x="22986" y="71374"/>
                </a:lnTo>
                <a:lnTo>
                  <a:pt x="57530" y="95123"/>
                </a:lnTo>
                <a:lnTo>
                  <a:pt x="5714" y="78232"/>
                </a:lnTo>
                <a:close/>
              </a:path>
            </a:pathLst>
          </a:custGeom>
          <a:solidFill>
            <a:srgbClr val="FFDFC0"/>
          </a:solidFill>
        </p:spPr>
        <p:txBody>
          <a:bodyPr wrap="square" lIns="0" tIns="0" rIns="0" bIns="0" rtlCol="0">
            <a:noAutofit/>
          </a:bodyPr>
          <a:lstStyle/>
          <a:p>
            <a:endParaRPr/>
          </a:p>
        </p:txBody>
      </p:sp>
      <p:sp>
        <p:nvSpPr>
          <p:cNvPr id="23" name="object 23"/>
          <p:cNvSpPr/>
          <p:nvPr/>
        </p:nvSpPr>
        <p:spPr>
          <a:xfrm>
            <a:off x="8469123" y="1314451"/>
            <a:ext cx="420243" cy="244601"/>
          </a:xfrm>
          <a:custGeom>
            <a:avLst/>
            <a:gdLst/>
            <a:ahLst/>
            <a:cxnLst/>
            <a:rect l="l" t="t" r="r" b="b"/>
            <a:pathLst>
              <a:path w="420243" h="244601">
                <a:moveTo>
                  <a:pt x="333882" y="244601"/>
                </a:moveTo>
                <a:lnTo>
                  <a:pt x="235966" y="197103"/>
                </a:lnTo>
                <a:lnTo>
                  <a:pt x="166877" y="186816"/>
                </a:lnTo>
                <a:lnTo>
                  <a:pt x="97789" y="176657"/>
                </a:lnTo>
                <a:lnTo>
                  <a:pt x="57530" y="149478"/>
                </a:lnTo>
                <a:lnTo>
                  <a:pt x="17272" y="112140"/>
                </a:lnTo>
                <a:lnTo>
                  <a:pt x="0" y="105410"/>
                </a:lnTo>
                <a:lnTo>
                  <a:pt x="5714" y="78232"/>
                </a:lnTo>
                <a:lnTo>
                  <a:pt x="57530" y="95123"/>
                </a:lnTo>
                <a:lnTo>
                  <a:pt x="22986" y="71374"/>
                </a:lnTo>
                <a:lnTo>
                  <a:pt x="45974" y="57785"/>
                </a:lnTo>
                <a:lnTo>
                  <a:pt x="109347" y="78232"/>
                </a:lnTo>
                <a:lnTo>
                  <a:pt x="155448" y="101980"/>
                </a:lnTo>
                <a:lnTo>
                  <a:pt x="86359" y="54355"/>
                </a:lnTo>
                <a:lnTo>
                  <a:pt x="74802" y="30607"/>
                </a:lnTo>
                <a:lnTo>
                  <a:pt x="92075" y="17017"/>
                </a:lnTo>
                <a:lnTo>
                  <a:pt x="126619" y="27177"/>
                </a:lnTo>
                <a:lnTo>
                  <a:pt x="212978" y="64642"/>
                </a:lnTo>
                <a:lnTo>
                  <a:pt x="241807" y="88391"/>
                </a:lnTo>
                <a:lnTo>
                  <a:pt x="270509" y="67945"/>
                </a:lnTo>
                <a:lnTo>
                  <a:pt x="241807" y="27177"/>
                </a:lnTo>
                <a:lnTo>
                  <a:pt x="224535" y="10287"/>
                </a:lnTo>
                <a:lnTo>
                  <a:pt x="241807" y="0"/>
                </a:lnTo>
                <a:lnTo>
                  <a:pt x="270509" y="3428"/>
                </a:lnTo>
                <a:lnTo>
                  <a:pt x="328168" y="30607"/>
                </a:lnTo>
                <a:lnTo>
                  <a:pt x="351154" y="71374"/>
                </a:lnTo>
                <a:lnTo>
                  <a:pt x="351154" y="101980"/>
                </a:lnTo>
                <a:lnTo>
                  <a:pt x="345439" y="129159"/>
                </a:lnTo>
                <a:lnTo>
                  <a:pt x="345439" y="166497"/>
                </a:lnTo>
                <a:lnTo>
                  <a:pt x="420243" y="197103"/>
                </a:lnTo>
                <a:lnTo>
                  <a:pt x="333882" y="244601"/>
                </a:lnTo>
              </a:path>
            </a:pathLst>
          </a:custGeom>
          <a:ln w="12700">
            <a:solidFill>
              <a:srgbClr val="000000"/>
            </a:solidFill>
          </a:ln>
        </p:spPr>
        <p:txBody>
          <a:bodyPr wrap="square" lIns="0" tIns="0" rIns="0" bIns="0" rtlCol="0">
            <a:noAutofit/>
          </a:bodyPr>
          <a:lstStyle/>
          <a:p>
            <a:endParaRPr/>
          </a:p>
        </p:txBody>
      </p:sp>
      <p:sp>
        <p:nvSpPr>
          <p:cNvPr id="24" name="object 24"/>
          <p:cNvSpPr/>
          <p:nvPr/>
        </p:nvSpPr>
        <p:spPr>
          <a:xfrm>
            <a:off x="8970010" y="2673351"/>
            <a:ext cx="598805" cy="139319"/>
          </a:xfrm>
          <a:custGeom>
            <a:avLst/>
            <a:gdLst/>
            <a:ahLst/>
            <a:cxnLst/>
            <a:rect l="l" t="t" r="r" b="b"/>
            <a:pathLst>
              <a:path w="598805" h="139319">
                <a:moveTo>
                  <a:pt x="22987" y="108712"/>
                </a:moveTo>
                <a:lnTo>
                  <a:pt x="74803" y="118872"/>
                </a:lnTo>
                <a:lnTo>
                  <a:pt x="155448" y="125729"/>
                </a:lnTo>
                <a:lnTo>
                  <a:pt x="230250" y="125729"/>
                </a:lnTo>
                <a:lnTo>
                  <a:pt x="305181" y="118872"/>
                </a:lnTo>
                <a:lnTo>
                  <a:pt x="374269" y="95123"/>
                </a:lnTo>
                <a:lnTo>
                  <a:pt x="379984" y="118872"/>
                </a:lnTo>
                <a:lnTo>
                  <a:pt x="431800" y="132461"/>
                </a:lnTo>
                <a:lnTo>
                  <a:pt x="489331" y="139319"/>
                </a:lnTo>
                <a:lnTo>
                  <a:pt x="535432" y="132461"/>
                </a:lnTo>
                <a:lnTo>
                  <a:pt x="587248" y="125729"/>
                </a:lnTo>
                <a:lnTo>
                  <a:pt x="598805" y="98551"/>
                </a:lnTo>
                <a:lnTo>
                  <a:pt x="587248" y="91694"/>
                </a:lnTo>
                <a:lnTo>
                  <a:pt x="592963" y="78104"/>
                </a:lnTo>
                <a:lnTo>
                  <a:pt x="587248" y="47498"/>
                </a:lnTo>
                <a:lnTo>
                  <a:pt x="581533" y="20320"/>
                </a:lnTo>
                <a:lnTo>
                  <a:pt x="546989" y="0"/>
                </a:lnTo>
                <a:lnTo>
                  <a:pt x="420243" y="6730"/>
                </a:lnTo>
                <a:lnTo>
                  <a:pt x="333883" y="0"/>
                </a:lnTo>
                <a:lnTo>
                  <a:pt x="276351" y="13588"/>
                </a:lnTo>
                <a:lnTo>
                  <a:pt x="143891" y="13588"/>
                </a:lnTo>
                <a:lnTo>
                  <a:pt x="51816" y="27177"/>
                </a:lnTo>
                <a:lnTo>
                  <a:pt x="22987" y="40766"/>
                </a:lnTo>
                <a:lnTo>
                  <a:pt x="0" y="50926"/>
                </a:lnTo>
                <a:lnTo>
                  <a:pt x="0" y="84962"/>
                </a:lnTo>
                <a:lnTo>
                  <a:pt x="22987" y="108712"/>
                </a:lnTo>
                <a:close/>
              </a:path>
            </a:pathLst>
          </a:custGeom>
          <a:solidFill>
            <a:srgbClr val="401F00"/>
          </a:solidFill>
        </p:spPr>
        <p:txBody>
          <a:bodyPr wrap="square" lIns="0" tIns="0" rIns="0" bIns="0" rtlCol="0">
            <a:noAutofit/>
          </a:bodyPr>
          <a:lstStyle/>
          <a:p>
            <a:endParaRPr/>
          </a:p>
        </p:txBody>
      </p:sp>
      <p:sp>
        <p:nvSpPr>
          <p:cNvPr id="25" name="object 25"/>
          <p:cNvSpPr/>
          <p:nvPr/>
        </p:nvSpPr>
        <p:spPr>
          <a:xfrm>
            <a:off x="8970010" y="2673351"/>
            <a:ext cx="598805" cy="139319"/>
          </a:xfrm>
          <a:custGeom>
            <a:avLst/>
            <a:gdLst/>
            <a:ahLst/>
            <a:cxnLst/>
            <a:rect l="l" t="t" r="r" b="b"/>
            <a:pathLst>
              <a:path w="598805" h="139319">
                <a:moveTo>
                  <a:pt x="333883" y="0"/>
                </a:moveTo>
                <a:lnTo>
                  <a:pt x="276351" y="13588"/>
                </a:lnTo>
                <a:lnTo>
                  <a:pt x="212979" y="13588"/>
                </a:lnTo>
                <a:lnTo>
                  <a:pt x="143891" y="13588"/>
                </a:lnTo>
                <a:lnTo>
                  <a:pt x="51816" y="27177"/>
                </a:lnTo>
                <a:lnTo>
                  <a:pt x="22987" y="40766"/>
                </a:lnTo>
                <a:lnTo>
                  <a:pt x="0" y="50926"/>
                </a:lnTo>
                <a:lnTo>
                  <a:pt x="0" y="84962"/>
                </a:lnTo>
                <a:lnTo>
                  <a:pt x="22987" y="108712"/>
                </a:lnTo>
                <a:lnTo>
                  <a:pt x="74803" y="118872"/>
                </a:lnTo>
                <a:lnTo>
                  <a:pt x="155448" y="125729"/>
                </a:lnTo>
                <a:lnTo>
                  <a:pt x="230250" y="125729"/>
                </a:lnTo>
                <a:lnTo>
                  <a:pt x="305181" y="118872"/>
                </a:lnTo>
                <a:lnTo>
                  <a:pt x="374269" y="95123"/>
                </a:lnTo>
                <a:lnTo>
                  <a:pt x="379984" y="118872"/>
                </a:lnTo>
                <a:lnTo>
                  <a:pt x="431800" y="132461"/>
                </a:lnTo>
                <a:lnTo>
                  <a:pt x="489331" y="139319"/>
                </a:lnTo>
                <a:lnTo>
                  <a:pt x="535432" y="132461"/>
                </a:lnTo>
                <a:lnTo>
                  <a:pt x="587248" y="125729"/>
                </a:lnTo>
                <a:lnTo>
                  <a:pt x="598805" y="98551"/>
                </a:lnTo>
                <a:lnTo>
                  <a:pt x="587248" y="91694"/>
                </a:lnTo>
                <a:lnTo>
                  <a:pt x="592963" y="78104"/>
                </a:lnTo>
                <a:lnTo>
                  <a:pt x="587248" y="47498"/>
                </a:lnTo>
                <a:lnTo>
                  <a:pt x="581533" y="20320"/>
                </a:lnTo>
                <a:lnTo>
                  <a:pt x="546989" y="0"/>
                </a:lnTo>
                <a:lnTo>
                  <a:pt x="420243" y="6730"/>
                </a:lnTo>
                <a:lnTo>
                  <a:pt x="333883" y="0"/>
                </a:lnTo>
              </a:path>
            </a:pathLst>
          </a:custGeom>
          <a:ln w="12700">
            <a:solidFill>
              <a:srgbClr val="000000"/>
            </a:solidFill>
          </a:ln>
        </p:spPr>
        <p:txBody>
          <a:bodyPr wrap="square" lIns="0" tIns="0" rIns="0" bIns="0" rtlCol="0">
            <a:noAutofit/>
          </a:bodyPr>
          <a:lstStyle/>
          <a:p>
            <a:endParaRPr/>
          </a:p>
        </p:txBody>
      </p:sp>
      <p:sp>
        <p:nvSpPr>
          <p:cNvPr id="26" name="object 26"/>
          <p:cNvSpPr/>
          <p:nvPr/>
        </p:nvSpPr>
        <p:spPr>
          <a:xfrm>
            <a:off x="8814562" y="2673351"/>
            <a:ext cx="627507" cy="142621"/>
          </a:xfrm>
          <a:custGeom>
            <a:avLst/>
            <a:gdLst/>
            <a:ahLst/>
            <a:cxnLst/>
            <a:rect l="l" t="t" r="r" b="b"/>
            <a:pathLst>
              <a:path w="627507" h="142621">
                <a:moveTo>
                  <a:pt x="22987" y="112140"/>
                </a:moveTo>
                <a:lnTo>
                  <a:pt x="80518" y="122300"/>
                </a:lnTo>
                <a:lnTo>
                  <a:pt x="167005" y="132461"/>
                </a:lnTo>
                <a:lnTo>
                  <a:pt x="241808" y="132461"/>
                </a:lnTo>
                <a:lnTo>
                  <a:pt x="316611" y="122300"/>
                </a:lnTo>
                <a:lnTo>
                  <a:pt x="391541" y="98551"/>
                </a:lnTo>
                <a:lnTo>
                  <a:pt x="397256" y="122300"/>
                </a:lnTo>
                <a:lnTo>
                  <a:pt x="449072" y="135889"/>
                </a:lnTo>
                <a:lnTo>
                  <a:pt x="512445" y="142621"/>
                </a:lnTo>
                <a:lnTo>
                  <a:pt x="558419" y="139191"/>
                </a:lnTo>
                <a:lnTo>
                  <a:pt x="616077" y="129032"/>
                </a:lnTo>
                <a:lnTo>
                  <a:pt x="627507" y="105283"/>
                </a:lnTo>
                <a:lnTo>
                  <a:pt x="616077" y="95123"/>
                </a:lnTo>
                <a:lnTo>
                  <a:pt x="621792" y="81534"/>
                </a:lnTo>
                <a:lnTo>
                  <a:pt x="616077" y="47498"/>
                </a:lnTo>
                <a:lnTo>
                  <a:pt x="610235" y="23749"/>
                </a:lnTo>
                <a:lnTo>
                  <a:pt x="569976" y="0"/>
                </a:lnTo>
                <a:lnTo>
                  <a:pt x="437515" y="6730"/>
                </a:lnTo>
                <a:lnTo>
                  <a:pt x="345440" y="0"/>
                </a:lnTo>
                <a:lnTo>
                  <a:pt x="287909" y="13588"/>
                </a:lnTo>
                <a:lnTo>
                  <a:pt x="218821" y="13588"/>
                </a:lnTo>
                <a:lnTo>
                  <a:pt x="149733" y="17017"/>
                </a:lnTo>
                <a:lnTo>
                  <a:pt x="51816" y="27177"/>
                </a:lnTo>
                <a:lnTo>
                  <a:pt x="22987" y="40766"/>
                </a:lnTo>
                <a:lnTo>
                  <a:pt x="0" y="50926"/>
                </a:lnTo>
                <a:lnTo>
                  <a:pt x="0" y="88264"/>
                </a:lnTo>
                <a:lnTo>
                  <a:pt x="22987" y="112140"/>
                </a:lnTo>
                <a:close/>
              </a:path>
            </a:pathLst>
          </a:custGeom>
          <a:solidFill>
            <a:srgbClr val="5F2F00"/>
          </a:solidFill>
        </p:spPr>
        <p:txBody>
          <a:bodyPr wrap="square" lIns="0" tIns="0" rIns="0" bIns="0" rtlCol="0">
            <a:noAutofit/>
          </a:bodyPr>
          <a:lstStyle/>
          <a:p>
            <a:endParaRPr/>
          </a:p>
        </p:txBody>
      </p:sp>
      <p:sp>
        <p:nvSpPr>
          <p:cNvPr id="27" name="object 27"/>
          <p:cNvSpPr/>
          <p:nvPr/>
        </p:nvSpPr>
        <p:spPr>
          <a:xfrm>
            <a:off x="8814562" y="2673351"/>
            <a:ext cx="627507" cy="142621"/>
          </a:xfrm>
          <a:custGeom>
            <a:avLst/>
            <a:gdLst/>
            <a:ahLst/>
            <a:cxnLst/>
            <a:rect l="l" t="t" r="r" b="b"/>
            <a:pathLst>
              <a:path w="627507" h="142621">
                <a:moveTo>
                  <a:pt x="345440" y="0"/>
                </a:moveTo>
                <a:lnTo>
                  <a:pt x="287909" y="13588"/>
                </a:lnTo>
                <a:lnTo>
                  <a:pt x="218821" y="13588"/>
                </a:lnTo>
                <a:lnTo>
                  <a:pt x="149733" y="17017"/>
                </a:lnTo>
                <a:lnTo>
                  <a:pt x="51816" y="27177"/>
                </a:lnTo>
                <a:lnTo>
                  <a:pt x="22987" y="40766"/>
                </a:lnTo>
                <a:lnTo>
                  <a:pt x="0" y="50926"/>
                </a:lnTo>
                <a:lnTo>
                  <a:pt x="0" y="88264"/>
                </a:lnTo>
                <a:lnTo>
                  <a:pt x="22987" y="112140"/>
                </a:lnTo>
                <a:lnTo>
                  <a:pt x="80518" y="122300"/>
                </a:lnTo>
                <a:lnTo>
                  <a:pt x="167005" y="132461"/>
                </a:lnTo>
                <a:lnTo>
                  <a:pt x="241808" y="132461"/>
                </a:lnTo>
                <a:lnTo>
                  <a:pt x="316611" y="122300"/>
                </a:lnTo>
                <a:lnTo>
                  <a:pt x="391541" y="98551"/>
                </a:lnTo>
                <a:lnTo>
                  <a:pt x="397256" y="122300"/>
                </a:lnTo>
                <a:lnTo>
                  <a:pt x="449072" y="135889"/>
                </a:lnTo>
                <a:lnTo>
                  <a:pt x="512445" y="142621"/>
                </a:lnTo>
                <a:lnTo>
                  <a:pt x="558419" y="139191"/>
                </a:lnTo>
                <a:lnTo>
                  <a:pt x="616077" y="129032"/>
                </a:lnTo>
                <a:lnTo>
                  <a:pt x="627507" y="105283"/>
                </a:lnTo>
                <a:lnTo>
                  <a:pt x="616077" y="95123"/>
                </a:lnTo>
                <a:lnTo>
                  <a:pt x="621792" y="81534"/>
                </a:lnTo>
                <a:lnTo>
                  <a:pt x="616077" y="47498"/>
                </a:lnTo>
                <a:lnTo>
                  <a:pt x="610235" y="23749"/>
                </a:lnTo>
                <a:lnTo>
                  <a:pt x="569976" y="0"/>
                </a:lnTo>
                <a:lnTo>
                  <a:pt x="437515" y="6730"/>
                </a:lnTo>
                <a:lnTo>
                  <a:pt x="345440" y="0"/>
                </a:lnTo>
              </a:path>
            </a:pathLst>
          </a:custGeom>
          <a:ln w="12700">
            <a:solidFill>
              <a:srgbClr val="000000"/>
            </a:solidFill>
          </a:ln>
        </p:spPr>
        <p:txBody>
          <a:bodyPr wrap="square" lIns="0" tIns="0" rIns="0" bIns="0" rtlCol="0">
            <a:noAutofit/>
          </a:bodyPr>
          <a:lstStyle/>
          <a:p>
            <a:endParaRPr/>
          </a:p>
        </p:txBody>
      </p:sp>
      <p:sp>
        <p:nvSpPr>
          <p:cNvPr id="28" name="object 28"/>
          <p:cNvSpPr/>
          <p:nvPr/>
        </p:nvSpPr>
        <p:spPr>
          <a:xfrm>
            <a:off x="9010270" y="2058416"/>
            <a:ext cx="535431" cy="628523"/>
          </a:xfrm>
          <a:custGeom>
            <a:avLst/>
            <a:gdLst/>
            <a:ahLst/>
            <a:cxnLst/>
            <a:rect l="l" t="t" r="r" b="b"/>
            <a:pathLst>
              <a:path w="535431" h="628523">
                <a:moveTo>
                  <a:pt x="109474" y="207263"/>
                </a:moveTo>
                <a:lnTo>
                  <a:pt x="11556" y="278638"/>
                </a:lnTo>
                <a:lnTo>
                  <a:pt x="0" y="343154"/>
                </a:lnTo>
                <a:lnTo>
                  <a:pt x="40385" y="411099"/>
                </a:lnTo>
                <a:lnTo>
                  <a:pt x="80645" y="492633"/>
                </a:lnTo>
                <a:lnTo>
                  <a:pt x="161289" y="584326"/>
                </a:lnTo>
                <a:lnTo>
                  <a:pt x="184276" y="611505"/>
                </a:lnTo>
                <a:lnTo>
                  <a:pt x="224535" y="628523"/>
                </a:lnTo>
                <a:lnTo>
                  <a:pt x="276351" y="628523"/>
                </a:lnTo>
                <a:lnTo>
                  <a:pt x="334009" y="625094"/>
                </a:lnTo>
                <a:lnTo>
                  <a:pt x="397255" y="621664"/>
                </a:lnTo>
                <a:lnTo>
                  <a:pt x="483615" y="621664"/>
                </a:lnTo>
                <a:lnTo>
                  <a:pt x="535431" y="618363"/>
                </a:lnTo>
                <a:lnTo>
                  <a:pt x="506729" y="591185"/>
                </a:lnTo>
                <a:lnTo>
                  <a:pt x="426084" y="529971"/>
                </a:lnTo>
                <a:lnTo>
                  <a:pt x="368553" y="468884"/>
                </a:lnTo>
                <a:lnTo>
                  <a:pt x="305180" y="414528"/>
                </a:lnTo>
                <a:lnTo>
                  <a:pt x="276351" y="377063"/>
                </a:lnTo>
                <a:lnTo>
                  <a:pt x="287908" y="360172"/>
                </a:lnTo>
                <a:lnTo>
                  <a:pt x="305180" y="329564"/>
                </a:lnTo>
                <a:lnTo>
                  <a:pt x="328167" y="281939"/>
                </a:lnTo>
                <a:lnTo>
                  <a:pt x="374269" y="213995"/>
                </a:lnTo>
                <a:lnTo>
                  <a:pt x="420370" y="149479"/>
                </a:lnTo>
                <a:lnTo>
                  <a:pt x="460628" y="95123"/>
                </a:lnTo>
                <a:lnTo>
                  <a:pt x="466344" y="0"/>
                </a:lnTo>
                <a:lnTo>
                  <a:pt x="236092" y="0"/>
                </a:lnTo>
                <a:lnTo>
                  <a:pt x="230377" y="20447"/>
                </a:lnTo>
                <a:lnTo>
                  <a:pt x="224535" y="88392"/>
                </a:lnTo>
                <a:lnTo>
                  <a:pt x="184276" y="142748"/>
                </a:lnTo>
                <a:lnTo>
                  <a:pt x="109474" y="207263"/>
                </a:lnTo>
                <a:close/>
              </a:path>
            </a:pathLst>
          </a:custGeom>
          <a:solidFill>
            <a:srgbClr val="0000C4"/>
          </a:solidFill>
        </p:spPr>
        <p:txBody>
          <a:bodyPr wrap="square" lIns="0" tIns="0" rIns="0" bIns="0" rtlCol="0">
            <a:noAutofit/>
          </a:bodyPr>
          <a:lstStyle/>
          <a:p>
            <a:endParaRPr/>
          </a:p>
        </p:txBody>
      </p:sp>
      <p:sp>
        <p:nvSpPr>
          <p:cNvPr id="29" name="object 29"/>
          <p:cNvSpPr/>
          <p:nvPr/>
        </p:nvSpPr>
        <p:spPr>
          <a:xfrm>
            <a:off x="9010270" y="2058416"/>
            <a:ext cx="535431" cy="628523"/>
          </a:xfrm>
          <a:custGeom>
            <a:avLst/>
            <a:gdLst/>
            <a:ahLst/>
            <a:cxnLst/>
            <a:rect l="l" t="t" r="r" b="b"/>
            <a:pathLst>
              <a:path w="535431" h="628523">
                <a:moveTo>
                  <a:pt x="420370" y="149479"/>
                </a:moveTo>
                <a:lnTo>
                  <a:pt x="374269" y="213995"/>
                </a:lnTo>
                <a:lnTo>
                  <a:pt x="328167" y="281939"/>
                </a:lnTo>
                <a:lnTo>
                  <a:pt x="305180" y="329564"/>
                </a:lnTo>
                <a:lnTo>
                  <a:pt x="287908" y="360172"/>
                </a:lnTo>
                <a:lnTo>
                  <a:pt x="276351" y="377063"/>
                </a:lnTo>
                <a:lnTo>
                  <a:pt x="305180" y="414528"/>
                </a:lnTo>
                <a:lnTo>
                  <a:pt x="368553" y="468884"/>
                </a:lnTo>
                <a:lnTo>
                  <a:pt x="426084" y="529971"/>
                </a:lnTo>
                <a:lnTo>
                  <a:pt x="506729" y="591185"/>
                </a:lnTo>
                <a:lnTo>
                  <a:pt x="535431" y="618363"/>
                </a:lnTo>
                <a:lnTo>
                  <a:pt x="483615" y="621664"/>
                </a:lnTo>
                <a:lnTo>
                  <a:pt x="397255" y="621664"/>
                </a:lnTo>
                <a:lnTo>
                  <a:pt x="334009" y="625094"/>
                </a:lnTo>
                <a:lnTo>
                  <a:pt x="276351" y="628523"/>
                </a:lnTo>
                <a:lnTo>
                  <a:pt x="224535" y="628523"/>
                </a:lnTo>
                <a:lnTo>
                  <a:pt x="184276" y="611505"/>
                </a:lnTo>
                <a:lnTo>
                  <a:pt x="161289" y="584326"/>
                </a:lnTo>
                <a:lnTo>
                  <a:pt x="80645" y="492633"/>
                </a:lnTo>
                <a:lnTo>
                  <a:pt x="40385" y="411099"/>
                </a:lnTo>
                <a:lnTo>
                  <a:pt x="0" y="343154"/>
                </a:lnTo>
                <a:lnTo>
                  <a:pt x="11556" y="278638"/>
                </a:lnTo>
                <a:lnTo>
                  <a:pt x="109474" y="207263"/>
                </a:lnTo>
                <a:lnTo>
                  <a:pt x="184276" y="142748"/>
                </a:lnTo>
                <a:lnTo>
                  <a:pt x="224535" y="88392"/>
                </a:lnTo>
                <a:lnTo>
                  <a:pt x="230377" y="20447"/>
                </a:lnTo>
                <a:lnTo>
                  <a:pt x="236092" y="0"/>
                </a:lnTo>
                <a:lnTo>
                  <a:pt x="391540" y="0"/>
                </a:lnTo>
                <a:lnTo>
                  <a:pt x="466344" y="0"/>
                </a:lnTo>
                <a:lnTo>
                  <a:pt x="460628" y="95123"/>
                </a:lnTo>
                <a:lnTo>
                  <a:pt x="420370" y="149479"/>
                </a:lnTo>
              </a:path>
            </a:pathLst>
          </a:custGeom>
          <a:ln w="12700">
            <a:solidFill>
              <a:srgbClr val="000000"/>
            </a:solidFill>
          </a:ln>
        </p:spPr>
        <p:txBody>
          <a:bodyPr wrap="square" lIns="0" tIns="0" rIns="0" bIns="0" rtlCol="0">
            <a:noAutofit/>
          </a:bodyPr>
          <a:lstStyle/>
          <a:p>
            <a:endParaRPr/>
          </a:p>
        </p:txBody>
      </p:sp>
      <p:sp>
        <p:nvSpPr>
          <p:cNvPr id="30" name="object 30"/>
          <p:cNvSpPr/>
          <p:nvPr/>
        </p:nvSpPr>
        <p:spPr>
          <a:xfrm>
            <a:off x="8900922" y="2044827"/>
            <a:ext cx="598804" cy="659130"/>
          </a:xfrm>
          <a:custGeom>
            <a:avLst/>
            <a:gdLst/>
            <a:ahLst/>
            <a:cxnLst/>
            <a:rect l="l" t="t" r="r" b="b"/>
            <a:pathLst>
              <a:path w="598804" h="659130">
                <a:moveTo>
                  <a:pt x="17272" y="336296"/>
                </a:moveTo>
                <a:lnTo>
                  <a:pt x="0" y="380492"/>
                </a:lnTo>
                <a:lnTo>
                  <a:pt x="17272" y="421259"/>
                </a:lnTo>
                <a:lnTo>
                  <a:pt x="86359" y="482473"/>
                </a:lnTo>
                <a:lnTo>
                  <a:pt x="184276" y="567309"/>
                </a:lnTo>
                <a:lnTo>
                  <a:pt x="241807" y="631951"/>
                </a:lnTo>
                <a:lnTo>
                  <a:pt x="282067" y="645540"/>
                </a:lnTo>
                <a:lnTo>
                  <a:pt x="339725" y="655701"/>
                </a:lnTo>
                <a:lnTo>
                  <a:pt x="397255" y="659130"/>
                </a:lnTo>
                <a:lnTo>
                  <a:pt x="449072" y="655701"/>
                </a:lnTo>
                <a:lnTo>
                  <a:pt x="500887" y="652272"/>
                </a:lnTo>
                <a:lnTo>
                  <a:pt x="523875" y="638683"/>
                </a:lnTo>
                <a:lnTo>
                  <a:pt x="460628" y="591185"/>
                </a:lnTo>
                <a:lnTo>
                  <a:pt x="385699" y="519811"/>
                </a:lnTo>
                <a:lnTo>
                  <a:pt x="345439" y="468884"/>
                </a:lnTo>
                <a:lnTo>
                  <a:pt x="305180" y="431419"/>
                </a:lnTo>
                <a:lnTo>
                  <a:pt x="276351" y="387350"/>
                </a:lnTo>
                <a:lnTo>
                  <a:pt x="241807" y="360172"/>
                </a:lnTo>
                <a:lnTo>
                  <a:pt x="184276" y="346583"/>
                </a:lnTo>
                <a:lnTo>
                  <a:pt x="270636" y="363474"/>
                </a:lnTo>
                <a:lnTo>
                  <a:pt x="293624" y="326136"/>
                </a:lnTo>
                <a:lnTo>
                  <a:pt x="339725" y="285369"/>
                </a:lnTo>
                <a:lnTo>
                  <a:pt x="379983" y="234442"/>
                </a:lnTo>
                <a:lnTo>
                  <a:pt x="437514" y="200406"/>
                </a:lnTo>
                <a:lnTo>
                  <a:pt x="489330" y="190246"/>
                </a:lnTo>
                <a:lnTo>
                  <a:pt x="546988" y="173227"/>
                </a:lnTo>
                <a:lnTo>
                  <a:pt x="575691" y="142748"/>
                </a:lnTo>
                <a:lnTo>
                  <a:pt x="598804" y="81534"/>
                </a:lnTo>
                <a:lnTo>
                  <a:pt x="598804" y="0"/>
                </a:lnTo>
                <a:lnTo>
                  <a:pt x="489330" y="3428"/>
                </a:lnTo>
                <a:lnTo>
                  <a:pt x="408812" y="3428"/>
                </a:lnTo>
                <a:lnTo>
                  <a:pt x="282067" y="0"/>
                </a:lnTo>
                <a:lnTo>
                  <a:pt x="230250" y="84962"/>
                </a:lnTo>
                <a:lnTo>
                  <a:pt x="201549" y="135889"/>
                </a:lnTo>
                <a:lnTo>
                  <a:pt x="178434" y="159638"/>
                </a:lnTo>
                <a:lnTo>
                  <a:pt x="103631" y="217424"/>
                </a:lnTo>
                <a:lnTo>
                  <a:pt x="40258" y="285369"/>
                </a:lnTo>
                <a:lnTo>
                  <a:pt x="17272" y="336296"/>
                </a:lnTo>
                <a:close/>
              </a:path>
            </a:pathLst>
          </a:custGeom>
          <a:solidFill>
            <a:srgbClr val="0000DF"/>
          </a:solidFill>
        </p:spPr>
        <p:txBody>
          <a:bodyPr wrap="square" lIns="0" tIns="0" rIns="0" bIns="0" rtlCol="0">
            <a:noAutofit/>
          </a:bodyPr>
          <a:lstStyle/>
          <a:p>
            <a:endParaRPr/>
          </a:p>
        </p:txBody>
      </p:sp>
      <p:sp>
        <p:nvSpPr>
          <p:cNvPr id="31" name="object 31"/>
          <p:cNvSpPr/>
          <p:nvPr/>
        </p:nvSpPr>
        <p:spPr>
          <a:xfrm>
            <a:off x="8900922" y="2044827"/>
            <a:ext cx="598804" cy="659130"/>
          </a:xfrm>
          <a:custGeom>
            <a:avLst/>
            <a:gdLst/>
            <a:ahLst/>
            <a:cxnLst/>
            <a:rect l="l" t="t" r="r" b="b"/>
            <a:pathLst>
              <a:path w="598804" h="659130">
                <a:moveTo>
                  <a:pt x="282067" y="0"/>
                </a:moveTo>
                <a:lnTo>
                  <a:pt x="230250" y="84962"/>
                </a:lnTo>
                <a:lnTo>
                  <a:pt x="201549" y="135889"/>
                </a:lnTo>
                <a:lnTo>
                  <a:pt x="178434" y="159638"/>
                </a:lnTo>
                <a:lnTo>
                  <a:pt x="103631" y="217424"/>
                </a:lnTo>
                <a:lnTo>
                  <a:pt x="40258" y="285369"/>
                </a:lnTo>
                <a:lnTo>
                  <a:pt x="17272" y="336296"/>
                </a:lnTo>
                <a:lnTo>
                  <a:pt x="0" y="380492"/>
                </a:lnTo>
                <a:lnTo>
                  <a:pt x="17272" y="421259"/>
                </a:lnTo>
                <a:lnTo>
                  <a:pt x="86359" y="482473"/>
                </a:lnTo>
                <a:lnTo>
                  <a:pt x="184276" y="567309"/>
                </a:lnTo>
                <a:lnTo>
                  <a:pt x="241807" y="631951"/>
                </a:lnTo>
                <a:lnTo>
                  <a:pt x="282067" y="645540"/>
                </a:lnTo>
                <a:lnTo>
                  <a:pt x="339725" y="655701"/>
                </a:lnTo>
                <a:lnTo>
                  <a:pt x="397255" y="659130"/>
                </a:lnTo>
                <a:lnTo>
                  <a:pt x="449072" y="655701"/>
                </a:lnTo>
                <a:lnTo>
                  <a:pt x="500887" y="652272"/>
                </a:lnTo>
                <a:lnTo>
                  <a:pt x="523875" y="638683"/>
                </a:lnTo>
                <a:lnTo>
                  <a:pt x="460628" y="591185"/>
                </a:lnTo>
                <a:lnTo>
                  <a:pt x="385699" y="519811"/>
                </a:lnTo>
                <a:lnTo>
                  <a:pt x="345439" y="468884"/>
                </a:lnTo>
                <a:lnTo>
                  <a:pt x="305180" y="431419"/>
                </a:lnTo>
                <a:lnTo>
                  <a:pt x="276351" y="387350"/>
                </a:lnTo>
                <a:lnTo>
                  <a:pt x="241807" y="360172"/>
                </a:lnTo>
                <a:lnTo>
                  <a:pt x="184276" y="346583"/>
                </a:lnTo>
                <a:lnTo>
                  <a:pt x="270636" y="363474"/>
                </a:lnTo>
                <a:lnTo>
                  <a:pt x="293624" y="326136"/>
                </a:lnTo>
                <a:lnTo>
                  <a:pt x="339725" y="285369"/>
                </a:lnTo>
                <a:lnTo>
                  <a:pt x="379983" y="234442"/>
                </a:lnTo>
                <a:lnTo>
                  <a:pt x="437514" y="200406"/>
                </a:lnTo>
                <a:lnTo>
                  <a:pt x="489330" y="190246"/>
                </a:lnTo>
                <a:lnTo>
                  <a:pt x="546988" y="173227"/>
                </a:lnTo>
                <a:lnTo>
                  <a:pt x="575691" y="142748"/>
                </a:lnTo>
                <a:lnTo>
                  <a:pt x="598804" y="81534"/>
                </a:lnTo>
                <a:lnTo>
                  <a:pt x="598804" y="23875"/>
                </a:lnTo>
                <a:lnTo>
                  <a:pt x="598804" y="0"/>
                </a:lnTo>
                <a:lnTo>
                  <a:pt x="489330" y="3428"/>
                </a:lnTo>
                <a:lnTo>
                  <a:pt x="408812" y="3428"/>
                </a:lnTo>
                <a:lnTo>
                  <a:pt x="282067" y="0"/>
                </a:lnTo>
              </a:path>
            </a:pathLst>
          </a:custGeom>
          <a:ln w="12699">
            <a:solidFill>
              <a:srgbClr val="000000"/>
            </a:solidFill>
          </a:ln>
        </p:spPr>
        <p:txBody>
          <a:bodyPr wrap="square" lIns="0" tIns="0" rIns="0" bIns="0" rtlCol="0">
            <a:noAutofit/>
          </a:bodyPr>
          <a:lstStyle/>
          <a:p>
            <a:endParaRPr/>
          </a:p>
        </p:txBody>
      </p:sp>
      <p:sp>
        <p:nvSpPr>
          <p:cNvPr id="32" name="object 32"/>
          <p:cNvSpPr/>
          <p:nvPr/>
        </p:nvSpPr>
        <p:spPr>
          <a:xfrm>
            <a:off x="9430640" y="2184146"/>
            <a:ext cx="115061" cy="78104"/>
          </a:xfrm>
          <a:custGeom>
            <a:avLst/>
            <a:gdLst/>
            <a:ahLst/>
            <a:cxnLst/>
            <a:rect l="l" t="t" r="r" b="b"/>
            <a:pathLst>
              <a:path w="115061" h="78104">
                <a:moveTo>
                  <a:pt x="115061" y="0"/>
                </a:moveTo>
                <a:lnTo>
                  <a:pt x="97789" y="27177"/>
                </a:lnTo>
                <a:lnTo>
                  <a:pt x="69087" y="47498"/>
                </a:lnTo>
                <a:lnTo>
                  <a:pt x="40258" y="64515"/>
                </a:lnTo>
                <a:lnTo>
                  <a:pt x="0" y="78104"/>
                </a:lnTo>
              </a:path>
            </a:pathLst>
          </a:custGeom>
          <a:ln w="12700">
            <a:solidFill>
              <a:srgbClr val="000000"/>
            </a:solidFill>
          </a:ln>
        </p:spPr>
        <p:txBody>
          <a:bodyPr wrap="square" lIns="0" tIns="0" rIns="0" bIns="0" rtlCol="0">
            <a:noAutofit/>
          </a:bodyPr>
          <a:lstStyle/>
          <a:p>
            <a:endParaRPr/>
          </a:p>
        </p:txBody>
      </p:sp>
      <p:sp>
        <p:nvSpPr>
          <p:cNvPr id="33" name="object 33"/>
          <p:cNvSpPr/>
          <p:nvPr/>
        </p:nvSpPr>
        <p:spPr>
          <a:xfrm>
            <a:off x="9459342" y="2207896"/>
            <a:ext cx="120903" cy="81533"/>
          </a:xfrm>
          <a:custGeom>
            <a:avLst/>
            <a:gdLst/>
            <a:ahLst/>
            <a:cxnLst/>
            <a:rect l="l" t="t" r="r" b="b"/>
            <a:pathLst>
              <a:path w="120903" h="81533">
                <a:moveTo>
                  <a:pt x="120903" y="0"/>
                </a:moveTo>
                <a:lnTo>
                  <a:pt x="103631" y="27177"/>
                </a:lnTo>
                <a:lnTo>
                  <a:pt x="74929" y="50926"/>
                </a:lnTo>
                <a:lnTo>
                  <a:pt x="46100" y="67944"/>
                </a:lnTo>
                <a:lnTo>
                  <a:pt x="0" y="81533"/>
                </a:lnTo>
              </a:path>
            </a:pathLst>
          </a:custGeom>
          <a:ln w="12700">
            <a:solidFill>
              <a:srgbClr val="000000"/>
            </a:solidFill>
          </a:ln>
        </p:spPr>
        <p:txBody>
          <a:bodyPr wrap="square" lIns="0" tIns="0" rIns="0" bIns="0" rtlCol="0">
            <a:noAutofit/>
          </a:bodyPr>
          <a:lstStyle/>
          <a:p>
            <a:endParaRPr/>
          </a:p>
        </p:txBody>
      </p:sp>
      <p:sp>
        <p:nvSpPr>
          <p:cNvPr id="34" name="object 34"/>
          <p:cNvSpPr/>
          <p:nvPr/>
        </p:nvSpPr>
        <p:spPr>
          <a:xfrm>
            <a:off x="8699374" y="1450340"/>
            <a:ext cx="903985" cy="631951"/>
          </a:xfrm>
          <a:custGeom>
            <a:avLst/>
            <a:gdLst/>
            <a:ahLst/>
            <a:cxnLst/>
            <a:rect l="l" t="t" r="r" b="b"/>
            <a:pathLst>
              <a:path w="903985" h="631951">
                <a:moveTo>
                  <a:pt x="460628" y="523239"/>
                </a:moveTo>
                <a:lnTo>
                  <a:pt x="454913" y="557149"/>
                </a:lnTo>
                <a:lnTo>
                  <a:pt x="472185" y="601345"/>
                </a:lnTo>
                <a:lnTo>
                  <a:pt x="506729" y="621664"/>
                </a:lnTo>
                <a:lnTo>
                  <a:pt x="564260" y="625094"/>
                </a:lnTo>
                <a:lnTo>
                  <a:pt x="662177" y="631951"/>
                </a:lnTo>
                <a:lnTo>
                  <a:pt x="759968" y="625094"/>
                </a:lnTo>
                <a:lnTo>
                  <a:pt x="817626" y="618363"/>
                </a:lnTo>
                <a:lnTo>
                  <a:pt x="863600" y="594487"/>
                </a:lnTo>
                <a:lnTo>
                  <a:pt x="875156" y="533400"/>
                </a:lnTo>
                <a:lnTo>
                  <a:pt x="869442" y="502793"/>
                </a:lnTo>
                <a:lnTo>
                  <a:pt x="886713" y="448437"/>
                </a:lnTo>
                <a:lnTo>
                  <a:pt x="869442" y="434848"/>
                </a:lnTo>
                <a:lnTo>
                  <a:pt x="869442" y="411099"/>
                </a:lnTo>
                <a:lnTo>
                  <a:pt x="886713" y="390651"/>
                </a:lnTo>
                <a:lnTo>
                  <a:pt x="898144" y="370332"/>
                </a:lnTo>
                <a:lnTo>
                  <a:pt x="903985" y="336296"/>
                </a:lnTo>
                <a:lnTo>
                  <a:pt x="898144" y="309118"/>
                </a:lnTo>
                <a:lnTo>
                  <a:pt x="886713" y="275209"/>
                </a:lnTo>
                <a:lnTo>
                  <a:pt x="875156" y="251460"/>
                </a:lnTo>
                <a:lnTo>
                  <a:pt x="857884" y="227584"/>
                </a:lnTo>
                <a:lnTo>
                  <a:pt x="823341" y="203835"/>
                </a:lnTo>
                <a:lnTo>
                  <a:pt x="783081" y="183514"/>
                </a:lnTo>
                <a:lnTo>
                  <a:pt x="742696" y="186817"/>
                </a:lnTo>
                <a:lnTo>
                  <a:pt x="633349" y="200406"/>
                </a:lnTo>
                <a:lnTo>
                  <a:pt x="581532" y="234442"/>
                </a:lnTo>
                <a:lnTo>
                  <a:pt x="529717" y="217424"/>
                </a:lnTo>
                <a:lnTo>
                  <a:pt x="454913" y="200406"/>
                </a:lnTo>
                <a:lnTo>
                  <a:pt x="420370" y="203835"/>
                </a:lnTo>
                <a:lnTo>
                  <a:pt x="397255" y="193675"/>
                </a:lnTo>
                <a:lnTo>
                  <a:pt x="362711" y="193675"/>
                </a:lnTo>
                <a:lnTo>
                  <a:pt x="293624" y="149479"/>
                </a:lnTo>
                <a:lnTo>
                  <a:pt x="195706" y="61213"/>
                </a:lnTo>
                <a:lnTo>
                  <a:pt x="120903" y="0"/>
                </a:lnTo>
                <a:lnTo>
                  <a:pt x="0" y="98551"/>
                </a:lnTo>
                <a:lnTo>
                  <a:pt x="120903" y="149479"/>
                </a:lnTo>
                <a:lnTo>
                  <a:pt x="241807" y="217424"/>
                </a:lnTo>
                <a:lnTo>
                  <a:pt x="316737" y="261620"/>
                </a:lnTo>
                <a:lnTo>
                  <a:pt x="305180" y="288798"/>
                </a:lnTo>
                <a:lnTo>
                  <a:pt x="356997" y="312547"/>
                </a:lnTo>
                <a:lnTo>
                  <a:pt x="414527" y="312547"/>
                </a:lnTo>
                <a:lnTo>
                  <a:pt x="472185" y="356743"/>
                </a:lnTo>
                <a:lnTo>
                  <a:pt x="512445" y="383921"/>
                </a:lnTo>
                <a:lnTo>
                  <a:pt x="495173" y="424688"/>
                </a:lnTo>
                <a:lnTo>
                  <a:pt x="477900" y="489204"/>
                </a:lnTo>
                <a:lnTo>
                  <a:pt x="460628" y="523239"/>
                </a:lnTo>
                <a:close/>
              </a:path>
            </a:pathLst>
          </a:custGeom>
          <a:solidFill>
            <a:srgbClr val="4040FF"/>
          </a:solidFill>
        </p:spPr>
        <p:txBody>
          <a:bodyPr wrap="square" lIns="0" tIns="0" rIns="0" bIns="0" rtlCol="0">
            <a:noAutofit/>
          </a:bodyPr>
          <a:lstStyle/>
          <a:p>
            <a:endParaRPr/>
          </a:p>
        </p:txBody>
      </p:sp>
      <p:sp>
        <p:nvSpPr>
          <p:cNvPr id="35" name="object 35"/>
          <p:cNvSpPr/>
          <p:nvPr/>
        </p:nvSpPr>
        <p:spPr>
          <a:xfrm>
            <a:off x="8699374" y="1450340"/>
            <a:ext cx="903985" cy="631951"/>
          </a:xfrm>
          <a:custGeom>
            <a:avLst/>
            <a:gdLst/>
            <a:ahLst/>
            <a:cxnLst/>
            <a:rect l="l" t="t" r="r" b="b"/>
            <a:pathLst>
              <a:path w="903985" h="631951">
                <a:moveTo>
                  <a:pt x="823341" y="203835"/>
                </a:moveTo>
                <a:lnTo>
                  <a:pt x="783081" y="183514"/>
                </a:lnTo>
                <a:lnTo>
                  <a:pt x="742696" y="186817"/>
                </a:lnTo>
                <a:lnTo>
                  <a:pt x="633349" y="200406"/>
                </a:lnTo>
                <a:lnTo>
                  <a:pt x="581532" y="234442"/>
                </a:lnTo>
                <a:lnTo>
                  <a:pt x="529717" y="217424"/>
                </a:lnTo>
                <a:lnTo>
                  <a:pt x="454913" y="200406"/>
                </a:lnTo>
                <a:lnTo>
                  <a:pt x="420370" y="203835"/>
                </a:lnTo>
                <a:lnTo>
                  <a:pt x="397255" y="193675"/>
                </a:lnTo>
                <a:lnTo>
                  <a:pt x="362711" y="193675"/>
                </a:lnTo>
                <a:lnTo>
                  <a:pt x="293624" y="149479"/>
                </a:lnTo>
                <a:lnTo>
                  <a:pt x="195706" y="61213"/>
                </a:lnTo>
                <a:lnTo>
                  <a:pt x="120903" y="0"/>
                </a:lnTo>
                <a:lnTo>
                  <a:pt x="0" y="98551"/>
                </a:lnTo>
                <a:lnTo>
                  <a:pt x="120903" y="149479"/>
                </a:lnTo>
                <a:lnTo>
                  <a:pt x="241807" y="217424"/>
                </a:lnTo>
                <a:lnTo>
                  <a:pt x="316737" y="261620"/>
                </a:lnTo>
                <a:lnTo>
                  <a:pt x="305180" y="288798"/>
                </a:lnTo>
                <a:lnTo>
                  <a:pt x="356997" y="312547"/>
                </a:lnTo>
                <a:lnTo>
                  <a:pt x="414527" y="312547"/>
                </a:lnTo>
                <a:lnTo>
                  <a:pt x="472185" y="356743"/>
                </a:lnTo>
                <a:lnTo>
                  <a:pt x="512445" y="383921"/>
                </a:lnTo>
                <a:lnTo>
                  <a:pt x="495173" y="424688"/>
                </a:lnTo>
                <a:lnTo>
                  <a:pt x="477900" y="489204"/>
                </a:lnTo>
                <a:lnTo>
                  <a:pt x="460628" y="523239"/>
                </a:lnTo>
                <a:lnTo>
                  <a:pt x="454913" y="557149"/>
                </a:lnTo>
                <a:lnTo>
                  <a:pt x="472185" y="601345"/>
                </a:lnTo>
                <a:lnTo>
                  <a:pt x="506729" y="621664"/>
                </a:lnTo>
                <a:lnTo>
                  <a:pt x="564260" y="625094"/>
                </a:lnTo>
                <a:lnTo>
                  <a:pt x="662177" y="631951"/>
                </a:lnTo>
                <a:lnTo>
                  <a:pt x="759968" y="625094"/>
                </a:lnTo>
                <a:lnTo>
                  <a:pt x="817626" y="618363"/>
                </a:lnTo>
                <a:lnTo>
                  <a:pt x="863600" y="594487"/>
                </a:lnTo>
                <a:lnTo>
                  <a:pt x="875156" y="533400"/>
                </a:lnTo>
                <a:lnTo>
                  <a:pt x="869442" y="502793"/>
                </a:lnTo>
                <a:lnTo>
                  <a:pt x="886713" y="448437"/>
                </a:lnTo>
                <a:lnTo>
                  <a:pt x="869442" y="434848"/>
                </a:lnTo>
                <a:lnTo>
                  <a:pt x="869442" y="411099"/>
                </a:lnTo>
                <a:lnTo>
                  <a:pt x="886713" y="390651"/>
                </a:lnTo>
                <a:lnTo>
                  <a:pt x="898144" y="370332"/>
                </a:lnTo>
                <a:lnTo>
                  <a:pt x="903985" y="336296"/>
                </a:lnTo>
                <a:lnTo>
                  <a:pt x="898144" y="309118"/>
                </a:lnTo>
                <a:lnTo>
                  <a:pt x="886713" y="275209"/>
                </a:lnTo>
                <a:lnTo>
                  <a:pt x="875156" y="251460"/>
                </a:lnTo>
                <a:lnTo>
                  <a:pt x="857884" y="227584"/>
                </a:lnTo>
                <a:lnTo>
                  <a:pt x="823341" y="203835"/>
                </a:lnTo>
              </a:path>
            </a:pathLst>
          </a:custGeom>
          <a:ln w="12700">
            <a:solidFill>
              <a:srgbClr val="000000"/>
            </a:solidFill>
          </a:ln>
        </p:spPr>
        <p:txBody>
          <a:bodyPr wrap="square" lIns="0" tIns="0" rIns="0" bIns="0" rtlCol="0">
            <a:noAutofit/>
          </a:bodyPr>
          <a:lstStyle/>
          <a:p>
            <a:endParaRPr/>
          </a:p>
        </p:txBody>
      </p:sp>
      <p:sp>
        <p:nvSpPr>
          <p:cNvPr id="36" name="object 36"/>
          <p:cNvSpPr/>
          <p:nvPr/>
        </p:nvSpPr>
        <p:spPr>
          <a:xfrm>
            <a:off x="9372981" y="1898778"/>
            <a:ext cx="184276" cy="135889"/>
          </a:xfrm>
          <a:custGeom>
            <a:avLst/>
            <a:gdLst/>
            <a:ahLst/>
            <a:cxnLst/>
            <a:rect l="l" t="t" r="r" b="b"/>
            <a:pathLst>
              <a:path w="184276" h="135889">
                <a:moveTo>
                  <a:pt x="63373" y="135889"/>
                </a:moveTo>
                <a:lnTo>
                  <a:pt x="138175" y="122300"/>
                </a:lnTo>
                <a:lnTo>
                  <a:pt x="172720" y="105283"/>
                </a:lnTo>
                <a:lnTo>
                  <a:pt x="172720" y="88392"/>
                </a:lnTo>
                <a:lnTo>
                  <a:pt x="184276" y="50926"/>
                </a:lnTo>
                <a:lnTo>
                  <a:pt x="178562" y="0"/>
                </a:lnTo>
                <a:lnTo>
                  <a:pt x="132461" y="61213"/>
                </a:lnTo>
                <a:lnTo>
                  <a:pt x="92201" y="101981"/>
                </a:lnTo>
                <a:lnTo>
                  <a:pt x="40386" y="125730"/>
                </a:lnTo>
                <a:lnTo>
                  <a:pt x="0" y="129159"/>
                </a:lnTo>
                <a:lnTo>
                  <a:pt x="63373" y="135889"/>
                </a:lnTo>
                <a:close/>
              </a:path>
            </a:pathLst>
          </a:custGeom>
          <a:solidFill>
            <a:srgbClr val="0000DF"/>
          </a:solidFill>
        </p:spPr>
        <p:txBody>
          <a:bodyPr wrap="square" lIns="0" tIns="0" rIns="0" bIns="0" rtlCol="0">
            <a:noAutofit/>
          </a:bodyPr>
          <a:lstStyle/>
          <a:p>
            <a:endParaRPr/>
          </a:p>
        </p:txBody>
      </p:sp>
      <p:sp>
        <p:nvSpPr>
          <p:cNvPr id="37" name="object 37"/>
          <p:cNvSpPr/>
          <p:nvPr/>
        </p:nvSpPr>
        <p:spPr>
          <a:xfrm>
            <a:off x="9269350" y="1708531"/>
            <a:ext cx="115189" cy="139319"/>
          </a:xfrm>
          <a:custGeom>
            <a:avLst/>
            <a:gdLst/>
            <a:ahLst/>
            <a:cxnLst/>
            <a:rect l="l" t="t" r="r" b="b"/>
            <a:pathLst>
              <a:path w="115189" h="139319">
                <a:moveTo>
                  <a:pt x="0" y="139319"/>
                </a:moveTo>
                <a:lnTo>
                  <a:pt x="34544" y="125730"/>
                </a:lnTo>
                <a:lnTo>
                  <a:pt x="51816" y="112141"/>
                </a:lnTo>
                <a:lnTo>
                  <a:pt x="74929" y="78105"/>
                </a:lnTo>
                <a:lnTo>
                  <a:pt x="97917" y="125730"/>
                </a:lnTo>
                <a:lnTo>
                  <a:pt x="115189" y="98552"/>
                </a:lnTo>
                <a:lnTo>
                  <a:pt x="103631" y="40767"/>
                </a:lnTo>
                <a:lnTo>
                  <a:pt x="69087" y="0"/>
                </a:lnTo>
                <a:lnTo>
                  <a:pt x="74929" y="27178"/>
                </a:lnTo>
                <a:lnTo>
                  <a:pt x="69087" y="61214"/>
                </a:lnTo>
                <a:lnTo>
                  <a:pt x="40385" y="105283"/>
                </a:lnTo>
                <a:lnTo>
                  <a:pt x="0" y="139319"/>
                </a:lnTo>
                <a:close/>
              </a:path>
            </a:pathLst>
          </a:custGeom>
          <a:solidFill>
            <a:srgbClr val="0000DF"/>
          </a:solidFill>
        </p:spPr>
        <p:txBody>
          <a:bodyPr wrap="square" lIns="0" tIns="0" rIns="0" bIns="0" rtlCol="0">
            <a:noAutofit/>
          </a:bodyPr>
          <a:lstStyle/>
          <a:p>
            <a:endParaRPr/>
          </a:p>
        </p:txBody>
      </p:sp>
      <p:sp>
        <p:nvSpPr>
          <p:cNvPr id="38" name="object 38"/>
          <p:cNvSpPr/>
          <p:nvPr/>
        </p:nvSpPr>
        <p:spPr>
          <a:xfrm>
            <a:off x="9211818" y="1827402"/>
            <a:ext cx="132460" cy="78232"/>
          </a:xfrm>
          <a:custGeom>
            <a:avLst/>
            <a:gdLst/>
            <a:ahLst/>
            <a:cxnLst/>
            <a:rect l="l" t="t" r="r" b="b"/>
            <a:pathLst>
              <a:path w="132460" h="78232">
                <a:moveTo>
                  <a:pt x="0" y="0"/>
                </a:moveTo>
                <a:lnTo>
                  <a:pt x="57530" y="27177"/>
                </a:lnTo>
                <a:lnTo>
                  <a:pt x="120903" y="51054"/>
                </a:lnTo>
                <a:lnTo>
                  <a:pt x="51815" y="47625"/>
                </a:lnTo>
                <a:lnTo>
                  <a:pt x="132460" y="78232"/>
                </a:lnTo>
              </a:path>
            </a:pathLst>
          </a:custGeom>
          <a:ln w="12700">
            <a:solidFill>
              <a:srgbClr val="000000"/>
            </a:solidFill>
          </a:ln>
        </p:spPr>
        <p:txBody>
          <a:bodyPr wrap="square" lIns="0" tIns="0" rIns="0" bIns="0" rtlCol="0">
            <a:noAutofit/>
          </a:bodyPr>
          <a:lstStyle/>
          <a:p>
            <a:endParaRPr/>
          </a:p>
        </p:txBody>
      </p:sp>
      <p:sp>
        <p:nvSpPr>
          <p:cNvPr id="39" name="object 39"/>
          <p:cNvSpPr/>
          <p:nvPr/>
        </p:nvSpPr>
        <p:spPr>
          <a:xfrm>
            <a:off x="9315450" y="1657603"/>
            <a:ext cx="189992" cy="54356"/>
          </a:xfrm>
          <a:custGeom>
            <a:avLst/>
            <a:gdLst/>
            <a:ahLst/>
            <a:cxnLst/>
            <a:rect l="l" t="t" r="r" b="b"/>
            <a:pathLst>
              <a:path w="189992" h="54356">
                <a:moveTo>
                  <a:pt x="5715" y="0"/>
                </a:moveTo>
                <a:lnTo>
                  <a:pt x="0" y="54356"/>
                </a:lnTo>
                <a:lnTo>
                  <a:pt x="126619" y="27178"/>
                </a:lnTo>
                <a:lnTo>
                  <a:pt x="189992" y="0"/>
                </a:lnTo>
              </a:path>
            </a:pathLst>
          </a:custGeom>
          <a:ln w="12700">
            <a:solidFill>
              <a:srgbClr val="000000"/>
            </a:solidFill>
          </a:ln>
        </p:spPr>
        <p:txBody>
          <a:bodyPr wrap="square" lIns="0" tIns="0" rIns="0" bIns="0" rtlCol="0">
            <a:noAutofit/>
          </a:bodyPr>
          <a:lstStyle/>
          <a:p>
            <a:endParaRPr/>
          </a:p>
        </p:txBody>
      </p:sp>
      <p:sp>
        <p:nvSpPr>
          <p:cNvPr id="40" name="object 40"/>
          <p:cNvSpPr/>
          <p:nvPr/>
        </p:nvSpPr>
        <p:spPr>
          <a:xfrm>
            <a:off x="9056371" y="1253363"/>
            <a:ext cx="932687" cy="407670"/>
          </a:xfrm>
          <a:custGeom>
            <a:avLst/>
            <a:gdLst/>
            <a:ahLst/>
            <a:cxnLst/>
            <a:rect l="l" t="t" r="r" b="b"/>
            <a:pathLst>
              <a:path w="932687" h="407670">
                <a:moveTo>
                  <a:pt x="28828" y="210565"/>
                </a:moveTo>
                <a:lnTo>
                  <a:pt x="5714" y="210565"/>
                </a:lnTo>
                <a:lnTo>
                  <a:pt x="0" y="220852"/>
                </a:lnTo>
                <a:lnTo>
                  <a:pt x="0" y="241173"/>
                </a:lnTo>
                <a:lnTo>
                  <a:pt x="11556" y="275082"/>
                </a:lnTo>
                <a:lnTo>
                  <a:pt x="46100" y="312547"/>
                </a:lnTo>
                <a:lnTo>
                  <a:pt x="115188" y="356615"/>
                </a:lnTo>
                <a:lnTo>
                  <a:pt x="143890" y="370204"/>
                </a:lnTo>
                <a:lnTo>
                  <a:pt x="184276" y="387223"/>
                </a:lnTo>
                <a:lnTo>
                  <a:pt x="259079" y="404240"/>
                </a:lnTo>
                <a:lnTo>
                  <a:pt x="282066" y="407670"/>
                </a:lnTo>
                <a:lnTo>
                  <a:pt x="339725" y="400812"/>
                </a:lnTo>
                <a:lnTo>
                  <a:pt x="391540" y="394081"/>
                </a:lnTo>
                <a:lnTo>
                  <a:pt x="426084" y="390651"/>
                </a:lnTo>
                <a:lnTo>
                  <a:pt x="495173" y="349885"/>
                </a:lnTo>
                <a:lnTo>
                  <a:pt x="523875" y="356615"/>
                </a:lnTo>
                <a:lnTo>
                  <a:pt x="552703" y="363474"/>
                </a:lnTo>
                <a:lnTo>
                  <a:pt x="581532" y="360045"/>
                </a:lnTo>
                <a:lnTo>
                  <a:pt x="610234" y="356615"/>
                </a:lnTo>
                <a:lnTo>
                  <a:pt x="639063" y="349885"/>
                </a:lnTo>
                <a:lnTo>
                  <a:pt x="667893" y="343026"/>
                </a:lnTo>
                <a:lnTo>
                  <a:pt x="748537" y="319277"/>
                </a:lnTo>
                <a:lnTo>
                  <a:pt x="771525" y="309117"/>
                </a:lnTo>
                <a:lnTo>
                  <a:pt x="794511" y="298958"/>
                </a:lnTo>
                <a:lnTo>
                  <a:pt x="834898" y="281939"/>
                </a:lnTo>
                <a:lnTo>
                  <a:pt x="869441" y="261492"/>
                </a:lnTo>
                <a:lnTo>
                  <a:pt x="898144" y="237744"/>
                </a:lnTo>
                <a:lnTo>
                  <a:pt x="915415" y="213995"/>
                </a:lnTo>
                <a:lnTo>
                  <a:pt x="926973" y="183387"/>
                </a:lnTo>
                <a:lnTo>
                  <a:pt x="932687" y="159638"/>
                </a:lnTo>
                <a:lnTo>
                  <a:pt x="926973" y="115442"/>
                </a:lnTo>
                <a:lnTo>
                  <a:pt x="903985" y="78104"/>
                </a:lnTo>
                <a:lnTo>
                  <a:pt x="875156" y="50926"/>
                </a:lnTo>
                <a:lnTo>
                  <a:pt x="829055" y="23749"/>
                </a:lnTo>
                <a:lnTo>
                  <a:pt x="765809" y="6731"/>
                </a:lnTo>
                <a:lnTo>
                  <a:pt x="679450" y="0"/>
                </a:lnTo>
                <a:lnTo>
                  <a:pt x="598804" y="0"/>
                </a:lnTo>
                <a:lnTo>
                  <a:pt x="529716" y="6731"/>
                </a:lnTo>
                <a:lnTo>
                  <a:pt x="460628" y="20320"/>
                </a:lnTo>
                <a:lnTo>
                  <a:pt x="420243" y="37337"/>
                </a:lnTo>
                <a:lnTo>
                  <a:pt x="391540" y="47498"/>
                </a:lnTo>
                <a:lnTo>
                  <a:pt x="368426" y="30607"/>
                </a:lnTo>
                <a:lnTo>
                  <a:pt x="356997" y="23749"/>
                </a:lnTo>
                <a:lnTo>
                  <a:pt x="339725" y="17017"/>
                </a:lnTo>
                <a:lnTo>
                  <a:pt x="310896" y="10160"/>
                </a:lnTo>
                <a:lnTo>
                  <a:pt x="282066" y="6731"/>
                </a:lnTo>
                <a:lnTo>
                  <a:pt x="236093" y="6731"/>
                </a:lnTo>
                <a:lnTo>
                  <a:pt x="212978" y="10160"/>
                </a:lnTo>
                <a:lnTo>
                  <a:pt x="184276" y="17017"/>
                </a:lnTo>
                <a:lnTo>
                  <a:pt x="161162" y="23749"/>
                </a:lnTo>
                <a:lnTo>
                  <a:pt x="155448" y="33909"/>
                </a:lnTo>
                <a:lnTo>
                  <a:pt x="143890" y="47498"/>
                </a:lnTo>
                <a:lnTo>
                  <a:pt x="132460" y="64515"/>
                </a:lnTo>
                <a:lnTo>
                  <a:pt x="138175" y="81534"/>
                </a:lnTo>
                <a:lnTo>
                  <a:pt x="155448" y="101853"/>
                </a:lnTo>
                <a:lnTo>
                  <a:pt x="178434" y="112140"/>
                </a:lnTo>
                <a:lnTo>
                  <a:pt x="212978" y="118872"/>
                </a:lnTo>
                <a:lnTo>
                  <a:pt x="224535" y="122300"/>
                </a:lnTo>
                <a:lnTo>
                  <a:pt x="189991" y="129032"/>
                </a:lnTo>
                <a:lnTo>
                  <a:pt x="178434" y="135889"/>
                </a:lnTo>
                <a:lnTo>
                  <a:pt x="207263" y="149478"/>
                </a:lnTo>
                <a:lnTo>
                  <a:pt x="218821" y="186816"/>
                </a:lnTo>
                <a:lnTo>
                  <a:pt x="212978" y="213995"/>
                </a:lnTo>
                <a:lnTo>
                  <a:pt x="207263" y="234441"/>
                </a:lnTo>
                <a:lnTo>
                  <a:pt x="172720" y="244601"/>
                </a:lnTo>
                <a:lnTo>
                  <a:pt x="149732" y="244601"/>
                </a:lnTo>
                <a:lnTo>
                  <a:pt x="103631" y="241173"/>
                </a:lnTo>
                <a:lnTo>
                  <a:pt x="86359" y="220852"/>
                </a:lnTo>
                <a:lnTo>
                  <a:pt x="80645" y="196976"/>
                </a:lnTo>
                <a:lnTo>
                  <a:pt x="46100" y="196976"/>
                </a:lnTo>
                <a:lnTo>
                  <a:pt x="28828" y="210565"/>
                </a:lnTo>
                <a:close/>
              </a:path>
            </a:pathLst>
          </a:custGeom>
          <a:solidFill>
            <a:srgbClr val="FFDFC0"/>
          </a:solidFill>
        </p:spPr>
        <p:txBody>
          <a:bodyPr wrap="square" lIns="0" tIns="0" rIns="0" bIns="0" rtlCol="0">
            <a:noAutofit/>
          </a:bodyPr>
          <a:lstStyle/>
          <a:p>
            <a:endParaRPr/>
          </a:p>
        </p:txBody>
      </p:sp>
      <p:sp>
        <p:nvSpPr>
          <p:cNvPr id="41" name="object 41"/>
          <p:cNvSpPr/>
          <p:nvPr/>
        </p:nvSpPr>
        <p:spPr>
          <a:xfrm>
            <a:off x="9056371" y="1253363"/>
            <a:ext cx="932687" cy="407670"/>
          </a:xfrm>
          <a:custGeom>
            <a:avLst/>
            <a:gdLst/>
            <a:ahLst/>
            <a:cxnLst/>
            <a:rect l="l" t="t" r="r" b="b"/>
            <a:pathLst>
              <a:path w="932687" h="407670">
                <a:moveTo>
                  <a:pt x="529716" y="6731"/>
                </a:moveTo>
                <a:lnTo>
                  <a:pt x="460628" y="20320"/>
                </a:lnTo>
                <a:lnTo>
                  <a:pt x="420243" y="37337"/>
                </a:lnTo>
                <a:lnTo>
                  <a:pt x="391540" y="47498"/>
                </a:lnTo>
                <a:lnTo>
                  <a:pt x="368426" y="30607"/>
                </a:lnTo>
                <a:lnTo>
                  <a:pt x="356997" y="23749"/>
                </a:lnTo>
                <a:lnTo>
                  <a:pt x="339725" y="17017"/>
                </a:lnTo>
                <a:lnTo>
                  <a:pt x="310896" y="10160"/>
                </a:lnTo>
                <a:lnTo>
                  <a:pt x="282066" y="6731"/>
                </a:lnTo>
                <a:lnTo>
                  <a:pt x="264795" y="6731"/>
                </a:lnTo>
                <a:lnTo>
                  <a:pt x="236093" y="6731"/>
                </a:lnTo>
                <a:lnTo>
                  <a:pt x="212978" y="10160"/>
                </a:lnTo>
                <a:lnTo>
                  <a:pt x="184276" y="17017"/>
                </a:lnTo>
                <a:lnTo>
                  <a:pt x="161162" y="23749"/>
                </a:lnTo>
                <a:lnTo>
                  <a:pt x="155448" y="33909"/>
                </a:lnTo>
                <a:lnTo>
                  <a:pt x="143890" y="47498"/>
                </a:lnTo>
                <a:lnTo>
                  <a:pt x="132460" y="64515"/>
                </a:lnTo>
                <a:lnTo>
                  <a:pt x="138175" y="81534"/>
                </a:lnTo>
                <a:lnTo>
                  <a:pt x="155448" y="101853"/>
                </a:lnTo>
                <a:lnTo>
                  <a:pt x="178434" y="112140"/>
                </a:lnTo>
                <a:lnTo>
                  <a:pt x="212978" y="118872"/>
                </a:lnTo>
                <a:lnTo>
                  <a:pt x="224535" y="122300"/>
                </a:lnTo>
                <a:lnTo>
                  <a:pt x="189991" y="129032"/>
                </a:lnTo>
                <a:lnTo>
                  <a:pt x="178434" y="135889"/>
                </a:lnTo>
                <a:lnTo>
                  <a:pt x="207263" y="149478"/>
                </a:lnTo>
                <a:lnTo>
                  <a:pt x="218821" y="186816"/>
                </a:lnTo>
                <a:lnTo>
                  <a:pt x="212978" y="213995"/>
                </a:lnTo>
                <a:lnTo>
                  <a:pt x="207263" y="234441"/>
                </a:lnTo>
                <a:lnTo>
                  <a:pt x="172720" y="244601"/>
                </a:lnTo>
                <a:lnTo>
                  <a:pt x="149732" y="244601"/>
                </a:lnTo>
                <a:lnTo>
                  <a:pt x="103631" y="241173"/>
                </a:lnTo>
                <a:lnTo>
                  <a:pt x="86359" y="220852"/>
                </a:lnTo>
                <a:lnTo>
                  <a:pt x="80645" y="196976"/>
                </a:lnTo>
                <a:lnTo>
                  <a:pt x="46100" y="196976"/>
                </a:lnTo>
                <a:lnTo>
                  <a:pt x="28828" y="210565"/>
                </a:lnTo>
                <a:lnTo>
                  <a:pt x="5714" y="210565"/>
                </a:lnTo>
                <a:lnTo>
                  <a:pt x="0" y="220852"/>
                </a:lnTo>
                <a:lnTo>
                  <a:pt x="0" y="241173"/>
                </a:lnTo>
                <a:lnTo>
                  <a:pt x="11556" y="275082"/>
                </a:lnTo>
                <a:lnTo>
                  <a:pt x="46100" y="312547"/>
                </a:lnTo>
                <a:lnTo>
                  <a:pt x="115188" y="356615"/>
                </a:lnTo>
                <a:lnTo>
                  <a:pt x="143890" y="370204"/>
                </a:lnTo>
                <a:lnTo>
                  <a:pt x="184276" y="387223"/>
                </a:lnTo>
                <a:lnTo>
                  <a:pt x="259079" y="404240"/>
                </a:lnTo>
                <a:lnTo>
                  <a:pt x="282066" y="407670"/>
                </a:lnTo>
                <a:lnTo>
                  <a:pt x="339725" y="400812"/>
                </a:lnTo>
                <a:lnTo>
                  <a:pt x="391540" y="394081"/>
                </a:lnTo>
                <a:lnTo>
                  <a:pt x="426084" y="390651"/>
                </a:lnTo>
                <a:lnTo>
                  <a:pt x="495173" y="349885"/>
                </a:lnTo>
                <a:lnTo>
                  <a:pt x="523875" y="356615"/>
                </a:lnTo>
                <a:lnTo>
                  <a:pt x="552703" y="363474"/>
                </a:lnTo>
                <a:lnTo>
                  <a:pt x="581532" y="360045"/>
                </a:lnTo>
                <a:lnTo>
                  <a:pt x="610234" y="356615"/>
                </a:lnTo>
                <a:lnTo>
                  <a:pt x="639063" y="349885"/>
                </a:lnTo>
                <a:lnTo>
                  <a:pt x="667893" y="343026"/>
                </a:lnTo>
                <a:lnTo>
                  <a:pt x="748537" y="319277"/>
                </a:lnTo>
                <a:lnTo>
                  <a:pt x="771525" y="309117"/>
                </a:lnTo>
                <a:lnTo>
                  <a:pt x="794511" y="298958"/>
                </a:lnTo>
                <a:lnTo>
                  <a:pt x="834898" y="281939"/>
                </a:lnTo>
                <a:lnTo>
                  <a:pt x="869441" y="261492"/>
                </a:lnTo>
                <a:lnTo>
                  <a:pt x="898144" y="237744"/>
                </a:lnTo>
                <a:lnTo>
                  <a:pt x="915415" y="213995"/>
                </a:lnTo>
                <a:lnTo>
                  <a:pt x="926973" y="183387"/>
                </a:lnTo>
                <a:lnTo>
                  <a:pt x="932687" y="159638"/>
                </a:lnTo>
                <a:lnTo>
                  <a:pt x="926973" y="115442"/>
                </a:lnTo>
                <a:lnTo>
                  <a:pt x="903985" y="78104"/>
                </a:lnTo>
                <a:lnTo>
                  <a:pt x="875156" y="50926"/>
                </a:lnTo>
                <a:lnTo>
                  <a:pt x="829055" y="23749"/>
                </a:lnTo>
                <a:lnTo>
                  <a:pt x="765809" y="6731"/>
                </a:lnTo>
                <a:lnTo>
                  <a:pt x="679450" y="0"/>
                </a:lnTo>
                <a:lnTo>
                  <a:pt x="598804" y="0"/>
                </a:lnTo>
                <a:lnTo>
                  <a:pt x="529716" y="6731"/>
                </a:lnTo>
              </a:path>
            </a:pathLst>
          </a:custGeom>
          <a:ln w="12700">
            <a:solidFill>
              <a:srgbClr val="000000"/>
            </a:solidFill>
          </a:ln>
        </p:spPr>
        <p:txBody>
          <a:bodyPr wrap="square" lIns="0" tIns="0" rIns="0" bIns="0" rtlCol="0">
            <a:noAutofit/>
          </a:bodyPr>
          <a:lstStyle/>
          <a:p>
            <a:endParaRPr/>
          </a:p>
        </p:txBody>
      </p:sp>
      <p:sp>
        <p:nvSpPr>
          <p:cNvPr id="42" name="object 42"/>
          <p:cNvSpPr/>
          <p:nvPr/>
        </p:nvSpPr>
        <p:spPr>
          <a:xfrm>
            <a:off x="9396096" y="1311149"/>
            <a:ext cx="115061" cy="57657"/>
          </a:xfrm>
          <a:custGeom>
            <a:avLst/>
            <a:gdLst/>
            <a:ahLst/>
            <a:cxnLst/>
            <a:rect l="l" t="t" r="r" b="b"/>
            <a:pathLst>
              <a:path w="115061" h="57657">
                <a:moveTo>
                  <a:pt x="0" y="28828"/>
                </a:moveTo>
                <a:lnTo>
                  <a:pt x="3244" y="38425"/>
                </a:lnTo>
                <a:lnTo>
                  <a:pt x="11525" y="46171"/>
                </a:lnTo>
                <a:lnTo>
                  <a:pt x="23942" y="52256"/>
                </a:lnTo>
                <a:lnTo>
                  <a:pt x="39582" y="56233"/>
                </a:lnTo>
                <a:lnTo>
                  <a:pt x="57530" y="57657"/>
                </a:lnTo>
                <a:lnTo>
                  <a:pt x="58786" y="57651"/>
                </a:lnTo>
                <a:lnTo>
                  <a:pt x="76608" y="56041"/>
                </a:lnTo>
                <a:lnTo>
                  <a:pt x="92061" y="51909"/>
                </a:lnTo>
                <a:lnTo>
                  <a:pt x="104230" y="45700"/>
                </a:lnTo>
                <a:lnTo>
                  <a:pt x="112201" y="37858"/>
                </a:lnTo>
                <a:lnTo>
                  <a:pt x="115061" y="28828"/>
                </a:lnTo>
                <a:lnTo>
                  <a:pt x="115048" y="28196"/>
                </a:lnTo>
                <a:lnTo>
                  <a:pt x="111817" y="19232"/>
                </a:lnTo>
                <a:lnTo>
                  <a:pt x="103536" y="11486"/>
                </a:lnTo>
                <a:lnTo>
                  <a:pt x="91119" y="5401"/>
                </a:lnTo>
                <a:lnTo>
                  <a:pt x="75479" y="1424"/>
                </a:lnTo>
                <a:lnTo>
                  <a:pt x="57530" y="0"/>
                </a:lnTo>
                <a:lnTo>
                  <a:pt x="56275" y="6"/>
                </a:lnTo>
                <a:lnTo>
                  <a:pt x="38453" y="1616"/>
                </a:lnTo>
                <a:lnTo>
                  <a:pt x="23000" y="5748"/>
                </a:lnTo>
                <a:lnTo>
                  <a:pt x="10831" y="11957"/>
                </a:lnTo>
                <a:lnTo>
                  <a:pt x="2860" y="19799"/>
                </a:lnTo>
                <a:lnTo>
                  <a:pt x="0" y="28828"/>
                </a:lnTo>
                <a:close/>
              </a:path>
            </a:pathLst>
          </a:custGeom>
          <a:solidFill>
            <a:srgbClr val="FFFFFF"/>
          </a:solidFill>
        </p:spPr>
        <p:txBody>
          <a:bodyPr wrap="square" lIns="0" tIns="0" rIns="0" bIns="0" rtlCol="0">
            <a:noAutofit/>
          </a:bodyPr>
          <a:lstStyle/>
          <a:p>
            <a:endParaRPr/>
          </a:p>
        </p:txBody>
      </p:sp>
      <p:sp>
        <p:nvSpPr>
          <p:cNvPr id="43" name="object 43"/>
          <p:cNvSpPr/>
          <p:nvPr/>
        </p:nvSpPr>
        <p:spPr>
          <a:xfrm>
            <a:off x="9396096" y="1311149"/>
            <a:ext cx="115061" cy="57657"/>
          </a:xfrm>
          <a:custGeom>
            <a:avLst/>
            <a:gdLst/>
            <a:ahLst/>
            <a:cxnLst/>
            <a:rect l="l" t="t" r="r" b="b"/>
            <a:pathLst>
              <a:path w="115061" h="57657">
                <a:moveTo>
                  <a:pt x="0" y="28828"/>
                </a:moveTo>
                <a:lnTo>
                  <a:pt x="2860" y="19799"/>
                </a:lnTo>
                <a:lnTo>
                  <a:pt x="10831" y="11957"/>
                </a:lnTo>
                <a:lnTo>
                  <a:pt x="23000" y="5748"/>
                </a:lnTo>
                <a:lnTo>
                  <a:pt x="38453" y="1616"/>
                </a:lnTo>
                <a:lnTo>
                  <a:pt x="56275" y="6"/>
                </a:lnTo>
                <a:lnTo>
                  <a:pt x="57530" y="0"/>
                </a:lnTo>
                <a:lnTo>
                  <a:pt x="75479" y="1424"/>
                </a:lnTo>
                <a:lnTo>
                  <a:pt x="91119" y="5401"/>
                </a:lnTo>
                <a:lnTo>
                  <a:pt x="103536" y="11486"/>
                </a:lnTo>
                <a:lnTo>
                  <a:pt x="111817" y="19232"/>
                </a:lnTo>
                <a:lnTo>
                  <a:pt x="115048" y="28196"/>
                </a:lnTo>
                <a:lnTo>
                  <a:pt x="115061" y="28828"/>
                </a:lnTo>
                <a:lnTo>
                  <a:pt x="112201" y="37858"/>
                </a:lnTo>
                <a:lnTo>
                  <a:pt x="104230" y="45700"/>
                </a:lnTo>
                <a:lnTo>
                  <a:pt x="92061" y="51909"/>
                </a:lnTo>
                <a:lnTo>
                  <a:pt x="76608" y="56041"/>
                </a:lnTo>
                <a:lnTo>
                  <a:pt x="58786" y="57651"/>
                </a:lnTo>
                <a:lnTo>
                  <a:pt x="57530" y="57657"/>
                </a:lnTo>
                <a:lnTo>
                  <a:pt x="39582" y="56233"/>
                </a:lnTo>
                <a:lnTo>
                  <a:pt x="23942" y="52256"/>
                </a:lnTo>
                <a:lnTo>
                  <a:pt x="11525" y="46171"/>
                </a:lnTo>
                <a:lnTo>
                  <a:pt x="3244" y="38425"/>
                </a:lnTo>
                <a:lnTo>
                  <a:pt x="13" y="29461"/>
                </a:lnTo>
                <a:lnTo>
                  <a:pt x="0" y="28828"/>
                </a:lnTo>
                <a:close/>
              </a:path>
            </a:pathLst>
          </a:custGeom>
          <a:ln w="12700">
            <a:solidFill>
              <a:srgbClr val="000000"/>
            </a:solidFill>
          </a:ln>
        </p:spPr>
        <p:txBody>
          <a:bodyPr wrap="square" lIns="0" tIns="0" rIns="0" bIns="0" rtlCol="0">
            <a:noAutofit/>
          </a:bodyPr>
          <a:lstStyle/>
          <a:p>
            <a:endParaRPr/>
          </a:p>
        </p:txBody>
      </p:sp>
      <p:sp>
        <p:nvSpPr>
          <p:cNvPr id="44" name="object 44"/>
          <p:cNvSpPr/>
          <p:nvPr/>
        </p:nvSpPr>
        <p:spPr>
          <a:xfrm>
            <a:off x="9436354" y="1321309"/>
            <a:ext cx="46100" cy="27177"/>
          </a:xfrm>
          <a:custGeom>
            <a:avLst/>
            <a:gdLst/>
            <a:ahLst/>
            <a:cxnLst/>
            <a:rect l="l" t="t" r="r" b="b"/>
            <a:pathLst>
              <a:path w="46100" h="27177">
                <a:moveTo>
                  <a:pt x="0" y="13588"/>
                </a:moveTo>
                <a:lnTo>
                  <a:pt x="72" y="14675"/>
                </a:lnTo>
                <a:lnTo>
                  <a:pt x="7351" y="23546"/>
                </a:lnTo>
                <a:lnTo>
                  <a:pt x="22987" y="27177"/>
                </a:lnTo>
                <a:lnTo>
                  <a:pt x="24992" y="27127"/>
                </a:lnTo>
                <a:lnTo>
                  <a:pt x="40000" y="22796"/>
                </a:lnTo>
                <a:lnTo>
                  <a:pt x="46100" y="13588"/>
                </a:lnTo>
                <a:lnTo>
                  <a:pt x="46016" y="12416"/>
                </a:lnTo>
                <a:lnTo>
                  <a:pt x="38681" y="3603"/>
                </a:lnTo>
                <a:lnTo>
                  <a:pt x="22987" y="0"/>
                </a:lnTo>
                <a:lnTo>
                  <a:pt x="21145" y="43"/>
                </a:lnTo>
                <a:lnTo>
                  <a:pt x="6133" y="4351"/>
                </a:lnTo>
                <a:lnTo>
                  <a:pt x="0" y="13588"/>
                </a:lnTo>
                <a:close/>
              </a:path>
            </a:pathLst>
          </a:custGeom>
          <a:solidFill>
            <a:srgbClr val="4040FF"/>
          </a:solidFill>
        </p:spPr>
        <p:txBody>
          <a:bodyPr wrap="square" lIns="0" tIns="0" rIns="0" bIns="0" rtlCol="0">
            <a:noAutofit/>
          </a:bodyPr>
          <a:lstStyle/>
          <a:p>
            <a:endParaRPr/>
          </a:p>
        </p:txBody>
      </p:sp>
      <p:sp>
        <p:nvSpPr>
          <p:cNvPr id="45" name="object 45"/>
          <p:cNvSpPr/>
          <p:nvPr/>
        </p:nvSpPr>
        <p:spPr>
          <a:xfrm>
            <a:off x="9436354" y="1321309"/>
            <a:ext cx="46100" cy="27177"/>
          </a:xfrm>
          <a:custGeom>
            <a:avLst/>
            <a:gdLst/>
            <a:ahLst/>
            <a:cxnLst/>
            <a:rect l="l" t="t" r="r" b="b"/>
            <a:pathLst>
              <a:path w="46100" h="27177">
                <a:moveTo>
                  <a:pt x="0" y="13588"/>
                </a:moveTo>
                <a:lnTo>
                  <a:pt x="6133" y="4351"/>
                </a:lnTo>
                <a:lnTo>
                  <a:pt x="21145" y="43"/>
                </a:lnTo>
                <a:lnTo>
                  <a:pt x="22987" y="0"/>
                </a:lnTo>
                <a:lnTo>
                  <a:pt x="38681" y="3603"/>
                </a:lnTo>
                <a:lnTo>
                  <a:pt x="46016" y="12416"/>
                </a:lnTo>
                <a:lnTo>
                  <a:pt x="46100" y="13588"/>
                </a:lnTo>
                <a:lnTo>
                  <a:pt x="40000" y="22796"/>
                </a:lnTo>
                <a:lnTo>
                  <a:pt x="24992" y="27127"/>
                </a:lnTo>
                <a:lnTo>
                  <a:pt x="22987" y="27177"/>
                </a:lnTo>
                <a:lnTo>
                  <a:pt x="7351" y="23546"/>
                </a:lnTo>
                <a:lnTo>
                  <a:pt x="72" y="14675"/>
                </a:lnTo>
                <a:lnTo>
                  <a:pt x="0" y="13588"/>
                </a:lnTo>
                <a:close/>
              </a:path>
            </a:pathLst>
          </a:custGeom>
          <a:ln w="12700">
            <a:solidFill>
              <a:srgbClr val="000000"/>
            </a:solidFill>
          </a:ln>
        </p:spPr>
        <p:txBody>
          <a:bodyPr wrap="square" lIns="0" tIns="0" rIns="0" bIns="0" rtlCol="0">
            <a:noAutofit/>
          </a:bodyPr>
          <a:lstStyle/>
          <a:p>
            <a:endParaRPr/>
          </a:p>
        </p:txBody>
      </p:sp>
      <p:sp>
        <p:nvSpPr>
          <p:cNvPr id="46" name="object 46"/>
          <p:cNvSpPr/>
          <p:nvPr/>
        </p:nvSpPr>
        <p:spPr>
          <a:xfrm>
            <a:off x="9453626" y="1328040"/>
            <a:ext cx="46100" cy="27177"/>
          </a:xfrm>
          <a:custGeom>
            <a:avLst/>
            <a:gdLst/>
            <a:ahLst/>
            <a:cxnLst/>
            <a:rect l="l" t="t" r="r" b="b"/>
            <a:pathLst>
              <a:path w="46100" h="27177">
                <a:moveTo>
                  <a:pt x="0" y="13588"/>
                </a:moveTo>
                <a:lnTo>
                  <a:pt x="72" y="14675"/>
                </a:lnTo>
                <a:lnTo>
                  <a:pt x="7351" y="23546"/>
                </a:lnTo>
                <a:lnTo>
                  <a:pt x="22987" y="27177"/>
                </a:lnTo>
                <a:lnTo>
                  <a:pt x="24992" y="27127"/>
                </a:lnTo>
                <a:lnTo>
                  <a:pt x="40000" y="22796"/>
                </a:lnTo>
                <a:lnTo>
                  <a:pt x="46100" y="13588"/>
                </a:lnTo>
                <a:lnTo>
                  <a:pt x="46016" y="12416"/>
                </a:lnTo>
                <a:lnTo>
                  <a:pt x="38681" y="3603"/>
                </a:lnTo>
                <a:lnTo>
                  <a:pt x="22987" y="0"/>
                </a:lnTo>
                <a:lnTo>
                  <a:pt x="21145" y="43"/>
                </a:lnTo>
                <a:lnTo>
                  <a:pt x="6133" y="4351"/>
                </a:lnTo>
                <a:lnTo>
                  <a:pt x="0" y="13588"/>
                </a:lnTo>
                <a:close/>
              </a:path>
            </a:pathLst>
          </a:custGeom>
          <a:solidFill>
            <a:srgbClr val="DFDFDF"/>
          </a:solidFill>
        </p:spPr>
        <p:txBody>
          <a:bodyPr wrap="square" lIns="0" tIns="0" rIns="0" bIns="0" rtlCol="0">
            <a:noAutofit/>
          </a:bodyPr>
          <a:lstStyle/>
          <a:p>
            <a:endParaRPr/>
          </a:p>
        </p:txBody>
      </p:sp>
      <p:sp>
        <p:nvSpPr>
          <p:cNvPr id="47" name="object 47"/>
          <p:cNvSpPr/>
          <p:nvPr/>
        </p:nvSpPr>
        <p:spPr>
          <a:xfrm>
            <a:off x="9453626" y="1328040"/>
            <a:ext cx="46100" cy="27177"/>
          </a:xfrm>
          <a:custGeom>
            <a:avLst/>
            <a:gdLst/>
            <a:ahLst/>
            <a:cxnLst/>
            <a:rect l="l" t="t" r="r" b="b"/>
            <a:pathLst>
              <a:path w="46100" h="27177">
                <a:moveTo>
                  <a:pt x="0" y="13588"/>
                </a:moveTo>
                <a:lnTo>
                  <a:pt x="6133" y="4351"/>
                </a:lnTo>
                <a:lnTo>
                  <a:pt x="21145" y="43"/>
                </a:lnTo>
                <a:lnTo>
                  <a:pt x="22987" y="0"/>
                </a:lnTo>
                <a:lnTo>
                  <a:pt x="38681" y="3603"/>
                </a:lnTo>
                <a:lnTo>
                  <a:pt x="46016" y="12416"/>
                </a:lnTo>
                <a:lnTo>
                  <a:pt x="46100" y="13588"/>
                </a:lnTo>
                <a:lnTo>
                  <a:pt x="40000" y="22796"/>
                </a:lnTo>
                <a:lnTo>
                  <a:pt x="24992" y="27127"/>
                </a:lnTo>
                <a:lnTo>
                  <a:pt x="22987" y="27177"/>
                </a:lnTo>
                <a:lnTo>
                  <a:pt x="7351" y="23546"/>
                </a:lnTo>
                <a:lnTo>
                  <a:pt x="72" y="14675"/>
                </a:lnTo>
                <a:lnTo>
                  <a:pt x="0" y="13588"/>
                </a:lnTo>
                <a:close/>
              </a:path>
            </a:pathLst>
          </a:custGeom>
          <a:ln w="12700">
            <a:solidFill>
              <a:srgbClr val="000000"/>
            </a:solidFill>
          </a:ln>
        </p:spPr>
        <p:txBody>
          <a:bodyPr wrap="square" lIns="0" tIns="0" rIns="0" bIns="0" rtlCol="0">
            <a:noAutofit/>
          </a:bodyPr>
          <a:lstStyle/>
          <a:p>
            <a:endParaRPr/>
          </a:p>
        </p:txBody>
      </p:sp>
      <p:sp>
        <p:nvSpPr>
          <p:cNvPr id="48" name="object 48"/>
          <p:cNvSpPr/>
          <p:nvPr/>
        </p:nvSpPr>
        <p:spPr>
          <a:xfrm>
            <a:off x="9488170" y="1351914"/>
            <a:ext cx="443356" cy="302260"/>
          </a:xfrm>
          <a:custGeom>
            <a:avLst/>
            <a:gdLst/>
            <a:ahLst/>
            <a:cxnLst/>
            <a:rect l="l" t="t" r="r" b="b"/>
            <a:pathLst>
              <a:path w="443356" h="302260">
                <a:moveTo>
                  <a:pt x="218821" y="292100"/>
                </a:moveTo>
                <a:lnTo>
                  <a:pt x="236093" y="268350"/>
                </a:lnTo>
                <a:lnTo>
                  <a:pt x="259079" y="271652"/>
                </a:lnTo>
                <a:lnTo>
                  <a:pt x="293624" y="264922"/>
                </a:lnTo>
                <a:lnTo>
                  <a:pt x="310896" y="237744"/>
                </a:lnTo>
                <a:lnTo>
                  <a:pt x="345439" y="237744"/>
                </a:lnTo>
                <a:lnTo>
                  <a:pt x="362711" y="220725"/>
                </a:lnTo>
                <a:lnTo>
                  <a:pt x="368553" y="203708"/>
                </a:lnTo>
                <a:lnTo>
                  <a:pt x="379983" y="162940"/>
                </a:lnTo>
                <a:lnTo>
                  <a:pt x="443356" y="125602"/>
                </a:lnTo>
                <a:lnTo>
                  <a:pt x="437641" y="84836"/>
                </a:lnTo>
                <a:lnTo>
                  <a:pt x="379983" y="78105"/>
                </a:lnTo>
                <a:lnTo>
                  <a:pt x="379983" y="44069"/>
                </a:lnTo>
                <a:lnTo>
                  <a:pt x="334009" y="44069"/>
                </a:lnTo>
                <a:lnTo>
                  <a:pt x="328168" y="10160"/>
                </a:lnTo>
                <a:lnTo>
                  <a:pt x="282194" y="10160"/>
                </a:lnTo>
                <a:lnTo>
                  <a:pt x="236093" y="0"/>
                </a:lnTo>
                <a:lnTo>
                  <a:pt x="184276" y="13588"/>
                </a:lnTo>
                <a:lnTo>
                  <a:pt x="167004" y="27177"/>
                </a:lnTo>
                <a:lnTo>
                  <a:pt x="161162" y="64515"/>
                </a:lnTo>
                <a:lnTo>
                  <a:pt x="126619" y="54356"/>
                </a:lnTo>
                <a:lnTo>
                  <a:pt x="97916" y="57658"/>
                </a:lnTo>
                <a:lnTo>
                  <a:pt x="40258" y="78105"/>
                </a:lnTo>
                <a:lnTo>
                  <a:pt x="63373" y="91694"/>
                </a:lnTo>
                <a:lnTo>
                  <a:pt x="17272" y="91694"/>
                </a:lnTo>
                <a:lnTo>
                  <a:pt x="5714" y="105283"/>
                </a:lnTo>
                <a:lnTo>
                  <a:pt x="0" y="115443"/>
                </a:lnTo>
                <a:lnTo>
                  <a:pt x="40258" y="122300"/>
                </a:lnTo>
                <a:lnTo>
                  <a:pt x="22986" y="132461"/>
                </a:lnTo>
                <a:lnTo>
                  <a:pt x="69087" y="156210"/>
                </a:lnTo>
                <a:lnTo>
                  <a:pt x="109347" y="146050"/>
                </a:lnTo>
                <a:lnTo>
                  <a:pt x="138175" y="146050"/>
                </a:lnTo>
                <a:lnTo>
                  <a:pt x="184276" y="149351"/>
                </a:lnTo>
                <a:lnTo>
                  <a:pt x="213105" y="162940"/>
                </a:lnTo>
                <a:lnTo>
                  <a:pt x="230377" y="179959"/>
                </a:lnTo>
                <a:lnTo>
                  <a:pt x="241807" y="203708"/>
                </a:lnTo>
                <a:lnTo>
                  <a:pt x="230377" y="224155"/>
                </a:lnTo>
                <a:lnTo>
                  <a:pt x="218821" y="244475"/>
                </a:lnTo>
                <a:lnTo>
                  <a:pt x="189991" y="261493"/>
                </a:lnTo>
                <a:lnTo>
                  <a:pt x="149732" y="264922"/>
                </a:lnTo>
                <a:lnTo>
                  <a:pt x="149732" y="278511"/>
                </a:lnTo>
                <a:lnTo>
                  <a:pt x="155448" y="302260"/>
                </a:lnTo>
                <a:lnTo>
                  <a:pt x="195706" y="295529"/>
                </a:lnTo>
                <a:lnTo>
                  <a:pt x="218821" y="292100"/>
                </a:lnTo>
                <a:close/>
              </a:path>
            </a:pathLst>
          </a:custGeom>
          <a:solidFill>
            <a:srgbClr val="804000"/>
          </a:solidFill>
        </p:spPr>
        <p:txBody>
          <a:bodyPr wrap="square" lIns="0" tIns="0" rIns="0" bIns="0" rtlCol="0">
            <a:noAutofit/>
          </a:bodyPr>
          <a:lstStyle/>
          <a:p>
            <a:endParaRPr/>
          </a:p>
        </p:txBody>
      </p:sp>
      <p:sp>
        <p:nvSpPr>
          <p:cNvPr id="49" name="object 49"/>
          <p:cNvSpPr/>
          <p:nvPr/>
        </p:nvSpPr>
        <p:spPr>
          <a:xfrm>
            <a:off x="9488170" y="1351914"/>
            <a:ext cx="443356" cy="302260"/>
          </a:xfrm>
          <a:custGeom>
            <a:avLst/>
            <a:gdLst/>
            <a:ahLst/>
            <a:cxnLst/>
            <a:rect l="l" t="t" r="r" b="b"/>
            <a:pathLst>
              <a:path w="443356" h="302260">
                <a:moveTo>
                  <a:pt x="236093" y="0"/>
                </a:moveTo>
                <a:lnTo>
                  <a:pt x="184276" y="13588"/>
                </a:lnTo>
                <a:lnTo>
                  <a:pt x="167004" y="27177"/>
                </a:lnTo>
                <a:lnTo>
                  <a:pt x="161162" y="64515"/>
                </a:lnTo>
                <a:lnTo>
                  <a:pt x="126619" y="54356"/>
                </a:lnTo>
                <a:lnTo>
                  <a:pt x="97916" y="57658"/>
                </a:lnTo>
                <a:lnTo>
                  <a:pt x="40258" y="78105"/>
                </a:lnTo>
                <a:lnTo>
                  <a:pt x="63373" y="91694"/>
                </a:lnTo>
                <a:lnTo>
                  <a:pt x="17272" y="91694"/>
                </a:lnTo>
                <a:lnTo>
                  <a:pt x="5714" y="105283"/>
                </a:lnTo>
                <a:lnTo>
                  <a:pt x="0" y="115443"/>
                </a:lnTo>
                <a:lnTo>
                  <a:pt x="40258" y="122300"/>
                </a:lnTo>
                <a:lnTo>
                  <a:pt x="22986" y="132461"/>
                </a:lnTo>
                <a:lnTo>
                  <a:pt x="69087" y="156210"/>
                </a:lnTo>
                <a:lnTo>
                  <a:pt x="109347" y="146050"/>
                </a:lnTo>
                <a:lnTo>
                  <a:pt x="138175" y="146050"/>
                </a:lnTo>
                <a:lnTo>
                  <a:pt x="184276" y="149351"/>
                </a:lnTo>
                <a:lnTo>
                  <a:pt x="213105" y="162940"/>
                </a:lnTo>
                <a:lnTo>
                  <a:pt x="230377" y="179959"/>
                </a:lnTo>
                <a:lnTo>
                  <a:pt x="241807" y="203708"/>
                </a:lnTo>
                <a:lnTo>
                  <a:pt x="230377" y="224155"/>
                </a:lnTo>
                <a:lnTo>
                  <a:pt x="218821" y="244475"/>
                </a:lnTo>
                <a:lnTo>
                  <a:pt x="189991" y="261493"/>
                </a:lnTo>
                <a:lnTo>
                  <a:pt x="149732" y="264922"/>
                </a:lnTo>
                <a:lnTo>
                  <a:pt x="149732" y="278511"/>
                </a:lnTo>
                <a:lnTo>
                  <a:pt x="155448" y="302260"/>
                </a:lnTo>
                <a:lnTo>
                  <a:pt x="195706" y="295529"/>
                </a:lnTo>
                <a:lnTo>
                  <a:pt x="218821" y="292100"/>
                </a:lnTo>
                <a:lnTo>
                  <a:pt x="236093" y="268350"/>
                </a:lnTo>
                <a:lnTo>
                  <a:pt x="259079" y="271652"/>
                </a:lnTo>
                <a:lnTo>
                  <a:pt x="293624" y="264922"/>
                </a:lnTo>
                <a:lnTo>
                  <a:pt x="310896" y="237744"/>
                </a:lnTo>
                <a:lnTo>
                  <a:pt x="345439" y="237744"/>
                </a:lnTo>
                <a:lnTo>
                  <a:pt x="362711" y="220725"/>
                </a:lnTo>
                <a:lnTo>
                  <a:pt x="368553" y="203708"/>
                </a:lnTo>
                <a:lnTo>
                  <a:pt x="379983" y="162940"/>
                </a:lnTo>
                <a:lnTo>
                  <a:pt x="443356" y="125602"/>
                </a:lnTo>
                <a:lnTo>
                  <a:pt x="437641" y="84836"/>
                </a:lnTo>
                <a:lnTo>
                  <a:pt x="379983" y="78105"/>
                </a:lnTo>
                <a:lnTo>
                  <a:pt x="379983" y="44069"/>
                </a:lnTo>
                <a:lnTo>
                  <a:pt x="334009" y="44069"/>
                </a:lnTo>
                <a:lnTo>
                  <a:pt x="328168" y="10160"/>
                </a:lnTo>
                <a:lnTo>
                  <a:pt x="282194" y="10160"/>
                </a:lnTo>
                <a:lnTo>
                  <a:pt x="236093" y="0"/>
                </a:lnTo>
              </a:path>
            </a:pathLst>
          </a:custGeom>
          <a:ln w="12700">
            <a:solidFill>
              <a:srgbClr val="000000"/>
            </a:solidFill>
          </a:ln>
        </p:spPr>
        <p:txBody>
          <a:bodyPr wrap="square" lIns="0" tIns="0" rIns="0" bIns="0" rtlCol="0">
            <a:noAutofit/>
          </a:bodyPr>
          <a:lstStyle/>
          <a:p>
            <a:endParaRPr/>
          </a:p>
        </p:txBody>
      </p:sp>
      <p:sp>
        <p:nvSpPr>
          <p:cNvPr id="50" name="object 50"/>
          <p:cNvSpPr/>
          <p:nvPr/>
        </p:nvSpPr>
        <p:spPr>
          <a:xfrm>
            <a:off x="9275192" y="1368805"/>
            <a:ext cx="92075" cy="54356"/>
          </a:xfrm>
          <a:custGeom>
            <a:avLst/>
            <a:gdLst/>
            <a:ahLst/>
            <a:cxnLst/>
            <a:rect l="l" t="t" r="r" b="b"/>
            <a:pathLst>
              <a:path w="92075" h="54356">
                <a:moveTo>
                  <a:pt x="92075" y="0"/>
                </a:moveTo>
                <a:lnTo>
                  <a:pt x="86359" y="27178"/>
                </a:lnTo>
                <a:lnTo>
                  <a:pt x="74802" y="47625"/>
                </a:lnTo>
                <a:lnTo>
                  <a:pt x="57530" y="54356"/>
                </a:lnTo>
                <a:lnTo>
                  <a:pt x="40258" y="47625"/>
                </a:lnTo>
                <a:lnTo>
                  <a:pt x="22986" y="40767"/>
                </a:lnTo>
                <a:lnTo>
                  <a:pt x="0" y="20447"/>
                </a:lnTo>
              </a:path>
            </a:pathLst>
          </a:custGeom>
          <a:ln w="12700">
            <a:solidFill>
              <a:srgbClr val="000000"/>
            </a:solidFill>
          </a:ln>
        </p:spPr>
        <p:txBody>
          <a:bodyPr wrap="square" lIns="0" tIns="0" rIns="0" bIns="0" rtlCol="0">
            <a:noAutofit/>
          </a:bodyPr>
          <a:lstStyle/>
          <a:p>
            <a:endParaRPr/>
          </a:p>
        </p:txBody>
      </p:sp>
      <p:sp>
        <p:nvSpPr>
          <p:cNvPr id="51" name="object 51"/>
          <p:cNvSpPr/>
          <p:nvPr/>
        </p:nvSpPr>
        <p:spPr>
          <a:xfrm>
            <a:off x="9424798" y="1372236"/>
            <a:ext cx="92201" cy="54355"/>
          </a:xfrm>
          <a:custGeom>
            <a:avLst/>
            <a:gdLst/>
            <a:ahLst/>
            <a:cxnLst/>
            <a:rect l="l" t="t" r="r" b="b"/>
            <a:pathLst>
              <a:path w="92201" h="54355">
                <a:moveTo>
                  <a:pt x="92201" y="54355"/>
                </a:moveTo>
                <a:lnTo>
                  <a:pt x="0" y="0"/>
                </a:lnTo>
                <a:lnTo>
                  <a:pt x="34544" y="54355"/>
                </a:lnTo>
              </a:path>
            </a:pathLst>
          </a:custGeom>
          <a:ln w="12700">
            <a:solidFill>
              <a:srgbClr val="000000"/>
            </a:solidFill>
          </a:ln>
        </p:spPr>
        <p:txBody>
          <a:bodyPr wrap="square" lIns="0" tIns="0" rIns="0" bIns="0" rtlCol="0">
            <a:noAutofit/>
          </a:bodyPr>
          <a:lstStyle/>
          <a:p>
            <a:endParaRPr/>
          </a:p>
        </p:txBody>
      </p:sp>
      <p:sp>
        <p:nvSpPr>
          <p:cNvPr id="52" name="object 52"/>
          <p:cNvSpPr/>
          <p:nvPr/>
        </p:nvSpPr>
        <p:spPr>
          <a:xfrm>
            <a:off x="9522715" y="1287273"/>
            <a:ext cx="92075" cy="61213"/>
          </a:xfrm>
          <a:custGeom>
            <a:avLst/>
            <a:gdLst/>
            <a:ahLst/>
            <a:cxnLst/>
            <a:rect l="l" t="t" r="r" b="b"/>
            <a:pathLst>
              <a:path w="92075" h="61213">
                <a:moveTo>
                  <a:pt x="80644" y="61213"/>
                </a:moveTo>
                <a:lnTo>
                  <a:pt x="92075" y="37464"/>
                </a:lnTo>
                <a:lnTo>
                  <a:pt x="57530" y="10287"/>
                </a:lnTo>
                <a:lnTo>
                  <a:pt x="22986" y="0"/>
                </a:lnTo>
                <a:lnTo>
                  <a:pt x="0" y="0"/>
                </a:lnTo>
              </a:path>
            </a:pathLst>
          </a:custGeom>
          <a:ln w="12700">
            <a:solidFill>
              <a:srgbClr val="000000"/>
            </a:solidFill>
          </a:ln>
        </p:spPr>
        <p:txBody>
          <a:bodyPr wrap="square" lIns="0" tIns="0" rIns="0" bIns="0" rtlCol="0">
            <a:noAutofit/>
          </a:bodyPr>
          <a:lstStyle/>
          <a:p>
            <a:endParaRPr/>
          </a:p>
        </p:txBody>
      </p:sp>
      <p:sp>
        <p:nvSpPr>
          <p:cNvPr id="53" name="object 53"/>
          <p:cNvSpPr/>
          <p:nvPr/>
        </p:nvSpPr>
        <p:spPr>
          <a:xfrm>
            <a:off x="9586087" y="1535302"/>
            <a:ext cx="92075" cy="54356"/>
          </a:xfrm>
          <a:custGeom>
            <a:avLst/>
            <a:gdLst/>
            <a:ahLst/>
            <a:cxnLst/>
            <a:rect l="l" t="t" r="r" b="b"/>
            <a:pathLst>
              <a:path w="92075" h="54356">
                <a:moveTo>
                  <a:pt x="28702" y="0"/>
                </a:moveTo>
                <a:lnTo>
                  <a:pt x="63246" y="0"/>
                </a:lnTo>
                <a:lnTo>
                  <a:pt x="92075" y="17018"/>
                </a:lnTo>
                <a:lnTo>
                  <a:pt x="86360" y="44196"/>
                </a:lnTo>
                <a:lnTo>
                  <a:pt x="63246" y="54356"/>
                </a:lnTo>
                <a:lnTo>
                  <a:pt x="45974" y="54356"/>
                </a:lnTo>
                <a:lnTo>
                  <a:pt x="17272" y="54356"/>
                </a:lnTo>
                <a:lnTo>
                  <a:pt x="0" y="47498"/>
                </a:lnTo>
                <a:lnTo>
                  <a:pt x="0" y="33909"/>
                </a:lnTo>
                <a:lnTo>
                  <a:pt x="11430" y="23749"/>
                </a:lnTo>
                <a:lnTo>
                  <a:pt x="28702" y="27177"/>
                </a:lnTo>
              </a:path>
            </a:pathLst>
          </a:custGeom>
          <a:ln w="12700">
            <a:solidFill>
              <a:srgbClr val="000000"/>
            </a:solidFill>
          </a:ln>
        </p:spPr>
        <p:txBody>
          <a:bodyPr wrap="square" lIns="0" tIns="0" rIns="0" bIns="0" rtlCol="0">
            <a:noAutofit/>
          </a:bodyPr>
          <a:lstStyle/>
          <a:p>
            <a:endParaRPr/>
          </a:p>
        </p:txBody>
      </p:sp>
      <p:sp>
        <p:nvSpPr>
          <p:cNvPr id="54" name="object 54"/>
          <p:cNvSpPr/>
          <p:nvPr/>
        </p:nvSpPr>
        <p:spPr>
          <a:xfrm>
            <a:off x="9591803" y="1236346"/>
            <a:ext cx="495173" cy="353313"/>
          </a:xfrm>
          <a:custGeom>
            <a:avLst/>
            <a:gdLst/>
            <a:ahLst/>
            <a:cxnLst/>
            <a:rect l="l" t="t" r="r" b="b"/>
            <a:pathLst>
              <a:path w="495173" h="353313">
                <a:moveTo>
                  <a:pt x="259206" y="353313"/>
                </a:moveTo>
                <a:lnTo>
                  <a:pt x="280018" y="349217"/>
                </a:lnTo>
                <a:lnTo>
                  <a:pt x="300100" y="344490"/>
                </a:lnTo>
                <a:lnTo>
                  <a:pt x="319416" y="339159"/>
                </a:lnTo>
                <a:lnTo>
                  <a:pt x="337928" y="333250"/>
                </a:lnTo>
                <a:lnTo>
                  <a:pt x="355601" y="326788"/>
                </a:lnTo>
                <a:lnTo>
                  <a:pt x="372399" y="319802"/>
                </a:lnTo>
                <a:lnTo>
                  <a:pt x="388284" y="312316"/>
                </a:lnTo>
                <a:lnTo>
                  <a:pt x="403220" y="304359"/>
                </a:lnTo>
                <a:lnTo>
                  <a:pt x="430101" y="287131"/>
                </a:lnTo>
                <a:lnTo>
                  <a:pt x="452748" y="268329"/>
                </a:lnTo>
                <a:lnTo>
                  <a:pt x="470871" y="248165"/>
                </a:lnTo>
                <a:lnTo>
                  <a:pt x="484177" y="226850"/>
                </a:lnTo>
                <a:lnTo>
                  <a:pt x="492375" y="204594"/>
                </a:lnTo>
                <a:lnTo>
                  <a:pt x="495173" y="181609"/>
                </a:lnTo>
                <a:lnTo>
                  <a:pt x="494015" y="166711"/>
                </a:lnTo>
                <a:lnTo>
                  <a:pt x="485024" y="137957"/>
                </a:lnTo>
                <a:lnTo>
                  <a:pt x="467731" y="110906"/>
                </a:lnTo>
                <a:lnTo>
                  <a:pt x="456195" y="98136"/>
                </a:lnTo>
                <a:lnTo>
                  <a:pt x="442853" y="85932"/>
                </a:lnTo>
                <a:lnTo>
                  <a:pt x="427795" y="74340"/>
                </a:lnTo>
                <a:lnTo>
                  <a:pt x="411111" y="63408"/>
                </a:lnTo>
                <a:lnTo>
                  <a:pt x="392890" y="53181"/>
                </a:lnTo>
                <a:lnTo>
                  <a:pt x="373222" y="43706"/>
                </a:lnTo>
                <a:lnTo>
                  <a:pt x="352197" y="35031"/>
                </a:lnTo>
                <a:lnTo>
                  <a:pt x="329905" y="27202"/>
                </a:lnTo>
                <a:lnTo>
                  <a:pt x="306435" y="20265"/>
                </a:lnTo>
                <a:lnTo>
                  <a:pt x="281878" y="14267"/>
                </a:lnTo>
                <a:lnTo>
                  <a:pt x="256323" y="9255"/>
                </a:lnTo>
                <a:lnTo>
                  <a:pt x="229860" y="5276"/>
                </a:lnTo>
                <a:lnTo>
                  <a:pt x="202579" y="2376"/>
                </a:lnTo>
                <a:lnTo>
                  <a:pt x="174570" y="601"/>
                </a:lnTo>
                <a:lnTo>
                  <a:pt x="145923" y="0"/>
                </a:lnTo>
                <a:lnTo>
                  <a:pt x="138545" y="40"/>
                </a:lnTo>
                <a:lnTo>
                  <a:pt x="112512" y="837"/>
                </a:lnTo>
                <a:lnTo>
                  <a:pt x="86730" y="2639"/>
                </a:lnTo>
                <a:lnTo>
                  <a:pt x="61304" y="5431"/>
                </a:lnTo>
                <a:lnTo>
                  <a:pt x="36342" y="9197"/>
                </a:lnTo>
                <a:lnTo>
                  <a:pt x="11949" y="13920"/>
                </a:lnTo>
                <a:lnTo>
                  <a:pt x="0" y="16637"/>
                </a:lnTo>
                <a:lnTo>
                  <a:pt x="145923" y="181609"/>
                </a:lnTo>
                <a:lnTo>
                  <a:pt x="259206" y="353313"/>
                </a:lnTo>
                <a:close/>
              </a:path>
            </a:pathLst>
          </a:custGeom>
          <a:solidFill>
            <a:srgbClr val="FFFF00"/>
          </a:solidFill>
        </p:spPr>
        <p:txBody>
          <a:bodyPr wrap="square" lIns="0" tIns="0" rIns="0" bIns="0" rtlCol="0">
            <a:noAutofit/>
          </a:bodyPr>
          <a:lstStyle/>
          <a:p>
            <a:endParaRPr/>
          </a:p>
        </p:txBody>
      </p:sp>
      <p:sp>
        <p:nvSpPr>
          <p:cNvPr id="55" name="object 55"/>
          <p:cNvSpPr/>
          <p:nvPr/>
        </p:nvSpPr>
        <p:spPr>
          <a:xfrm>
            <a:off x="9591803" y="1236346"/>
            <a:ext cx="495173" cy="353313"/>
          </a:xfrm>
          <a:custGeom>
            <a:avLst/>
            <a:gdLst/>
            <a:ahLst/>
            <a:cxnLst/>
            <a:rect l="l" t="t" r="r" b="b"/>
            <a:pathLst>
              <a:path w="495173" h="353313">
                <a:moveTo>
                  <a:pt x="0" y="16637"/>
                </a:moveTo>
                <a:lnTo>
                  <a:pt x="24067" y="11440"/>
                </a:lnTo>
                <a:lnTo>
                  <a:pt x="48758" y="7193"/>
                </a:lnTo>
                <a:lnTo>
                  <a:pt x="73966" y="3912"/>
                </a:lnTo>
                <a:lnTo>
                  <a:pt x="99583" y="1613"/>
                </a:lnTo>
                <a:lnTo>
                  <a:pt x="125504" y="312"/>
                </a:lnTo>
                <a:lnTo>
                  <a:pt x="145923" y="0"/>
                </a:lnTo>
                <a:lnTo>
                  <a:pt x="174570" y="601"/>
                </a:lnTo>
                <a:lnTo>
                  <a:pt x="202579" y="2376"/>
                </a:lnTo>
                <a:lnTo>
                  <a:pt x="229860" y="5276"/>
                </a:lnTo>
                <a:lnTo>
                  <a:pt x="256323" y="9255"/>
                </a:lnTo>
                <a:lnTo>
                  <a:pt x="281878" y="14267"/>
                </a:lnTo>
                <a:lnTo>
                  <a:pt x="306435" y="20265"/>
                </a:lnTo>
                <a:lnTo>
                  <a:pt x="329905" y="27202"/>
                </a:lnTo>
                <a:lnTo>
                  <a:pt x="352197" y="35031"/>
                </a:lnTo>
                <a:lnTo>
                  <a:pt x="373222" y="43706"/>
                </a:lnTo>
                <a:lnTo>
                  <a:pt x="392890" y="53181"/>
                </a:lnTo>
                <a:lnTo>
                  <a:pt x="411111" y="63408"/>
                </a:lnTo>
                <a:lnTo>
                  <a:pt x="427795" y="74340"/>
                </a:lnTo>
                <a:lnTo>
                  <a:pt x="442853" y="85932"/>
                </a:lnTo>
                <a:lnTo>
                  <a:pt x="456195" y="98136"/>
                </a:lnTo>
                <a:lnTo>
                  <a:pt x="467731" y="110906"/>
                </a:lnTo>
                <a:lnTo>
                  <a:pt x="485024" y="137957"/>
                </a:lnTo>
                <a:lnTo>
                  <a:pt x="494015" y="166711"/>
                </a:lnTo>
                <a:lnTo>
                  <a:pt x="495173" y="181609"/>
                </a:lnTo>
                <a:lnTo>
                  <a:pt x="494467" y="193180"/>
                </a:lnTo>
                <a:lnTo>
                  <a:pt x="488933" y="215826"/>
                </a:lnTo>
                <a:lnTo>
                  <a:pt x="478145" y="237638"/>
                </a:lnTo>
                <a:lnTo>
                  <a:pt x="462394" y="258404"/>
                </a:lnTo>
                <a:lnTo>
                  <a:pt x="441972" y="277913"/>
                </a:lnTo>
                <a:lnTo>
                  <a:pt x="417172" y="295954"/>
                </a:lnTo>
                <a:lnTo>
                  <a:pt x="388284" y="312316"/>
                </a:lnTo>
                <a:lnTo>
                  <a:pt x="372399" y="319802"/>
                </a:lnTo>
                <a:lnTo>
                  <a:pt x="355601" y="326788"/>
                </a:lnTo>
                <a:lnTo>
                  <a:pt x="337928" y="333250"/>
                </a:lnTo>
                <a:lnTo>
                  <a:pt x="319416" y="339159"/>
                </a:lnTo>
                <a:lnTo>
                  <a:pt x="300100" y="344490"/>
                </a:lnTo>
                <a:lnTo>
                  <a:pt x="280018" y="349217"/>
                </a:lnTo>
                <a:lnTo>
                  <a:pt x="259206" y="353313"/>
                </a:lnTo>
              </a:path>
            </a:pathLst>
          </a:custGeom>
          <a:ln w="12699">
            <a:solidFill>
              <a:srgbClr val="000000"/>
            </a:solidFill>
          </a:ln>
        </p:spPr>
        <p:txBody>
          <a:bodyPr wrap="square" lIns="0" tIns="0" rIns="0" bIns="0" rtlCol="0">
            <a:noAutofit/>
          </a:bodyPr>
          <a:lstStyle/>
          <a:p>
            <a:endParaRPr/>
          </a:p>
        </p:txBody>
      </p:sp>
      <p:sp>
        <p:nvSpPr>
          <p:cNvPr id="56" name="object 56"/>
          <p:cNvSpPr/>
          <p:nvPr/>
        </p:nvSpPr>
        <p:spPr>
          <a:xfrm>
            <a:off x="9436355" y="1222756"/>
            <a:ext cx="270637" cy="166497"/>
          </a:xfrm>
          <a:custGeom>
            <a:avLst/>
            <a:gdLst/>
            <a:ahLst/>
            <a:cxnLst/>
            <a:rect l="l" t="t" r="r" b="b"/>
            <a:pathLst>
              <a:path w="270637" h="166497">
                <a:moveTo>
                  <a:pt x="97917" y="84963"/>
                </a:moveTo>
                <a:lnTo>
                  <a:pt x="143891" y="105283"/>
                </a:lnTo>
                <a:lnTo>
                  <a:pt x="184276" y="129159"/>
                </a:lnTo>
                <a:lnTo>
                  <a:pt x="230250" y="146050"/>
                </a:lnTo>
                <a:lnTo>
                  <a:pt x="270637" y="166497"/>
                </a:lnTo>
                <a:lnTo>
                  <a:pt x="230250" y="118872"/>
                </a:lnTo>
                <a:lnTo>
                  <a:pt x="189992" y="71374"/>
                </a:lnTo>
                <a:lnTo>
                  <a:pt x="149732" y="23749"/>
                </a:lnTo>
                <a:lnTo>
                  <a:pt x="0" y="0"/>
                </a:lnTo>
                <a:lnTo>
                  <a:pt x="22987" y="27178"/>
                </a:lnTo>
                <a:lnTo>
                  <a:pt x="57530" y="50927"/>
                </a:lnTo>
                <a:lnTo>
                  <a:pt x="69088" y="64516"/>
                </a:lnTo>
                <a:lnTo>
                  <a:pt x="97917" y="84963"/>
                </a:lnTo>
                <a:close/>
              </a:path>
            </a:pathLst>
          </a:custGeom>
          <a:solidFill>
            <a:srgbClr val="C0C000"/>
          </a:solidFill>
        </p:spPr>
        <p:txBody>
          <a:bodyPr wrap="square" lIns="0" tIns="0" rIns="0" bIns="0" rtlCol="0">
            <a:noAutofit/>
          </a:bodyPr>
          <a:lstStyle/>
          <a:p>
            <a:endParaRPr/>
          </a:p>
        </p:txBody>
      </p:sp>
      <p:sp>
        <p:nvSpPr>
          <p:cNvPr id="57" name="object 57"/>
          <p:cNvSpPr/>
          <p:nvPr/>
        </p:nvSpPr>
        <p:spPr>
          <a:xfrm>
            <a:off x="9436355" y="1222756"/>
            <a:ext cx="270637" cy="166497"/>
          </a:xfrm>
          <a:custGeom>
            <a:avLst/>
            <a:gdLst/>
            <a:ahLst/>
            <a:cxnLst/>
            <a:rect l="l" t="t" r="r" b="b"/>
            <a:pathLst>
              <a:path w="270637" h="166497">
                <a:moveTo>
                  <a:pt x="149732" y="23749"/>
                </a:moveTo>
                <a:lnTo>
                  <a:pt x="0" y="0"/>
                </a:lnTo>
                <a:lnTo>
                  <a:pt x="22987" y="27178"/>
                </a:lnTo>
                <a:lnTo>
                  <a:pt x="57530" y="50927"/>
                </a:lnTo>
                <a:lnTo>
                  <a:pt x="69088" y="64516"/>
                </a:lnTo>
                <a:lnTo>
                  <a:pt x="97917" y="84963"/>
                </a:lnTo>
                <a:lnTo>
                  <a:pt x="143891" y="105283"/>
                </a:lnTo>
                <a:lnTo>
                  <a:pt x="184276" y="129159"/>
                </a:lnTo>
                <a:lnTo>
                  <a:pt x="230250" y="146050"/>
                </a:lnTo>
                <a:lnTo>
                  <a:pt x="270637" y="166497"/>
                </a:lnTo>
                <a:lnTo>
                  <a:pt x="230250" y="118872"/>
                </a:lnTo>
                <a:lnTo>
                  <a:pt x="189992" y="71374"/>
                </a:lnTo>
                <a:lnTo>
                  <a:pt x="149732" y="23749"/>
                </a:lnTo>
              </a:path>
            </a:pathLst>
          </a:custGeom>
          <a:ln w="12700">
            <a:solidFill>
              <a:srgbClr val="000000"/>
            </a:solidFill>
          </a:ln>
        </p:spPr>
        <p:txBody>
          <a:bodyPr wrap="square" lIns="0" tIns="0" rIns="0" bIns="0" rtlCol="0">
            <a:noAutofit/>
          </a:bodyPr>
          <a:lstStyle/>
          <a:p>
            <a:endParaRPr/>
          </a:p>
        </p:txBody>
      </p:sp>
      <p:sp>
        <p:nvSpPr>
          <p:cNvPr id="58" name="object 58"/>
          <p:cNvSpPr/>
          <p:nvPr/>
        </p:nvSpPr>
        <p:spPr>
          <a:xfrm>
            <a:off x="9637904" y="1280540"/>
            <a:ext cx="391541" cy="54356"/>
          </a:xfrm>
          <a:custGeom>
            <a:avLst/>
            <a:gdLst/>
            <a:ahLst/>
            <a:cxnLst/>
            <a:rect l="l" t="t" r="r" b="b"/>
            <a:pathLst>
              <a:path w="391541" h="54356">
                <a:moveTo>
                  <a:pt x="0" y="13588"/>
                </a:moveTo>
                <a:lnTo>
                  <a:pt x="22987" y="6731"/>
                </a:lnTo>
                <a:lnTo>
                  <a:pt x="80645" y="3429"/>
                </a:lnTo>
                <a:lnTo>
                  <a:pt x="155448" y="0"/>
                </a:lnTo>
                <a:lnTo>
                  <a:pt x="207264" y="3429"/>
                </a:lnTo>
                <a:lnTo>
                  <a:pt x="270637" y="13588"/>
                </a:lnTo>
                <a:lnTo>
                  <a:pt x="333882" y="30607"/>
                </a:lnTo>
                <a:lnTo>
                  <a:pt x="391541" y="54356"/>
                </a:lnTo>
              </a:path>
            </a:pathLst>
          </a:custGeom>
          <a:ln w="12700">
            <a:solidFill>
              <a:srgbClr val="000000"/>
            </a:solidFill>
          </a:ln>
        </p:spPr>
        <p:txBody>
          <a:bodyPr wrap="square" lIns="0" tIns="0" rIns="0" bIns="0" rtlCol="0">
            <a:noAutofit/>
          </a:bodyPr>
          <a:lstStyle/>
          <a:p>
            <a:endParaRPr/>
          </a:p>
        </p:txBody>
      </p:sp>
      <p:sp>
        <p:nvSpPr>
          <p:cNvPr id="59" name="object 59"/>
          <p:cNvSpPr/>
          <p:nvPr/>
        </p:nvSpPr>
        <p:spPr>
          <a:xfrm>
            <a:off x="9816339" y="1348487"/>
            <a:ext cx="207263" cy="163067"/>
          </a:xfrm>
          <a:custGeom>
            <a:avLst/>
            <a:gdLst/>
            <a:ahLst/>
            <a:cxnLst/>
            <a:rect l="l" t="t" r="r" b="b"/>
            <a:pathLst>
              <a:path w="207263" h="163067">
                <a:moveTo>
                  <a:pt x="207263" y="0"/>
                </a:moveTo>
                <a:lnTo>
                  <a:pt x="201548" y="20319"/>
                </a:lnTo>
                <a:lnTo>
                  <a:pt x="184276" y="47498"/>
                </a:lnTo>
                <a:lnTo>
                  <a:pt x="167004" y="74675"/>
                </a:lnTo>
                <a:lnTo>
                  <a:pt x="138175" y="98551"/>
                </a:lnTo>
                <a:lnTo>
                  <a:pt x="126745" y="112140"/>
                </a:lnTo>
                <a:lnTo>
                  <a:pt x="103631" y="122300"/>
                </a:lnTo>
                <a:lnTo>
                  <a:pt x="69087" y="139318"/>
                </a:lnTo>
                <a:lnTo>
                  <a:pt x="34543" y="152780"/>
                </a:lnTo>
                <a:lnTo>
                  <a:pt x="0" y="163067"/>
                </a:lnTo>
              </a:path>
            </a:pathLst>
          </a:custGeom>
          <a:ln w="12700">
            <a:solidFill>
              <a:srgbClr val="000000"/>
            </a:solidFill>
          </a:ln>
        </p:spPr>
        <p:txBody>
          <a:bodyPr wrap="square" lIns="0" tIns="0" rIns="0" bIns="0" rtlCol="0">
            <a:noAutofit/>
          </a:bodyPr>
          <a:lstStyle/>
          <a:p>
            <a:endParaRPr/>
          </a:p>
        </p:txBody>
      </p:sp>
      <p:sp>
        <p:nvSpPr>
          <p:cNvPr id="60" name="object 60"/>
          <p:cNvSpPr/>
          <p:nvPr/>
        </p:nvSpPr>
        <p:spPr>
          <a:xfrm>
            <a:off x="8325104" y="930655"/>
            <a:ext cx="449072" cy="611378"/>
          </a:xfrm>
          <a:custGeom>
            <a:avLst/>
            <a:gdLst/>
            <a:ahLst/>
            <a:cxnLst/>
            <a:rect l="l" t="t" r="r" b="b"/>
            <a:pathLst>
              <a:path w="449072" h="611378">
                <a:moveTo>
                  <a:pt x="0" y="193548"/>
                </a:moveTo>
                <a:lnTo>
                  <a:pt x="0" y="611378"/>
                </a:lnTo>
                <a:lnTo>
                  <a:pt x="449072" y="353314"/>
                </a:lnTo>
                <a:lnTo>
                  <a:pt x="449072" y="0"/>
                </a:lnTo>
                <a:lnTo>
                  <a:pt x="0" y="193548"/>
                </a:lnTo>
                <a:close/>
              </a:path>
            </a:pathLst>
          </a:custGeom>
          <a:solidFill>
            <a:srgbClr val="FF9F40"/>
          </a:solidFill>
        </p:spPr>
        <p:txBody>
          <a:bodyPr wrap="square" lIns="0" tIns="0" rIns="0" bIns="0" rtlCol="0">
            <a:noAutofit/>
          </a:bodyPr>
          <a:lstStyle/>
          <a:p>
            <a:endParaRPr/>
          </a:p>
        </p:txBody>
      </p:sp>
      <p:sp>
        <p:nvSpPr>
          <p:cNvPr id="61" name="object 61"/>
          <p:cNvSpPr/>
          <p:nvPr/>
        </p:nvSpPr>
        <p:spPr>
          <a:xfrm>
            <a:off x="8325104" y="930655"/>
            <a:ext cx="449072" cy="611378"/>
          </a:xfrm>
          <a:custGeom>
            <a:avLst/>
            <a:gdLst/>
            <a:ahLst/>
            <a:cxnLst/>
            <a:rect l="l" t="t" r="r" b="b"/>
            <a:pathLst>
              <a:path w="449072" h="611378">
                <a:moveTo>
                  <a:pt x="0" y="193548"/>
                </a:moveTo>
                <a:lnTo>
                  <a:pt x="449072" y="0"/>
                </a:lnTo>
                <a:lnTo>
                  <a:pt x="449072" y="353314"/>
                </a:lnTo>
                <a:lnTo>
                  <a:pt x="0" y="611378"/>
                </a:lnTo>
                <a:lnTo>
                  <a:pt x="0" y="193548"/>
                </a:lnTo>
              </a:path>
            </a:pathLst>
          </a:custGeom>
          <a:ln w="12700">
            <a:solidFill>
              <a:srgbClr val="000000"/>
            </a:solidFill>
          </a:ln>
        </p:spPr>
        <p:txBody>
          <a:bodyPr wrap="square" lIns="0" tIns="0" rIns="0" bIns="0" rtlCol="0">
            <a:noAutofit/>
          </a:bodyPr>
          <a:lstStyle/>
          <a:p>
            <a:endParaRPr/>
          </a:p>
        </p:txBody>
      </p:sp>
      <p:sp>
        <p:nvSpPr>
          <p:cNvPr id="62" name="object 62"/>
          <p:cNvSpPr/>
          <p:nvPr/>
        </p:nvSpPr>
        <p:spPr>
          <a:xfrm>
            <a:off x="7630669" y="848867"/>
            <a:ext cx="661415" cy="1775460"/>
          </a:xfrm>
          <a:prstGeom prst="rect">
            <a:avLst/>
          </a:prstGeom>
          <a:blipFill>
            <a:blip r:embed="rId5" cstate="print"/>
            <a:stretch>
              <a:fillRect/>
            </a:stretch>
          </a:blipFill>
        </p:spPr>
        <p:txBody>
          <a:bodyPr wrap="square" lIns="0" tIns="0" rIns="0" bIns="0" rtlCol="0">
            <a:noAutofit/>
          </a:bodyPr>
          <a:lstStyle/>
          <a:p>
            <a:endParaRPr/>
          </a:p>
        </p:txBody>
      </p:sp>
      <p:sp>
        <p:nvSpPr>
          <p:cNvPr id="63" name="object 63"/>
          <p:cNvSpPr/>
          <p:nvPr/>
        </p:nvSpPr>
        <p:spPr>
          <a:xfrm>
            <a:off x="7620000" y="996188"/>
            <a:ext cx="473900" cy="1588262"/>
          </a:xfrm>
          <a:prstGeom prst="rect">
            <a:avLst/>
          </a:prstGeom>
          <a:blipFill>
            <a:blip r:embed="rId6" cstate="print"/>
            <a:stretch>
              <a:fillRect/>
            </a:stretch>
          </a:blipFill>
        </p:spPr>
        <p:txBody>
          <a:bodyPr wrap="square" lIns="0" tIns="0" rIns="0" bIns="0" rtlCol="0">
            <a:noAutofit/>
          </a:bodyPr>
          <a:lstStyle/>
          <a:p>
            <a:endParaRPr/>
          </a:p>
        </p:txBody>
      </p:sp>
      <p:sp>
        <p:nvSpPr>
          <p:cNvPr id="64" name="object 64"/>
          <p:cNvSpPr/>
          <p:nvPr/>
        </p:nvSpPr>
        <p:spPr>
          <a:xfrm>
            <a:off x="8093836" y="838200"/>
            <a:ext cx="157988" cy="1746250"/>
          </a:xfrm>
          <a:prstGeom prst="rect">
            <a:avLst/>
          </a:prstGeom>
          <a:blipFill>
            <a:blip r:embed="rId7" cstate="print"/>
            <a:stretch>
              <a:fillRect/>
            </a:stretch>
          </a:blipFill>
        </p:spPr>
        <p:txBody>
          <a:bodyPr wrap="square" lIns="0" tIns="0" rIns="0" bIns="0" rtlCol="0">
            <a:noAutofit/>
          </a:bodyPr>
          <a:lstStyle/>
          <a:p>
            <a:endParaRPr/>
          </a:p>
        </p:txBody>
      </p:sp>
      <p:sp>
        <p:nvSpPr>
          <p:cNvPr id="65" name="object 65"/>
          <p:cNvSpPr/>
          <p:nvPr/>
        </p:nvSpPr>
        <p:spPr>
          <a:xfrm>
            <a:off x="7620001" y="838201"/>
            <a:ext cx="631825" cy="157987"/>
          </a:xfrm>
          <a:prstGeom prst="rect">
            <a:avLst/>
          </a:prstGeom>
          <a:blipFill>
            <a:blip r:embed="rId8" cstate="print"/>
            <a:stretch>
              <a:fillRect/>
            </a:stretch>
          </a:blipFill>
        </p:spPr>
        <p:txBody>
          <a:bodyPr wrap="square" lIns="0" tIns="0" rIns="0" bIns="0" rtlCol="0">
            <a:noAutofit/>
          </a:bodyPr>
          <a:lstStyle/>
          <a:p>
            <a:endParaRPr/>
          </a:p>
        </p:txBody>
      </p:sp>
      <p:sp>
        <p:nvSpPr>
          <p:cNvPr id="66" name="object 66"/>
          <p:cNvSpPr/>
          <p:nvPr/>
        </p:nvSpPr>
        <p:spPr>
          <a:xfrm>
            <a:off x="7620001" y="838200"/>
            <a:ext cx="631825" cy="1746250"/>
          </a:xfrm>
          <a:custGeom>
            <a:avLst/>
            <a:gdLst/>
            <a:ahLst/>
            <a:cxnLst/>
            <a:rect l="l" t="t" r="r" b="b"/>
            <a:pathLst>
              <a:path w="631825" h="1746250">
                <a:moveTo>
                  <a:pt x="0" y="157987"/>
                </a:moveTo>
                <a:lnTo>
                  <a:pt x="157987" y="0"/>
                </a:lnTo>
                <a:lnTo>
                  <a:pt x="631825" y="0"/>
                </a:lnTo>
                <a:lnTo>
                  <a:pt x="631825" y="1588262"/>
                </a:lnTo>
                <a:lnTo>
                  <a:pt x="473836" y="1746250"/>
                </a:lnTo>
                <a:lnTo>
                  <a:pt x="0" y="1746250"/>
                </a:lnTo>
                <a:lnTo>
                  <a:pt x="0" y="157987"/>
                </a:lnTo>
                <a:close/>
              </a:path>
            </a:pathLst>
          </a:custGeom>
          <a:ln w="25400">
            <a:solidFill>
              <a:srgbClr val="000000"/>
            </a:solidFill>
          </a:ln>
        </p:spPr>
        <p:txBody>
          <a:bodyPr wrap="square" lIns="0" tIns="0" rIns="0" bIns="0" rtlCol="0">
            <a:noAutofit/>
          </a:bodyPr>
          <a:lstStyle/>
          <a:p>
            <a:endParaRPr/>
          </a:p>
        </p:txBody>
      </p:sp>
      <p:sp>
        <p:nvSpPr>
          <p:cNvPr id="67" name="object 67"/>
          <p:cNvSpPr/>
          <p:nvPr/>
        </p:nvSpPr>
        <p:spPr>
          <a:xfrm>
            <a:off x="7620001" y="838201"/>
            <a:ext cx="631825" cy="157987"/>
          </a:xfrm>
          <a:custGeom>
            <a:avLst/>
            <a:gdLst/>
            <a:ahLst/>
            <a:cxnLst/>
            <a:rect l="l" t="t" r="r" b="b"/>
            <a:pathLst>
              <a:path w="631825" h="157987">
                <a:moveTo>
                  <a:pt x="0" y="157987"/>
                </a:moveTo>
                <a:lnTo>
                  <a:pt x="473836" y="157987"/>
                </a:lnTo>
                <a:lnTo>
                  <a:pt x="631825" y="0"/>
                </a:lnTo>
              </a:path>
            </a:pathLst>
          </a:custGeom>
          <a:ln w="25399">
            <a:solidFill>
              <a:srgbClr val="000000"/>
            </a:solidFill>
          </a:ln>
        </p:spPr>
        <p:txBody>
          <a:bodyPr wrap="square" lIns="0" tIns="0" rIns="0" bIns="0" rtlCol="0">
            <a:noAutofit/>
          </a:bodyPr>
          <a:lstStyle/>
          <a:p>
            <a:endParaRPr/>
          </a:p>
        </p:txBody>
      </p:sp>
      <p:sp>
        <p:nvSpPr>
          <p:cNvPr id="68" name="object 68"/>
          <p:cNvSpPr/>
          <p:nvPr/>
        </p:nvSpPr>
        <p:spPr>
          <a:xfrm>
            <a:off x="8093836" y="996188"/>
            <a:ext cx="0" cy="1588262"/>
          </a:xfrm>
          <a:custGeom>
            <a:avLst/>
            <a:gdLst/>
            <a:ahLst/>
            <a:cxnLst/>
            <a:rect l="l" t="t" r="r" b="b"/>
            <a:pathLst>
              <a:path h="1588262">
                <a:moveTo>
                  <a:pt x="0" y="0"/>
                </a:moveTo>
                <a:lnTo>
                  <a:pt x="0" y="1588262"/>
                </a:lnTo>
              </a:path>
            </a:pathLst>
          </a:custGeom>
          <a:ln w="25400">
            <a:solidFill>
              <a:srgbClr val="000000"/>
            </a:solidFill>
          </a:ln>
        </p:spPr>
        <p:txBody>
          <a:bodyPr wrap="square" lIns="0" tIns="0" rIns="0" bIns="0" rtlCol="0">
            <a:noAutofit/>
          </a:bodyPr>
          <a:lstStyle/>
          <a:p>
            <a:endParaRPr/>
          </a:p>
        </p:txBody>
      </p:sp>
      <p:sp>
        <p:nvSpPr>
          <p:cNvPr id="5" name="object 5"/>
          <p:cNvSpPr txBox="1"/>
          <p:nvPr/>
        </p:nvSpPr>
        <p:spPr>
          <a:xfrm>
            <a:off x="1793406" y="1956562"/>
            <a:ext cx="9343153" cy="4665601"/>
          </a:xfrm>
          <a:prstGeom prst="rect">
            <a:avLst/>
          </a:prstGeom>
        </p:spPr>
        <p:txBody>
          <a:bodyPr wrap="square" lIns="0" tIns="0" rIns="0" bIns="0" rtlCol="0">
            <a:noAutofit/>
          </a:bodyPr>
          <a:lstStyle/>
          <a:p>
            <a:pPr marL="12700">
              <a:lnSpc>
                <a:spcPts val="1939"/>
              </a:lnSpc>
              <a:spcBef>
                <a:spcPts val="97"/>
              </a:spcBef>
            </a:pPr>
            <a:endParaRPr lang="en-US" dirty="0">
              <a:cs typeface="Arial"/>
            </a:endParaRPr>
          </a:p>
          <a:p>
            <a:pPr marL="355600" marR="39430" indent="-342900">
              <a:spcBef>
                <a:spcPts val="97"/>
              </a:spcBef>
              <a:buClr>
                <a:srgbClr val="00B0F0"/>
              </a:buClr>
              <a:buFont typeface="Wingdings" panose="05000000000000000000" pitchFamily="2" charset="2"/>
              <a:buChar char="§"/>
            </a:pPr>
            <a:r>
              <a:rPr dirty="0">
                <a:cs typeface="Arial"/>
              </a:rPr>
              <a:t>Picking is the process of selecting the </a:t>
            </a:r>
            <a:endParaRPr lang="en-US" dirty="0">
              <a:cs typeface="Arial"/>
            </a:endParaRPr>
          </a:p>
          <a:p>
            <a:pPr marL="12700" marR="39430">
              <a:spcBef>
                <a:spcPts val="97"/>
              </a:spcBef>
              <a:buClr>
                <a:srgbClr val="00B0F0"/>
              </a:buClr>
            </a:pPr>
            <a:r>
              <a:rPr lang="en-US" dirty="0">
                <a:cs typeface="Arial"/>
              </a:rPr>
              <a:t>    </a:t>
            </a:r>
            <a:r>
              <a:rPr dirty="0">
                <a:cs typeface="Arial"/>
              </a:rPr>
              <a:t>correct</a:t>
            </a:r>
            <a:r>
              <a:rPr lang="en-US" dirty="0">
                <a:cs typeface="Arial"/>
              </a:rPr>
              <a:t> quantity</a:t>
            </a:r>
            <a:r>
              <a:rPr dirty="0">
                <a:cs typeface="Arial"/>
              </a:rPr>
              <a:t> of goods for shipping </a:t>
            </a:r>
            <a:endParaRPr lang="en-US" dirty="0">
              <a:cs typeface="Arial"/>
            </a:endParaRPr>
          </a:p>
          <a:p>
            <a:pPr marL="12700" marR="39430">
              <a:spcBef>
                <a:spcPts val="97"/>
              </a:spcBef>
              <a:buClr>
                <a:srgbClr val="00B0F0"/>
              </a:buClr>
            </a:pPr>
            <a:r>
              <a:rPr lang="en-US" dirty="0">
                <a:cs typeface="Arial"/>
              </a:rPr>
              <a:t>    </a:t>
            </a:r>
            <a:r>
              <a:rPr dirty="0">
                <a:cs typeface="Arial"/>
              </a:rPr>
              <a:t>on schedule to fulfill a customer order</a:t>
            </a:r>
            <a:endParaRPr lang="en-US" b="1" dirty="0">
              <a:cs typeface="Arial"/>
            </a:endParaRPr>
          </a:p>
          <a:p>
            <a:pPr marL="355600" marR="39430" indent="-342900">
              <a:spcBef>
                <a:spcPts val="97"/>
              </a:spcBef>
              <a:buClr>
                <a:srgbClr val="00B0F0"/>
              </a:buClr>
              <a:buFont typeface="Wingdings" panose="05000000000000000000" pitchFamily="2" charset="2"/>
              <a:buChar char="§"/>
            </a:pPr>
            <a:r>
              <a:rPr lang="en-US" dirty="0">
                <a:cs typeface="Arial"/>
              </a:rPr>
              <a:t>Standa</a:t>
            </a:r>
            <a:r>
              <a:rPr lang="en-US" spc="-4" dirty="0">
                <a:cs typeface="Arial"/>
              </a:rPr>
              <a:t>r</a:t>
            </a:r>
            <a:r>
              <a:rPr lang="en-US" dirty="0">
                <a:cs typeface="Arial"/>
              </a:rPr>
              <a:t>d SD</a:t>
            </a:r>
            <a:r>
              <a:rPr lang="en-US" spc="-4" dirty="0">
                <a:cs typeface="Arial"/>
              </a:rPr>
              <a:t> </a:t>
            </a:r>
            <a:r>
              <a:rPr lang="en-US" dirty="0">
                <a:cs typeface="Arial"/>
              </a:rPr>
              <a:t>S</a:t>
            </a:r>
            <a:r>
              <a:rPr lang="en-US" spc="4" dirty="0">
                <a:cs typeface="Arial"/>
              </a:rPr>
              <a:t>h</a:t>
            </a:r>
            <a:r>
              <a:rPr lang="en-US" dirty="0">
                <a:cs typeface="Arial"/>
              </a:rPr>
              <a:t>i</a:t>
            </a:r>
            <a:r>
              <a:rPr lang="en-US" spc="4" dirty="0">
                <a:cs typeface="Arial"/>
              </a:rPr>
              <a:t>p</a:t>
            </a:r>
            <a:r>
              <a:rPr lang="en-US" dirty="0">
                <a:cs typeface="Arial"/>
              </a:rPr>
              <a:t>p</a:t>
            </a:r>
            <a:r>
              <a:rPr lang="en-US" spc="4" dirty="0">
                <a:cs typeface="Arial"/>
              </a:rPr>
              <a:t>i</a:t>
            </a:r>
            <a:r>
              <a:rPr lang="en-US" dirty="0">
                <a:cs typeface="Arial"/>
              </a:rPr>
              <a:t>ng</a:t>
            </a:r>
            <a:r>
              <a:rPr lang="en-US" spc="-25" dirty="0">
                <a:cs typeface="Arial"/>
              </a:rPr>
              <a:t> </a:t>
            </a:r>
            <a:r>
              <a:rPr lang="en-US" dirty="0">
                <a:cs typeface="Arial"/>
              </a:rPr>
              <a:t>(S</a:t>
            </a:r>
            <a:r>
              <a:rPr lang="en-US" spc="9" dirty="0">
                <a:cs typeface="Arial"/>
              </a:rPr>
              <a:t>D</a:t>
            </a:r>
            <a:r>
              <a:rPr lang="en-US" dirty="0">
                <a:cs typeface="Arial"/>
              </a:rPr>
              <a:t>-SHP) p</a:t>
            </a:r>
            <a:r>
              <a:rPr lang="en-US" spc="4" dirty="0">
                <a:cs typeface="Arial"/>
              </a:rPr>
              <a:t>i</a:t>
            </a:r>
            <a:r>
              <a:rPr lang="en-US" dirty="0">
                <a:cs typeface="Arial"/>
              </a:rPr>
              <a:t>c</a:t>
            </a:r>
            <a:r>
              <a:rPr lang="en-US" spc="-9" dirty="0">
                <a:cs typeface="Arial"/>
              </a:rPr>
              <a:t>k</a:t>
            </a:r>
            <a:r>
              <a:rPr lang="en-US" dirty="0">
                <a:cs typeface="Arial"/>
              </a:rPr>
              <a:t>i</a:t>
            </a:r>
            <a:r>
              <a:rPr lang="en-US" spc="4" dirty="0">
                <a:cs typeface="Arial"/>
              </a:rPr>
              <a:t>n</a:t>
            </a:r>
            <a:r>
              <a:rPr lang="en-US" dirty="0">
                <a:cs typeface="Arial"/>
              </a:rPr>
              <a:t>g functi</a:t>
            </a:r>
            <a:r>
              <a:rPr lang="en-US" spc="4" dirty="0">
                <a:cs typeface="Arial"/>
              </a:rPr>
              <a:t>o</a:t>
            </a:r>
            <a:r>
              <a:rPr lang="en-US" dirty="0">
                <a:cs typeface="Arial"/>
              </a:rPr>
              <a:t>nal</a:t>
            </a:r>
            <a:r>
              <a:rPr lang="en-US" spc="4" dirty="0">
                <a:cs typeface="Arial"/>
              </a:rPr>
              <a:t>i</a:t>
            </a:r>
            <a:r>
              <a:rPr lang="en-US" dirty="0">
                <a:cs typeface="Arial"/>
              </a:rPr>
              <a:t>ty</a:t>
            </a:r>
            <a:r>
              <a:rPr lang="en-US" spc="-25" dirty="0">
                <a:cs typeface="Arial"/>
              </a:rPr>
              <a:t> </a:t>
            </a:r>
            <a:r>
              <a:rPr lang="en-US" dirty="0">
                <a:cs typeface="Arial"/>
              </a:rPr>
              <a:t>i</a:t>
            </a:r>
            <a:r>
              <a:rPr lang="en-US" spc="4" dirty="0">
                <a:cs typeface="Arial"/>
              </a:rPr>
              <a:t>n</a:t>
            </a:r>
            <a:r>
              <a:rPr lang="en-US" dirty="0">
                <a:cs typeface="Arial"/>
              </a:rPr>
              <a:t>clu</a:t>
            </a:r>
            <a:r>
              <a:rPr lang="en-US" spc="4" dirty="0">
                <a:cs typeface="Arial"/>
              </a:rPr>
              <a:t>d</a:t>
            </a:r>
            <a:r>
              <a:rPr lang="en-US" dirty="0">
                <a:cs typeface="Arial"/>
              </a:rPr>
              <a:t>e</a:t>
            </a:r>
            <a:r>
              <a:rPr lang="en-US" spc="-9" dirty="0">
                <a:cs typeface="Arial"/>
              </a:rPr>
              <a:t>s</a:t>
            </a:r>
            <a:r>
              <a:rPr lang="en-US" dirty="0">
                <a:cs typeface="Arial"/>
              </a:rPr>
              <a:t>:</a:t>
            </a:r>
          </a:p>
          <a:p>
            <a:pPr marL="812800" lvl="1" indent="-342900">
              <a:spcBef>
                <a:spcPts val="107"/>
              </a:spcBef>
              <a:buClr>
                <a:srgbClr val="C00000"/>
              </a:buClr>
              <a:buFont typeface="Wingdings" panose="05000000000000000000" pitchFamily="2" charset="2"/>
              <a:buChar char="§"/>
            </a:pPr>
            <a:r>
              <a:rPr lang="en-US" spc="-9" dirty="0">
                <a:cs typeface="Arial"/>
              </a:rPr>
              <a:t>Picking on Demand: This is the manual process of entering a picking quantity on the delivery document itself</a:t>
            </a:r>
          </a:p>
          <a:p>
            <a:pPr marL="812800" marR="109778" lvl="1" indent="-342900">
              <a:spcBef>
                <a:spcPts val="107"/>
              </a:spcBef>
              <a:buClr>
                <a:srgbClr val="C00000"/>
              </a:buClr>
              <a:buFont typeface="Wingdings" panose="05000000000000000000" pitchFamily="2" charset="2"/>
              <a:buChar char="§"/>
            </a:pPr>
            <a:r>
              <a:rPr lang="en-US" spc="-9" dirty="0">
                <a:cs typeface="Arial"/>
              </a:rPr>
              <a:t>Printing of Picking Lists (a list of all delivery items that are due to be picked). You can generate Individual pick lists and collective pick lists</a:t>
            </a:r>
            <a:endParaRPr lang="en-US" dirty="0">
              <a:cs typeface="Arial"/>
            </a:endParaRPr>
          </a:p>
          <a:p>
            <a:pPr marL="355600" marR="39430" indent="-342900">
              <a:spcBef>
                <a:spcPts val="97"/>
              </a:spcBef>
              <a:buClr>
                <a:srgbClr val="00B0F0"/>
              </a:buClr>
              <a:buFont typeface="Wingdings" panose="05000000000000000000" pitchFamily="2" charset="2"/>
              <a:buChar char="§"/>
            </a:pPr>
            <a:r>
              <a:rPr lang="en-US" dirty="0">
                <a:cs typeface="Arial"/>
              </a:rPr>
              <a:t>Because picking is carried out from a specific storage location, you need to identify a storage location at delivery time for delivery-relevant materials. The storage location is where the goods are issued from stock</a:t>
            </a:r>
          </a:p>
          <a:p>
            <a:pPr marL="469900" marR="109778">
              <a:lnSpc>
                <a:spcPct val="100041"/>
              </a:lnSpc>
              <a:spcBef>
                <a:spcPts val="90"/>
              </a:spcBef>
            </a:pPr>
            <a:endParaRPr lang="en-US" dirty="0">
              <a:latin typeface="Arial"/>
              <a:cs typeface="Arial"/>
            </a:endParaRPr>
          </a:p>
          <a:p>
            <a:pPr marL="12700">
              <a:lnSpc>
                <a:spcPts val="1939"/>
              </a:lnSpc>
              <a:spcBef>
                <a:spcPts val="97"/>
              </a:spcBef>
            </a:pPr>
            <a:endParaRPr dirty="0">
              <a:latin typeface="Arial"/>
              <a:cs typeface="Arial"/>
            </a:endParaRPr>
          </a:p>
        </p:txBody>
      </p:sp>
      <p:sp>
        <p:nvSpPr>
          <p:cNvPr id="4" name="object 4"/>
          <p:cNvSpPr txBox="1"/>
          <p:nvPr/>
        </p:nvSpPr>
        <p:spPr>
          <a:xfrm>
            <a:off x="1831341" y="3172897"/>
            <a:ext cx="8312057" cy="1351533"/>
          </a:xfrm>
          <a:prstGeom prst="rect">
            <a:avLst/>
          </a:prstGeom>
        </p:spPr>
        <p:txBody>
          <a:bodyPr wrap="square" lIns="0" tIns="0" rIns="0" bIns="0" rtlCol="0">
            <a:noAutofit/>
          </a:bodyPr>
          <a:lstStyle/>
          <a:p>
            <a:pPr marL="12700" marR="39430">
              <a:lnSpc>
                <a:spcPts val="1939"/>
              </a:lnSpc>
              <a:spcBef>
                <a:spcPts val="97"/>
              </a:spcBef>
            </a:pPr>
            <a:endParaRPr dirty="0">
              <a:latin typeface="Arial"/>
              <a:cs typeface="Arial"/>
            </a:endParaRPr>
          </a:p>
        </p:txBody>
      </p:sp>
      <p:sp>
        <p:nvSpPr>
          <p:cNvPr id="2" name="Title 1"/>
          <p:cNvSpPr>
            <a:spLocks noGrp="1"/>
          </p:cNvSpPr>
          <p:nvPr>
            <p:ph type="title"/>
          </p:nvPr>
        </p:nvSpPr>
        <p:spPr>
          <a:xfrm>
            <a:off x="1831341" y="302733"/>
            <a:ext cx="8509933" cy="859536"/>
          </a:xfrm>
        </p:spPr>
        <p:txBody>
          <a:bodyPr/>
          <a:lstStyle/>
          <a:p>
            <a:r>
              <a:rPr lang="en-US" sz="2400" dirty="0">
                <a:latin typeface="+mn-lt"/>
                <a:cs typeface="Arial"/>
              </a:rPr>
              <a:t>Picking</a:t>
            </a:r>
            <a:br>
              <a:rPr lang="en-US" sz="2800" dirty="0">
                <a:latin typeface="Arial"/>
                <a:cs typeface="Arial"/>
              </a:rPr>
            </a:b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p:nvPr/>
        </p:nvSpPr>
        <p:spPr>
          <a:xfrm>
            <a:off x="8778303" y="1941714"/>
            <a:ext cx="36647" cy="2108"/>
          </a:xfrm>
          <a:custGeom>
            <a:avLst/>
            <a:gdLst/>
            <a:ahLst/>
            <a:cxnLst/>
            <a:rect l="l" t="t" r="r" b="b"/>
            <a:pathLst>
              <a:path w="36647" h="2108">
                <a:moveTo>
                  <a:pt x="36647" y="0"/>
                </a:moveTo>
                <a:lnTo>
                  <a:pt x="0" y="0"/>
                </a:lnTo>
                <a:lnTo>
                  <a:pt x="4310" y="1054"/>
                </a:lnTo>
                <a:lnTo>
                  <a:pt x="14020" y="1054"/>
                </a:lnTo>
                <a:lnTo>
                  <a:pt x="19405" y="2108"/>
                </a:lnTo>
                <a:lnTo>
                  <a:pt x="24804" y="1054"/>
                </a:lnTo>
                <a:lnTo>
                  <a:pt x="31263" y="1054"/>
                </a:lnTo>
                <a:lnTo>
                  <a:pt x="36647" y="0"/>
                </a:lnTo>
                <a:close/>
              </a:path>
            </a:pathLst>
          </a:custGeom>
          <a:solidFill>
            <a:srgbClr val="000000"/>
          </a:solidFill>
        </p:spPr>
        <p:txBody>
          <a:bodyPr wrap="square" lIns="0" tIns="0" rIns="0" bIns="0" rtlCol="0">
            <a:noAutofit/>
          </a:bodyPr>
          <a:lstStyle/>
          <a:p>
            <a:endParaRPr/>
          </a:p>
        </p:txBody>
      </p:sp>
      <p:sp>
        <p:nvSpPr>
          <p:cNvPr id="9" name="object 9"/>
          <p:cNvSpPr/>
          <p:nvPr/>
        </p:nvSpPr>
        <p:spPr>
          <a:xfrm>
            <a:off x="7922439" y="921146"/>
            <a:ext cx="1834599" cy="2058065"/>
          </a:xfrm>
          <a:custGeom>
            <a:avLst/>
            <a:gdLst/>
            <a:ahLst/>
            <a:cxnLst/>
            <a:rect l="l" t="t" r="r" b="b"/>
            <a:pathLst>
              <a:path w="1834599" h="2058065">
                <a:moveTo>
                  <a:pt x="171385" y="825971"/>
                </a:moveTo>
                <a:lnTo>
                  <a:pt x="170312" y="824917"/>
                </a:lnTo>
                <a:lnTo>
                  <a:pt x="160616" y="824917"/>
                </a:lnTo>
                <a:lnTo>
                  <a:pt x="151980" y="827026"/>
                </a:lnTo>
                <a:lnTo>
                  <a:pt x="144440" y="833380"/>
                </a:lnTo>
                <a:lnTo>
                  <a:pt x="139051" y="841828"/>
                </a:lnTo>
                <a:lnTo>
                  <a:pt x="137973" y="850291"/>
                </a:lnTo>
                <a:lnTo>
                  <a:pt x="140130" y="857699"/>
                </a:lnTo>
                <a:lnTo>
                  <a:pt x="144440" y="864039"/>
                </a:lnTo>
                <a:lnTo>
                  <a:pt x="151980" y="869339"/>
                </a:lnTo>
                <a:lnTo>
                  <a:pt x="151980" y="870393"/>
                </a:lnTo>
                <a:lnTo>
                  <a:pt x="156291" y="872501"/>
                </a:lnTo>
                <a:lnTo>
                  <a:pt x="185406" y="880964"/>
                </a:lnTo>
                <a:lnTo>
                  <a:pt x="68987" y="987787"/>
                </a:lnTo>
                <a:lnTo>
                  <a:pt x="114259" y="988841"/>
                </a:lnTo>
                <a:lnTo>
                  <a:pt x="219891" y="890481"/>
                </a:lnTo>
                <a:lnTo>
                  <a:pt x="376192" y="935957"/>
                </a:lnTo>
                <a:lnTo>
                  <a:pt x="380503" y="937025"/>
                </a:lnTo>
                <a:lnTo>
                  <a:pt x="380503" y="935957"/>
                </a:lnTo>
                <a:lnTo>
                  <a:pt x="389124" y="934902"/>
                </a:lnTo>
                <a:lnTo>
                  <a:pt x="396671" y="932794"/>
                </a:lnTo>
                <a:lnTo>
                  <a:pt x="403145" y="927494"/>
                </a:lnTo>
                <a:lnTo>
                  <a:pt x="406381" y="920100"/>
                </a:lnTo>
                <a:lnTo>
                  <a:pt x="407455" y="915869"/>
                </a:lnTo>
                <a:lnTo>
                  <a:pt x="407455" y="911637"/>
                </a:lnTo>
                <a:lnTo>
                  <a:pt x="415003" y="916923"/>
                </a:lnTo>
                <a:lnTo>
                  <a:pt x="422550" y="923263"/>
                </a:lnTo>
                <a:lnTo>
                  <a:pt x="431171" y="928563"/>
                </a:lnTo>
                <a:lnTo>
                  <a:pt x="439792" y="933848"/>
                </a:lnTo>
                <a:lnTo>
                  <a:pt x="448414" y="939134"/>
                </a:lnTo>
                <a:lnTo>
                  <a:pt x="457035" y="944419"/>
                </a:lnTo>
                <a:lnTo>
                  <a:pt x="465656" y="948651"/>
                </a:lnTo>
                <a:lnTo>
                  <a:pt x="472130" y="952882"/>
                </a:lnTo>
                <a:lnTo>
                  <a:pt x="478603" y="956059"/>
                </a:lnTo>
                <a:lnTo>
                  <a:pt x="486135" y="957113"/>
                </a:lnTo>
                <a:lnTo>
                  <a:pt x="493683" y="956059"/>
                </a:lnTo>
                <a:lnTo>
                  <a:pt x="501230" y="952882"/>
                </a:lnTo>
                <a:lnTo>
                  <a:pt x="502304" y="956059"/>
                </a:lnTo>
                <a:lnTo>
                  <a:pt x="504467" y="959222"/>
                </a:lnTo>
                <a:lnTo>
                  <a:pt x="505541" y="962399"/>
                </a:lnTo>
                <a:lnTo>
                  <a:pt x="507703" y="964522"/>
                </a:lnTo>
                <a:lnTo>
                  <a:pt x="514162" y="967684"/>
                </a:lnTo>
                <a:lnTo>
                  <a:pt x="521709" y="968753"/>
                </a:lnTo>
                <a:lnTo>
                  <a:pt x="530330" y="965576"/>
                </a:lnTo>
                <a:lnTo>
                  <a:pt x="537878" y="960290"/>
                </a:lnTo>
                <a:lnTo>
                  <a:pt x="547588" y="967684"/>
                </a:lnTo>
                <a:lnTo>
                  <a:pt x="555135" y="972970"/>
                </a:lnTo>
                <a:lnTo>
                  <a:pt x="559446" y="976147"/>
                </a:lnTo>
                <a:lnTo>
                  <a:pt x="557283" y="980378"/>
                </a:lnTo>
                <a:lnTo>
                  <a:pt x="554046" y="983555"/>
                </a:lnTo>
                <a:lnTo>
                  <a:pt x="550824" y="987787"/>
                </a:lnTo>
                <a:lnTo>
                  <a:pt x="549736" y="990949"/>
                </a:lnTo>
                <a:lnTo>
                  <a:pt x="551898" y="995180"/>
                </a:lnTo>
                <a:lnTo>
                  <a:pt x="557283" y="998358"/>
                </a:lnTo>
                <a:lnTo>
                  <a:pt x="566993" y="999412"/>
                </a:lnTo>
                <a:lnTo>
                  <a:pt x="578851" y="998358"/>
                </a:lnTo>
                <a:lnTo>
                  <a:pt x="587472" y="994126"/>
                </a:lnTo>
                <a:lnTo>
                  <a:pt x="593931" y="988841"/>
                </a:lnTo>
                <a:lnTo>
                  <a:pt x="598241" y="981432"/>
                </a:lnTo>
                <a:lnTo>
                  <a:pt x="600404" y="974039"/>
                </a:lnTo>
                <a:lnTo>
                  <a:pt x="600404" y="966630"/>
                </a:lnTo>
                <a:lnTo>
                  <a:pt x="598241" y="960290"/>
                </a:lnTo>
                <a:lnTo>
                  <a:pt x="592857" y="956059"/>
                </a:lnTo>
                <a:lnTo>
                  <a:pt x="590694" y="954990"/>
                </a:lnTo>
                <a:lnTo>
                  <a:pt x="587472" y="953936"/>
                </a:lnTo>
                <a:lnTo>
                  <a:pt x="584236" y="951828"/>
                </a:lnTo>
                <a:lnTo>
                  <a:pt x="579925" y="949705"/>
                </a:lnTo>
                <a:lnTo>
                  <a:pt x="574525" y="947596"/>
                </a:lnTo>
                <a:lnTo>
                  <a:pt x="570215" y="945473"/>
                </a:lnTo>
                <a:lnTo>
                  <a:pt x="563756" y="943365"/>
                </a:lnTo>
                <a:lnTo>
                  <a:pt x="558357" y="940188"/>
                </a:lnTo>
                <a:lnTo>
                  <a:pt x="564830" y="931725"/>
                </a:lnTo>
                <a:lnTo>
                  <a:pt x="570215" y="925386"/>
                </a:lnTo>
                <a:lnTo>
                  <a:pt x="574525" y="921154"/>
                </a:lnTo>
                <a:lnTo>
                  <a:pt x="575614" y="919046"/>
                </a:lnTo>
                <a:lnTo>
                  <a:pt x="587472" y="923263"/>
                </a:lnTo>
                <a:lnTo>
                  <a:pt x="607951" y="929617"/>
                </a:lnTo>
                <a:lnTo>
                  <a:pt x="619809" y="928563"/>
                </a:lnTo>
                <a:lnTo>
                  <a:pt x="626268" y="925386"/>
                </a:lnTo>
                <a:lnTo>
                  <a:pt x="630578" y="917977"/>
                </a:lnTo>
                <a:lnTo>
                  <a:pt x="633815" y="908460"/>
                </a:lnTo>
                <a:lnTo>
                  <a:pt x="634889" y="902121"/>
                </a:lnTo>
                <a:lnTo>
                  <a:pt x="633815" y="893658"/>
                </a:lnTo>
                <a:lnTo>
                  <a:pt x="631667" y="886250"/>
                </a:lnTo>
                <a:lnTo>
                  <a:pt x="629504" y="879910"/>
                </a:lnTo>
                <a:lnTo>
                  <a:pt x="632741" y="876733"/>
                </a:lnTo>
                <a:lnTo>
                  <a:pt x="637052" y="873570"/>
                </a:lnTo>
                <a:lnTo>
                  <a:pt x="641362" y="869339"/>
                </a:lnTo>
                <a:lnTo>
                  <a:pt x="645673" y="866162"/>
                </a:lnTo>
                <a:lnTo>
                  <a:pt x="651058" y="862985"/>
                </a:lnTo>
                <a:lnTo>
                  <a:pt x="655383" y="859807"/>
                </a:lnTo>
                <a:lnTo>
                  <a:pt x="659694" y="856645"/>
                </a:lnTo>
                <a:lnTo>
                  <a:pt x="662916" y="854522"/>
                </a:lnTo>
                <a:lnTo>
                  <a:pt x="676936" y="846059"/>
                </a:lnTo>
                <a:lnTo>
                  <a:pt x="697415" y="834434"/>
                </a:lnTo>
                <a:lnTo>
                  <a:pt x="722205" y="822794"/>
                </a:lnTo>
                <a:lnTo>
                  <a:pt x="749158" y="810100"/>
                </a:lnTo>
                <a:lnTo>
                  <a:pt x="776110" y="797421"/>
                </a:lnTo>
                <a:lnTo>
                  <a:pt x="800900" y="786835"/>
                </a:lnTo>
                <a:lnTo>
                  <a:pt x="820305" y="777319"/>
                </a:lnTo>
                <a:lnTo>
                  <a:pt x="832148" y="770979"/>
                </a:lnTo>
                <a:lnTo>
                  <a:pt x="840785" y="766748"/>
                </a:lnTo>
                <a:lnTo>
                  <a:pt x="849406" y="762516"/>
                </a:lnTo>
                <a:lnTo>
                  <a:pt x="859101" y="758285"/>
                </a:lnTo>
                <a:lnTo>
                  <a:pt x="867722" y="754054"/>
                </a:lnTo>
                <a:lnTo>
                  <a:pt x="877432" y="747714"/>
                </a:lnTo>
                <a:lnTo>
                  <a:pt x="886054" y="739251"/>
                </a:lnTo>
                <a:lnTo>
                  <a:pt x="893601" y="727611"/>
                </a:lnTo>
                <a:lnTo>
                  <a:pt x="900059" y="712809"/>
                </a:lnTo>
                <a:lnTo>
                  <a:pt x="907607" y="689544"/>
                </a:lnTo>
                <a:lnTo>
                  <a:pt x="916228" y="667333"/>
                </a:lnTo>
                <a:lnTo>
                  <a:pt x="923775" y="645123"/>
                </a:lnTo>
                <a:lnTo>
                  <a:pt x="932396" y="625035"/>
                </a:lnTo>
                <a:lnTo>
                  <a:pt x="938870" y="607055"/>
                </a:lnTo>
                <a:lnTo>
                  <a:pt x="944254" y="593307"/>
                </a:lnTo>
                <a:lnTo>
                  <a:pt x="948565" y="584771"/>
                </a:lnTo>
                <a:lnTo>
                  <a:pt x="949654" y="581697"/>
                </a:lnTo>
                <a:lnTo>
                  <a:pt x="1022949" y="656762"/>
                </a:lnTo>
                <a:lnTo>
                  <a:pt x="1058523" y="758285"/>
                </a:lnTo>
                <a:lnTo>
                  <a:pt x="1002470" y="824917"/>
                </a:lnTo>
                <a:lnTo>
                  <a:pt x="911917" y="887318"/>
                </a:lnTo>
                <a:lnTo>
                  <a:pt x="908695" y="888373"/>
                </a:lnTo>
                <a:lnTo>
                  <a:pt x="898985" y="891535"/>
                </a:lnTo>
                <a:lnTo>
                  <a:pt x="886054" y="895766"/>
                </a:lnTo>
                <a:lnTo>
                  <a:pt x="869885" y="901066"/>
                </a:lnTo>
                <a:lnTo>
                  <a:pt x="851554" y="906352"/>
                </a:lnTo>
                <a:lnTo>
                  <a:pt x="834311" y="910583"/>
                </a:lnTo>
                <a:lnTo>
                  <a:pt x="819217" y="913746"/>
                </a:lnTo>
                <a:lnTo>
                  <a:pt x="806285" y="914815"/>
                </a:lnTo>
                <a:lnTo>
                  <a:pt x="794427" y="916923"/>
                </a:lnTo>
                <a:lnTo>
                  <a:pt x="781495" y="924331"/>
                </a:lnTo>
                <a:lnTo>
                  <a:pt x="768563" y="932794"/>
                </a:lnTo>
                <a:lnTo>
                  <a:pt x="755616" y="943365"/>
                </a:lnTo>
                <a:lnTo>
                  <a:pt x="744847" y="954990"/>
                </a:lnTo>
                <a:lnTo>
                  <a:pt x="735137" y="963453"/>
                </a:lnTo>
                <a:lnTo>
                  <a:pt x="728679" y="970861"/>
                </a:lnTo>
                <a:lnTo>
                  <a:pt x="726516" y="972970"/>
                </a:lnTo>
                <a:lnTo>
                  <a:pt x="723279" y="1013160"/>
                </a:lnTo>
                <a:lnTo>
                  <a:pt x="896838" y="1019514"/>
                </a:lnTo>
                <a:lnTo>
                  <a:pt x="900059" y="1019514"/>
                </a:lnTo>
                <a:lnTo>
                  <a:pt x="901148" y="1018460"/>
                </a:lnTo>
                <a:lnTo>
                  <a:pt x="909769" y="1014229"/>
                </a:lnTo>
                <a:lnTo>
                  <a:pt x="919465" y="1006820"/>
                </a:lnTo>
                <a:lnTo>
                  <a:pt x="929175" y="999412"/>
                </a:lnTo>
                <a:lnTo>
                  <a:pt x="937796" y="989895"/>
                </a:lnTo>
                <a:lnTo>
                  <a:pt x="945343" y="982501"/>
                </a:lnTo>
                <a:lnTo>
                  <a:pt x="951802" y="975093"/>
                </a:lnTo>
                <a:lnTo>
                  <a:pt x="956112" y="970861"/>
                </a:lnTo>
                <a:lnTo>
                  <a:pt x="957201" y="968753"/>
                </a:lnTo>
                <a:lnTo>
                  <a:pt x="1066070" y="911637"/>
                </a:lnTo>
                <a:lnTo>
                  <a:pt x="1064982" y="912692"/>
                </a:lnTo>
                <a:lnTo>
                  <a:pt x="1063908" y="915869"/>
                </a:lnTo>
                <a:lnTo>
                  <a:pt x="1060671" y="921154"/>
                </a:lnTo>
                <a:lnTo>
                  <a:pt x="1056360" y="927494"/>
                </a:lnTo>
                <a:lnTo>
                  <a:pt x="1052050" y="935957"/>
                </a:lnTo>
                <a:lnTo>
                  <a:pt x="1045591" y="944419"/>
                </a:lnTo>
                <a:lnTo>
                  <a:pt x="1040192" y="953936"/>
                </a:lnTo>
                <a:lnTo>
                  <a:pt x="1032644" y="964522"/>
                </a:lnTo>
                <a:lnTo>
                  <a:pt x="1028334" y="969807"/>
                </a:lnTo>
                <a:lnTo>
                  <a:pt x="1024023" y="974039"/>
                </a:lnTo>
                <a:lnTo>
                  <a:pt x="1019713" y="979324"/>
                </a:lnTo>
                <a:lnTo>
                  <a:pt x="1014328" y="983555"/>
                </a:lnTo>
                <a:lnTo>
                  <a:pt x="1008929" y="988841"/>
                </a:lnTo>
                <a:lnTo>
                  <a:pt x="1003544" y="994126"/>
                </a:lnTo>
                <a:lnTo>
                  <a:pt x="999233" y="999412"/>
                </a:lnTo>
                <a:lnTo>
                  <a:pt x="994923" y="1004697"/>
                </a:lnTo>
                <a:lnTo>
                  <a:pt x="989538" y="1012106"/>
                </a:lnTo>
                <a:lnTo>
                  <a:pt x="984139" y="1020568"/>
                </a:lnTo>
                <a:lnTo>
                  <a:pt x="977680" y="1027977"/>
                </a:lnTo>
                <a:lnTo>
                  <a:pt x="972281" y="1036425"/>
                </a:lnTo>
                <a:lnTo>
                  <a:pt x="966896" y="1043833"/>
                </a:lnTo>
                <a:lnTo>
                  <a:pt x="962586" y="1049119"/>
                </a:lnTo>
                <a:lnTo>
                  <a:pt x="959349" y="1053350"/>
                </a:lnTo>
                <a:lnTo>
                  <a:pt x="958275" y="1054404"/>
                </a:lnTo>
                <a:lnTo>
                  <a:pt x="827838" y="1054404"/>
                </a:lnTo>
                <a:lnTo>
                  <a:pt x="844006" y="1020568"/>
                </a:lnTo>
                <a:lnTo>
                  <a:pt x="723279" y="1018460"/>
                </a:lnTo>
                <a:lnTo>
                  <a:pt x="720057" y="1050188"/>
                </a:lnTo>
                <a:lnTo>
                  <a:pt x="49584" y="1050188"/>
                </a:lnTo>
                <a:lnTo>
                  <a:pt x="93779" y="1007874"/>
                </a:lnTo>
                <a:lnTo>
                  <a:pt x="46351" y="1007874"/>
                </a:lnTo>
                <a:lnTo>
                  <a:pt x="0" y="1050188"/>
                </a:lnTo>
                <a:lnTo>
                  <a:pt x="0" y="2058065"/>
                </a:lnTo>
                <a:lnTo>
                  <a:pt x="998159" y="2058065"/>
                </a:lnTo>
                <a:lnTo>
                  <a:pt x="998159" y="1569455"/>
                </a:lnTo>
                <a:lnTo>
                  <a:pt x="1004618" y="1538781"/>
                </a:lnTo>
                <a:lnTo>
                  <a:pt x="1010017" y="1514462"/>
                </a:lnTo>
                <a:lnTo>
                  <a:pt x="1013239" y="1499660"/>
                </a:lnTo>
                <a:lnTo>
                  <a:pt x="1014328" y="1494374"/>
                </a:lnTo>
                <a:lnTo>
                  <a:pt x="1210513" y="1221505"/>
                </a:lnTo>
                <a:lnTo>
                  <a:pt x="1213735" y="1234199"/>
                </a:lnTo>
                <a:lnTo>
                  <a:pt x="1221283" y="1271212"/>
                </a:lnTo>
                <a:lnTo>
                  <a:pt x="1228830" y="1332559"/>
                </a:lnTo>
                <a:lnTo>
                  <a:pt x="1230993" y="1418225"/>
                </a:lnTo>
                <a:lnTo>
                  <a:pt x="1232067" y="1427742"/>
                </a:lnTo>
                <a:lnTo>
                  <a:pt x="1236377" y="1439367"/>
                </a:lnTo>
                <a:lnTo>
                  <a:pt x="1241762" y="1452061"/>
                </a:lnTo>
                <a:lnTo>
                  <a:pt x="1249309" y="1464755"/>
                </a:lnTo>
                <a:lnTo>
                  <a:pt x="1255782" y="1476395"/>
                </a:lnTo>
                <a:lnTo>
                  <a:pt x="1262241" y="1486966"/>
                </a:lnTo>
                <a:lnTo>
                  <a:pt x="1265478" y="1493305"/>
                </a:lnTo>
                <a:lnTo>
                  <a:pt x="1267640" y="1495428"/>
                </a:lnTo>
                <a:lnTo>
                  <a:pt x="1270877" y="1498606"/>
                </a:lnTo>
                <a:lnTo>
                  <a:pt x="1279498" y="1507054"/>
                </a:lnTo>
                <a:lnTo>
                  <a:pt x="1293504" y="1519747"/>
                </a:lnTo>
                <a:lnTo>
                  <a:pt x="1310747" y="1537727"/>
                </a:lnTo>
                <a:lnTo>
                  <a:pt x="1332315" y="1557829"/>
                </a:lnTo>
                <a:lnTo>
                  <a:pt x="1356030" y="1582149"/>
                </a:lnTo>
                <a:lnTo>
                  <a:pt x="1381894" y="1607536"/>
                </a:lnTo>
                <a:lnTo>
                  <a:pt x="1407773" y="1635033"/>
                </a:lnTo>
                <a:lnTo>
                  <a:pt x="1434710" y="1663583"/>
                </a:lnTo>
                <a:lnTo>
                  <a:pt x="1460589" y="1692134"/>
                </a:lnTo>
                <a:lnTo>
                  <a:pt x="1485379" y="1720699"/>
                </a:lnTo>
                <a:lnTo>
                  <a:pt x="1506902" y="1747126"/>
                </a:lnTo>
                <a:lnTo>
                  <a:pt x="1526293" y="1772514"/>
                </a:lnTo>
                <a:lnTo>
                  <a:pt x="1541357" y="1795779"/>
                </a:lnTo>
                <a:lnTo>
                  <a:pt x="1552246" y="1815882"/>
                </a:lnTo>
                <a:lnTo>
                  <a:pt x="1557615" y="1831738"/>
                </a:lnTo>
                <a:lnTo>
                  <a:pt x="1564029" y="1853949"/>
                </a:lnTo>
                <a:lnTo>
                  <a:pt x="1574918" y="1866643"/>
                </a:lnTo>
                <a:lnTo>
                  <a:pt x="1586701" y="1872982"/>
                </a:lnTo>
                <a:lnTo>
                  <a:pt x="1598484" y="1874051"/>
                </a:lnTo>
                <a:lnTo>
                  <a:pt x="1608329" y="1874051"/>
                </a:lnTo>
                <a:lnTo>
                  <a:pt x="1614742" y="1875105"/>
                </a:lnTo>
                <a:lnTo>
                  <a:pt x="1616830" y="1880391"/>
                </a:lnTo>
                <a:lnTo>
                  <a:pt x="1610417" y="1890962"/>
                </a:lnTo>
                <a:lnTo>
                  <a:pt x="1599677" y="1905772"/>
                </a:lnTo>
                <a:lnTo>
                  <a:pt x="1592071" y="1917406"/>
                </a:lnTo>
                <a:lnTo>
                  <a:pt x="1585657" y="1925865"/>
                </a:lnTo>
                <a:lnTo>
                  <a:pt x="1580287" y="1932212"/>
                </a:lnTo>
                <a:lnTo>
                  <a:pt x="1574918" y="1938556"/>
                </a:lnTo>
                <a:lnTo>
                  <a:pt x="1569399" y="1943845"/>
                </a:lnTo>
                <a:lnTo>
                  <a:pt x="1562985" y="1950190"/>
                </a:lnTo>
                <a:lnTo>
                  <a:pt x="1555378" y="1957594"/>
                </a:lnTo>
                <a:lnTo>
                  <a:pt x="1545683" y="1966054"/>
                </a:lnTo>
                <a:lnTo>
                  <a:pt x="1534944" y="1972400"/>
                </a:lnTo>
                <a:lnTo>
                  <a:pt x="1524204" y="1976631"/>
                </a:lnTo>
                <a:lnTo>
                  <a:pt x="1513465" y="1979804"/>
                </a:lnTo>
                <a:lnTo>
                  <a:pt x="1502577" y="1981918"/>
                </a:lnTo>
                <a:lnTo>
                  <a:pt x="1491837" y="1984034"/>
                </a:lnTo>
                <a:lnTo>
                  <a:pt x="1481068" y="1986149"/>
                </a:lnTo>
                <a:lnTo>
                  <a:pt x="1470284" y="1988263"/>
                </a:lnTo>
                <a:lnTo>
                  <a:pt x="1461663" y="1992495"/>
                </a:lnTo>
                <a:lnTo>
                  <a:pt x="1454116" y="2000954"/>
                </a:lnTo>
                <a:lnTo>
                  <a:pt x="1447642" y="2010473"/>
                </a:lnTo>
                <a:lnTo>
                  <a:pt x="1444421" y="2021050"/>
                </a:lnTo>
                <a:lnTo>
                  <a:pt x="1443332" y="2032682"/>
                </a:lnTo>
                <a:lnTo>
                  <a:pt x="1444421" y="2042201"/>
                </a:lnTo>
                <a:lnTo>
                  <a:pt x="1449805" y="2050662"/>
                </a:lnTo>
                <a:lnTo>
                  <a:pt x="1457352" y="2054892"/>
                </a:lnTo>
                <a:lnTo>
                  <a:pt x="1471358" y="2057007"/>
                </a:lnTo>
                <a:lnTo>
                  <a:pt x="1514509" y="2057007"/>
                </a:lnTo>
                <a:lnTo>
                  <a:pt x="1541357" y="2055950"/>
                </a:lnTo>
                <a:lnTo>
                  <a:pt x="1567311" y="2053834"/>
                </a:lnTo>
                <a:lnTo>
                  <a:pt x="1591026" y="2051719"/>
                </a:lnTo>
                <a:lnTo>
                  <a:pt x="1610417" y="2049604"/>
                </a:lnTo>
                <a:lnTo>
                  <a:pt x="1624437" y="2047489"/>
                </a:lnTo>
                <a:lnTo>
                  <a:pt x="1636221" y="2043258"/>
                </a:lnTo>
                <a:lnTo>
                  <a:pt x="1650242" y="2035855"/>
                </a:lnTo>
                <a:lnTo>
                  <a:pt x="1666500" y="2027395"/>
                </a:lnTo>
                <a:lnTo>
                  <a:pt x="1681564" y="2016818"/>
                </a:lnTo>
                <a:lnTo>
                  <a:pt x="1695585" y="2007300"/>
                </a:lnTo>
                <a:lnTo>
                  <a:pt x="1707368" y="1998840"/>
                </a:lnTo>
                <a:lnTo>
                  <a:pt x="1714975" y="1993552"/>
                </a:lnTo>
                <a:lnTo>
                  <a:pt x="1718257" y="1991436"/>
                </a:lnTo>
                <a:lnTo>
                  <a:pt x="1724671" y="2021050"/>
                </a:lnTo>
                <a:lnTo>
                  <a:pt x="1786123" y="2017877"/>
                </a:lnTo>
                <a:lnTo>
                  <a:pt x="1834599" y="1995667"/>
                </a:lnTo>
                <a:lnTo>
                  <a:pt x="1829229" y="1937499"/>
                </a:lnTo>
                <a:lnTo>
                  <a:pt x="1830273" y="1895193"/>
                </a:lnTo>
                <a:lnTo>
                  <a:pt x="1814164" y="1849718"/>
                </a:lnTo>
                <a:lnTo>
                  <a:pt x="1813120" y="1848663"/>
                </a:lnTo>
                <a:lnTo>
                  <a:pt x="1808795" y="1844432"/>
                </a:lnTo>
                <a:lnTo>
                  <a:pt x="1802232" y="1837024"/>
                </a:lnTo>
                <a:lnTo>
                  <a:pt x="1793730" y="1824344"/>
                </a:lnTo>
                <a:lnTo>
                  <a:pt x="1781797" y="1808473"/>
                </a:lnTo>
                <a:lnTo>
                  <a:pt x="1767777" y="1787316"/>
                </a:lnTo>
                <a:lnTo>
                  <a:pt x="1751668" y="1759820"/>
                </a:lnTo>
                <a:lnTo>
                  <a:pt x="1732278" y="1727038"/>
                </a:lnTo>
                <a:lnTo>
                  <a:pt x="1719301" y="1703773"/>
                </a:lnTo>
                <a:lnTo>
                  <a:pt x="1707368" y="1681563"/>
                </a:lnTo>
                <a:lnTo>
                  <a:pt x="1694541" y="1657244"/>
                </a:lnTo>
                <a:lnTo>
                  <a:pt x="1680520" y="1633964"/>
                </a:lnTo>
                <a:lnTo>
                  <a:pt x="1667544" y="1610699"/>
                </a:lnTo>
                <a:lnTo>
                  <a:pt x="1653523" y="1587434"/>
                </a:lnTo>
                <a:lnTo>
                  <a:pt x="1639502" y="1565223"/>
                </a:lnTo>
                <a:lnTo>
                  <a:pt x="1624437" y="1544081"/>
                </a:lnTo>
                <a:lnTo>
                  <a:pt x="1609373" y="1523979"/>
                </a:lnTo>
                <a:lnTo>
                  <a:pt x="1594308" y="1505999"/>
                </a:lnTo>
                <a:lnTo>
                  <a:pt x="1578050" y="1489074"/>
                </a:lnTo>
                <a:lnTo>
                  <a:pt x="1561941" y="1474272"/>
                </a:lnTo>
                <a:lnTo>
                  <a:pt x="1544639" y="1460524"/>
                </a:lnTo>
                <a:lnTo>
                  <a:pt x="1527486" y="1449953"/>
                </a:lnTo>
                <a:lnTo>
                  <a:pt x="1509140" y="1442544"/>
                </a:lnTo>
                <a:lnTo>
                  <a:pt x="1490763" y="1437259"/>
                </a:lnTo>
                <a:lnTo>
                  <a:pt x="1481068" y="1416102"/>
                </a:lnTo>
                <a:lnTo>
                  <a:pt x="1472447" y="1372749"/>
                </a:lnTo>
                <a:lnTo>
                  <a:pt x="1467048" y="1329382"/>
                </a:lnTo>
                <a:lnTo>
                  <a:pt x="1464900" y="1310348"/>
                </a:lnTo>
                <a:lnTo>
                  <a:pt x="1468136" y="1304009"/>
                </a:lnTo>
                <a:lnTo>
                  <a:pt x="1475669" y="1287083"/>
                </a:lnTo>
                <a:lnTo>
                  <a:pt x="1479994" y="1262749"/>
                </a:lnTo>
                <a:lnTo>
                  <a:pt x="1478906" y="1235253"/>
                </a:lnTo>
                <a:lnTo>
                  <a:pt x="1475669" y="1213042"/>
                </a:lnTo>
                <a:lnTo>
                  <a:pt x="1477832" y="1198240"/>
                </a:lnTo>
                <a:lnTo>
                  <a:pt x="1481068" y="1187669"/>
                </a:lnTo>
                <a:lnTo>
                  <a:pt x="1485379" y="1176029"/>
                </a:lnTo>
                <a:lnTo>
                  <a:pt x="1485379" y="1165458"/>
                </a:lnTo>
                <a:lnTo>
                  <a:pt x="1482142" y="1156996"/>
                </a:lnTo>
                <a:lnTo>
                  <a:pt x="1478906" y="1148533"/>
                </a:lnTo>
                <a:lnTo>
                  <a:pt x="1478906" y="1135839"/>
                </a:lnTo>
                <a:lnTo>
                  <a:pt x="1482142" y="1125268"/>
                </a:lnTo>
                <a:lnTo>
                  <a:pt x="1485379" y="1117860"/>
                </a:lnTo>
                <a:lnTo>
                  <a:pt x="1488616" y="1111520"/>
                </a:lnTo>
                <a:lnTo>
                  <a:pt x="1488616" y="1088255"/>
                </a:lnTo>
                <a:lnTo>
                  <a:pt x="1493926" y="1085078"/>
                </a:lnTo>
                <a:lnTo>
                  <a:pt x="1502577" y="1072384"/>
                </a:lnTo>
                <a:lnTo>
                  <a:pt x="1517641" y="1038548"/>
                </a:lnTo>
                <a:lnTo>
                  <a:pt x="1527486" y="989895"/>
                </a:lnTo>
                <a:lnTo>
                  <a:pt x="1524204" y="945473"/>
                </a:lnTo>
                <a:lnTo>
                  <a:pt x="1516597" y="905298"/>
                </a:lnTo>
                <a:lnTo>
                  <a:pt x="1510184" y="871447"/>
                </a:lnTo>
                <a:lnTo>
                  <a:pt x="1504814" y="855591"/>
                </a:lnTo>
                <a:lnTo>
                  <a:pt x="1497207" y="848182"/>
                </a:lnTo>
                <a:lnTo>
                  <a:pt x="1489690" y="842897"/>
                </a:lnTo>
                <a:lnTo>
                  <a:pt x="1486453" y="837611"/>
                </a:lnTo>
                <a:lnTo>
                  <a:pt x="1486453" y="827026"/>
                </a:lnTo>
                <a:lnTo>
                  <a:pt x="1489690" y="811169"/>
                </a:lnTo>
                <a:lnTo>
                  <a:pt x="1496163" y="797421"/>
                </a:lnTo>
                <a:lnTo>
                  <a:pt x="1509140" y="787904"/>
                </a:lnTo>
                <a:lnTo>
                  <a:pt x="1521967" y="777319"/>
                </a:lnTo>
                <a:lnTo>
                  <a:pt x="1527486" y="758285"/>
                </a:lnTo>
                <a:lnTo>
                  <a:pt x="1525248" y="737128"/>
                </a:lnTo>
                <a:lnTo>
                  <a:pt x="1512272" y="721272"/>
                </a:lnTo>
                <a:lnTo>
                  <a:pt x="1503770" y="712809"/>
                </a:lnTo>
                <a:lnTo>
                  <a:pt x="1496163" y="702238"/>
                </a:lnTo>
                <a:lnTo>
                  <a:pt x="1490763" y="686367"/>
                </a:lnTo>
                <a:lnTo>
                  <a:pt x="1484305" y="666279"/>
                </a:lnTo>
                <a:lnTo>
                  <a:pt x="1477832" y="640891"/>
                </a:lnTo>
                <a:lnTo>
                  <a:pt x="1470284" y="610218"/>
                </a:lnTo>
                <a:lnTo>
                  <a:pt x="1461663" y="573205"/>
                </a:lnTo>
                <a:lnTo>
                  <a:pt x="1450879" y="529867"/>
                </a:lnTo>
                <a:lnTo>
                  <a:pt x="1435799" y="471741"/>
                </a:lnTo>
                <a:lnTo>
                  <a:pt x="1426089" y="427231"/>
                </a:lnTo>
                <a:lnTo>
                  <a:pt x="1419631" y="395460"/>
                </a:lnTo>
                <a:lnTo>
                  <a:pt x="1413157" y="374376"/>
                </a:lnTo>
                <a:lnTo>
                  <a:pt x="1407773" y="359589"/>
                </a:lnTo>
                <a:lnTo>
                  <a:pt x="1400226" y="350072"/>
                </a:lnTo>
                <a:lnTo>
                  <a:pt x="1389442" y="342605"/>
                </a:lnTo>
                <a:lnTo>
                  <a:pt x="1374347" y="336309"/>
                </a:lnTo>
                <a:lnTo>
                  <a:pt x="1365726" y="333088"/>
                </a:lnTo>
                <a:lnTo>
                  <a:pt x="1360341" y="328842"/>
                </a:lnTo>
                <a:lnTo>
                  <a:pt x="1357104" y="325768"/>
                </a:lnTo>
                <a:lnTo>
                  <a:pt x="1352794" y="322546"/>
                </a:lnTo>
                <a:lnTo>
                  <a:pt x="1349557" y="317276"/>
                </a:lnTo>
                <a:lnTo>
                  <a:pt x="1344173" y="312005"/>
                </a:lnTo>
                <a:lnTo>
                  <a:pt x="1335551" y="304538"/>
                </a:lnTo>
                <a:lnTo>
                  <a:pt x="1324767" y="296046"/>
                </a:lnTo>
                <a:lnTo>
                  <a:pt x="1309673" y="285504"/>
                </a:lnTo>
                <a:lnTo>
                  <a:pt x="1290267" y="274962"/>
                </a:lnTo>
                <a:lnTo>
                  <a:pt x="1268714" y="264421"/>
                </a:lnTo>
                <a:lnTo>
                  <a:pt x="1247161" y="254904"/>
                </a:lnTo>
                <a:lnTo>
                  <a:pt x="1227756" y="246412"/>
                </a:lnTo>
                <a:lnTo>
                  <a:pt x="1209425" y="240116"/>
                </a:lnTo>
                <a:lnTo>
                  <a:pt x="1196493" y="234845"/>
                </a:lnTo>
                <a:lnTo>
                  <a:pt x="1188945" y="232649"/>
                </a:lnTo>
                <a:lnTo>
                  <a:pt x="1184635" y="231624"/>
                </a:lnTo>
                <a:lnTo>
                  <a:pt x="1181398" y="229428"/>
                </a:lnTo>
                <a:lnTo>
                  <a:pt x="1178161" y="229428"/>
                </a:lnTo>
                <a:lnTo>
                  <a:pt x="1176014" y="228403"/>
                </a:lnTo>
                <a:lnTo>
                  <a:pt x="1172777" y="227378"/>
                </a:lnTo>
                <a:lnTo>
                  <a:pt x="1169540" y="226353"/>
                </a:lnTo>
                <a:lnTo>
                  <a:pt x="1164156" y="226353"/>
                </a:lnTo>
                <a:lnTo>
                  <a:pt x="1156608" y="225328"/>
                </a:lnTo>
                <a:lnTo>
                  <a:pt x="1143676" y="218886"/>
                </a:lnTo>
                <a:lnTo>
                  <a:pt x="1139366" y="204099"/>
                </a:lnTo>
                <a:lnTo>
                  <a:pt x="1137203" y="184040"/>
                </a:lnTo>
                <a:lnTo>
                  <a:pt x="1133981" y="161785"/>
                </a:lnTo>
                <a:lnTo>
                  <a:pt x="1128582" y="140702"/>
                </a:lnTo>
                <a:lnTo>
                  <a:pt x="1124271" y="123718"/>
                </a:lnTo>
                <a:lnTo>
                  <a:pt x="1122123" y="112152"/>
                </a:lnTo>
                <a:lnTo>
                  <a:pt x="1121035" y="107906"/>
                </a:lnTo>
                <a:lnTo>
                  <a:pt x="1104866" y="89897"/>
                </a:lnTo>
                <a:lnTo>
                  <a:pt x="1105955" y="85651"/>
                </a:lnTo>
                <a:lnTo>
                  <a:pt x="1105955" y="75109"/>
                </a:lnTo>
                <a:lnTo>
                  <a:pt x="1103792" y="63396"/>
                </a:lnTo>
                <a:lnTo>
                  <a:pt x="1094097" y="53879"/>
                </a:lnTo>
                <a:lnTo>
                  <a:pt x="1085461" y="46559"/>
                </a:lnTo>
                <a:lnTo>
                  <a:pt x="1083313" y="41288"/>
                </a:lnTo>
                <a:lnTo>
                  <a:pt x="1084387" y="37042"/>
                </a:lnTo>
                <a:lnTo>
                  <a:pt x="1084387" y="33821"/>
                </a:lnTo>
                <a:lnTo>
                  <a:pt x="1082239" y="29575"/>
                </a:lnTo>
                <a:lnTo>
                  <a:pt x="1079002" y="23279"/>
                </a:lnTo>
                <a:lnTo>
                  <a:pt x="1074692" y="16983"/>
                </a:lnTo>
                <a:lnTo>
                  <a:pt x="1069292" y="9516"/>
                </a:lnTo>
                <a:lnTo>
                  <a:pt x="1062834" y="4245"/>
                </a:lnTo>
                <a:lnTo>
                  <a:pt x="1056360" y="1024"/>
                </a:lnTo>
                <a:lnTo>
                  <a:pt x="1049902" y="0"/>
                </a:lnTo>
                <a:lnTo>
                  <a:pt x="1038044" y="2049"/>
                </a:lnTo>
                <a:lnTo>
                  <a:pt x="1018639" y="5270"/>
                </a:lnTo>
                <a:lnTo>
                  <a:pt x="993849" y="9516"/>
                </a:lnTo>
                <a:lnTo>
                  <a:pt x="966896" y="13762"/>
                </a:lnTo>
                <a:lnTo>
                  <a:pt x="938870" y="18008"/>
                </a:lnTo>
                <a:lnTo>
                  <a:pt x="913006" y="22254"/>
                </a:lnTo>
                <a:lnTo>
                  <a:pt x="892512" y="26500"/>
                </a:lnTo>
                <a:lnTo>
                  <a:pt x="878506" y="30600"/>
                </a:lnTo>
                <a:lnTo>
                  <a:pt x="868811" y="36017"/>
                </a:lnTo>
                <a:lnTo>
                  <a:pt x="861264" y="45534"/>
                </a:lnTo>
                <a:lnTo>
                  <a:pt x="853716" y="55051"/>
                </a:lnTo>
                <a:lnTo>
                  <a:pt x="847243" y="66617"/>
                </a:lnTo>
                <a:lnTo>
                  <a:pt x="841858" y="77159"/>
                </a:lnTo>
                <a:lnTo>
                  <a:pt x="838622" y="85651"/>
                </a:lnTo>
                <a:lnTo>
                  <a:pt x="836474" y="91947"/>
                </a:lnTo>
                <a:lnTo>
                  <a:pt x="835385" y="94143"/>
                </a:lnTo>
                <a:lnTo>
                  <a:pt x="847243" y="146998"/>
                </a:lnTo>
                <a:lnTo>
                  <a:pt x="842932" y="148023"/>
                </a:lnTo>
                <a:lnTo>
                  <a:pt x="833237" y="153293"/>
                </a:lnTo>
                <a:lnTo>
                  <a:pt x="818143" y="159736"/>
                </a:lnTo>
                <a:lnTo>
                  <a:pt x="801974" y="168081"/>
                </a:lnTo>
                <a:lnTo>
                  <a:pt x="785805" y="177598"/>
                </a:lnTo>
                <a:lnTo>
                  <a:pt x="770711" y="189311"/>
                </a:lnTo>
                <a:lnTo>
                  <a:pt x="761016" y="199853"/>
                </a:lnTo>
                <a:lnTo>
                  <a:pt x="756705" y="211566"/>
                </a:lnTo>
                <a:lnTo>
                  <a:pt x="762090" y="214640"/>
                </a:lnTo>
                <a:lnTo>
                  <a:pt x="776110" y="215812"/>
                </a:lnTo>
                <a:lnTo>
                  <a:pt x="794427" y="213615"/>
                </a:lnTo>
                <a:lnTo>
                  <a:pt x="817069" y="210394"/>
                </a:lnTo>
                <a:lnTo>
                  <a:pt x="839696" y="206295"/>
                </a:lnTo>
                <a:lnTo>
                  <a:pt x="859101" y="203074"/>
                </a:lnTo>
                <a:lnTo>
                  <a:pt x="872033" y="199853"/>
                </a:lnTo>
                <a:lnTo>
                  <a:pt x="877432" y="198828"/>
                </a:lnTo>
                <a:lnTo>
                  <a:pt x="886054" y="217861"/>
                </a:lnTo>
                <a:lnTo>
                  <a:pt x="883891" y="227378"/>
                </a:lnTo>
                <a:lnTo>
                  <a:pt x="878506" y="249633"/>
                </a:lnTo>
                <a:lnTo>
                  <a:pt x="874196" y="272913"/>
                </a:lnTo>
                <a:lnTo>
                  <a:pt x="876343" y="285504"/>
                </a:lnTo>
                <a:lnTo>
                  <a:pt x="884980" y="285504"/>
                </a:lnTo>
                <a:lnTo>
                  <a:pt x="894675" y="283454"/>
                </a:lnTo>
                <a:lnTo>
                  <a:pt x="902222" y="280233"/>
                </a:lnTo>
                <a:lnTo>
                  <a:pt x="905459" y="278183"/>
                </a:lnTo>
                <a:lnTo>
                  <a:pt x="909769" y="284479"/>
                </a:lnTo>
                <a:lnTo>
                  <a:pt x="913006" y="293996"/>
                </a:lnTo>
                <a:lnTo>
                  <a:pt x="903296" y="301463"/>
                </a:lnTo>
                <a:lnTo>
                  <a:pt x="895749" y="309809"/>
                </a:lnTo>
                <a:lnTo>
                  <a:pt x="888201" y="320497"/>
                </a:lnTo>
                <a:lnTo>
                  <a:pt x="882817" y="332063"/>
                </a:lnTo>
                <a:lnTo>
                  <a:pt x="878506" y="341580"/>
                </a:lnTo>
                <a:lnTo>
                  <a:pt x="875270" y="350072"/>
                </a:lnTo>
                <a:lnTo>
                  <a:pt x="873122" y="356368"/>
                </a:lnTo>
                <a:lnTo>
                  <a:pt x="872033" y="358564"/>
                </a:lnTo>
                <a:lnTo>
                  <a:pt x="780421" y="549925"/>
                </a:lnTo>
                <a:lnTo>
                  <a:pt x="734063" y="612341"/>
                </a:lnTo>
                <a:lnTo>
                  <a:pt x="759942" y="644068"/>
                </a:lnTo>
                <a:lnTo>
                  <a:pt x="684484" y="710701"/>
                </a:lnTo>
                <a:lnTo>
                  <a:pt x="680173" y="714918"/>
                </a:lnTo>
                <a:lnTo>
                  <a:pt x="670463" y="724449"/>
                </a:lnTo>
                <a:lnTo>
                  <a:pt x="654294" y="738197"/>
                </a:lnTo>
                <a:lnTo>
                  <a:pt x="637052" y="754054"/>
                </a:lnTo>
                <a:lnTo>
                  <a:pt x="617647" y="769925"/>
                </a:lnTo>
                <a:lnTo>
                  <a:pt x="599330" y="783673"/>
                </a:lnTo>
                <a:lnTo>
                  <a:pt x="583162" y="793190"/>
                </a:lnTo>
                <a:lnTo>
                  <a:pt x="572378" y="797421"/>
                </a:lnTo>
                <a:lnTo>
                  <a:pt x="562682" y="796352"/>
                </a:lnTo>
                <a:lnTo>
                  <a:pt x="549736" y="793190"/>
                </a:lnTo>
                <a:lnTo>
                  <a:pt x="533567" y="790013"/>
                </a:lnTo>
                <a:lnTo>
                  <a:pt x="517399" y="786835"/>
                </a:lnTo>
                <a:lnTo>
                  <a:pt x="500156" y="784727"/>
                </a:lnTo>
                <a:lnTo>
                  <a:pt x="483987" y="783673"/>
                </a:lnTo>
                <a:lnTo>
                  <a:pt x="468893" y="785781"/>
                </a:lnTo>
                <a:lnTo>
                  <a:pt x="457035" y="791067"/>
                </a:lnTo>
                <a:lnTo>
                  <a:pt x="451650" y="795298"/>
                </a:lnTo>
                <a:lnTo>
                  <a:pt x="447340" y="799529"/>
                </a:lnTo>
                <a:lnTo>
                  <a:pt x="441940" y="803761"/>
                </a:lnTo>
                <a:lnTo>
                  <a:pt x="437630" y="809046"/>
                </a:lnTo>
                <a:lnTo>
                  <a:pt x="410692" y="800584"/>
                </a:lnTo>
                <a:lnTo>
                  <a:pt x="413929" y="786835"/>
                </a:lnTo>
                <a:lnTo>
                  <a:pt x="400982" y="783673"/>
                </a:lnTo>
                <a:lnTo>
                  <a:pt x="402071" y="780496"/>
                </a:lnTo>
                <a:lnTo>
                  <a:pt x="403145" y="778373"/>
                </a:lnTo>
                <a:lnTo>
                  <a:pt x="405293" y="768856"/>
                </a:lnTo>
                <a:lnTo>
                  <a:pt x="404219" y="759339"/>
                </a:lnTo>
                <a:lnTo>
                  <a:pt x="399908" y="750876"/>
                </a:lnTo>
                <a:lnTo>
                  <a:pt x="394523" y="743483"/>
                </a:lnTo>
                <a:lnTo>
                  <a:pt x="395597" y="740305"/>
                </a:lnTo>
                <a:lnTo>
                  <a:pt x="395597" y="739251"/>
                </a:lnTo>
                <a:lnTo>
                  <a:pt x="397760" y="729734"/>
                </a:lnTo>
                <a:lnTo>
                  <a:pt x="397760" y="720218"/>
                </a:lnTo>
                <a:lnTo>
                  <a:pt x="395597" y="710701"/>
                </a:lnTo>
                <a:lnTo>
                  <a:pt x="392361" y="702238"/>
                </a:lnTo>
                <a:lnTo>
                  <a:pt x="386976" y="694830"/>
                </a:lnTo>
                <a:lnTo>
                  <a:pt x="380503" y="687421"/>
                </a:lnTo>
                <a:lnTo>
                  <a:pt x="371882" y="682136"/>
                </a:lnTo>
                <a:lnTo>
                  <a:pt x="363260" y="678973"/>
                </a:lnTo>
                <a:lnTo>
                  <a:pt x="353565" y="676850"/>
                </a:lnTo>
                <a:lnTo>
                  <a:pt x="343855" y="677904"/>
                </a:lnTo>
                <a:lnTo>
                  <a:pt x="335234" y="678973"/>
                </a:lnTo>
                <a:lnTo>
                  <a:pt x="326613" y="683190"/>
                </a:lnTo>
                <a:lnTo>
                  <a:pt x="317991" y="688490"/>
                </a:lnTo>
                <a:lnTo>
                  <a:pt x="311518" y="694830"/>
                </a:lnTo>
                <a:lnTo>
                  <a:pt x="306133" y="703292"/>
                </a:lnTo>
                <a:lnTo>
                  <a:pt x="302897" y="712809"/>
                </a:lnTo>
                <a:lnTo>
                  <a:pt x="301823" y="715986"/>
                </a:lnTo>
                <a:lnTo>
                  <a:pt x="301823" y="717040"/>
                </a:lnTo>
                <a:lnTo>
                  <a:pt x="297512" y="719149"/>
                </a:lnTo>
                <a:lnTo>
                  <a:pt x="292113" y="721272"/>
                </a:lnTo>
                <a:lnTo>
                  <a:pt x="287802" y="724449"/>
                </a:lnTo>
                <a:lnTo>
                  <a:pt x="284565" y="728666"/>
                </a:lnTo>
                <a:lnTo>
                  <a:pt x="233912" y="703292"/>
                </a:lnTo>
                <a:lnTo>
                  <a:pt x="226365" y="731843"/>
                </a:lnTo>
                <a:lnTo>
                  <a:pt x="215580" y="728666"/>
                </a:lnTo>
                <a:lnTo>
                  <a:pt x="171385" y="825971"/>
                </a:lnTo>
                <a:close/>
              </a:path>
            </a:pathLst>
          </a:custGeom>
          <a:solidFill>
            <a:srgbClr val="000000"/>
          </a:solidFill>
        </p:spPr>
        <p:txBody>
          <a:bodyPr wrap="square" lIns="0" tIns="0" rIns="0" bIns="0" rtlCol="0">
            <a:noAutofit/>
          </a:bodyPr>
          <a:lstStyle/>
          <a:p>
            <a:endParaRPr/>
          </a:p>
        </p:txBody>
      </p:sp>
      <p:sp>
        <p:nvSpPr>
          <p:cNvPr id="10" name="object 10"/>
          <p:cNvSpPr/>
          <p:nvPr/>
        </p:nvSpPr>
        <p:spPr>
          <a:xfrm>
            <a:off x="7968790" y="1908933"/>
            <a:ext cx="67907" cy="20087"/>
          </a:xfrm>
          <a:custGeom>
            <a:avLst/>
            <a:gdLst/>
            <a:ahLst/>
            <a:cxnLst/>
            <a:rect l="l" t="t" r="r" b="b"/>
            <a:pathLst>
              <a:path w="67907" h="20087">
                <a:moveTo>
                  <a:pt x="67907" y="1054"/>
                </a:moveTo>
                <a:lnTo>
                  <a:pt x="22635" y="0"/>
                </a:lnTo>
                <a:lnTo>
                  <a:pt x="0" y="20087"/>
                </a:lnTo>
                <a:lnTo>
                  <a:pt x="47428" y="20087"/>
                </a:lnTo>
                <a:lnTo>
                  <a:pt x="67907" y="1054"/>
                </a:lnTo>
                <a:close/>
              </a:path>
            </a:pathLst>
          </a:custGeom>
          <a:solidFill>
            <a:srgbClr val="000000"/>
          </a:solidFill>
        </p:spPr>
        <p:txBody>
          <a:bodyPr wrap="square" lIns="0" tIns="0" rIns="0" bIns="0" rtlCol="0">
            <a:noAutofit/>
          </a:bodyPr>
          <a:lstStyle/>
          <a:p>
            <a:endParaRPr/>
          </a:p>
        </p:txBody>
      </p:sp>
      <p:sp>
        <p:nvSpPr>
          <p:cNvPr id="11" name="object 11"/>
          <p:cNvSpPr/>
          <p:nvPr/>
        </p:nvSpPr>
        <p:spPr>
          <a:xfrm>
            <a:off x="8645717" y="1934305"/>
            <a:ext cx="173558" cy="7408"/>
          </a:xfrm>
          <a:custGeom>
            <a:avLst/>
            <a:gdLst/>
            <a:ahLst/>
            <a:cxnLst/>
            <a:rect l="l" t="t" r="r" b="b"/>
            <a:pathLst>
              <a:path w="173558" h="7408">
                <a:moveTo>
                  <a:pt x="173558" y="6354"/>
                </a:moveTo>
                <a:lnTo>
                  <a:pt x="0" y="0"/>
                </a:lnTo>
                <a:lnTo>
                  <a:pt x="0" y="5300"/>
                </a:lnTo>
                <a:lnTo>
                  <a:pt x="120727" y="7408"/>
                </a:lnTo>
                <a:lnTo>
                  <a:pt x="125037" y="6354"/>
                </a:lnTo>
                <a:lnTo>
                  <a:pt x="128274" y="7408"/>
                </a:lnTo>
                <a:lnTo>
                  <a:pt x="172469" y="7408"/>
                </a:lnTo>
                <a:lnTo>
                  <a:pt x="173558" y="6354"/>
                </a:lnTo>
                <a:close/>
              </a:path>
            </a:pathLst>
          </a:custGeom>
          <a:solidFill>
            <a:srgbClr val="000000"/>
          </a:solidFill>
        </p:spPr>
        <p:txBody>
          <a:bodyPr wrap="square" lIns="0" tIns="0" rIns="0" bIns="0" rtlCol="0">
            <a:noAutofit/>
          </a:bodyPr>
          <a:lstStyle/>
          <a:p>
            <a:endParaRPr/>
          </a:p>
        </p:txBody>
      </p:sp>
      <p:sp>
        <p:nvSpPr>
          <p:cNvPr id="12" name="object 12"/>
          <p:cNvSpPr/>
          <p:nvPr/>
        </p:nvSpPr>
        <p:spPr>
          <a:xfrm>
            <a:off x="8766445" y="1939605"/>
            <a:ext cx="7547" cy="2108"/>
          </a:xfrm>
          <a:custGeom>
            <a:avLst/>
            <a:gdLst/>
            <a:ahLst/>
            <a:cxnLst/>
            <a:rect l="l" t="t" r="r" b="b"/>
            <a:pathLst>
              <a:path w="7547" h="2108">
                <a:moveTo>
                  <a:pt x="0" y="0"/>
                </a:moveTo>
                <a:lnTo>
                  <a:pt x="0" y="2108"/>
                </a:lnTo>
                <a:lnTo>
                  <a:pt x="7547" y="2108"/>
                </a:lnTo>
                <a:lnTo>
                  <a:pt x="4310" y="1054"/>
                </a:lnTo>
                <a:lnTo>
                  <a:pt x="1088" y="0"/>
                </a:lnTo>
                <a:lnTo>
                  <a:pt x="0" y="0"/>
                </a:lnTo>
                <a:close/>
              </a:path>
            </a:pathLst>
          </a:custGeom>
          <a:solidFill>
            <a:srgbClr val="000000"/>
          </a:solidFill>
        </p:spPr>
        <p:txBody>
          <a:bodyPr wrap="square" lIns="0" tIns="0" rIns="0" bIns="0" rtlCol="0">
            <a:noAutofit/>
          </a:bodyPr>
          <a:lstStyle/>
          <a:p>
            <a:endParaRPr/>
          </a:p>
        </p:txBody>
      </p:sp>
      <p:sp>
        <p:nvSpPr>
          <p:cNvPr id="13" name="object 13"/>
          <p:cNvSpPr/>
          <p:nvPr/>
        </p:nvSpPr>
        <p:spPr>
          <a:xfrm>
            <a:off x="8361157" y="1805288"/>
            <a:ext cx="6458" cy="20087"/>
          </a:xfrm>
          <a:custGeom>
            <a:avLst/>
            <a:gdLst/>
            <a:ahLst/>
            <a:cxnLst/>
            <a:rect l="l" t="t" r="r" b="b"/>
            <a:pathLst>
              <a:path w="6458" h="20087">
                <a:moveTo>
                  <a:pt x="4310" y="0"/>
                </a:moveTo>
                <a:lnTo>
                  <a:pt x="0" y="19033"/>
                </a:lnTo>
                <a:lnTo>
                  <a:pt x="2147" y="20087"/>
                </a:lnTo>
                <a:lnTo>
                  <a:pt x="2147" y="12693"/>
                </a:lnTo>
                <a:lnTo>
                  <a:pt x="3221" y="9516"/>
                </a:lnTo>
                <a:lnTo>
                  <a:pt x="5384" y="6339"/>
                </a:lnTo>
                <a:lnTo>
                  <a:pt x="6458" y="3177"/>
                </a:lnTo>
                <a:lnTo>
                  <a:pt x="4310" y="0"/>
                </a:lnTo>
                <a:close/>
              </a:path>
            </a:pathLst>
          </a:custGeom>
          <a:solidFill>
            <a:srgbClr val="000000"/>
          </a:solidFill>
        </p:spPr>
        <p:txBody>
          <a:bodyPr wrap="square" lIns="0" tIns="0" rIns="0" bIns="0" rtlCol="0">
            <a:noAutofit/>
          </a:bodyPr>
          <a:lstStyle/>
          <a:p>
            <a:endParaRPr/>
          </a:p>
        </p:txBody>
      </p:sp>
      <p:sp>
        <p:nvSpPr>
          <p:cNvPr id="14" name="object 14"/>
          <p:cNvSpPr/>
          <p:nvPr/>
        </p:nvSpPr>
        <p:spPr>
          <a:xfrm>
            <a:off x="8803108" y="940178"/>
            <a:ext cx="210191" cy="107906"/>
          </a:xfrm>
          <a:custGeom>
            <a:avLst/>
            <a:gdLst/>
            <a:ahLst/>
            <a:cxnLst/>
            <a:rect l="l" t="t" r="r" b="b"/>
            <a:pathLst>
              <a:path w="210191" h="107906">
                <a:moveTo>
                  <a:pt x="177854" y="28550"/>
                </a:moveTo>
                <a:lnTo>
                  <a:pt x="157374" y="28550"/>
                </a:lnTo>
                <a:lnTo>
                  <a:pt x="149827" y="27525"/>
                </a:lnTo>
                <a:lnTo>
                  <a:pt x="141206" y="26500"/>
                </a:lnTo>
                <a:lnTo>
                  <a:pt x="133659" y="24304"/>
                </a:lnTo>
                <a:lnTo>
                  <a:pt x="129348" y="22254"/>
                </a:lnTo>
                <a:lnTo>
                  <a:pt x="130422" y="20058"/>
                </a:lnTo>
                <a:lnTo>
                  <a:pt x="134732" y="19033"/>
                </a:lnTo>
                <a:lnTo>
                  <a:pt x="142280" y="16983"/>
                </a:lnTo>
                <a:lnTo>
                  <a:pt x="150901" y="14787"/>
                </a:lnTo>
                <a:lnTo>
                  <a:pt x="159522" y="12737"/>
                </a:lnTo>
                <a:lnTo>
                  <a:pt x="167070" y="9516"/>
                </a:lnTo>
                <a:lnTo>
                  <a:pt x="172454" y="6295"/>
                </a:lnTo>
                <a:lnTo>
                  <a:pt x="174617" y="3221"/>
                </a:lnTo>
                <a:lnTo>
                  <a:pt x="173543" y="1024"/>
                </a:lnTo>
                <a:lnTo>
                  <a:pt x="170306" y="0"/>
                </a:lnTo>
                <a:lnTo>
                  <a:pt x="159522" y="0"/>
                </a:lnTo>
                <a:lnTo>
                  <a:pt x="151975" y="1024"/>
                </a:lnTo>
                <a:lnTo>
                  <a:pt x="140117" y="1024"/>
                </a:lnTo>
                <a:lnTo>
                  <a:pt x="130422" y="2049"/>
                </a:lnTo>
                <a:lnTo>
                  <a:pt x="113179" y="5270"/>
                </a:lnTo>
                <a:lnTo>
                  <a:pt x="91611" y="9516"/>
                </a:lnTo>
                <a:lnTo>
                  <a:pt x="66822" y="14787"/>
                </a:lnTo>
                <a:lnTo>
                  <a:pt x="43106" y="20058"/>
                </a:lnTo>
                <a:lnTo>
                  <a:pt x="22627" y="25329"/>
                </a:lnTo>
                <a:lnTo>
                  <a:pt x="7532" y="28550"/>
                </a:lnTo>
                <a:lnTo>
                  <a:pt x="0" y="30600"/>
                </a:lnTo>
                <a:lnTo>
                  <a:pt x="3221" y="30600"/>
                </a:lnTo>
                <a:lnTo>
                  <a:pt x="11843" y="31771"/>
                </a:lnTo>
                <a:lnTo>
                  <a:pt x="21553" y="32796"/>
                </a:lnTo>
                <a:lnTo>
                  <a:pt x="31248" y="33821"/>
                </a:lnTo>
                <a:lnTo>
                  <a:pt x="36647" y="37042"/>
                </a:lnTo>
                <a:lnTo>
                  <a:pt x="35558" y="41288"/>
                </a:lnTo>
                <a:lnTo>
                  <a:pt x="31248" y="46559"/>
                </a:lnTo>
                <a:lnTo>
                  <a:pt x="23700" y="51830"/>
                </a:lnTo>
                <a:lnTo>
                  <a:pt x="22627" y="55051"/>
                </a:lnTo>
                <a:lnTo>
                  <a:pt x="60363" y="55051"/>
                </a:lnTo>
                <a:lnTo>
                  <a:pt x="68984" y="59150"/>
                </a:lnTo>
                <a:lnTo>
                  <a:pt x="68984" y="67642"/>
                </a:lnTo>
                <a:lnTo>
                  <a:pt x="62511" y="76134"/>
                </a:lnTo>
                <a:lnTo>
                  <a:pt x="53890" y="83601"/>
                </a:lnTo>
                <a:lnTo>
                  <a:pt x="44195" y="90922"/>
                </a:lnTo>
                <a:lnTo>
                  <a:pt x="34484" y="98389"/>
                </a:lnTo>
                <a:lnTo>
                  <a:pt x="25863" y="104684"/>
                </a:lnTo>
                <a:lnTo>
                  <a:pt x="22627" y="107906"/>
                </a:lnTo>
                <a:lnTo>
                  <a:pt x="25863" y="106881"/>
                </a:lnTo>
                <a:lnTo>
                  <a:pt x="33411" y="105709"/>
                </a:lnTo>
                <a:lnTo>
                  <a:pt x="45268" y="102635"/>
                </a:lnTo>
                <a:lnTo>
                  <a:pt x="59274" y="100439"/>
                </a:lnTo>
                <a:lnTo>
                  <a:pt x="73295" y="97364"/>
                </a:lnTo>
                <a:lnTo>
                  <a:pt x="86227" y="94143"/>
                </a:lnTo>
                <a:lnTo>
                  <a:pt x="98085" y="91947"/>
                </a:lnTo>
                <a:lnTo>
                  <a:pt x="104558" y="90922"/>
                </a:lnTo>
                <a:lnTo>
                  <a:pt x="111017" y="88872"/>
                </a:lnTo>
                <a:lnTo>
                  <a:pt x="120727" y="85651"/>
                </a:lnTo>
                <a:lnTo>
                  <a:pt x="132570" y="81405"/>
                </a:lnTo>
                <a:lnTo>
                  <a:pt x="147664" y="77159"/>
                </a:lnTo>
                <a:lnTo>
                  <a:pt x="161685" y="74084"/>
                </a:lnTo>
                <a:lnTo>
                  <a:pt x="176765" y="70863"/>
                </a:lnTo>
                <a:lnTo>
                  <a:pt x="189712" y="68667"/>
                </a:lnTo>
                <a:lnTo>
                  <a:pt x="200481" y="68667"/>
                </a:lnTo>
                <a:lnTo>
                  <a:pt x="210191" y="67642"/>
                </a:lnTo>
                <a:lnTo>
                  <a:pt x="208028" y="62371"/>
                </a:lnTo>
                <a:lnTo>
                  <a:pt x="201569" y="56076"/>
                </a:lnTo>
                <a:lnTo>
                  <a:pt x="199407" y="49633"/>
                </a:lnTo>
                <a:lnTo>
                  <a:pt x="197259" y="44363"/>
                </a:lnTo>
                <a:lnTo>
                  <a:pt x="190785" y="37042"/>
                </a:lnTo>
                <a:lnTo>
                  <a:pt x="182164" y="30600"/>
                </a:lnTo>
                <a:lnTo>
                  <a:pt x="178928" y="28550"/>
                </a:lnTo>
                <a:lnTo>
                  <a:pt x="177854" y="28550"/>
                </a:lnTo>
                <a:close/>
              </a:path>
            </a:pathLst>
          </a:custGeom>
          <a:solidFill>
            <a:srgbClr val="7E7EBE"/>
          </a:solidFill>
        </p:spPr>
        <p:txBody>
          <a:bodyPr wrap="square" lIns="0" tIns="0" rIns="0" bIns="0" rtlCol="0">
            <a:noAutofit/>
          </a:bodyPr>
          <a:lstStyle/>
          <a:p>
            <a:endParaRPr/>
          </a:p>
        </p:txBody>
      </p:sp>
      <p:sp>
        <p:nvSpPr>
          <p:cNvPr id="15" name="object 15"/>
          <p:cNvSpPr/>
          <p:nvPr/>
        </p:nvSpPr>
        <p:spPr>
          <a:xfrm>
            <a:off x="8723339" y="1051159"/>
            <a:ext cx="190785" cy="61346"/>
          </a:xfrm>
          <a:custGeom>
            <a:avLst/>
            <a:gdLst/>
            <a:ahLst/>
            <a:cxnLst/>
            <a:rect l="l" t="t" r="r" b="b"/>
            <a:pathLst>
              <a:path w="190785" h="61346">
                <a:moveTo>
                  <a:pt x="4310" y="56076"/>
                </a:moveTo>
                <a:lnTo>
                  <a:pt x="0" y="59297"/>
                </a:lnTo>
                <a:lnTo>
                  <a:pt x="2147" y="60321"/>
                </a:lnTo>
                <a:lnTo>
                  <a:pt x="5384" y="61346"/>
                </a:lnTo>
                <a:lnTo>
                  <a:pt x="10769" y="60321"/>
                </a:lnTo>
                <a:lnTo>
                  <a:pt x="17242" y="60321"/>
                </a:lnTo>
                <a:lnTo>
                  <a:pt x="23715" y="59297"/>
                </a:lnTo>
                <a:lnTo>
                  <a:pt x="29100" y="57100"/>
                </a:lnTo>
                <a:lnTo>
                  <a:pt x="35573" y="55051"/>
                </a:lnTo>
                <a:lnTo>
                  <a:pt x="46342" y="50805"/>
                </a:lnTo>
                <a:lnTo>
                  <a:pt x="66822" y="44509"/>
                </a:lnTo>
                <a:lnTo>
                  <a:pt x="91611" y="34992"/>
                </a:lnTo>
                <a:lnTo>
                  <a:pt x="119638" y="25475"/>
                </a:lnTo>
                <a:lnTo>
                  <a:pt x="145517" y="15958"/>
                </a:lnTo>
                <a:lnTo>
                  <a:pt x="169232" y="7467"/>
                </a:lnTo>
                <a:lnTo>
                  <a:pt x="184327" y="2196"/>
                </a:lnTo>
                <a:lnTo>
                  <a:pt x="190785" y="0"/>
                </a:lnTo>
                <a:lnTo>
                  <a:pt x="68984" y="23279"/>
                </a:lnTo>
                <a:lnTo>
                  <a:pt x="64674" y="25475"/>
                </a:lnTo>
                <a:lnTo>
                  <a:pt x="56052" y="28550"/>
                </a:lnTo>
                <a:lnTo>
                  <a:pt x="46342" y="33967"/>
                </a:lnTo>
                <a:lnTo>
                  <a:pt x="34484" y="40263"/>
                </a:lnTo>
                <a:lnTo>
                  <a:pt x="22627" y="46559"/>
                </a:lnTo>
                <a:lnTo>
                  <a:pt x="11857" y="51830"/>
                </a:lnTo>
                <a:lnTo>
                  <a:pt x="4310" y="56076"/>
                </a:lnTo>
                <a:close/>
              </a:path>
            </a:pathLst>
          </a:custGeom>
          <a:solidFill>
            <a:srgbClr val="7E7EBE"/>
          </a:solidFill>
        </p:spPr>
        <p:txBody>
          <a:bodyPr wrap="square" lIns="0" tIns="0" rIns="0" bIns="0" rtlCol="0">
            <a:noAutofit/>
          </a:bodyPr>
          <a:lstStyle/>
          <a:p>
            <a:endParaRPr/>
          </a:p>
        </p:txBody>
      </p:sp>
      <p:sp>
        <p:nvSpPr>
          <p:cNvPr id="16" name="object 16"/>
          <p:cNvSpPr/>
          <p:nvPr/>
        </p:nvSpPr>
        <p:spPr>
          <a:xfrm>
            <a:off x="8876403" y="1076635"/>
            <a:ext cx="116416" cy="179794"/>
          </a:xfrm>
          <a:custGeom>
            <a:avLst/>
            <a:gdLst/>
            <a:ahLst/>
            <a:cxnLst/>
            <a:rect l="l" t="t" r="r" b="b"/>
            <a:pathLst>
              <a:path w="116416" h="179794">
                <a:moveTo>
                  <a:pt x="16168" y="85651"/>
                </a:moveTo>
                <a:lnTo>
                  <a:pt x="21553" y="90922"/>
                </a:lnTo>
                <a:lnTo>
                  <a:pt x="28026" y="94143"/>
                </a:lnTo>
                <a:lnTo>
                  <a:pt x="33411" y="95168"/>
                </a:lnTo>
                <a:lnTo>
                  <a:pt x="37721" y="98389"/>
                </a:lnTo>
                <a:lnTo>
                  <a:pt x="42032" y="102488"/>
                </a:lnTo>
                <a:lnTo>
                  <a:pt x="44195" y="107906"/>
                </a:lnTo>
                <a:lnTo>
                  <a:pt x="46342" y="114201"/>
                </a:lnTo>
                <a:lnTo>
                  <a:pt x="48505" y="121522"/>
                </a:lnTo>
                <a:lnTo>
                  <a:pt x="53890" y="130014"/>
                </a:lnTo>
                <a:lnTo>
                  <a:pt x="59274" y="137481"/>
                </a:lnTo>
                <a:lnTo>
                  <a:pt x="62511" y="144802"/>
                </a:lnTo>
                <a:lnTo>
                  <a:pt x="63600" y="152269"/>
                </a:lnTo>
                <a:lnTo>
                  <a:pt x="62511" y="162810"/>
                </a:lnTo>
                <a:lnTo>
                  <a:pt x="62511" y="172327"/>
                </a:lnTo>
                <a:lnTo>
                  <a:pt x="65748" y="179794"/>
                </a:lnTo>
                <a:lnTo>
                  <a:pt x="73295" y="177598"/>
                </a:lnTo>
                <a:lnTo>
                  <a:pt x="78680" y="172327"/>
                </a:lnTo>
                <a:lnTo>
                  <a:pt x="84079" y="163835"/>
                </a:lnTo>
                <a:lnTo>
                  <a:pt x="90537" y="154318"/>
                </a:lnTo>
                <a:lnTo>
                  <a:pt x="97011" y="143777"/>
                </a:lnTo>
                <a:lnTo>
                  <a:pt x="103469" y="134260"/>
                </a:lnTo>
                <a:lnTo>
                  <a:pt x="107795" y="125768"/>
                </a:lnTo>
                <a:lnTo>
                  <a:pt x="111017" y="120497"/>
                </a:lnTo>
                <a:lnTo>
                  <a:pt x="112105" y="118447"/>
                </a:lnTo>
                <a:lnTo>
                  <a:pt x="103469" y="90922"/>
                </a:lnTo>
                <a:lnTo>
                  <a:pt x="103469" y="87701"/>
                </a:lnTo>
                <a:lnTo>
                  <a:pt x="105632" y="81405"/>
                </a:lnTo>
                <a:lnTo>
                  <a:pt x="108869" y="73938"/>
                </a:lnTo>
                <a:lnTo>
                  <a:pt x="113179" y="66617"/>
                </a:lnTo>
                <a:lnTo>
                  <a:pt x="116416" y="53879"/>
                </a:lnTo>
                <a:lnTo>
                  <a:pt x="116416" y="33821"/>
                </a:lnTo>
                <a:lnTo>
                  <a:pt x="112105" y="13762"/>
                </a:lnTo>
                <a:lnTo>
                  <a:pt x="105632" y="3074"/>
                </a:lnTo>
                <a:lnTo>
                  <a:pt x="97011" y="0"/>
                </a:lnTo>
                <a:lnTo>
                  <a:pt x="87301" y="0"/>
                </a:lnTo>
                <a:lnTo>
                  <a:pt x="78680" y="2049"/>
                </a:lnTo>
                <a:lnTo>
                  <a:pt x="74369" y="7320"/>
                </a:lnTo>
                <a:lnTo>
                  <a:pt x="72221" y="15812"/>
                </a:lnTo>
                <a:lnTo>
                  <a:pt x="71132" y="25329"/>
                </a:lnTo>
                <a:lnTo>
                  <a:pt x="71132" y="37042"/>
                </a:lnTo>
                <a:lnTo>
                  <a:pt x="53890" y="41288"/>
                </a:lnTo>
                <a:lnTo>
                  <a:pt x="52816" y="39092"/>
                </a:lnTo>
                <a:lnTo>
                  <a:pt x="48505" y="32796"/>
                </a:lnTo>
                <a:lnTo>
                  <a:pt x="42032" y="26354"/>
                </a:lnTo>
                <a:lnTo>
                  <a:pt x="33411" y="23279"/>
                </a:lnTo>
                <a:lnTo>
                  <a:pt x="24789" y="21083"/>
                </a:lnTo>
                <a:lnTo>
                  <a:pt x="19405" y="20058"/>
                </a:lnTo>
                <a:lnTo>
                  <a:pt x="16168" y="20058"/>
                </a:lnTo>
                <a:lnTo>
                  <a:pt x="11857" y="22108"/>
                </a:lnTo>
                <a:lnTo>
                  <a:pt x="5384" y="24304"/>
                </a:lnTo>
                <a:lnTo>
                  <a:pt x="2147" y="25329"/>
                </a:lnTo>
                <a:lnTo>
                  <a:pt x="0" y="25329"/>
                </a:lnTo>
                <a:lnTo>
                  <a:pt x="3236" y="27525"/>
                </a:lnTo>
                <a:lnTo>
                  <a:pt x="10769" y="30600"/>
                </a:lnTo>
                <a:lnTo>
                  <a:pt x="17242" y="34846"/>
                </a:lnTo>
                <a:lnTo>
                  <a:pt x="20479" y="38067"/>
                </a:lnTo>
                <a:lnTo>
                  <a:pt x="20479" y="48608"/>
                </a:lnTo>
                <a:lnTo>
                  <a:pt x="19405" y="57100"/>
                </a:lnTo>
                <a:lnTo>
                  <a:pt x="16168" y="64421"/>
                </a:lnTo>
                <a:lnTo>
                  <a:pt x="12931" y="69838"/>
                </a:lnTo>
                <a:lnTo>
                  <a:pt x="11857" y="73938"/>
                </a:lnTo>
                <a:lnTo>
                  <a:pt x="11857" y="79355"/>
                </a:lnTo>
                <a:lnTo>
                  <a:pt x="16168" y="85651"/>
                </a:lnTo>
                <a:close/>
              </a:path>
            </a:pathLst>
          </a:custGeom>
          <a:solidFill>
            <a:srgbClr val="FFB7AE"/>
          </a:solidFill>
        </p:spPr>
        <p:txBody>
          <a:bodyPr wrap="square" lIns="0" tIns="0" rIns="0" bIns="0" rtlCol="0">
            <a:noAutofit/>
          </a:bodyPr>
          <a:lstStyle/>
          <a:p>
            <a:endParaRPr/>
          </a:p>
        </p:txBody>
      </p:sp>
      <p:sp>
        <p:nvSpPr>
          <p:cNvPr id="17" name="object 17"/>
          <p:cNvSpPr/>
          <p:nvPr/>
        </p:nvSpPr>
        <p:spPr>
          <a:xfrm>
            <a:off x="8958320" y="1088203"/>
            <a:ext cx="20479" cy="23279"/>
          </a:xfrm>
          <a:custGeom>
            <a:avLst/>
            <a:gdLst/>
            <a:ahLst/>
            <a:cxnLst/>
            <a:rect l="l" t="t" r="r" b="b"/>
            <a:pathLst>
              <a:path w="20479" h="23279">
                <a:moveTo>
                  <a:pt x="4310" y="22254"/>
                </a:moveTo>
                <a:lnTo>
                  <a:pt x="4310" y="19033"/>
                </a:lnTo>
                <a:lnTo>
                  <a:pt x="6473" y="15958"/>
                </a:lnTo>
                <a:lnTo>
                  <a:pt x="9710" y="16983"/>
                </a:lnTo>
                <a:lnTo>
                  <a:pt x="12931" y="21229"/>
                </a:lnTo>
                <a:lnTo>
                  <a:pt x="16168" y="23279"/>
                </a:lnTo>
                <a:lnTo>
                  <a:pt x="19405" y="20058"/>
                </a:lnTo>
                <a:lnTo>
                  <a:pt x="19405" y="16983"/>
                </a:lnTo>
                <a:lnTo>
                  <a:pt x="18331" y="13762"/>
                </a:lnTo>
                <a:lnTo>
                  <a:pt x="17242" y="9516"/>
                </a:lnTo>
                <a:lnTo>
                  <a:pt x="18331" y="5270"/>
                </a:lnTo>
                <a:lnTo>
                  <a:pt x="20479" y="6442"/>
                </a:lnTo>
                <a:lnTo>
                  <a:pt x="17242" y="3221"/>
                </a:lnTo>
                <a:lnTo>
                  <a:pt x="15094" y="1024"/>
                </a:lnTo>
                <a:lnTo>
                  <a:pt x="10784" y="0"/>
                </a:lnTo>
                <a:lnTo>
                  <a:pt x="4310" y="0"/>
                </a:lnTo>
                <a:lnTo>
                  <a:pt x="1073" y="2196"/>
                </a:lnTo>
                <a:lnTo>
                  <a:pt x="0" y="4245"/>
                </a:lnTo>
                <a:lnTo>
                  <a:pt x="0" y="23279"/>
                </a:lnTo>
                <a:lnTo>
                  <a:pt x="4310" y="22254"/>
                </a:lnTo>
                <a:close/>
              </a:path>
            </a:pathLst>
          </a:custGeom>
          <a:solidFill>
            <a:srgbClr val="000000"/>
          </a:solidFill>
        </p:spPr>
        <p:txBody>
          <a:bodyPr wrap="square" lIns="0" tIns="0" rIns="0" bIns="0" rtlCol="0">
            <a:noAutofit/>
          </a:bodyPr>
          <a:lstStyle/>
          <a:p>
            <a:endParaRPr/>
          </a:p>
        </p:txBody>
      </p:sp>
      <p:sp>
        <p:nvSpPr>
          <p:cNvPr id="18" name="object 18"/>
          <p:cNvSpPr/>
          <p:nvPr/>
        </p:nvSpPr>
        <p:spPr>
          <a:xfrm>
            <a:off x="8807418" y="1164336"/>
            <a:ext cx="29100" cy="28550"/>
          </a:xfrm>
          <a:custGeom>
            <a:avLst/>
            <a:gdLst/>
            <a:ahLst/>
            <a:cxnLst/>
            <a:rect l="l" t="t" r="r" b="b"/>
            <a:pathLst>
              <a:path w="29100" h="28550">
                <a:moveTo>
                  <a:pt x="1073" y="22254"/>
                </a:moveTo>
                <a:lnTo>
                  <a:pt x="0" y="25475"/>
                </a:lnTo>
                <a:lnTo>
                  <a:pt x="1073" y="28550"/>
                </a:lnTo>
                <a:lnTo>
                  <a:pt x="3221" y="28550"/>
                </a:lnTo>
                <a:lnTo>
                  <a:pt x="6458" y="27525"/>
                </a:lnTo>
                <a:lnTo>
                  <a:pt x="8621" y="25475"/>
                </a:lnTo>
                <a:lnTo>
                  <a:pt x="11857" y="23279"/>
                </a:lnTo>
                <a:lnTo>
                  <a:pt x="15079" y="22254"/>
                </a:lnTo>
                <a:lnTo>
                  <a:pt x="19390" y="20204"/>
                </a:lnTo>
                <a:lnTo>
                  <a:pt x="24789" y="20204"/>
                </a:lnTo>
                <a:lnTo>
                  <a:pt x="29100" y="16983"/>
                </a:lnTo>
                <a:lnTo>
                  <a:pt x="26937" y="13762"/>
                </a:lnTo>
                <a:lnTo>
                  <a:pt x="23715" y="10688"/>
                </a:lnTo>
                <a:lnTo>
                  <a:pt x="19390" y="11713"/>
                </a:lnTo>
                <a:lnTo>
                  <a:pt x="15079" y="13762"/>
                </a:lnTo>
                <a:lnTo>
                  <a:pt x="14005" y="13762"/>
                </a:lnTo>
                <a:lnTo>
                  <a:pt x="15079" y="0"/>
                </a:lnTo>
                <a:lnTo>
                  <a:pt x="7532" y="3221"/>
                </a:lnTo>
                <a:lnTo>
                  <a:pt x="7532" y="5270"/>
                </a:lnTo>
                <a:lnTo>
                  <a:pt x="6458" y="10688"/>
                </a:lnTo>
                <a:lnTo>
                  <a:pt x="4310" y="15958"/>
                </a:lnTo>
                <a:lnTo>
                  <a:pt x="2147" y="19033"/>
                </a:lnTo>
                <a:lnTo>
                  <a:pt x="1073" y="22254"/>
                </a:lnTo>
                <a:close/>
              </a:path>
            </a:pathLst>
          </a:custGeom>
          <a:solidFill>
            <a:srgbClr val="FFB7AE"/>
          </a:solidFill>
        </p:spPr>
        <p:txBody>
          <a:bodyPr wrap="square" lIns="0" tIns="0" rIns="0" bIns="0" rtlCol="0">
            <a:noAutofit/>
          </a:bodyPr>
          <a:lstStyle/>
          <a:p>
            <a:endParaRPr/>
          </a:p>
        </p:txBody>
      </p:sp>
      <p:sp>
        <p:nvSpPr>
          <p:cNvPr id="19" name="object 19"/>
          <p:cNvSpPr/>
          <p:nvPr/>
        </p:nvSpPr>
        <p:spPr>
          <a:xfrm>
            <a:off x="9029467" y="1050134"/>
            <a:ext cx="15094" cy="61346"/>
          </a:xfrm>
          <a:custGeom>
            <a:avLst/>
            <a:gdLst/>
            <a:ahLst/>
            <a:cxnLst/>
            <a:rect l="l" t="t" r="r" b="b"/>
            <a:pathLst>
              <a:path w="15094" h="61346">
                <a:moveTo>
                  <a:pt x="9695" y="54026"/>
                </a:moveTo>
                <a:lnTo>
                  <a:pt x="11857" y="61346"/>
                </a:lnTo>
                <a:lnTo>
                  <a:pt x="14005" y="60321"/>
                </a:lnTo>
                <a:lnTo>
                  <a:pt x="15094" y="54026"/>
                </a:lnTo>
                <a:lnTo>
                  <a:pt x="15094" y="45534"/>
                </a:lnTo>
                <a:lnTo>
                  <a:pt x="14005" y="34992"/>
                </a:lnTo>
                <a:lnTo>
                  <a:pt x="11857" y="23279"/>
                </a:lnTo>
                <a:lnTo>
                  <a:pt x="7547" y="11713"/>
                </a:lnTo>
                <a:lnTo>
                  <a:pt x="4310" y="3221"/>
                </a:lnTo>
                <a:lnTo>
                  <a:pt x="3236" y="0"/>
                </a:lnTo>
                <a:lnTo>
                  <a:pt x="2147" y="3221"/>
                </a:lnTo>
                <a:lnTo>
                  <a:pt x="1073" y="10541"/>
                </a:lnTo>
                <a:lnTo>
                  <a:pt x="0" y="20058"/>
                </a:lnTo>
                <a:lnTo>
                  <a:pt x="0" y="30746"/>
                </a:lnTo>
                <a:lnTo>
                  <a:pt x="1073" y="39092"/>
                </a:lnTo>
                <a:lnTo>
                  <a:pt x="1073" y="44509"/>
                </a:lnTo>
                <a:lnTo>
                  <a:pt x="2147" y="44509"/>
                </a:lnTo>
                <a:lnTo>
                  <a:pt x="3236" y="40263"/>
                </a:lnTo>
                <a:lnTo>
                  <a:pt x="4310" y="32796"/>
                </a:lnTo>
                <a:lnTo>
                  <a:pt x="5384" y="26500"/>
                </a:lnTo>
                <a:lnTo>
                  <a:pt x="5384" y="23279"/>
                </a:lnTo>
                <a:lnTo>
                  <a:pt x="6458" y="28550"/>
                </a:lnTo>
                <a:lnTo>
                  <a:pt x="7547" y="40263"/>
                </a:lnTo>
                <a:lnTo>
                  <a:pt x="9695" y="54026"/>
                </a:lnTo>
                <a:close/>
              </a:path>
            </a:pathLst>
          </a:custGeom>
          <a:solidFill>
            <a:srgbClr val="FFD542"/>
          </a:solidFill>
        </p:spPr>
        <p:txBody>
          <a:bodyPr wrap="square" lIns="0" tIns="0" rIns="0" bIns="0" rtlCol="0">
            <a:noAutofit/>
          </a:bodyPr>
          <a:lstStyle/>
          <a:p>
            <a:endParaRPr/>
          </a:p>
        </p:txBody>
      </p:sp>
      <p:sp>
        <p:nvSpPr>
          <p:cNvPr id="20" name="object 20"/>
          <p:cNvSpPr/>
          <p:nvPr/>
        </p:nvSpPr>
        <p:spPr>
          <a:xfrm>
            <a:off x="8856998" y="1200354"/>
            <a:ext cx="19405" cy="18008"/>
          </a:xfrm>
          <a:custGeom>
            <a:avLst/>
            <a:gdLst/>
            <a:ahLst/>
            <a:cxnLst/>
            <a:rect l="l" t="t" r="r" b="b"/>
            <a:pathLst>
              <a:path w="19405" h="18008">
                <a:moveTo>
                  <a:pt x="0" y="0"/>
                </a:moveTo>
                <a:lnTo>
                  <a:pt x="0" y="14787"/>
                </a:lnTo>
                <a:lnTo>
                  <a:pt x="19405" y="18008"/>
                </a:lnTo>
                <a:lnTo>
                  <a:pt x="19405" y="11566"/>
                </a:lnTo>
                <a:lnTo>
                  <a:pt x="0" y="0"/>
                </a:lnTo>
                <a:close/>
              </a:path>
            </a:pathLst>
          </a:custGeom>
          <a:solidFill>
            <a:srgbClr val="FFB7AE"/>
          </a:solidFill>
        </p:spPr>
        <p:txBody>
          <a:bodyPr wrap="square" lIns="0" tIns="0" rIns="0" bIns="0" rtlCol="0">
            <a:noAutofit/>
          </a:bodyPr>
          <a:lstStyle/>
          <a:p>
            <a:endParaRPr/>
          </a:p>
        </p:txBody>
      </p:sp>
      <p:sp>
        <p:nvSpPr>
          <p:cNvPr id="21" name="object 21"/>
          <p:cNvSpPr/>
          <p:nvPr/>
        </p:nvSpPr>
        <p:spPr>
          <a:xfrm>
            <a:off x="8708245" y="1240472"/>
            <a:ext cx="147679" cy="280321"/>
          </a:xfrm>
          <a:custGeom>
            <a:avLst/>
            <a:gdLst/>
            <a:ahLst/>
            <a:cxnLst/>
            <a:rect l="l" t="t" r="r" b="b"/>
            <a:pathLst>
              <a:path w="147679" h="280321">
                <a:moveTo>
                  <a:pt x="34499" y="215812"/>
                </a:moveTo>
                <a:lnTo>
                  <a:pt x="47431" y="190482"/>
                </a:lnTo>
                <a:lnTo>
                  <a:pt x="60363" y="167203"/>
                </a:lnTo>
                <a:lnTo>
                  <a:pt x="70058" y="148169"/>
                </a:lnTo>
                <a:lnTo>
                  <a:pt x="76532" y="136456"/>
                </a:lnTo>
                <a:lnTo>
                  <a:pt x="80842" y="129135"/>
                </a:lnTo>
                <a:lnTo>
                  <a:pt x="86227" y="118447"/>
                </a:lnTo>
                <a:lnTo>
                  <a:pt x="91626" y="107906"/>
                </a:lnTo>
                <a:lnTo>
                  <a:pt x="97011" y="96339"/>
                </a:lnTo>
                <a:lnTo>
                  <a:pt x="102395" y="86822"/>
                </a:lnTo>
                <a:lnTo>
                  <a:pt x="105632" y="78330"/>
                </a:lnTo>
                <a:lnTo>
                  <a:pt x="108869" y="72034"/>
                </a:lnTo>
                <a:lnTo>
                  <a:pt x="112105" y="70863"/>
                </a:lnTo>
                <a:lnTo>
                  <a:pt x="116416" y="75109"/>
                </a:lnTo>
                <a:lnTo>
                  <a:pt x="122889" y="80380"/>
                </a:lnTo>
                <a:lnTo>
                  <a:pt x="130422" y="86822"/>
                </a:lnTo>
                <a:lnTo>
                  <a:pt x="136895" y="92093"/>
                </a:lnTo>
                <a:lnTo>
                  <a:pt x="142280" y="96339"/>
                </a:lnTo>
                <a:lnTo>
                  <a:pt x="145517" y="97364"/>
                </a:lnTo>
                <a:lnTo>
                  <a:pt x="144443" y="95314"/>
                </a:lnTo>
                <a:lnTo>
                  <a:pt x="137969" y="85797"/>
                </a:lnTo>
                <a:lnTo>
                  <a:pt x="130422" y="72034"/>
                </a:lnTo>
                <a:lnTo>
                  <a:pt x="125037" y="57100"/>
                </a:lnTo>
                <a:lnTo>
                  <a:pt x="122889" y="43484"/>
                </a:lnTo>
                <a:lnTo>
                  <a:pt x="127200" y="31771"/>
                </a:lnTo>
                <a:lnTo>
                  <a:pt x="135821" y="22254"/>
                </a:lnTo>
                <a:lnTo>
                  <a:pt x="143369" y="16983"/>
                </a:lnTo>
                <a:lnTo>
                  <a:pt x="147679" y="14934"/>
                </a:lnTo>
                <a:lnTo>
                  <a:pt x="136895" y="0"/>
                </a:lnTo>
                <a:lnTo>
                  <a:pt x="133659" y="1171"/>
                </a:lnTo>
                <a:lnTo>
                  <a:pt x="125037" y="6442"/>
                </a:lnTo>
                <a:lnTo>
                  <a:pt x="115342" y="15958"/>
                </a:lnTo>
                <a:lnTo>
                  <a:pt x="107795" y="29721"/>
                </a:lnTo>
                <a:lnTo>
                  <a:pt x="101321" y="46559"/>
                </a:lnTo>
                <a:lnTo>
                  <a:pt x="87316" y="78330"/>
                </a:lnTo>
                <a:lnTo>
                  <a:pt x="70058" y="118447"/>
                </a:lnTo>
                <a:lnTo>
                  <a:pt x="50668" y="162957"/>
                </a:lnTo>
                <a:lnTo>
                  <a:pt x="32337" y="207320"/>
                </a:lnTo>
                <a:lnTo>
                  <a:pt x="16168" y="244362"/>
                </a:lnTo>
                <a:lnTo>
                  <a:pt x="4310" y="270804"/>
                </a:lnTo>
                <a:lnTo>
                  <a:pt x="0" y="280321"/>
                </a:lnTo>
                <a:lnTo>
                  <a:pt x="3236" y="275036"/>
                </a:lnTo>
                <a:lnTo>
                  <a:pt x="10784" y="260175"/>
                </a:lnTo>
                <a:lnTo>
                  <a:pt x="21553" y="240116"/>
                </a:lnTo>
                <a:lnTo>
                  <a:pt x="34499" y="215812"/>
                </a:lnTo>
                <a:close/>
              </a:path>
            </a:pathLst>
          </a:custGeom>
          <a:solidFill>
            <a:srgbClr val="3EFF9E"/>
          </a:solidFill>
        </p:spPr>
        <p:txBody>
          <a:bodyPr wrap="square" lIns="0" tIns="0" rIns="0" bIns="0" rtlCol="0">
            <a:noAutofit/>
          </a:bodyPr>
          <a:lstStyle/>
          <a:p>
            <a:endParaRPr/>
          </a:p>
        </p:txBody>
      </p:sp>
      <p:sp>
        <p:nvSpPr>
          <p:cNvPr id="22" name="object 22"/>
          <p:cNvSpPr/>
          <p:nvPr/>
        </p:nvSpPr>
        <p:spPr>
          <a:xfrm>
            <a:off x="8369779" y="1585302"/>
            <a:ext cx="356797" cy="166046"/>
          </a:xfrm>
          <a:custGeom>
            <a:avLst/>
            <a:gdLst/>
            <a:ahLst/>
            <a:cxnLst/>
            <a:rect l="l" t="t" r="r" b="b"/>
            <a:pathLst>
              <a:path w="356797" h="166046">
                <a:moveTo>
                  <a:pt x="45268" y="131141"/>
                </a:moveTo>
                <a:lnTo>
                  <a:pt x="34484" y="130087"/>
                </a:lnTo>
                <a:lnTo>
                  <a:pt x="28026" y="131141"/>
                </a:lnTo>
                <a:lnTo>
                  <a:pt x="19405" y="137496"/>
                </a:lnTo>
                <a:lnTo>
                  <a:pt x="9695" y="150175"/>
                </a:lnTo>
                <a:lnTo>
                  <a:pt x="3236" y="160761"/>
                </a:lnTo>
                <a:lnTo>
                  <a:pt x="0" y="166046"/>
                </a:lnTo>
                <a:lnTo>
                  <a:pt x="37721" y="139604"/>
                </a:lnTo>
                <a:lnTo>
                  <a:pt x="39884" y="139604"/>
                </a:lnTo>
                <a:lnTo>
                  <a:pt x="46342" y="141727"/>
                </a:lnTo>
                <a:lnTo>
                  <a:pt x="56052" y="143835"/>
                </a:lnTo>
                <a:lnTo>
                  <a:pt x="67910" y="145944"/>
                </a:lnTo>
                <a:lnTo>
                  <a:pt x="80842" y="149121"/>
                </a:lnTo>
                <a:lnTo>
                  <a:pt x="93774" y="151244"/>
                </a:lnTo>
                <a:lnTo>
                  <a:pt x="104558" y="154406"/>
                </a:lnTo>
                <a:lnTo>
                  <a:pt x="114253" y="156529"/>
                </a:lnTo>
                <a:lnTo>
                  <a:pt x="121801" y="157583"/>
                </a:lnTo>
                <a:lnTo>
                  <a:pt x="128274" y="158638"/>
                </a:lnTo>
                <a:lnTo>
                  <a:pt x="140132" y="158638"/>
                </a:lnTo>
                <a:lnTo>
                  <a:pt x="144443" y="157583"/>
                </a:lnTo>
                <a:lnTo>
                  <a:pt x="148753" y="157583"/>
                </a:lnTo>
                <a:lnTo>
                  <a:pt x="153064" y="156529"/>
                </a:lnTo>
                <a:lnTo>
                  <a:pt x="157374" y="154406"/>
                </a:lnTo>
                <a:lnTo>
                  <a:pt x="165996" y="149121"/>
                </a:lnTo>
                <a:lnTo>
                  <a:pt x="176780" y="141727"/>
                </a:lnTo>
                <a:lnTo>
                  <a:pt x="189712" y="133264"/>
                </a:lnTo>
                <a:lnTo>
                  <a:pt x="202643" y="123747"/>
                </a:lnTo>
                <a:lnTo>
                  <a:pt x="214501" y="115285"/>
                </a:lnTo>
                <a:lnTo>
                  <a:pt x="223123" y="107876"/>
                </a:lnTo>
                <a:lnTo>
                  <a:pt x="228522" y="103645"/>
                </a:lnTo>
                <a:lnTo>
                  <a:pt x="233907" y="99414"/>
                </a:lnTo>
                <a:lnTo>
                  <a:pt x="242528" y="92020"/>
                </a:lnTo>
                <a:lnTo>
                  <a:pt x="254386" y="83557"/>
                </a:lnTo>
                <a:lnTo>
                  <a:pt x="267318" y="74040"/>
                </a:lnTo>
                <a:lnTo>
                  <a:pt x="281338" y="64509"/>
                </a:lnTo>
                <a:lnTo>
                  <a:pt x="295344" y="53938"/>
                </a:lnTo>
                <a:lnTo>
                  <a:pt x="307202" y="45475"/>
                </a:lnTo>
                <a:lnTo>
                  <a:pt x="316912" y="39136"/>
                </a:lnTo>
                <a:lnTo>
                  <a:pt x="324445" y="34904"/>
                </a:lnTo>
                <a:lnTo>
                  <a:pt x="329844" y="33850"/>
                </a:lnTo>
                <a:lnTo>
                  <a:pt x="335229" y="33850"/>
                </a:lnTo>
                <a:lnTo>
                  <a:pt x="340613" y="34904"/>
                </a:lnTo>
                <a:lnTo>
                  <a:pt x="344939" y="37013"/>
                </a:lnTo>
                <a:lnTo>
                  <a:pt x="348160" y="38081"/>
                </a:lnTo>
                <a:lnTo>
                  <a:pt x="352471" y="39136"/>
                </a:lnTo>
                <a:lnTo>
                  <a:pt x="355708" y="39136"/>
                </a:lnTo>
                <a:lnTo>
                  <a:pt x="356797" y="35958"/>
                </a:lnTo>
                <a:lnTo>
                  <a:pt x="354634" y="31727"/>
                </a:lnTo>
                <a:lnTo>
                  <a:pt x="350323" y="25387"/>
                </a:lnTo>
                <a:lnTo>
                  <a:pt x="343850" y="17979"/>
                </a:lnTo>
                <a:lnTo>
                  <a:pt x="337391" y="11639"/>
                </a:lnTo>
                <a:lnTo>
                  <a:pt x="331992" y="5285"/>
                </a:lnTo>
                <a:lnTo>
                  <a:pt x="327681" y="1054"/>
                </a:lnTo>
                <a:lnTo>
                  <a:pt x="325533" y="0"/>
                </a:lnTo>
                <a:lnTo>
                  <a:pt x="323371" y="1054"/>
                </a:lnTo>
                <a:lnTo>
                  <a:pt x="319060" y="5285"/>
                </a:lnTo>
                <a:lnTo>
                  <a:pt x="310439" y="12693"/>
                </a:lnTo>
                <a:lnTo>
                  <a:pt x="300744" y="21156"/>
                </a:lnTo>
                <a:lnTo>
                  <a:pt x="287797" y="31727"/>
                </a:lnTo>
                <a:lnTo>
                  <a:pt x="273791" y="43367"/>
                </a:lnTo>
                <a:lnTo>
                  <a:pt x="258696" y="54992"/>
                </a:lnTo>
                <a:lnTo>
                  <a:pt x="243602" y="67686"/>
                </a:lnTo>
                <a:lnTo>
                  <a:pt x="228522" y="81434"/>
                </a:lnTo>
                <a:lnTo>
                  <a:pt x="212353" y="94128"/>
                </a:lnTo>
                <a:lnTo>
                  <a:pt x="198333" y="105768"/>
                </a:lnTo>
                <a:lnTo>
                  <a:pt x="185401" y="116339"/>
                </a:lnTo>
                <a:lnTo>
                  <a:pt x="173543" y="125856"/>
                </a:lnTo>
                <a:lnTo>
                  <a:pt x="163848" y="133264"/>
                </a:lnTo>
                <a:lnTo>
                  <a:pt x="157374" y="138550"/>
                </a:lnTo>
                <a:lnTo>
                  <a:pt x="153064" y="141727"/>
                </a:lnTo>
                <a:lnTo>
                  <a:pt x="148753" y="143835"/>
                </a:lnTo>
                <a:lnTo>
                  <a:pt x="144443" y="145944"/>
                </a:lnTo>
                <a:lnTo>
                  <a:pt x="140132" y="147012"/>
                </a:lnTo>
                <a:lnTo>
                  <a:pt x="126111" y="147012"/>
                </a:lnTo>
                <a:lnTo>
                  <a:pt x="120727" y="145944"/>
                </a:lnTo>
                <a:lnTo>
                  <a:pt x="116416" y="145944"/>
                </a:lnTo>
                <a:lnTo>
                  <a:pt x="108869" y="144889"/>
                </a:lnTo>
                <a:lnTo>
                  <a:pt x="99159" y="141727"/>
                </a:lnTo>
                <a:lnTo>
                  <a:pt x="86227" y="139604"/>
                </a:lnTo>
                <a:lnTo>
                  <a:pt x="72221" y="136427"/>
                </a:lnTo>
                <a:lnTo>
                  <a:pt x="58200" y="133264"/>
                </a:lnTo>
                <a:lnTo>
                  <a:pt x="45268" y="131141"/>
                </a:lnTo>
                <a:close/>
              </a:path>
            </a:pathLst>
          </a:custGeom>
          <a:solidFill>
            <a:srgbClr val="FFB7AE"/>
          </a:solidFill>
        </p:spPr>
        <p:txBody>
          <a:bodyPr wrap="square" lIns="0" tIns="0" rIns="0" bIns="0" rtlCol="0">
            <a:noAutofit/>
          </a:bodyPr>
          <a:lstStyle/>
          <a:p>
            <a:endParaRPr/>
          </a:p>
        </p:txBody>
      </p:sp>
      <p:sp>
        <p:nvSpPr>
          <p:cNvPr id="23" name="object 23"/>
          <p:cNvSpPr/>
          <p:nvPr/>
        </p:nvSpPr>
        <p:spPr>
          <a:xfrm>
            <a:off x="8997131" y="1155991"/>
            <a:ext cx="59289" cy="84480"/>
          </a:xfrm>
          <a:custGeom>
            <a:avLst/>
            <a:gdLst/>
            <a:ahLst/>
            <a:cxnLst/>
            <a:rect l="l" t="t" r="r" b="b"/>
            <a:pathLst>
              <a:path w="59289" h="84480">
                <a:moveTo>
                  <a:pt x="14005" y="49633"/>
                </a:moveTo>
                <a:lnTo>
                  <a:pt x="11857" y="53879"/>
                </a:lnTo>
                <a:lnTo>
                  <a:pt x="7547" y="62371"/>
                </a:lnTo>
                <a:lnTo>
                  <a:pt x="3236" y="72913"/>
                </a:lnTo>
                <a:lnTo>
                  <a:pt x="0" y="79209"/>
                </a:lnTo>
                <a:lnTo>
                  <a:pt x="1073" y="82430"/>
                </a:lnTo>
                <a:lnTo>
                  <a:pt x="4310" y="84480"/>
                </a:lnTo>
                <a:lnTo>
                  <a:pt x="8621" y="84480"/>
                </a:lnTo>
                <a:lnTo>
                  <a:pt x="15094" y="81405"/>
                </a:lnTo>
                <a:lnTo>
                  <a:pt x="19405" y="77159"/>
                </a:lnTo>
                <a:lnTo>
                  <a:pt x="24789" y="70863"/>
                </a:lnTo>
                <a:lnTo>
                  <a:pt x="31263" y="61200"/>
                </a:lnTo>
                <a:lnTo>
                  <a:pt x="37721" y="51683"/>
                </a:lnTo>
                <a:lnTo>
                  <a:pt x="43106" y="42166"/>
                </a:lnTo>
                <a:lnTo>
                  <a:pt x="49579" y="33821"/>
                </a:lnTo>
                <a:lnTo>
                  <a:pt x="53890" y="25329"/>
                </a:lnTo>
                <a:lnTo>
                  <a:pt x="57126" y="20058"/>
                </a:lnTo>
                <a:lnTo>
                  <a:pt x="59289" y="12591"/>
                </a:lnTo>
                <a:lnTo>
                  <a:pt x="58200" y="6295"/>
                </a:lnTo>
                <a:lnTo>
                  <a:pt x="56052" y="2049"/>
                </a:lnTo>
                <a:lnTo>
                  <a:pt x="54964" y="0"/>
                </a:lnTo>
                <a:lnTo>
                  <a:pt x="52816" y="1024"/>
                </a:lnTo>
                <a:lnTo>
                  <a:pt x="48505" y="4099"/>
                </a:lnTo>
                <a:lnTo>
                  <a:pt x="40958" y="8345"/>
                </a:lnTo>
                <a:lnTo>
                  <a:pt x="30174" y="9516"/>
                </a:lnTo>
                <a:lnTo>
                  <a:pt x="20479" y="10541"/>
                </a:lnTo>
                <a:lnTo>
                  <a:pt x="15094" y="12591"/>
                </a:lnTo>
                <a:lnTo>
                  <a:pt x="12931" y="15812"/>
                </a:lnTo>
                <a:lnTo>
                  <a:pt x="11857" y="16837"/>
                </a:lnTo>
                <a:lnTo>
                  <a:pt x="14005" y="49633"/>
                </a:lnTo>
                <a:close/>
              </a:path>
            </a:pathLst>
          </a:custGeom>
          <a:solidFill>
            <a:srgbClr val="FFB7AE"/>
          </a:solidFill>
        </p:spPr>
        <p:txBody>
          <a:bodyPr wrap="square" lIns="0" tIns="0" rIns="0" bIns="0" rtlCol="0">
            <a:noAutofit/>
          </a:bodyPr>
          <a:lstStyle/>
          <a:p>
            <a:endParaRPr/>
          </a:p>
        </p:txBody>
      </p:sp>
      <p:sp>
        <p:nvSpPr>
          <p:cNvPr id="24" name="object 24"/>
          <p:cNvSpPr/>
          <p:nvPr/>
        </p:nvSpPr>
        <p:spPr>
          <a:xfrm>
            <a:off x="9317264" y="1734424"/>
            <a:ext cx="63600" cy="32781"/>
          </a:xfrm>
          <a:custGeom>
            <a:avLst/>
            <a:gdLst/>
            <a:ahLst/>
            <a:cxnLst/>
            <a:rect l="l" t="t" r="r" b="b"/>
            <a:pathLst>
              <a:path w="63600" h="32781">
                <a:moveTo>
                  <a:pt x="0" y="4231"/>
                </a:moveTo>
                <a:lnTo>
                  <a:pt x="4310" y="32781"/>
                </a:lnTo>
                <a:lnTo>
                  <a:pt x="63600" y="25387"/>
                </a:lnTo>
                <a:lnTo>
                  <a:pt x="63600" y="0"/>
                </a:lnTo>
                <a:lnTo>
                  <a:pt x="0" y="4231"/>
                </a:lnTo>
                <a:close/>
              </a:path>
            </a:pathLst>
          </a:custGeom>
          <a:solidFill>
            <a:srgbClr val="8B1800"/>
          </a:solidFill>
        </p:spPr>
        <p:txBody>
          <a:bodyPr wrap="square" lIns="0" tIns="0" rIns="0" bIns="0" rtlCol="0">
            <a:noAutofit/>
          </a:bodyPr>
          <a:lstStyle/>
          <a:p>
            <a:endParaRPr/>
          </a:p>
        </p:txBody>
      </p:sp>
      <p:sp>
        <p:nvSpPr>
          <p:cNvPr id="25" name="object 25"/>
          <p:cNvSpPr/>
          <p:nvPr/>
        </p:nvSpPr>
        <p:spPr>
          <a:xfrm>
            <a:off x="9698867" y="2790965"/>
            <a:ext cx="30129" cy="59218"/>
          </a:xfrm>
          <a:custGeom>
            <a:avLst/>
            <a:gdLst/>
            <a:ahLst/>
            <a:cxnLst/>
            <a:rect l="l" t="t" r="r" b="b"/>
            <a:pathLst>
              <a:path w="30129" h="59218">
                <a:moveTo>
                  <a:pt x="30129" y="54988"/>
                </a:moveTo>
                <a:lnTo>
                  <a:pt x="30129" y="45469"/>
                </a:lnTo>
                <a:lnTo>
                  <a:pt x="29085" y="34894"/>
                </a:lnTo>
                <a:lnTo>
                  <a:pt x="26997" y="22196"/>
                </a:lnTo>
                <a:lnTo>
                  <a:pt x="22671" y="11625"/>
                </a:lnTo>
                <a:lnTo>
                  <a:pt x="16108" y="4231"/>
                </a:lnTo>
                <a:lnTo>
                  <a:pt x="9695" y="1054"/>
                </a:lnTo>
                <a:lnTo>
                  <a:pt x="7606" y="0"/>
                </a:lnTo>
                <a:lnTo>
                  <a:pt x="7606" y="32781"/>
                </a:lnTo>
                <a:lnTo>
                  <a:pt x="6413" y="43354"/>
                </a:lnTo>
                <a:lnTo>
                  <a:pt x="4325" y="51815"/>
                </a:lnTo>
                <a:lnTo>
                  <a:pt x="1044" y="57103"/>
                </a:lnTo>
                <a:lnTo>
                  <a:pt x="0" y="59218"/>
                </a:lnTo>
                <a:lnTo>
                  <a:pt x="30129" y="54988"/>
                </a:lnTo>
                <a:close/>
              </a:path>
            </a:pathLst>
          </a:custGeom>
          <a:solidFill>
            <a:srgbClr val="3E3E3E"/>
          </a:solidFill>
        </p:spPr>
        <p:txBody>
          <a:bodyPr wrap="square" lIns="0" tIns="0" rIns="0" bIns="0" rtlCol="0">
            <a:noAutofit/>
          </a:bodyPr>
          <a:lstStyle/>
          <a:p>
            <a:endParaRPr/>
          </a:p>
        </p:txBody>
      </p:sp>
      <p:sp>
        <p:nvSpPr>
          <p:cNvPr id="26" name="object 26"/>
          <p:cNvSpPr/>
          <p:nvPr/>
        </p:nvSpPr>
        <p:spPr>
          <a:xfrm>
            <a:off x="9403507" y="2842782"/>
            <a:ext cx="139043" cy="100471"/>
          </a:xfrm>
          <a:custGeom>
            <a:avLst/>
            <a:gdLst/>
            <a:ahLst/>
            <a:cxnLst/>
            <a:rect l="l" t="t" r="r" b="b"/>
            <a:pathLst>
              <a:path w="139043" h="100471">
                <a:moveTo>
                  <a:pt x="4310" y="93068"/>
                </a:moveTo>
                <a:lnTo>
                  <a:pt x="7547" y="96241"/>
                </a:lnTo>
                <a:lnTo>
                  <a:pt x="11857" y="98355"/>
                </a:lnTo>
                <a:lnTo>
                  <a:pt x="16138" y="99414"/>
                </a:lnTo>
                <a:lnTo>
                  <a:pt x="20464" y="100471"/>
                </a:lnTo>
                <a:lnTo>
                  <a:pt x="26877" y="99414"/>
                </a:lnTo>
                <a:lnTo>
                  <a:pt x="35529" y="97298"/>
                </a:lnTo>
                <a:lnTo>
                  <a:pt x="45224" y="95182"/>
                </a:lnTo>
                <a:lnTo>
                  <a:pt x="57156" y="92010"/>
                </a:lnTo>
                <a:lnTo>
                  <a:pt x="70133" y="88837"/>
                </a:lnTo>
                <a:lnTo>
                  <a:pt x="81916" y="86723"/>
                </a:lnTo>
                <a:lnTo>
                  <a:pt x="93849" y="83550"/>
                </a:lnTo>
                <a:lnTo>
                  <a:pt x="104588" y="81434"/>
                </a:lnTo>
                <a:lnTo>
                  <a:pt x="112046" y="79319"/>
                </a:lnTo>
                <a:lnTo>
                  <a:pt x="117415" y="77204"/>
                </a:lnTo>
                <a:lnTo>
                  <a:pt x="119653" y="77204"/>
                </a:lnTo>
                <a:lnTo>
                  <a:pt x="112046" y="54995"/>
                </a:lnTo>
                <a:lnTo>
                  <a:pt x="139043" y="32786"/>
                </a:lnTo>
                <a:lnTo>
                  <a:pt x="134718" y="14806"/>
                </a:lnTo>
                <a:lnTo>
                  <a:pt x="131436" y="0"/>
                </a:lnTo>
                <a:lnTo>
                  <a:pt x="130392" y="2115"/>
                </a:lnTo>
                <a:lnTo>
                  <a:pt x="128304" y="8461"/>
                </a:lnTo>
                <a:lnTo>
                  <a:pt x="123978" y="17979"/>
                </a:lnTo>
                <a:lnTo>
                  <a:pt x="118609" y="28554"/>
                </a:lnTo>
                <a:lnTo>
                  <a:pt x="112046" y="39131"/>
                </a:lnTo>
                <a:lnTo>
                  <a:pt x="104588" y="49707"/>
                </a:lnTo>
                <a:lnTo>
                  <a:pt x="95937" y="57109"/>
                </a:lnTo>
                <a:lnTo>
                  <a:pt x="86242" y="62398"/>
                </a:lnTo>
                <a:lnTo>
                  <a:pt x="75502" y="65570"/>
                </a:lnTo>
                <a:lnTo>
                  <a:pt x="61482" y="69800"/>
                </a:lnTo>
                <a:lnTo>
                  <a:pt x="47461" y="74032"/>
                </a:lnTo>
                <a:lnTo>
                  <a:pt x="33440" y="78261"/>
                </a:lnTo>
                <a:lnTo>
                  <a:pt x="20464" y="81434"/>
                </a:lnTo>
                <a:lnTo>
                  <a:pt x="9695" y="84607"/>
                </a:lnTo>
                <a:lnTo>
                  <a:pt x="2147" y="86723"/>
                </a:lnTo>
                <a:lnTo>
                  <a:pt x="0" y="87780"/>
                </a:lnTo>
                <a:lnTo>
                  <a:pt x="4310" y="93068"/>
                </a:lnTo>
                <a:close/>
              </a:path>
            </a:pathLst>
          </a:custGeom>
          <a:solidFill>
            <a:srgbClr val="3E3E3E"/>
          </a:solidFill>
        </p:spPr>
        <p:txBody>
          <a:bodyPr wrap="square" lIns="0" tIns="0" rIns="0" bIns="0" rtlCol="0">
            <a:noAutofit/>
          </a:bodyPr>
          <a:lstStyle/>
          <a:p>
            <a:endParaRPr/>
          </a:p>
        </p:txBody>
      </p:sp>
      <p:sp>
        <p:nvSpPr>
          <p:cNvPr id="27" name="object 27"/>
          <p:cNvSpPr/>
          <p:nvPr/>
        </p:nvSpPr>
        <p:spPr>
          <a:xfrm>
            <a:off x="8935678" y="1655111"/>
            <a:ext cx="243617" cy="189296"/>
          </a:xfrm>
          <a:custGeom>
            <a:avLst/>
            <a:gdLst/>
            <a:ahLst/>
            <a:cxnLst/>
            <a:rect l="l" t="t" r="r" b="b"/>
            <a:pathLst>
              <a:path w="243617" h="189296">
                <a:moveTo>
                  <a:pt x="7547" y="185080"/>
                </a:moveTo>
                <a:lnTo>
                  <a:pt x="19405" y="177671"/>
                </a:lnTo>
                <a:lnTo>
                  <a:pt x="35573" y="169209"/>
                </a:lnTo>
                <a:lnTo>
                  <a:pt x="52831" y="159692"/>
                </a:lnTo>
                <a:lnTo>
                  <a:pt x="71147" y="150175"/>
                </a:lnTo>
                <a:lnTo>
                  <a:pt x="89478" y="140658"/>
                </a:lnTo>
                <a:lnTo>
                  <a:pt x="106721" y="132195"/>
                </a:lnTo>
                <a:lnTo>
                  <a:pt x="119653" y="126910"/>
                </a:lnTo>
                <a:lnTo>
                  <a:pt x="130437" y="121624"/>
                </a:lnTo>
                <a:lnTo>
                  <a:pt x="140132" y="116324"/>
                </a:lnTo>
                <a:lnTo>
                  <a:pt x="148753" y="108930"/>
                </a:lnTo>
                <a:lnTo>
                  <a:pt x="157389" y="102576"/>
                </a:lnTo>
                <a:lnTo>
                  <a:pt x="164922" y="96236"/>
                </a:lnTo>
                <a:lnTo>
                  <a:pt x="173558" y="89897"/>
                </a:lnTo>
                <a:lnTo>
                  <a:pt x="181105" y="85666"/>
                </a:lnTo>
                <a:lnTo>
                  <a:pt x="190800" y="83543"/>
                </a:lnTo>
                <a:lnTo>
                  <a:pt x="206969" y="78257"/>
                </a:lnTo>
                <a:lnTo>
                  <a:pt x="215590" y="70849"/>
                </a:lnTo>
                <a:lnTo>
                  <a:pt x="219901" y="64509"/>
                </a:lnTo>
                <a:lnTo>
                  <a:pt x="220975" y="61332"/>
                </a:lnTo>
                <a:lnTo>
                  <a:pt x="243617" y="9516"/>
                </a:lnTo>
                <a:lnTo>
                  <a:pt x="236069" y="2108"/>
                </a:lnTo>
                <a:lnTo>
                  <a:pt x="227448" y="0"/>
                </a:lnTo>
                <a:lnTo>
                  <a:pt x="220975" y="1054"/>
                </a:lnTo>
                <a:lnTo>
                  <a:pt x="217753" y="2108"/>
                </a:lnTo>
                <a:lnTo>
                  <a:pt x="215590" y="8462"/>
                </a:lnTo>
                <a:lnTo>
                  <a:pt x="209117" y="23264"/>
                </a:lnTo>
                <a:lnTo>
                  <a:pt x="200496" y="39121"/>
                </a:lnTo>
                <a:lnTo>
                  <a:pt x="190800" y="49707"/>
                </a:lnTo>
                <a:lnTo>
                  <a:pt x="185416" y="53938"/>
                </a:lnTo>
                <a:lnTo>
                  <a:pt x="176780" y="60278"/>
                </a:lnTo>
                <a:lnTo>
                  <a:pt x="166011" y="68740"/>
                </a:lnTo>
                <a:lnTo>
                  <a:pt x="155227" y="77203"/>
                </a:lnTo>
                <a:lnTo>
                  <a:pt x="143369" y="86720"/>
                </a:lnTo>
                <a:lnTo>
                  <a:pt x="132585" y="96236"/>
                </a:lnTo>
                <a:lnTo>
                  <a:pt x="123963" y="103645"/>
                </a:lnTo>
                <a:lnTo>
                  <a:pt x="116416" y="108930"/>
                </a:lnTo>
                <a:lnTo>
                  <a:pt x="106721" y="115270"/>
                </a:lnTo>
                <a:lnTo>
                  <a:pt x="90552" y="126910"/>
                </a:lnTo>
                <a:lnTo>
                  <a:pt x="70073" y="140658"/>
                </a:lnTo>
                <a:lnTo>
                  <a:pt x="48520" y="155460"/>
                </a:lnTo>
                <a:lnTo>
                  <a:pt x="28026" y="169209"/>
                </a:lnTo>
                <a:lnTo>
                  <a:pt x="11857" y="180848"/>
                </a:lnTo>
                <a:lnTo>
                  <a:pt x="1088" y="188242"/>
                </a:lnTo>
                <a:lnTo>
                  <a:pt x="0" y="189296"/>
                </a:lnTo>
                <a:lnTo>
                  <a:pt x="7547" y="185080"/>
                </a:lnTo>
                <a:close/>
              </a:path>
            </a:pathLst>
          </a:custGeom>
          <a:solidFill>
            <a:srgbClr val="FFB7AE"/>
          </a:solidFill>
        </p:spPr>
        <p:txBody>
          <a:bodyPr wrap="square" lIns="0" tIns="0" rIns="0" bIns="0" rtlCol="0">
            <a:noAutofit/>
          </a:bodyPr>
          <a:lstStyle/>
          <a:p>
            <a:endParaRPr/>
          </a:p>
        </p:txBody>
      </p:sp>
      <p:sp>
        <p:nvSpPr>
          <p:cNvPr id="28" name="object 28"/>
          <p:cNvSpPr/>
          <p:nvPr/>
        </p:nvSpPr>
        <p:spPr>
          <a:xfrm>
            <a:off x="8664049" y="1826444"/>
            <a:ext cx="165996" cy="99399"/>
          </a:xfrm>
          <a:custGeom>
            <a:avLst/>
            <a:gdLst/>
            <a:ahLst/>
            <a:cxnLst/>
            <a:rect l="l" t="t" r="r" b="b"/>
            <a:pathLst>
              <a:path w="165996" h="99399">
                <a:moveTo>
                  <a:pt x="50668" y="30658"/>
                </a:moveTo>
                <a:lnTo>
                  <a:pt x="7547" y="67671"/>
                </a:lnTo>
                <a:lnTo>
                  <a:pt x="0" y="97291"/>
                </a:lnTo>
                <a:lnTo>
                  <a:pt x="1073" y="98345"/>
                </a:lnTo>
                <a:lnTo>
                  <a:pt x="4310" y="99399"/>
                </a:lnTo>
                <a:lnTo>
                  <a:pt x="8621" y="98345"/>
                </a:lnTo>
                <a:lnTo>
                  <a:pt x="16168" y="90951"/>
                </a:lnTo>
                <a:lnTo>
                  <a:pt x="24789" y="79311"/>
                </a:lnTo>
                <a:lnTo>
                  <a:pt x="31263" y="69794"/>
                </a:lnTo>
                <a:lnTo>
                  <a:pt x="36647" y="66617"/>
                </a:lnTo>
                <a:lnTo>
                  <a:pt x="40958" y="71903"/>
                </a:lnTo>
                <a:lnTo>
                  <a:pt x="40958" y="81434"/>
                </a:lnTo>
                <a:lnTo>
                  <a:pt x="39884" y="87774"/>
                </a:lnTo>
                <a:lnTo>
                  <a:pt x="40958" y="90951"/>
                </a:lnTo>
                <a:lnTo>
                  <a:pt x="48505" y="90951"/>
                </a:lnTo>
                <a:lnTo>
                  <a:pt x="59289" y="82488"/>
                </a:lnTo>
                <a:lnTo>
                  <a:pt x="66836" y="66617"/>
                </a:lnTo>
                <a:lnTo>
                  <a:pt x="71147" y="50761"/>
                </a:lnTo>
                <a:lnTo>
                  <a:pt x="73295" y="43352"/>
                </a:lnTo>
                <a:lnTo>
                  <a:pt x="136895" y="20087"/>
                </a:lnTo>
                <a:lnTo>
                  <a:pt x="141206" y="17964"/>
                </a:lnTo>
                <a:lnTo>
                  <a:pt x="149827" y="13748"/>
                </a:lnTo>
                <a:lnTo>
                  <a:pt x="159537" y="8448"/>
                </a:lnTo>
                <a:lnTo>
                  <a:pt x="165996" y="3162"/>
                </a:lnTo>
                <a:lnTo>
                  <a:pt x="164922" y="0"/>
                </a:lnTo>
                <a:lnTo>
                  <a:pt x="161685" y="1054"/>
                </a:lnTo>
                <a:lnTo>
                  <a:pt x="155227" y="2108"/>
                </a:lnTo>
                <a:lnTo>
                  <a:pt x="148753" y="4216"/>
                </a:lnTo>
                <a:lnTo>
                  <a:pt x="140132" y="7393"/>
                </a:lnTo>
                <a:lnTo>
                  <a:pt x="131511" y="9516"/>
                </a:lnTo>
                <a:lnTo>
                  <a:pt x="121801" y="12679"/>
                </a:lnTo>
                <a:lnTo>
                  <a:pt x="112105" y="15856"/>
                </a:lnTo>
                <a:lnTo>
                  <a:pt x="100248" y="19033"/>
                </a:lnTo>
                <a:lnTo>
                  <a:pt x="88390" y="21141"/>
                </a:lnTo>
                <a:lnTo>
                  <a:pt x="76532" y="24319"/>
                </a:lnTo>
                <a:lnTo>
                  <a:pt x="66836" y="26427"/>
                </a:lnTo>
                <a:lnTo>
                  <a:pt x="58200" y="28550"/>
                </a:lnTo>
                <a:lnTo>
                  <a:pt x="52816" y="30658"/>
                </a:lnTo>
                <a:lnTo>
                  <a:pt x="50668" y="30658"/>
                </a:lnTo>
                <a:close/>
              </a:path>
            </a:pathLst>
          </a:custGeom>
          <a:solidFill>
            <a:srgbClr val="FFB7AE"/>
          </a:solidFill>
        </p:spPr>
        <p:txBody>
          <a:bodyPr wrap="square" lIns="0" tIns="0" rIns="0" bIns="0" rtlCol="0">
            <a:noAutofit/>
          </a:bodyPr>
          <a:lstStyle/>
          <a:p>
            <a:endParaRPr/>
          </a:p>
        </p:txBody>
      </p:sp>
      <p:sp>
        <p:nvSpPr>
          <p:cNvPr id="29" name="object 29"/>
          <p:cNvSpPr/>
          <p:nvPr/>
        </p:nvSpPr>
        <p:spPr>
          <a:xfrm>
            <a:off x="8941078" y="2147952"/>
            <a:ext cx="156301" cy="224201"/>
          </a:xfrm>
          <a:custGeom>
            <a:avLst/>
            <a:gdLst/>
            <a:ahLst/>
            <a:cxnLst/>
            <a:rect l="l" t="t" r="r" b="b"/>
            <a:pathLst>
              <a:path w="156301" h="224201">
                <a:moveTo>
                  <a:pt x="156301" y="0"/>
                </a:moveTo>
                <a:lnTo>
                  <a:pt x="3236" y="193528"/>
                </a:lnTo>
                <a:lnTo>
                  <a:pt x="0" y="224201"/>
                </a:lnTo>
                <a:lnTo>
                  <a:pt x="156301" y="0"/>
                </a:lnTo>
                <a:close/>
              </a:path>
            </a:pathLst>
          </a:custGeom>
          <a:solidFill>
            <a:srgbClr val="3E9EFF"/>
          </a:solidFill>
        </p:spPr>
        <p:txBody>
          <a:bodyPr wrap="square" lIns="0" tIns="0" rIns="0" bIns="0" rtlCol="0">
            <a:noAutofit/>
          </a:bodyPr>
          <a:lstStyle/>
          <a:p>
            <a:endParaRPr/>
          </a:p>
        </p:txBody>
      </p:sp>
      <p:sp>
        <p:nvSpPr>
          <p:cNvPr id="30" name="object 30"/>
          <p:cNvSpPr/>
          <p:nvPr/>
        </p:nvSpPr>
        <p:spPr>
          <a:xfrm>
            <a:off x="7986036" y="2018917"/>
            <a:ext cx="902224" cy="901068"/>
          </a:xfrm>
          <a:custGeom>
            <a:avLst/>
            <a:gdLst/>
            <a:ahLst/>
            <a:cxnLst/>
            <a:rect l="l" t="t" r="r" b="b"/>
            <a:pathLst>
              <a:path w="902224" h="901068">
                <a:moveTo>
                  <a:pt x="897914" y="0"/>
                </a:moveTo>
                <a:lnTo>
                  <a:pt x="0" y="9516"/>
                </a:lnTo>
                <a:lnTo>
                  <a:pt x="872035" y="24319"/>
                </a:lnTo>
                <a:lnTo>
                  <a:pt x="902224" y="901068"/>
                </a:lnTo>
                <a:lnTo>
                  <a:pt x="897914" y="0"/>
                </a:lnTo>
                <a:close/>
              </a:path>
            </a:pathLst>
          </a:custGeom>
          <a:solidFill>
            <a:srgbClr val="AE5F44"/>
          </a:solidFill>
        </p:spPr>
        <p:txBody>
          <a:bodyPr wrap="square" lIns="0" tIns="0" rIns="0" bIns="0" rtlCol="0">
            <a:noAutofit/>
          </a:bodyPr>
          <a:lstStyle/>
          <a:p>
            <a:endParaRPr/>
          </a:p>
        </p:txBody>
      </p:sp>
      <p:sp>
        <p:nvSpPr>
          <p:cNvPr id="31" name="object 31"/>
          <p:cNvSpPr/>
          <p:nvPr/>
        </p:nvSpPr>
        <p:spPr>
          <a:xfrm>
            <a:off x="7961243" y="2449355"/>
            <a:ext cx="508782" cy="489666"/>
          </a:xfrm>
          <a:custGeom>
            <a:avLst/>
            <a:gdLst/>
            <a:ahLst/>
            <a:cxnLst/>
            <a:rect l="l" t="t" r="r" b="b"/>
            <a:pathLst>
              <a:path w="508782" h="489666">
                <a:moveTo>
                  <a:pt x="24792" y="455823"/>
                </a:moveTo>
                <a:lnTo>
                  <a:pt x="0" y="0"/>
                </a:lnTo>
                <a:lnTo>
                  <a:pt x="0" y="489666"/>
                </a:lnTo>
                <a:lnTo>
                  <a:pt x="508782" y="489666"/>
                </a:lnTo>
                <a:lnTo>
                  <a:pt x="24792" y="455823"/>
                </a:lnTo>
                <a:close/>
              </a:path>
            </a:pathLst>
          </a:custGeom>
          <a:solidFill>
            <a:srgbClr val="AE5F44"/>
          </a:solidFill>
        </p:spPr>
        <p:txBody>
          <a:bodyPr wrap="square" lIns="0" tIns="0" rIns="0" bIns="0" rtlCol="0">
            <a:noAutofit/>
          </a:bodyPr>
          <a:lstStyle/>
          <a:p>
            <a:endParaRPr/>
          </a:p>
        </p:txBody>
      </p:sp>
      <p:sp>
        <p:nvSpPr>
          <p:cNvPr id="32" name="object 32"/>
          <p:cNvSpPr/>
          <p:nvPr/>
        </p:nvSpPr>
        <p:spPr>
          <a:xfrm>
            <a:off x="8373016" y="1782022"/>
            <a:ext cx="23715" cy="15856"/>
          </a:xfrm>
          <a:custGeom>
            <a:avLst/>
            <a:gdLst/>
            <a:ahLst/>
            <a:cxnLst/>
            <a:rect l="l" t="t" r="r" b="b"/>
            <a:pathLst>
              <a:path w="23715" h="15856">
                <a:moveTo>
                  <a:pt x="23715" y="8462"/>
                </a:moveTo>
                <a:lnTo>
                  <a:pt x="22627" y="7393"/>
                </a:lnTo>
                <a:lnTo>
                  <a:pt x="19390" y="5285"/>
                </a:lnTo>
                <a:lnTo>
                  <a:pt x="15079" y="2108"/>
                </a:lnTo>
                <a:lnTo>
                  <a:pt x="10769" y="0"/>
                </a:lnTo>
                <a:lnTo>
                  <a:pt x="7547" y="1054"/>
                </a:lnTo>
                <a:lnTo>
                  <a:pt x="4310" y="3162"/>
                </a:lnTo>
                <a:lnTo>
                  <a:pt x="1073" y="5285"/>
                </a:lnTo>
                <a:lnTo>
                  <a:pt x="0" y="6339"/>
                </a:lnTo>
                <a:lnTo>
                  <a:pt x="1073" y="6339"/>
                </a:lnTo>
                <a:lnTo>
                  <a:pt x="5384" y="8462"/>
                </a:lnTo>
                <a:lnTo>
                  <a:pt x="9695" y="8462"/>
                </a:lnTo>
                <a:lnTo>
                  <a:pt x="14005" y="10570"/>
                </a:lnTo>
                <a:lnTo>
                  <a:pt x="17242" y="12693"/>
                </a:lnTo>
                <a:lnTo>
                  <a:pt x="20479" y="15856"/>
                </a:lnTo>
                <a:lnTo>
                  <a:pt x="23715" y="8462"/>
                </a:lnTo>
                <a:close/>
              </a:path>
            </a:pathLst>
          </a:custGeom>
          <a:solidFill>
            <a:srgbClr val="FFB7AE"/>
          </a:solidFill>
        </p:spPr>
        <p:txBody>
          <a:bodyPr wrap="square" lIns="0" tIns="0" rIns="0" bIns="0" rtlCol="0">
            <a:noAutofit/>
          </a:bodyPr>
          <a:lstStyle/>
          <a:p>
            <a:endParaRPr/>
          </a:p>
        </p:txBody>
      </p:sp>
      <p:sp>
        <p:nvSpPr>
          <p:cNvPr id="33" name="object 33"/>
          <p:cNvSpPr/>
          <p:nvPr/>
        </p:nvSpPr>
        <p:spPr>
          <a:xfrm>
            <a:off x="8404263" y="1786253"/>
            <a:ext cx="24804" cy="16910"/>
          </a:xfrm>
          <a:custGeom>
            <a:avLst/>
            <a:gdLst/>
            <a:ahLst/>
            <a:cxnLst/>
            <a:rect l="l" t="t" r="r" b="b"/>
            <a:pathLst>
              <a:path w="24804" h="16910">
                <a:moveTo>
                  <a:pt x="20479" y="4231"/>
                </a:moveTo>
                <a:lnTo>
                  <a:pt x="16168" y="2108"/>
                </a:lnTo>
                <a:lnTo>
                  <a:pt x="11857" y="0"/>
                </a:lnTo>
                <a:lnTo>
                  <a:pt x="8636" y="0"/>
                </a:lnTo>
                <a:lnTo>
                  <a:pt x="4310" y="2108"/>
                </a:lnTo>
                <a:lnTo>
                  <a:pt x="1088" y="4231"/>
                </a:lnTo>
                <a:lnTo>
                  <a:pt x="0" y="5285"/>
                </a:lnTo>
                <a:lnTo>
                  <a:pt x="1088" y="5285"/>
                </a:lnTo>
                <a:lnTo>
                  <a:pt x="4310" y="6339"/>
                </a:lnTo>
                <a:lnTo>
                  <a:pt x="7547" y="7393"/>
                </a:lnTo>
                <a:lnTo>
                  <a:pt x="11857" y="8462"/>
                </a:lnTo>
                <a:lnTo>
                  <a:pt x="15094" y="9516"/>
                </a:lnTo>
                <a:lnTo>
                  <a:pt x="18331" y="12679"/>
                </a:lnTo>
                <a:lnTo>
                  <a:pt x="19405" y="15856"/>
                </a:lnTo>
                <a:lnTo>
                  <a:pt x="20479" y="16910"/>
                </a:lnTo>
                <a:lnTo>
                  <a:pt x="24804" y="8462"/>
                </a:lnTo>
                <a:lnTo>
                  <a:pt x="23715" y="7393"/>
                </a:lnTo>
                <a:lnTo>
                  <a:pt x="20479" y="4231"/>
                </a:lnTo>
                <a:close/>
              </a:path>
            </a:pathLst>
          </a:custGeom>
          <a:solidFill>
            <a:srgbClr val="FFB7AE"/>
          </a:solidFill>
        </p:spPr>
        <p:txBody>
          <a:bodyPr wrap="square" lIns="0" tIns="0" rIns="0" bIns="0" rtlCol="0">
            <a:noAutofit/>
          </a:bodyPr>
          <a:lstStyle/>
          <a:p>
            <a:endParaRPr/>
          </a:p>
        </p:txBody>
      </p:sp>
      <p:sp>
        <p:nvSpPr>
          <p:cNvPr id="34" name="object 34"/>
          <p:cNvSpPr/>
          <p:nvPr/>
        </p:nvSpPr>
        <p:spPr>
          <a:xfrm>
            <a:off x="8436600" y="1803165"/>
            <a:ext cx="24804" cy="17979"/>
          </a:xfrm>
          <a:custGeom>
            <a:avLst/>
            <a:gdLst/>
            <a:ahLst/>
            <a:cxnLst/>
            <a:rect l="l" t="t" r="r" b="b"/>
            <a:pathLst>
              <a:path w="24804" h="17979">
                <a:moveTo>
                  <a:pt x="0" y="5300"/>
                </a:moveTo>
                <a:lnTo>
                  <a:pt x="1088" y="5300"/>
                </a:lnTo>
                <a:lnTo>
                  <a:pt x="4325" y="6354"/>
                </a:lnTo>
                <a:lnTo>
                  <a:pt x="8636" y="7408"/>
                </a:lnTo>
                <a:lnTo>
                  <a:pt x="12946" y="9516"/>
                </a:lnTo>
                <a:lnTo>
                  <a:pt x="16168" y="12693"/>
                </a:lnTo>
                <a:lnTo>
                  <a:pt x="18331" y="16925"/>
                </a:lnTo>
                <a:lnTo>
                  <a:pt x="19405" y="17979"/>
                </a:lnTo>
                <a:lnTo>
                  <a:pt x="24804" y="10585"/>
                </a:lnTo>
                <a:lnTo>
                  <a:pt x="23715" y="9516"/>
                </a:lnTo>
                <a:lnTo>
                  <a:pt x="20494" y="6354"/>
                </a:lnTo>
                <a:lnTo>
                  <a:pt x="16168" y="2122"/>
                </a:lnTo>
                <a:lnTo>
                  <a:pt x="11857" y="0"/>
                </a:lnTo>
                <a:lnTo>
                  <a:pt x="8636" y="0"/>
                </a:lnTo>
                <a:lnTo>
                  <a:pt x="4325" y="2122"/>
                </a:lnTo>
                <a:lnTo>
                  <a:pt x="1088" y="4231"/>
                </a:lnTo>
                <a:lnTo>
                  <a:pt x="0" y="5300"/>
                </a:lnTo>
                <a:close/>
              </a:path>
            </a:pathLst>
          </a:custGeom>
          <a:solidFill>
            <a:srgbClr val="FFB7AE"/>
          </a:solidFill>
        </p:spPr>
        <p:txBody>
          <a:bodyPr wrap="square" lIns="0" tIns="0" rIns="0" bIns="0" rtlCol="0">
            <a:noAutofit/>
          </a:bodyPr>
          <a:lstStyle/>
          <a:p>
            <a:endParaRPr/>
          </a:p>
        </p:txBody>
      </p:sp>
      <p:sp>
        <p:nvSpPr>
          <p:cNvPr id="35" name="object 35"/>
          <p:cNvSpPr/>
          <p:nvPr/>
        </p:nvSpPr>
        <p:spPr>
          <a:xfrm>
            <a:off x="8113229" y="1674146"/>
            <a:ext cx="203732" cy="78257"/>
          </a:xfrm>
          <a:custGeom>
            <a:avLst/>
            <a:gdLst/>
            <a:ahLst/>
            <a:cxnLst/>
            <a:rect l="l" t="t" r="r" b="b"/>
            <a:pathLst>
              <a:path w="203732" h="78257">
                <a:moveTo>
                  <a:pt x="32337" y="0"/>
                </a:moveTo>
                <a:lnTo>
                  <a:pt x="0" y="75080"/>
                </a:lnTo>
                <a:lnTo>
                  <a:pt x="15094" y="78257"/>
                </a:lnTo>
                <a:lnTo>
                  <a:pt x="43121" y="14802"/>
                </a:lnTo>
                <a:lnTo>
                  <a:pt x="203732" y="61332"/>
                </a:lnTo>
                <a:lnTo>
                  <a:pt x="32337" y="0"/>
                </a:lnTo>
                <a:close/>
              </a:path>
            </a:pathLst>
          </a:custGeom>
          <a:solidFill>
            <a:srgbClr val="DB4848"/>
          </a:solidFill>
        </p:spPr>
        <p:txBody>
          <a:bodyPr wrap="square" lIns="0" tIns="0" rIns="0" bIns="0" rtlCol="0">
            <a:noAutofit/>
          </a:bodyPr>
          <a:lstStyle/>
          <a:p>
            <a:endParaRPr/>
          </a:p>
        </p:txBody>
      </p:sp>
      <p:sp>
        <p:nvSpPr>
          <p:cNvPr id="36" name="object 36"/>
          <p:cNvSpPr/>
          <p:nvPr/>
        </p:nvSpPr>
        <p:spPr>
          <a:xfrm>
            <a:off x="8164972" y="1641364"/>
            <a:ext cx="54979" cy="39121"/>
          </a:xfrm>
          <a:custGeom>
            <a:avLst/>
            <a:gdLst/>
            <a:ahLst/>
            <a:cxnLst/>
            <a:rect l="l" t="t" r="r" b="b"/>
            <a:pathLst>
              <a:path w="54979" h="39121">
                <a:moveTo>
                  <a:pt x="15094" y="17979"/>
                </a:moveTo>
                <a:lnTo>
                  <a:pt x="16168" y="7393"/>
                </a:lnTo>
                <a:lnTo>
                  <a:pt x="2147" y="0"/>
                </a:lnTo>
                <a:lnTo>
                  <a:pt x="0" y="16910"/>
                </a:lnTo>
                <a:lnTo>
                  <a:pt x="54979" y="39121"/>
                </a:lnTo>
                <a:lnTo>
                  <a:pt x="15094" y="17979"/>
                </a:lnTo>
                <a:close/>
              </a:path>
            </a:pathLst>
          </a:custGeom>
          <a:solidFill>
            <a:srgbClr val="7E7E7E"/>
          </a:solidFill>
        </p:spPr>
        <p:txBody>
          <a:bodyPr wrap="square" lIns="0" tIns="0" rIns="0" bIns="0" rtlCol="0">
            <a:noAutofit/>
          </a:bodyPr>
          <a:lstStyle/>
          <a:p>
            <a:endParaRPr/>
          </a:p>
        </p:txBody>
      </p:sp>
      <p:sp>
        <p:nvSpPr>
          <p:cNvPr id="37" name="object 37"/>
          <p:cNvSpPr/>
          <p:nvPr/>
        </p:nvSpPr>
        <p:spPr>
          <a:xfrm>
            <a:off x="8086276" y="1760865"/>
            <a:ext cx="217738" cy="74026"/>
          </a:xfrm>
          <a:custGeom>
            <a:avLst/>
            <a:gdLst/>
            <a:ahLst/>
            <a:cxnLst/>
            <a:rect l="l" t="t" r="r" b="b"/>
            <a:pathLst>
              <a:path w="217738" h="74026">
                <a:moveTo>
                  <a:pt x="209117" y="74026"/>
                </a:moveTo>
                <a:lnTo>
                  <a:pt x="212353" y="74026"/>
                </a:lnTo>
                <a:lnTo>
                  <a:pt x="216664" y="71917"/>
                </a:lnTo>
                <a:lnTo>
                  <a:pt x="217738" y="68740"/>
                </a:lnTo>
                <a:lnTo>
                  <a:pt x="217738" y="63455"/>
                </a:lnTo>
                <a:lnTo>
                  <a:pt x="213427" y="60278"/>
                </a:lnTo>
                <a:lnTo>
                  <a:pt x="8636" y="0"/>
                </a:lnTo>
                <a:lnTo>
                  <a:pt x="5399" y="0"/>
                </a:lnTo>
                <a:lnTo>
                  <a:pt x="1088" y="2108"/>
                </a:lnTo>
                <a:lnTo>
                  <a:pt x="0" y="6339"/>
                </a:lnTo>
                <a:lnTo>
                  <a:pt x="1088" y="9516"/>
                </a:lnTo>
                <a:lnTo>
                  <a:pt x="4310" y="12693"/>
                </a:lnTo>
                <a:lnTo>
                  <a:pt x="209117" y="74026"/>
                </a:lnTo>
                <a:close/>
              </a:path>
            </a:pathLst>
          </a:custGeom>
          <a:solidFill>
            <a:srgbClr val="DB4848"/>
          </a:solidFill>
        </p:spPr>
        <p:txBody>
          <a:bodyPr wrap="square" lIns="0" tIns="0" rIns="0" bIns="0" rtlCol="0">
            <a:noAutofit/>
          </a:bodyPr>
          <a:lstStyle/>
          <a:p>
            <a:endParaRPr/>
          </a:p>
        </p:txBody>
      </p:sp>
      <p:sp>
        <p:nvSpPr>
          <p:cNvPr id="38" name="object 38"/>
          <p:cNvSpPr/>
          <p:nvPr/>
        </p:nvSpPr>
        <p:spPr>
          <a:xfrm>
            <a:off x="8223173" y="1641364"/>
            <a:ext cx="72221" cy="21141"/>
          </a:xfrm>
          <a:custGeom>
            <a:avLst/>
            <a:gdLst/>
            <a:ahLst/>
            <a:cxnLst/>
            <a:rect l="l" t="t" r="r" b="b"/>
            <a:pathLst>
              <a:path w="72221" h="21141">
                <a:moveTo>
                  <a:pt x="2162" y="11625"/>
                </a:moveTo>
                <a:lnTo>
                  <a:pt x="0" y="12679"/>
                </a:lnTo>
                <a:lnTo>
                  <a:pt x="11857" y="16910"/>
                </a:lnTo>
                <a:lnTo>
                  <a:pt x="24804" y="21141"/>
                </a:lnTo>
                <a:lnTo>
                  <a:pt x="29115" y="17979"/>
                </a:lnTo>
                <a:lnTo>
                  <a:pt x="33425" y="14802"/>
                </a:lnTo>
                <a:lnTo>
                  <a:pt x="36662" y="12679"/>
                </a:lnTo>
                <a:lnTo>
                  <a:pt x="40973" y="11625"/>
                </a:lnTo>
                <a:lnTo>
                  <a:pt x="52831" y="13748"/>
                </a:lnTo>
                <a:lnTo>
                  <a:pt x="62526" y="16910"/>
                </a:lnTo>
                <a:lnTo>
                  <a:pt x="70073" y="20087"/>
                </a:lnTo>
                <a:lnTo>
                  <a:pt x="72221" y="21141"/>
                </a:lnTo>
                <a:lnTo>
                  <a:pt x="70073" y="16910"/>
                </a:lnTo>
                <a:lnTo>
                  <a:pt x="65763" y="11625"/>
                </a:lnTo>
                <a:lnTo>
                  <a:pt x="58215" y="6339"/>
                </a:lnTo>
                <a:lnTo>
                  <a:pt x="53905" y="4231"/>
                </a:lnTo>
                <a:lnTo>
                  <a:pt x="48505" y="2108"/>
                </a:lnTo>
                <a:lnTo>
                  <a:pt x="44195" y="1054"/>
                </a:lnTo>
                <a:lnTo>
                  <a:pt x="38810" y="0"/>
                </a:lnTo>
                <a:lnTo>
                  <a:pt x="30189" y="0"/>
                </a:lnTo>
                <a:lnTo>
                  <a:pt x="25878" y="1054"/>
                </a:lnTo>
                <a:lnTo>
                  <a:pt x="21568" y="2108"/>
                </a:lnTo>
                <a:lnTo>
                  <a:pt x="14020" y="5285"/>
                </a:lnTo>
                <a:lnTo>
                  <a:pt x="6473" y="8448"/>
                </a:lnTo>
                <a:lnTo>
                  <a:pt x="2162" y="11625"/>
                </a:lnTo>
                <a:close/>
              </a:path>
            </a:pathLst>
          </a:custGeom>
          <a:solidFill>
            <a:srgbClr val="FFFFFF"/>
          </a:solidFill>
        </p:spPr>
        <p:txBody>
          <a:bodyPr wrap="square" lIns="0" tIns="0" rIns="0" bIns="0" rtlCol="0">
            <a:noAutofit/>
          </a:bodyPr>
          <a:lstStyle/>
          <a:p>
            <a:endParaRPr/>
          </a:p>
        </p:txBody>
      </p:sp>
      <p:sp>
        <p:nvSpPr>
          <p:cNvPr id="39" name="object 39"/>
          <p:cNvSpPr/>
          <p:nvPr/>
        </p:nvSpPr>
        <p:spPr>
          <a:xfrm>
            <a:off x="8236120" y="1606458"/>
            <a:ext cx="72221" cy="43352"/>
          </a:xfrm>
          <a:custGeom>
            <a:avLst/>
            <a:gdLst/>
            <a:ahLst/>
            <a:cxnLst/>
            <a:rect l="l" t="t" r="r" b="b"/>
            <a:pathLst>
              <a:path w="72221" h="43352">
                <a:moveTo>
                  <a:pt x="50653" y="24319"/>
                </a:moveTo>
                <a:lnTo>
                  <a:pt x="56052" y="27496"/>
                </a:lnTo>
                <a:lnTo>
                  <a:pt x="65748" y="35958"/>
                </a:lnTo>
                <a:lnTo>
                  <a:pt x="70058" y="41244"/>
                </a:lnTo>
                <a:lnTo>
                  <a:pt x="72221" y="43352"/>
                </a:lnTo>
                <a:lnTo>
                  <a:pt x="72221" y="31727"/>
                </a:lnTo>
                <a:lnTo>
                  <a:pt x="71132" y="21156"/>
                </a:lnTo>
                <a:lnTo>
                  <a:pt x="64674" y="10570"/>
                </a:lnTo>
                <a:lnTo>
                  <a:pt x="48505" y="2108"/>
                </a:lnTo>
                <a:lnTo>
                  <a:pt x="37721" y="0"/>
                </a:lnTo>
                <a:lnTo>
                  <a:pt x="28026" y="1054"/>
                </a:lnTo>
                <a:lnTo>
                  <a:pt x="19390" y="4231"/>
                </a:lnTo>
                <a:lnTo>
                  <a:pt x="12931" y="9516"/>
                </a:lnTo>
                <a:lnTo>
                  <a:pt x="7532" y="13748"/>
                </a:lnTo>
                <a:lnTo>
                  <a:pt x="3221" y="19033"/>
                </a:lnTo>
                <a:lnTo>
                  <a:pt x="1073" y="22210"/>
                </a:lnTo>
                <a:lnTo>
                  <a:pt x="0" y="23264"/>
                </a:lnTo>
                <a:lnTo>
                  <a:pt x="5384" y="20087"/>
                </a:lnTo>
                <a:lnTo>
                  <a:pt x="11857" y="19033"/>
                </a:lnTo>
                <a:lnTo>
                  <a:pt x="19390" y="17979"/>
                </a:lnTo>
                <a:lnTo>
                  <a:pt x="28026" y="19033"/>
                </a:lnTo>
                <a:lnTo>
                  <a:pt x="36647" y="20087"/>
                </a:lnTo>
                <a:lnTo>
                  <a:pt x="44195" y="22210"/>
                </a:lnTo>
                <a:lnTo>
                  <a:pt x="50653" y="24319"/>
                </a:lnTo>
                <a:close/>
              </a:path>
            </a:pathLst>
          </a:custGeom>
          <a:solidFill>
            <a:srgbClr val="FFFFFF"/>
          </a:solidFill>
        </p:spPr>
        <p:txBody>
          <a:bodyPr wrap="square" lIns="0" tIns="0" rIns="0" bIns="0" rtlCol="0">
            <a:noAutofit/>
          </a:bodyPr>
          <a:lstStyle/>
          <a:p>
            <a:endParaRPr/>
          </a:p>
        </p:txBody>
      </p:sp>
      <p:sp>
        <p:nvSpPr>
          <p:cNvPr id="40" name="object 40"/>
          <p:cNvSpPr/>
          <p:nvPr/>
        </p:nvSpPr>
        <p:spPr>
          <a:xfrm>
            <a:off x="8487269" y="1872974"/>
            <a:ext cx="25863" cy="31727"/>
          </a:xfrm>
          <a:custGeom>
            <a:avLst/>
            <a:gdLst/>
            <a:ahLst/>
            <a:cxnLst/>
            <a:rect l="l" t="t" r="r" b="b"/>
            <a:pathLst>
              <a:path w="25863" h="31727">
                <a:moveTo>
                  <a:pt x="25863" y="16925"/>
                </a:moveTo>
                <a:lnTo>
                  <a:pt x="0" y="0"/>
                </a:lnTo>
                <a:lnTo>
                  <a:pt x="12931" y="17979"/>
                </a:lnTo>
                <a:lnTo>
                  <a:pt x="10784" y="31727"/>
                </a:lnTo>
                <a:lnTo>
                  <a:pt x="14020" y="30673"/>
                </a:lnTo>
                <a:lnTo>
                  <a:pt x="17242" y="28550"/>
                </a:lnTo>
                <a:lnTo>
                  <a:pt x="20479" y="27496"/>
                </a:lnTo>
                <a:lnTo>
                  <a:pt x="22641" y="24319"/>
                </a:lnTo>
                <a:lnTo>
                  <a:pt x="24789" y="21141"/>
                </a:lnTo>
                <a:lnTo>
                  <a:pt x="25863" y="17979"/>
                </a:lnTo>
                <a:lnTo>
                  <a:pt x="25863" y="16925"/>
                </a:lnTo>
                <a:close/>
              </a:path>
            </a:pathLst>
          </a:custGeom>
          <a:solidFill>
            <a:srgbClr val="7E7E7E"/>
          </a:solidFill>
        </p:spPr>
        <p:txBody>
          <a:bodyPr wrap="square" lIns="0" tIns="0" rIns="0" bIns="0" rtlCol="0">
            <a:noAutofit/>
          </a:bodyPr>
          <a:lstStyle/>
          <a:p>
            <a:endParaRPr/>
          </a:p>
        </p:txBody>
      </p:sp>
      <p:sp>
        <p:nvSpPr>
          <p:cNvPr id="41" name="object 41"/>
          <p:cNvSpPr/>
          <p:nvPr/>
        </p:nvSpPr>
        <p:spPr>
          <a:xfrm>
            <a:off x="9278469" y="1793648"/>
            <a:ext cx="424722" cy="967699"/>
          </a:xfrm>
          <a:custGeom>
            <a:avLst/>
            <a:gdLst/>
            <a:ahLst/>
            <a:cxnLst/>
            <a:rect l="l" t="t" r="r" b="b"/>
            <a:pathLst>
              <a:path w="424722" h="967699">
                <a:moveTo>
                  <a:pt x="4310" y="120570"/>
                </a:moveTo>
                <a:lnTo>
                  <a:pt x="12931" y="121624"/>
                </a:lnTo>
                <a:lnTo>
                  <a:pt x="23715" y="122679"/>
                </a:lnTo>
                <a:lnTo>
                  <a:pt x="36647" y="123747"/>
                </a:lnTo>
                <a:lnTo>
                  <a:pt x="51742" y="124802"/>
                </a:lnTo>
                <a:lnTo>
                  <a:pt x="68984" y="124802"/>
                </a:lnTo>
                <a:lnTo>
                  <a:pt x="87301" y="123747"/>
                </a:lnTo>
                <a:lnTo>
                  <a:pt x="104558" y="122679"/>
                </a:lnTo>
                <a:lnTo>
                  <a:pt x="115327" y="123747"/>
                </a:lnTo>
                <a:lnTo>
                  <a:pt x="122875" y="124802"/>
                </a:lnTo>
                <a:lnTo>
                  <a:pt x="126111" y="126910"/>
                </a:lnTo>
                <a:lnTo>
                  <a:pt x="127185" y="130087"/>
                </a:lnTo>
                <a:lnTo>
                  <a:pt x="126111" y="133264"/>
                </a:lnTo>
                <a:lnTo>
                  <a:pt x="123963" y="136427"/>
                </a:lnTo>
                <a:lnTo>
                  <a:pt x="119638" y="140658"/>
                </a:lnTo>
                <a:lnTo>
                  <a:pt x="115327" y="147012"/>
                </a:lnTo>
                <a:lnTo>
                  <a:pt x="108869" y="155475"/>
                </a:lnTo>
                <a:lnTo>
                  <a:pt x="101321" y="164992"/>
                </a:lnTo>
                <a:lnTo>
                  <a:pt x="94848" y="174509"/>
                </a:lnTo>
                <a:lnTo>
                  <a:pt x="89464" y="185080"/>
                </a:lnTo>
                <a:lnTo>
                  <a:pt x="84079" y="193542"/>
                </a:lnTo>
                <a:lnTo>
                  <a:pt x="79768" y="202005"/>
                </a:lnTo>
                <a:lnTo>
                  <a:pt x="75443" y="212576"/>
                </a:lnTo>
                <a:lnTo>
                  <a:pt x="71132" y="222093"/>
                </a:lnTo>
                <a:lnTo>
                  <a:pt x="66822" y="231610"/>
                </a:lnTo>
                <a:lnTo>
                  <a:pt x="62511" y="241141"/>
                </a:lnTo>
                <a:lnTo>
                  <a:pt x="57126" y="248535"/>
                </a:lnTo>
                <a:lnTo>
                  <a:pt x="51742" y="254889"/>
                </a:lnTo>
                <a:lnTo>
                  <a:pt x="46342" y="259120"/>
                </a:lnTo>
                <a:lnTo>
                  <a:pt x="38795" y="266514"/>
                </a:lnTo>
                <a:lnTo>
                  <a:pt x="35573" y="274977"/>
                </a:lnTo>
                <a:lnTo>
                  <a:pt x="35573" y="284494"/>
                </a:lnTo>
                <a:lnTo>
                  <a:pt x="61437" y="278154"/>
                </a:lnTo>
                <a:lnTo>
                  <a:pt x="60363" y="283440"/>
                </a:lnTo>
                <a:lnTo>
                  <a:pt x="58200" y="297188"/>
                </a:lnTo>
                <a:lnTo>
                  <a:pt x="52816" y="313044"/>
                </a:lnTo>
                <a:lnTo>
                  <a:pt x="43106" y="328915"/>
                </a:lnTo>
                <a:lnTo>
                  <a:pt x="36647" y="336324"/>
                </a:lnTo>
                <a:lnTo>
                  <a:pt x="30174" y="343718"/>
                </a:lnTo>
                <a:lnTo>
                  <a:pt x="23715" y="351126"/>
                </a:lnTo>
                <a:lnTo>
                  <a:pt x="18316" y="357466"/>
                </a:lnTo>
                <a:lnTo>
                  <a:pt x="14005" y="362751"/>
                </a:lnTo>
                <a:lnTo>
                  <a:pt x="10769" y="366983"/>
                </a:lnTo>
                <a:lnTo>
                  <a:pt x="12931" y="369106"/>
                </a:lnTo>
                <a:lnTo>
                  <a:pt x="18316" y="366983"/>
                </a:lnTo>
                <a:lnTo>
                  <a:pt x="24789" y="363820"/>
                </a:lnTo>
                <a:lnTo>
                  <a:pt x="33411" y="359589"/>
                </a:lnTo>
                <a:lnTo>
                  <a:pt x="40958" y="355357"/>
                </a:lnTo>
                <a:lnTo>
                  <a:pt x="48505" y="351126"/>
                </a:lnTo>
                <a:lnTo>
                  <a:pt x="54964" y="346895"/>
                </a:lnTo>
                <a:lnTo>
                  <a:pt x="59274" y="344772"/>
                </a:lnTo>
                <a:lnTo>
                  <a:pt x="61437" y="343718"/>
                </a:lnTo>
                <a:lnTo>
                  <a:pt x="58200" y="360643"/>
                </a:lnTo>
                <a:lnTo>
                  <a:pt x="52816" y="398710"/>
                </a:lnTo>
                <a:lnTo>
                  <a:pt x="46342" y="437846"/>
                </a:lnTo>
                <a:lnTo>
                  <a:pt x="43106" y="461111"/>
                </a:lnTo>
                <a:lnTo>
                  <a:pt x="42032" y="473805"/>
                </a:lnTo>
                <a:lnTo>
                  <a:pt x="37721" y="491785"/>
                </a:lnTo>
                <a:lnTo>
                  <a:pt x="30174" y="511873"/>
                </a:lnTo>
                <a:lnTo>
                  <a:pt x="20479" y="530921"/>
                </a:lnTo>
                <a:lnTo>
                  <a:pt x="11857" y="552063"/>
                </a:lnTo>
                <a:lnTo>
                  <a:pt x="8621" y="576397"/>
                </a:lnTo>
                <a:lnTo>
                  <a:pt x="14005" y="597539"/>
                </a:lnTo>
                <a:lnTo>
                  <a:pt x="28026" y="608124"/>
                </a:lnTo>
                <a:lnTo>
                  <a:pt x="37721" y="611287"/>
                </a:lnTo>
                <a:lnTo>
                  <a:pt x="46342" y="618695"/>
                </a:lnTo>
                <a:lnTo>
                  <a:pt x="54964" y="628212"/>
                </a:lnTo>
                <a:lnTo>
                  <a:pt x="62511" y="637729"/>
                </a:lnTo>
                <a:lnTo>
                  <a:pt x="70058" y="648300"/>
                </a:lnTo>
                <a:lnTo>
                  <a:pt x="78680" y="657831"/>
                </a:lnTo>
                <a:lnTo>
                  <a:pt x="86227" y="666279"/>
                </a:lnTo>
                <a:lnTo>
                  <a:pt x="94848" y="670511"/>
                </a:lnTo>
                <a:lnTo>
                  <a:pt x="103469" y="674742"/>
                </a:lnTo>
                <a:lnTo>
                  <a:pt x="112105" y="680027"/>
                </a:lnTo>
                <a:lnTo>
                  <a:pt x="122875" y="688490"/>
                </a:lnTo>
                <a:lnTo>
                  <a:pt x="133659" y="698007"/>
                </a:lnTo>
                <a:lnTo>
                  <a:pt x="144457" y="708592"/>
                </a:lnTo>
                <a:lnTo>
                  <a:pt x="157434" y="721286"/>
                </a:lnTo>
                <a:lnTo>
                  <a:pt x="169217" y="735035"/>
                </a:lnTo>
                <a:lnTo>
                  <a:pt x="182194" y="749837"/>
                </a:lnTo>
                <a:lnTo>
                  <a:pt x="179957" y="741374"/>
                </a:lnTo>
                <a:lnTo>
                  <a:pt x="177869" y="732912"/>
                </a:lnTo>
                <a:lnTo>
                  <a:pt x="175631" y="725518"/>
                </a:lnTo>
                <a:lnTo>
                  <a:pt x="173543" y="719163"/>
                </a:lnTo>
                <a:lnTo>
                  <a:pt x="169217" y="702238"/>
                </a:lnTo>
                <a:lnTo>
                  <a:pt x="168173" y="690613"/>
                </a:lnTo>
                <a:lnTo>
                  <a:pt x="170262" y="685328"/>
                </a:lnTo>
                <a:lnTo>
                  <a:pt x="173543" y="684259"/>
                </a:lnTo>
                <a:lnTo>
                  <a:pt x="178913" y="687436"/>
                </a:lnTo>
                <a:lnTo>
                  <a:pt x="186520" y="694844"/>
                </a:lnTo>
                <a:lnTo>
                  <a:pt x="195171" y="705415"/>
                </a:lnTo>
                <a:lnTo>
                  <a:pt x="203673" y="719163"/>
                </a:lnTo>
                <a:lnTo>
                  <a:pt x="211280" y="731857"/>
                </a:lnTo>
                <a:lnTo>
                  <a:pt x="219931" y="747714"/>
                </a:lnTo>
                <a:lnTo>
                  <a:pt x="229626" y="766762"/>
                </a:lnTo>
                <a:lnTo>
                  <a:pt x="240365" y="788973"/>
                </a:lnTo>
                <a:lnTo>
                  <a:pt x="251104" y="811169"/>
                </a:lnTo>
                <a:lnTo>
                  <a:pt x="261993" y="834449"/>
                </a:lnTo>
                <a:lnTo>
                  <a:pt x="272732" y="856645"/>
                </a:lnTo>
                <a:lnTo>
                  <a:pt x="282427" y="877802"/>
                </a:lnTo>
                <a:lnTo>
                  <a:pt x="295404" y="895781"/>
                </a:lnTo>
                <a:lnTo>
                  <a:pt x="308231" y="913760"/>
                </a:lnTo>
                <a:lnTo>
                  <a:pt x="319120" y="928563"/>
                </a:lnTo>
                <a:lnTo>
                  <a:pt x="327622" y="941257"/>
                </a:lnTo>
                <a:lnTo>
                  <a:pt x="335229" y="952897"/>
                </a:lnTo>
                <a:lnTo>
                  <a:pt x="341642" y="960290"/>
                </a:lnTo>
                <a:lnTo>
                  <a:pt x="344924" y="965590"/>
                </a:lnTo>
                <a:lnTo>
                  <a:pt x="345968" y="967699"/>
                </a:lnTo>
                <a:lnTo>
                  <a:pt x="424722" y="967699"/>
                </a:lnTo>
                <a:lnTo>
                  <a:pt x="423678" y="966645"/>
                </a:lnTo>
                <a:lnTo>
                  <a:pt x="419353" y="962413"/>
                </a:lnTo>
                <a:lnTo>
                  <a:pt x="413983" y="956059"/>
                </a:lnTo>
                <a:lnTo>
                  <a:pt x="406376" y="947611"/>
                </a:lnTo>
                <a:lnTo>
                  <a:pt x="397725" y="939148"/>
                </a:lnTo>
                <a:lnTo>
                  <a:pt x="388030" y="929632"/>
                </a:lnTo>
                <a:lnTo>
                  <a:pt x="378335" y="919046"/>
                </a:lnTo>
                <a:lnTo>
                  <a:pt x="368640" y="909529"/>
                </a:lnTo>
                <a:lnTo>
                  <a:pt x="357900" y="896835"/>
                </a:lnTo>
                <a:lnTo>
                  <a:pt x="345968" y="878856"/>
                </a:lnTo>
                <a:lnTo>
                  <a:pt x="334184" y="857714"/>
                </a:lnTo>
                <a:lnTo>
                  <a:pt x="322252" y="835503"/>
                </a:lnTo>
                <a:lnTo>
                  <a:pt x="310469" y="814346"/>
                </a:lnTo>
                <a:lnTo>
                  <a:pt x="299729" y="795313"/>
                </a:lnTo>
                <a:lnTo>
                  <a:pt x="291078" y="781565"/>
                </a:lnTo>
                <a:lnTo>
                  <a:pt x="285709" y="773102"/>
                </a:lnTo>
                <a:lnTo>
                  <a:pt x="280190" y="765693"/>
                </a:lnTo>
                <a:lnTo>
                  <a:pt x="272732" y="754068"/>
                </a:lnTo>
                <a:lnTo>
                  <a:pt x="264081" y="738197"/>
                </a:lnTo>
                <a:lnTo>
                  <a:pt x="253342" y="720218"/>
                </a:lnTo>
                <a:lnTo>
                  <a:pt x="242453" y="702238"/>
                </a:lnTo>
                <a:lnTo>
                  <a:pt x="232758" y="685328"/>
                </a:lnTo>
                <a:lnTo>
                  <a:pt x="223063" y="670511"/>
                </a:lnTo>
                <a:lnTo>
                  <a:pt x="215605" y="659940"/>
                </a:lnTo>
                <a:lnTo>
                  <a:pt x="207998" y="651477"/>
                </a:lnTo>
                <a:lnTo>
                  <a:pt x="198303" y="643014"/>
                </a:lnTo>
                <a:lnTo>
                  <a:pt x="187564" y="634552"/>
                </a:lnTo>
                <a:lnTo>
                  <a:pt x="176824" y="626104"/>
                </a:lnTo>
                <a:lnTo>
                  <a:pt x="164892" y="618695"/>
                </a:lnTo>
                <a:lnTo>
                  <a:pt x="154153" y="611287"/>
                </a:lnTo>
                <a:lnTo>
                  <a:pt x="142220" y="606001"/>
                </a:lnTo>
                <a:lnTo>
                  <a:pt x="132585" y="600716"/>
                </a:lnTo>
                <a:lnTo>
                  <a:pt x="123963" y="595430"/>
                </a:lnTo>
                <a:lnTo>
                  <a:pt x="115327" y="590145"/>
                </a:lnTo>
                <a:lnTo>
                  <a:pt x="108869" y="583790"/>
                </a:lnTo>
                <a:lnTo>
                  <a:pt x="104558" y="576397"/>
                </a:lnTo>
                <a:lnTo>
                  <a:pt x="100248" y="570042"/>
                </a:lnTo>
                <a:lnTo>
                  <a:pt x="97011" y="565811"/>
                </a:lnTo>
                <a:lnTo>
                  <a:pt x="95937" y="561580"/>
                </a:lnTo>
                <a:lnTo>
                  <a:pt x="94848" y="560525"/>
                </a:lnTo>
                <a:lnTo>
                  <a:pt x="92700" y="540438"/>
                </a:lnTo>
                <a:lnTo>
                  <a:pt x="89464" y="496016"/>
                </a:lnTo>
                <a:lnTo>
                  <a:pt x="87301" y="447363"/>
                </a:lnTo>
                <a:lnTo>
                  <a:pt x="87301" y="416690"/>
                </a:lnTo>
                <a:lnTo>
                  <a:pt x="91611" y="400833"/>
                </a:lnTo>
                <a:lnTo>
                  <a:pt x="95937" y="381800"/>
                </a:lnTo>
                <a:lnTo>
                  <a:pt x="99159" y="363820"/>
                </a:lnTo>
                <a:lnTo>
                  <a:pt x="99159" y="347949"/>
                </a:lnTo>
                <a:lnTo>
                  <a:pt x="95937" y="333147"/>
                </a:lnTo>
                <a:lnTo>
                  <a:pt x="92700" y="318344"/>
                </a:lnTo>
                <a:lnTo>
                  <a:pt x="91611" y="305650"/>
                </a:lnTo>
                <a:lnTo>
                  <a:pt x="94848" y="296134"/>
                </a:lnTo>
                <a:lnTo>
                  <a:pt x="100248" y="285548"/>
                </a:lnTo>
                <a:lnTo>
                  <a:pt x="102395" y="272869"/>
                </a:lnTo>
                <a:lnTo>
                  <a:pt x="102395" y="259120"/>
                </a:lnTo>
                <a:lnTo>
                  <a:pt x="99159" y="244304"/>
                </a:lnTo>
                <a:lnTo>
                  <a:pt x="97011" y="236910"/>
                </a:lnTo>
                <a:lnTo>
                  <a:pt x="97011" y="229501"/>
                </a:lnTo>
                <a:lnTo>
                  <a:pt x="99159" y="219984"/>
                </a:lnTo>
                <a:lnTo>
                  <a:pt x="102395" y="211522"/>
                </a:lnTo>
                <a:lnTo>
                  <a:pt x="106706" y="203059"/>
                </a:lnTo>
                <a:lnTo>
                  <a:pt x="112105" y="193542"/>
                </a:lnTo>
                <a:lnTo>
                  <a:pt x="118564" y="186134"/>
                </a:lnTo>
                <a:lnTo>
                  <a:pt x="125037" y="178740"/>
                </a:lnTo>
                <a:lnTo>
                  <a:pt x="134732" y="160761"/>
                </a:lnTo>
                <a:lnTo>
                  <a:pt x="139088" y="136427"/>
                </a:lnTo>
                <a:lnTo>
                  <a:pt x="139088" y="108930"/>
                </a:lnTo>
                <a:lnTo>
                  <a:pt x="140132" y="79326"/>
                </a:lnTo>
                <a:lnTo>
                  <a:pt x="140132" y="50761"/>
                </a:lnTo>
                <a:lnTo>
                  <a:pt x="136895" y="26442"/>
                </a:lnTo>
                <a:lnTo>
                  <a:pt x="131496" y="9516"/>
                </a:lnTo>
                <a:lnTo>
                  <a:pt x="129348" y="3177"/>
                </a:lnTo>
                <a:lnTo>
                  <a:pt x="68984" y="0"/>
                </a:lnTo>
                <a:lnTo>
                  <a:pt x="94848" y="21156"/>
                </a:lnTo>
                <a:lnTo>
                  <a:pt x="102395" y="47598"/>
                </a:lnTo>
                <a:lnTo>
                  <a:pt x="101321" y="47598"/>
                </a:lnTo>
                <a:lnTo>
                  <a:pt x="98085" y="48652"/>
                </a:lnTo>
                <a:lnTo>
                  <a:pt x="93774" y="49707"/>
                </a:lnTo>
                <a:lnTo>
                  <a:pt x="87301" y="51830"/>
                </a:lnTo>
                <a:lnTo>
                  <a:pt x="79768" y="53938"/>
                </a:lnTo>
                <a:lnTo>
                  <a:pt x="73295" y="56061"/>
                </a:lnTo>
                <a:lnTo>
                  <a:pt x="65748" y="58169"/>
                </a:lnTo>
                <a:lnTo>
                  <a:pt x="58200" y="61346"/>
                </a:lnTo>
                <a:lnTo>
                  <a:pt x="52816" y="64524"/>
                </a:lnTo>
                <a:lnTo>
                  <a:pt x="49579" y="67686"/>
                </a:lnTo>
                <a:lnTo>
                  <a:pt x="49579" y="71917"/>
                </a:lnTo>
                <a:lnTo>
                  <a:pt x="51742" y="75095"/>
                </a:lnTo>
                <a:lnTo>
                  <a:pt x="56052" y="78272"/>
                </a:lnTo>
                <a:lnTo>
                  <a:pt x="61437" y="81434"/>
                </a:lnTo>
                <a:lnTo>
                  <a:pt x="68984" y="82488"/>
                </a:lnTo>
                <a:lnTo>
                  <a:pt x="76532" y="83557"/>
                </a:lnTo>
                <a:lnTo>
                  <a:pt x="91611" y="83557"/>
                </a:lnTo>
                <a:lnTo>
                  <a:pt x="99159" y="84611"/>
                </a:lnTo>
                <a:lnTo>
                  <a:pt x="104558" y="84611"/>
                </a:lnTo>
                <a:lnTo>
                  <a:pt x="109943" y="85666"/>
                </a:lnTo>
                <a:lnTo>
                  <a:pt x="114253" y="87788"/>
                </a:lnTo>
                <a:lnTo>
                  <a:pt x="118564" y="90951"/>
                </a:lnTo>
                <a:lnTo>
                  <a:pt x="121801" y="94128"/>
                </a:lnTo>
                <a:lnTo>
                  <a:pt x="122875" y="97305"/>
                </a:lnTo>
                <a:lnTo>
                  <a:pt x="122875" y="100468"/>
                </a:lnTo>
                <a:lnTo>
                  <a:pt x="119638" y="103645"/>
                </a:lnTo>
                <a:lnTo>
                  <a:pt x="115327" y="105768"/>
                </a:lnTo>
                <a:lnTo>
                  <a:pt x="109943" y="106822"/>
                </a:lnTo>
                <a:lnTo>
                  <a:pt x="103469" y="107876"/>
                </a:lnTo>
                <a:lnTo>
                  <a:pt x="98085" y="108930"/>
                </a:lnTo>
                <a:lnTo>
                  <a:pt x="82990" y="108930"/>
                </a:lnTo>
                <a:lnTo>
                  <a:pt x="71132" y="111053"/>
                </a:lnTo>
                <a:lnTo>
                  <a:pt x="54964" y="112108"/>
                </a:lnTo>
                <a:lnTo>
                  <a:pt x="38795" y="114231"/>
                </a:lnTo>
                <a:lnTo>
                  <a:pt x="23715" y="116339"/>
                </a:lnTo>
                <a:lnTo>
                  <a:pt x="10769" y="117393"/>
                </a:lnTo>
                <a:lnTo>
                  <a:pt x="1073" y="119516"/>
                </a:lnTo>
                <a:lnTo>
                  <a:pt x="0" y="119516"/>
                </a:lnTo>
                <a:lnTo>
                  <a:pt x="4310" y="120570"/>
                </a:lnTo>
                <a:close/>
              </a:path>
            </a:pathLst>
          </a:custGeom>
          <a:solidFill>
            <a:srgbClr val="3E9EFF"/>
          </a:solidFill>
        </p:spPr>
        <p:txBody>
          <a:bodyPr wrap="square" lIns="0" tIns="0" rIns="0" bIns="0" rtlCol="0">
            <a:noAutofit/>
          </a:bodyPr>
          <a:lstStyle/>
          <a:p>
            <a:endParaRPr/>
          </a:p>
        </p:txBody>
      </p:sp>
      <p:sp>
        <p:nvSpPr>
          <p:cNvPr id="42" name="object 42"/>
          <p:cNvSpPr/>
          <p:nvPr/>
        </p:nvSpPr>
        <p:spPr>
          <a:xfrm>
            <a:off x="9065041" y="1165508"/>
            <a:ext cx="358930" cy="556221"/>
          </a:xfrm>
          <a:custGeom>
            <a:avLst/>
            <a:gdLst/>
            <a:ahLst/>
            <a:cxnLst/>
            <a:rect l="l" t="t" r="r" b="b"/>
            <a:pathLst>
              <a:path w="358930" h="556221">
                <a:moveTo>
                  <a:pt x="217738" y="550935"/>
                </a:moveTo>
                <a:lnTo>
                  <a:pt x="232833" y="548827"/>
                </a:lnTo>
                <a:lnTo>
                  <a:pt x="252223" y="546704"/>
                </a:lnTo>
                <a:lnTo>
                  <a:pt x="327681" y="546704"/>
                </a:lnTo>
                <a:lnTo>
                  <a:pt x="330918" y="540364"/>
                </a:lnTo>
                <a:lnTo>
                  <a:pt x="339539" y="526616"/>
                </a:lnTo>
                <a:lnTo>
                  <a:pt x="350323" y="509691"/>
                </a:lnTo>
                <a:lnTo>
                  <a:pt x="357885" y="495943"/>
                </a:lnTo>
                <a:lnTo>
                  <a:pt x="358930" y="489603"/>
                </a:lnTo>
                <a:lnTo>
                  <a:pt x="355648" y="481141"/>
                </a:lnTo>
                <a:lnTo>
                  <a:pt x="351323" y="472678"/>
                </a:lnTo>
                <a:lnTo>
                  <a:pt x="344924" y="464215"/>
                </a:lnTo>
                <a:lnTo>
                  <a:pt x="338465" y="456807"/>
                </a:lnTo>
                <a:lnTo>
                  <a:pt x="333066" y="450467"/>
                </a:lnTo>
                <a:lnTo>
                  <a:pt x="328755" y="446236"/>
                </a:lnTo>
                <a:lnTo>
                  <a:pt x="327681" y="444127"/>
                </a:lnTo>
                <a:lnTo>
                  <a:pt x="325533" y="435665"/>
                </a:lnTo>
                <a:lnTo>
                  <a:pt x="319060" y="412400"/>
                </a:lnTo>
                <a:lnTo>
                  <a:pt x="309365" y="378549"/>
                </a:lnTo>
                <a:lnTo>
                  <a:pt x="298581" y="338359"/>
                </a:lnTo>
                <a:lnTo>
                  <a:pt x="287797" y="297071"/>
                </a:lnTo>
                <a:lnTo>
                  <a:pt x="277028" y="257978"/>
                </a:lnTo>
                <a:lnTo>
                  <a:pt x="269480" y="226207"/>
                </a:lnTo>
                <a:lnTo>
                  <a:pt x="264081" y="205124"/>
                </a:lnTo>
                <a:lnTo>
                  <a:pt x="260844" y="191361"/>
                </a:lnTo>
                <a:lnTo>
                  <a:pt x="257622" y="177598"/>
                </a:lnTo>
                <a:lnTo>
                  <a:pt x="253312" y="163835"/>
                </a:lnTo>
                <a:lnTo>
                  <a:pt x="250075" y="150072"/>
                </a:lnTo>
                <a:lnTo>
                  <a:pt x="244676" y="138506"/>
                </a:lnTo>
                <a:lnTo>
                  <a:pt x="240365" y="128989"/>
                </a:lnTo>
                <a:lnTo>
                  <a:pt x="234981" y="121522"/>
                </a:lnTo>
                <a:lnTo>
                  <a:pt x="229596" y="117276"/>
                </a:lnTo>
                <a:lnTo>
                  <a:pt x="224197" y="114201"/>
                </a:lnTo>
                <a:lnTo>
                  <a:pt x="216664" y="109955"/>
                </a:lnTo>
                <a:lnTo>
                  <a:pt x="208028" y="104684"/>
                </a:lnTo>
                <a:lnTo>
                  <a:pt x="198333" y="98242"/>
                </a:lnTo>
                <a:lnTo>
                  <a:pt x="187549" y="90922"/>
                </a:lnTo>
                <a:lnTo>
                  <a:pt x="175691" y="82430"/>
                </a:lnTo>
                <a:lnTo>
                  <a:pt x="162759" y="70863"/>
                </a:lnTo>
                <a:lnTo>
                  <a:pt x="147664" y="58125"/>
                </a:lnTo>
                <a:lnTo>
                  <a:pt x="130422" y="45387"/>
                </a:lnTo>
                <a:lnTo>
                  <a:pt x="108869" y="33821"/>
                </a:lnTo>
                <a:lnTo>
                  <a:pt x="87301" y="24304"/>
                </a:lnTo>
                <a:lnTo>
                  <a:pt x="64674" y="15812"/>
                </a:lnTo>
                <a:lnTo>
                  <a:pt x="45268" y="8345"/>
                </a:lnTo>
                <a:lnTo>
                  <a:pt x="28026" y="4099"/>
                </a:lnTo>
                <a:lnTo>
                  <a:pt x="17242" y="1024"/>
                </a:lnTo>
                <a:lnTo>
                  <a:pt x="12931" y="0"/>
                </a:lnTo>
                <a:lnTo>
                  <a:pt x="12931" y="4099"/>
                </a:lnTo>
                <a:lnTo>
                  <a:pt x="11857" y="15812"/>
                </a:lnTo>
                <a:lnTo>
                  <a:pt x="8621" y="35871"/>
                </a:lnTo>
                <a:lnTo>
                  <a:pt x="2147" y="62371"/>
                </a:lnTo>
                <a:lnTo>
                  <a:pt x="0" y="74963"/>
                </a:lnTo>
                <a:lnTo>
                  <a:pt x="2147" y="84480"/>
                </a:lnTo>
                <a:lnTo>
                  <a:pt x="7547" y="89897"/>
                </a:lnTo>
                <a:lnTo>
                  <a:pt x="15079" y="91947"/>
                </a:lnTo>
                <a:lnTo>
                  <a:pt x="25863" y="91947"/>
                </a:lnTo>
                <a:lnTo>
                  <a:pt x="37721" y="89897"/>
                </a:lnTo>
                <a:lnTo>
                  <a:pt x="51742" y="85651"/>
                </a:lnTo>
                <a:lnTo>
                  <a:pt x="65748" y="80380"/>
                </a:lnTo>
                <a:lnTo>
                  <a:pt x="77606" y="78184"/>
                </a:lnTo>
                <a:lnTo>
                  <a:pt x="86227" y="80380"/>
                </a:lnTo>
                <a:lnTo>
                  <a:pt x="90537" y="86676"/>
                </a:lnTo>
                <a:lnTo>
                  <a:pt x="93774" y="97217"/>
                </a:lnTo>
                <a:lnTo>
                  <a:pt x="94848" y="108930"/>
                </a:lnTo>
                <a:lnTo>
                  <a:pt x="95922" y="121522"/>
                </a:lnTo>
                <a:lnTo>
                  <a:pt x="94848" y="135285"/>
                </a:lnTo>
                <a:lnTo>
                  <a:pt x="94848" y="146998"/>
                </a:lnTo>
                <a:lnTo>
                  <a:pt x="93774" y="171302"/>
                </a:lnTo>
                <a:lnTo>
                  <a:pt x="94848" y="191361"/>
                </a:lnTo>
                <a:lnTo>
                  <a:pt x="101321" y="198828"/>
                </a:lnTo>
                <a:lnTo>
                  <a:pt x="117490" y="183894"/>
                </a:lnTo>
                <a:lnTo>
                  <a:pt x="128274" y="170277"/>
                </a:lnTo>
                <a:lnTo>
                  <a:pt x="136895" y="159589"/>
                </a:lnTo>
                <a:lnTo>
                  <a:pt x="144443" y="152269"/>
                </a:lnTo>
                <a:lnTo>
                  <a:pt x="151975" y="146998"/>
                </a:lnTo>
                <a:lnTo>
                  <a:pt x="158448" y="143777"/>
                </a:lnTo>
                <a:lnTo>
                  <a:pt x="164922" y="142752"/>
                </a:lnTo>
                <a:lnTo>
                  <a:pt x="172469" y="142752"/>
                </a:lnTo>
                <a:lnTo>
                  <a:pt x="180001" y="143777"/>
                </a:lnTo>
                <a:lnTo>
                  <a:pt x="194022" y="148023"/>
                </a:lnTo>
                <a:lnTo>
                  <a:pt x="201569" y="152269"/>
                </a:lnTo>
                <a:lnTo>
                  <a:pt x="206954" y="158564"/>
                </a:lnTo>
                <a:lnTo>
                  <a:pt x="211265" y="164860"/>
                </a:lnTo>
                <a:lnTo>
                  <a:pt x="212339" y="183894"/>
                </a:lnTo>
                <a:lnTo>
                  <a:pt x="211265" y="223132"/>
                </a:lnTo>
                <a:lnTo>
                  <a:pt x="206954" y="270716"/>
                </a:lnTo>
                <a:lnTo>
                  <a:pt x="203717" y="315079"/>
                </a:lnTo>
                <a:lnTo>
                  <a:pt x="153064" y="472678"/>
                </a:lnTo>
                <a:lnTo>
                  <a:pt x="75443" y="461038"/>
                </a:lnTo>
                <a:lnTo>
                  <a:pt x="164922" y="495943"/>
                </a:lnTo>
                <a:lnTo>
                  <a:pt x="212339" y="337334"/>
                </a:lnTo>
                <a:lnTo>
                  <a:pt x="212339" y="336309"/>
                </a:lnTo>
                <a:lnTo>
                  <a:pt x="222049" y="310833"/>
                </a:lnTo>
                <a:lnTo>
                  <a:pt x="229596" y="278037"/>
                </a:lnTo>
                <a:lnTo>
                  <a:pt x="236054" y="246412"/>
                </a:lnTo>
                <a:lnTo>
                  <a:pt x="238217" y="219911"/>
                </a:lnTo>
                <a:lnTo>
                  <a:pt x="240365" y="250511"/>
                </a:lnTo>
                <a:lnTo>
                  <a:pt x="244676" y="286529"/>
                </a:lnTo>
                <a:lnTo>
                  <a:pt x="247912" y="317276"/>
                </a:lnTo>
                <a:lnTo>
                  <a:pt x="249001" y="329867"/>
                </a:lnTo>
                <a:lnTo>
                  <a:pt x="249001" y="337334"/>
                </a:lnTo>
                <a:lnTo>
                  <a:pt x="247912" y="355284"/>
                </a:lnTo>
                <a:lnTo>
                  <a:pt x="242528" y="379603"/>
                </a:lnTo>
                <a:lnTo>
                  <a:pt x="229596" y="407100"/>
                </a:lnTo>
                <a:lnTo>
                  <a:pt x="216664" y="434611"/>
                </a:lnTo>
                <a:lnTo>
                  <a:pt x="210191" y="458930"/>
                </a:lnTo>
                <a:lnTo>
                  <a:pt x="210191" y="474786"/>
                </a:lnTo>
                <a:lnTo>
                  <a:pt x="215575" y="476909"/>
                </a:lnTo>
                <a:lnTo>
                  <a:pt x="219886" y="472678"/>
                </a:lnTo>
                <a:lnTo>
                  <a:pt x="225285" y="466338"/>
                </a:lnTo>
                <a:lnTo>
                  <a:pt x="230670" y="458930"/>
                </a:lnTo>
                <a:lnTo>
                  <a:pt x="238217" y="450467"/>
                </a:lnTo>
                <a:lnTo>
                  <a:pt x="245765" y="442004"/>
                </a:lnTo>
                <a:lnTo>
                  <a:pt x="254386" y="434611"/>
                </a:lnTo>
                <a:lnTo>
                  <a:pt x="264081" y="427202"/>
                </a:lnTo>
                <a:lnTo>
                  <a:pt x="274865" y="421917"/>
                </a:lnTo>
                <a:lnTo>
                  <a:pt x="282412" y="420848"/>
                </a:lnTo>
                <a:lnTo>
                  <a:pt x="284560" y="426148"/>
                </a:lnTo>
                <a:lnTo>
                  <a:pt x="281338" y="435665"/>
                </a:lnTo>
                <a:lnTo>
                  <a:pt x="274865" y="448359"/>
                </a:lnTo>
                <a:lnTo>
                  <a:pt x="266244" y="462107"/>
                </a:lnTo>
                <a:lnTo>
                  <a:pt x="257622" y="475855"/>
                </a:lnTo>
                <a:lnTo>
                  <a:pt x="249001" y="488534"/>
                </a:lnTo>
                <a:lnTo>
                  <a:pt x="241454" y="499120"/>
                </a:lnTo>
                <a:lnTo>
                  <a:pt x="234981" y="508637"/>
                </a:lnTo>
                <a:lnTo>
                  <a:pt x="227433" y="519208"/>
                </a:lnTo>
                <a:lnTo>
                  <a:pt x="219886" y="529793"/>
                </a:lnTo>
                <a:lnTo>
                  <a:pt x="213427" y="539310"/>
                </a:lnTo>
                <a:lnTo>
                  <a:pt x="208028" y="547773"/>
                </a:lnTo>
                <a:lnTo>
                  <a:pt x="204806" y="553058"/>
                </a:lnTo>
                <a:lnTo>
                  <a:pt x="204806" y="556221"/>
                </a:lnTo>
                <a:lnTo>
                  <a:pt x="208028" y="554113"/>
                </a:lnTo>
                <a:lnTo>
                  <a:pt x="217738" y="550935"/>
                </a:lnTo>
                <a:close/>
              </a:path>
            </a:pathLst>
          </a:custGeom>
          <a:solidFill>
            <a:srgbClr val="3EFF9E"/>
          </a:solidFill>
        </p:spPr>
        <p:txBody>
          <a:bodyPr wrap="square" lIns="0" tIns="0" rIns="0" bIns="0" rtlCol="0">
            <a:noAutofit/>
          </a:bodyPr>
          <a:lstStyle/>
          <a:p>
            <a:endParaRPr/>
          </a:p>
        </p:txBody>
      </p:sp>
      <p:sp>
        <p:nvSpPr>
          <p:cNvPr id="5" name="object 5"/>
          <p:cNvSpPr txBox="1"/>
          <p:nvPr/>
        </p:nvSpPr>
        <p:spPr>
          <a:xfrm>
            <a:off x="1907541" y="1734582"/>
            <a:ext cx="5492257" cy="1194562"/>
          </a:xfrm>
          <a:prstGeom prst="rect">
            <a:avLst/>
          </a:prstGeom>
        </p:spPr>
        <p:txBody>
          <a:bodyPr wrap="square" lIns="0" tIns="0" rIns="0" bIns="0" rtlCol="0">
            <a:noAutofit/>
          </a:bodyPr>
          <a:lstStyle/>
          <a:p>
            <a:pPr marL="355600" indent="-342900">
              <a:spcBef>
                <a:spcPts val="107"/>
              </a:spcBef>
              <a:buClr>
                <a:srgbClr val="00B0F0"/>
              </a:buClr>
              <a:buFont typeface="Wingdings" panose="05000000000000000000" pitchFamily="2" charset="2"/>
              <a:buChar char="§"/>
            </a:pPr>
            <a:r>
              <a:rPr dirty="0">
                <a:cs typeface="Arial"/>
              </a:rPr>
              <a:t>Packing</a:t>
            </a:r>
            <a:r>
              <a:rPr spc="-29" dirty="0">
                <a:cs typeface="Arial"/>
              </a:rPr>
              <a:t> </a:t>
            </a:r>
            <a:r>
              <a:rPr dirty="0">
                <a:cs typeface="Arial"/>
              </a:rPr>
              <a:t>is the</a:t>
            </a:r>
            <a:r>
              <a:rPr spc="-9" dirty="0">
                <a:cs typeface="Arial"/>
              </a:rPr>
              <a:t> </a:t>
            </a:r>
            <a:r>
              <a:rPr dirty="0">
                <a:cs typeface="Arial"/>
              </a:rPr>
              <a:t>process</a:t>
            </a:r>
            <a:r>
              <a:rPr spc="-25" dirty="0">
                <a:cs typeface="Arial"/>
              </a:rPr>
              <a:t> </a:t>
            </a:r>
            <a:r>
              <a:rPr dirty="0">
                <a:cs typeface="Arial"/>
              </a:rPr>
              <a:t>of</a:t>
            </a:r>
            <a:r>
              <a:rPr spc="-9" dirty="0">
                <a:cs typeface="Arial"/>
              </a:rPr>
              <a:t> </a:t>
            </a:r>
            <a:r>
              <a:rPr dirty="0">
                <a:cs typeface="Arial"/>
              </a:rPr>
              <a:t>comb</a:t>
            </a:r>
            <a:r>
              <a:rPr spc="-9" dirty="0">
                <a:cs typeface="Arial"/>
              </a:rPr>
              <a:t>i</a:t>
            </a:r>
            <a:r>
              <a:rPr dirty="0">
                <a:cs typeface="Arial"/>
              </a:rPr>
              <a:t>ning de</a:t>
            </a:r>
            <a:r>
              <a:rPr spc="-9" dirty="0">
                <a:cs typeface="Arial"/>
              </a:rPr>
              <a:t>l</a:t>
            </a:r>
            <a:r>
              <a:rPr dirty="0">
                <a:cs typeface="Arial"/>
              </a:rPr>
              <a:t>i</a:t>
            </a:r>
            <a:r>
              <a:rPr spc="-29" dirty="0">
                <a:cs typeface="Arial"/>
              </a:rPr>
              <a:t>v</a:t>
            </a:r>
            <a:r>
              <a:rPr dirty="0">
                <a:cs typeface="Arial"/>
              </a:rPr>
              <a:t>ery</a:t>
            </a:r>
            <a:r>
              <a:rPr lang="en-US" dirty="0">
                <a:cs typeface="Arial"/>
              </a:rPr>
              <a:t> </a:t>
            </a:r>
            <a:r>
              <a:rPr dirty="0">
                <a:cs typeface="Arial"/>
              </a:rPr>
              <a:t>items</a:t>
            </a:r>
            <a:r>
              <a:rPr spc="-39" dirty="0">
                <a:cs typeface="Arial"/>
              </a:rPr>
              <a:t> </a:t>
            </a:r>
            <a:r>
              <a:rPr dirty="0">
                <a:cs typeface="Arial"/>
              </a:rPr>
              <a:t>into</a:t>
            </a:r>
            <a:r>
              <a:rPr spc="-14" dirty="0">
                <a:cs typeface="Arial"/>
              </a:rPr>
              <a:t> </a:t>
            </a:r>
            <a:r>
              <a:rPr dirty="0">
                <a:cs typeface="Arial"/>
              </a:rPr>
              <a:t>pack</a:t>
            </a:r>
            <a:r>
              <a:rPr spc="4" dirty="0">
                <a:cs typeface="Arial"/>
              </a:rPr>
              <a:t>a</a:t>
            </a:r>
            <a:r>
              <a:rPr dirty="0">
                <a:cs typeface="Arial"/>
              </a:rPr>
              <a:t>ging</a:t>
            </a:r>
            <a:r>
              <a:rPr spc="-19" dirty="0">
                <a:cs typeface="Arial"/>
              </a:rPr>
              <a:t> </a:t>
            </a:r>
            <a:r>
              <a:rPr dirty="0">
                <a:cs typeface="Arial"/>
              </a:rPr>
              <a:t>materials</a:t>
            </a:r>
            <a:endParaRPr lang="en-US" dirty="0">
              <a:cs typeface="Arial"/>
            </a:endParaRPr>
          </a:p>
          <a:p>
            <a:pPr marL="12700">
              <a:lnSpc>
                <a:spcPts val="2150"/>
              </a:lnSpc>
              <a:spcBef>
                <a:spcPts val="107"/>
              </a:spcBef>
              <a:buClr>
                <a:srgbClr val="00B0F0"/>
              </a:buClr>
            </a:pPr>
            <a:endParaRPr lang="en-US" sz="2000" spc="-44" dirty="0">
              <a:latin typeface="Arial"/>
              <a:cs typeface="Arial"/>
            </a:endParaRPr>
          </a:p>
          <a:p>
            <a:pPr marL="355600" marR="264574" indent="-342900">
              <a:spcBef>
                <a:spcPts val="107"/>
              </a:spcBef>
              <a:buClr>
                <a:srgbClr val="00B0F0"/>
              </a:buClr>
              <a:buFont typeface="Wingdings" panose="05000000000000000000" pitchFamily="2" charset="2"/>
              <a:buChar char="§"/>
            </a:pPr>
            <a:r>
              <a:rPr dirty="0">
                <a:cs typeface="Arial"/>
              </a:rPr>
              <a:t>Packaging materials are materials </a:t>
            </a:r>
            <a:r>
              <a:rPr dirty="0">
                <a:latin typeface="Arial"/>
                <a:cs typeface="Arial"/>
              </a:rPr>
              <a:t>used </a:t>
            </a:r>
            <a:r>
              <a:rPr dirty="0">
                <a:cs typeface="Arial"/>
              </a:rPr>
              <a:t>for packing or transporting goods</a:t>
            </a:r>
          </a:p>
        </p:txBody>
      </p:sp>
      <p:sp>
        <p:nvSpPr>
          <p:cNvPr id="4" name="object 4"/>
          <p:cNvSpPr txBox="1"/>
          <p:nvPr/>
        </p:nvSpPr>
        <p:spPr>
          <a:xfrm>
            <a:off x="1983741" y="3517662"/>
            <a:ext cx="7911391" cy="889762"/>
          </a:xfrm>
          <a:prstGeom prst="rect">
            <a:avLst/>
          </a:prstGeom>
        </p:spPr>
        <p:txBody>
          <a:bodyPr wrap="square" lIns="0" tIns="0" rIns="0" bIns="0" rtlCol="0">
            <a:noAutofit/>
          </a:bodyPr>
          <a:lstStyle/>
          <a:p>
            <a:pPr marL="355600" marR="31111" indent="-342900">
              <a:spcBef>
                <a:spcPts val="107"/>
              </a:spcBef>
              <a:buClr>
                <a:srgbClr val="00B0F0"/>
              </a:buClr>
              <a:buFont typeface="Wingdings" panose="05000000000000000000" pitchFamily="2" charset="2"/>
              <a:buChar char="§"/>
            </a:pPr>
            <a:r>
              <a:rPr dirty="0">
                <a:cs typeface="Arial"/>
              </a:rPr>
              <a:t>Packing instructions can be entered into sales orders and scheduling</a:t>
            </a:r>
            <a:r>
              <a:rPr lang="en-US" dirty="0">
                <a:cs typeface="Arial"/>
              </a:rPr>
              <a:t> </a:t>
            </a:r>
            <a:r>
              <a:rPr dirty="0">
                <a:cs typeface="Arial"/>
              </a:rPr>
              <a:t>agreements. Based on this information, a packing proposal is created in the delivery</a:t>
            </a:r>
          </a:p>
        </p:txBody>
      </p:sp>
      <p:sp>
        <p:nvSpPr>
          <p:cNvPr id="3" name="object 3"/>
          <p:cNvSpPr txBox="1"/>
          <p:nvPr/>
        </p:nvSpPr>
        <p:spPr>
          <a:xfrm>
            <a:off x="1983741" y="4737117"/>
            <a:ext cx="7477139" cy="584707"/>
          </a:xfrm>
          <a:prstGeom prst="rect">
            <a:avLst/>
          </a:prstGeom>
        </p:spPr>
        <p:txBody>
          <a:bodyPr wrap="square" lIns="0" tIns="0" rIns="0" bIns="0" rtlCol="0">
            <a:noAutofit/>
          </a:bodyPr>
          <a:lstStyle/>
          <a:p>
            <a:pPr marL="355600" marR="31111" indent="-342900">
              <a:spcBef>
                <a:spcPts val="107"/>
              </a:spcBef>
              <a:buClr>
                <a:srgbClr val="00B0F0"/>
              </a:buClr>
              <a:buFont typeface="Wingdings" panose="05000000000000000000" pitchFamily="2" charset="2"/>
              <a:buChar char="§"/>
            </a:pPr>
            <a:r>
              <a:rPr dirty="0">
                <a:cs typeface="Arial"/>
              </a:rPr>
              <a:t>For each packaging material , a material master with material type</a:t>
            </a:r>
            <a:r>
              <a:rPr lang="en-US" dirty="0">
                <a:cs typeface="Arial"/>
              </a:rPr>
              <a:t> </a:t>
            </a:r>
            <a:r>
              <a:rPr dirty="0">
                <a:cs typeface="Arial"/>
              </a:rPr>
              <a:t>VERP has to be created</a:t>
            </a:r>
          </a:p>
        </p:txBody>
      </p:sp>
      <p:sp>
        <p:nvSpPr>
          <p:cNvPr id="2" name="Title 1"/>
          <p:cNvSpPr>
            <a:spLocks noGrp="1"/>
          </p:cNvSpPr>
          <p:nvPr>
            <p:ph type="title"/>
          </p:nvPr>
        </p:nvSpPr>
        <p:spPr>
          <a:xfrm>
            <a:off x="1907541" y="304800"/>
            <a:ext cx="8509933" cy="859536"/>
          </a:xfrm>
        </p:spPr>
        <p:txBody>
          <a:bodyPr>
            <a:normAutofit/>
          </a:bodyPr>
          <a:lstStyle/>
          <a:p>
            <a:r>
              <a:rPr lang="en-US" sz="2400" dirty="0">
                <a:latin typeface="+mn-lt"/>
                <a:cs typeface="Arial"/>
              </a:rPr>
              <a:t>Packing</a:t>
            </a:r>
            <a:br>
              <a:rPr lang="en-US" sz="2400" dirty="0">
                <a:latin typeface="Arial"/>
                <a:cs typeface="Arial"/>
              </a:rPr>
            </a:br>
            <a:endParaRPr lang="en-US" sz="24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7" name="object 1437"/>
          <p:cNvSpPr/>
          <p:nvPr/>
        </p:nvSpPr>
        <p:spPr>
          <a:xfrm>
            <a:off x="8708771" y="4651426"/>
            <a:ext cx="1040980" cy="1299337"/>
          </a:xfrm>
          <a:custGeom>
            <a:avLst/>
            <a:gdLst/>
            <a:ahLst/>
            <a:cxnLst/>
            <a:rect l="l" t="t" r="r" b="b"/>
            <a:pathLst>
              <a:path w="1040980" h="1299337">
                <a:moveTo>
                  <a:pt x="0" y="1299336"/>
                </a:moveTo>
                <a:lnTo>
                  <a:pt x="1040980" y="1299336"/>
                </a:lnTo>
                <a:lnTo>
                  <a:pt x="1040980" y="0"/>
                </a:lnTo>
                <a:lnTo>
                  <a:pt x="0" y="0"/>
                </a:lnTo>
                <a:lnTo>
                  <a:pt x="0" y="1299336"/>
                </a:lnTo>
                <a:close/>
              </a:path>
            </a:pathLst>
          </a:custGeom>
          <a:ln w="12700">
            <a:solidFill>
              <a:srgbClr val="000000"/>
            </a:solidFill>
          </a:ln>
        </p:spPr>
        <p:txBody>
          <a:bodyPr wrap="square" lIns="0" tIns="0" rIns="0" bIns="0" rtlCol="0">
            <a:noAutofit/>
          </a:bodyPr>
          <a:lstStyle/>
          <a:p>
            <a:endParaRPr/>
          </a:p>
        </p:txBody>
      </p:sp>
      <p:sp>
        <p:nvSpPr>
          <p:cNvPr id="1438" name="object 1438"/>
          <p:cNvSpPr/>
          <p:nvPr/>
        </p:nvSpPr>
        <p:spPr>
          <a:xfrm>
            <a:off x="9593961" y="5507482"/>
            <a:ext cx="113411" cy="0"/>
          </a:xfrm>
          <a:custGeom>
            <a:avLst/>
            <a:gdLst/>
            <a:ahLst/>
            <a:cxnLst/>
            <a:rect l="l" t="t" r="r" b="b"/>
            <a:pathLst>
              <a:path w="113411">
                <a:moveTo>
                  <a:pt x="0" y="0"/>
                </a:moveTo>
                <a:lnTo>
                  <a:pt x="113411" y="0"/>
                </a:lnTo>
              </a:path>
            </a:pathLst>
          </a:custGeom>
          <a:ln w="12700">
            <a:solidFill>
              <a:srgbClr val="000000"/>
            </a:solidFill>
          </a:ln>
        </p:spPr>
        <p:txBody>
          <a:bodyPr wrap="square" lIns="0" tIns="0" rIns="0" bIns="0" rtlCol="0">
            <a:noAutofit/>
          </a:bodyPr>
          <a:lstStyle/>
          <a:p>
            <a:endParaRPr/>
          </a:p>
        </p:txBody>
      </p:sp>
      <p:sp>
        <p:nvSpPr>
          <p:cNvPr id="1439" name="object 1439"/>
          <p:cNvSpPr/>
          <p:nvPr/>
        </p:nvSpPr>
        <p:spPr>
          <a:xfrm>
            <a:off x="9593961" y="5647169"/>
            <a:ext cx="113411" cy="0"/>
          </a:xfrm>
          <a:custGeom>
            <a:avLst/>
            <a:gdLst/>
            <a:ahLst/>
            <a:cxnLst/>
            <a:rect l="l" t="t" r="r" b="b"/>
            <a:pathLst>
              <a:path w="113411">
                <a:moveTo>
                  <a:pt x="0" y="0"/>
                </a:moveTo>
                <a:lnTo>
                  <a:pt x="113411" y="0"/>
                </a:lnTo>
              </a:path>
            </a:pathLst>
          </a:custGeom>
          <a:ln w="12700">
            <a:solidFill>
              <a:srgbClr val="000000"/>
            </a:solidFill>
          </a:ln>
        </p:spPr>
        <p:txBody>
          <a:bodyPr wrap="square" lIns="0" tIns="0" rIns="0" bIns="0" rtlCol="0">
            <a:noAutofit/>
          </a:bodyPr>
          <a:lstStyle/>
          <a:p>
            <a:endParaRPr/>
          </a:p>
        </p:txBody>
      </p:sp>
      <p:sp>
        <p:nvSpPr>
          <p:cNvPr id="1440" name="object 1440"/>
          <p:cNvSpPr/>
          <p:nvPr/>
        </p:nvSpPr>
        <p:spPr>
          <a:xfrm>
            <a:off x="9531819" y="5759500"/>
            <a:ext cx="146850" cy="0"/>
          </a:xfrm>
          <a:custGeom>
            <a:avLst/>
            <a:gdLst/>
            <a:ahLst/>
            <a:cxnLst/>
            <a:rect l="l" t="t" r="r" b="b"/>
            <a:pathLst>
              <a:path w="146850">
                <a:moveTo>
                  <a:pt x="0" y="0"/>
                </a:moveTo>
                <a:lnTo>
                  <a:pt x="146850" y="0"/>
                </a:lnTo>
              </a:path>
            </a:pathLst>
          </a:custGeom>
          <a:ln w="12700">
            <a:solidFill>
              <a:srgbClr val="000000"/>
            </a:solidFill>
          </a:ln>
        </p:spPr>
        <p:txBody>
          <a:bodyPr wrap="square" lIns="0" tIns="0" rIns="0" bIns="0" rtlCol="0">
            <a:noAutofit/>
          </a:bodyPr>
          <a:lstStyle/>
          <a:p>
            <a:endParaRPr/>
          </a:p>
        </p:txBody>
      </p:sp>
      <p:sp>
        <p:nvSpPr>
          <p:cNvPr id="1441" name="object 1441"/>
          <p:cNvSpPr/>
          <p:nvPr/>
        </p:nvSpPr>
        <p:spPr>
          <a:xfrm>
            <a:off x="8878278" y="5023231"/>
            <a:ext cx="891197" cy="0"/>
          </a:xfrm>
          <a:custGeom>
            <a:avLst/>
            <a:gdLst/>
            <a:ahLst/>
            <a:cxnLst/>
            <a:rect l="l" t="t" r="r" b="b"/>
            <a:pathLst>
              <a:path w="891197">
                <a:moveTo>
                  <a:pt x="0" y="0"/>
                </a:moveTo>
                <a:lnTo>
                  <a:pt x="891197" y="0"/>
                </a:lnTo>
              </a:path>
            </a:pathLst>
          </a:custGeom>
          <a:ln w="25400">
            <a:solidFill>
              <a:srgbClr val="000000"/>
            </a:solidFill>
          </a:ln>
        </p:spPr>
        <p:txBody>
          <a:bodyPr wrap="square" lIns="0" tIns="0" rIns="0" bIns="0" rtlCol="0">
            <a:noAutofit/>
          </a:bodyPr>
          <a:lstStyle/>
          <a:p>
            <a:endParaRPr/>
          </a:p>
        </p:txBody>
      </p:sp>
      <p:sp>
        <p:nvSpPr>
          <p:cNvPr id="1442" name="object 1442"/>
          <p:cNvSpPr/>
          <p:nvPr/>
        </p:nvSpPr>
        <p:spPr>
          <a:xfrm>
            <a:off x="9593961" y="5131054"/>
            <a:ext cx="113411" cy="0"/>
          </a:xfrm>
          <a:custGeom>
            <a:avLst/>
            <a:gdLst/>
            <a:ahLst/>
            <a:cxnLst/>
            <a:rect l="l" t="t" r="r" b="b"/>
            <a:pathLst>
              <a:path w="113411">
                <a:moveTo>
                  <a:pt x="0" y="0"/>
                </a:moveTo>
                <a:lnTo>
                  <a:pt x="113411" y="0"/>
                </a:lnTo>
              </a:path>
            </a:pathLst>
          </a:custGeom>
          <a:ln w="12700">
            <a:solidFill>
              <a:srgbClr val="000000"/>
            </a:solidFill>
          </a:ln>
        </p:spPr>
        <p:txBody>
          <a:bodyPr wrap="square" lIns="0" tIns="0" rIns="0" bIns="0" rtlCol="0">
            <a:noAutofit/>
          </a:bodyPr>
          <a:lstStyle/>
          <a:p>
            <a:endParaRPr/>
          </a:p>
        </p:txBody>
      </p:sp>
      <p:sp>
        <p:nvSpPr>
          <p:cNvPr id="1443" name="object 1443"/>
          <p:cNvSpPr/>
          <p:nvPr/>
        </p:nvSpPr>
        <p:spPr>
          <a:xfrm>
            <a:off x="9593961" y="5364861"/>
            <a:ext cx="113411" cy="0"/>
          </a:xfrm>
          <a:custGeom>
            <a:avLst/>
            <a:gdLst/>
            <a:ahLst/>
            <a:cxnLst/>
            <a:rect l="l" t="t" r="r" b="b"/>
            <a:pathLst>
              <a:path w="113411">
                <a:moveTo>
                  <a:pt x="0" y="0"/>
                </a:moveTo>
                <a:lnTo>
                  <a:pt x="113411" y="0"/>
                </a:lnTo>
              </a:path>
            </a:pathLst>
          </a:custGeom>
          <a:ln w="12700">
            <a:solidFill>
              <a:srgbClr val="000000"/>
            </a:solidFill>
          </a:ln>
        </p:spPr>
        <p:txBody>
          <a:bodyPr wrap="square" lIns="0" tIns="0" rIns="0" bIns="0" rtlCol="0">
            <a:noAutofit/>
          </a:bodyPr>
          <a:lstStyle/>
          <a:p>
            <a:endParaRPr/>
          </a:p>
        </p:txBody>
      </p:sp>
      <p:sp>
        <p:nvSpPr>
          <p:cNvPr id="1444" name="object 1444"/>
          <p:cNvSpPr/>
          <p:nvPr/>
        </p:nvSpPr>
        <p:spPr>
          <a:xfrm>
            <a:off x="9531819" y="5243322"/>
            <a:ext cx="146850" cy="0"/>
          </a:xfrm>
          <a:custGeom>
            <a:avLst/>
            <a:gdLst/>
            <a:ahLst/>
            <a:cxnLst/>
            <a:rect l="l" t="t" r="r" b="b"/>
            <a:pathLst>
              <a:path w="146850">
                <a:moveTo>
                  <a:pt x="0" y="0"/>
                </a:moveTo>
                <a:lnTo>
                  <a:pt x="146850" y="0"/>
                </a:lnTo>
              </a:path>
            </a:pathLst>
          </a:custGeom>
          <a:ln w="12700">
            <a:solidFill>
              <a:srgbClr val="000000"/>
            </a:solidFill>
          </a:ln>
        </p:spPr>
        <p:txBody>
          <a:bodyPr wrap="square" lIns="0" tIns="0" rIns="0" bIns="0" rtlCol="0">
            <a:noAutofit/>
          </a:bodyPr>
          <a:lstStyle/>
          <a:p>
            <a:endParaRPr/>
          </a:p>
        </p:txBody>
      </p:sp>
      <p:sp>
        <p:nvSpPr>
          <p:cNvPr id="1445" name="object 1445"/>
          <p:cNvSpPr/>
          <p:nvPr/>
        </p:nvSpPr>
        <p:spPr>
          <a:xfrm>
            <a:off x="8490839" y="5015739"/>
            <a:ext cx="1040980" cy="1299337"/>
          </a:xfrm>
          <a:custGeom>
            <a:avLst/>
            <a:gdLst/>
            <a:ahLst/>
            <a:cxnLst/>
            <a:rect l="l" t="t" r="r" b="b"/>
            <a:pathLst>
              <a:path w="1040980" h="1299337">
                <a:moveTo>
                  <a:pt x="0" y="1299337"/>
                </a:moveTo>
                <a:lnTo>
                  <a:pt x="1040980" y="1299337"/>
                </a:lnTo>
                <a:lnTo>
                  <a:pt x="1040980" y="0"/>
                </a:lnTo>
                <a:lnTo>
                  <a:pt x="0" y="0"/>
                </a:lnTo>
                <a:lnTo>
                  <a:pt x="0" y="1299337"/>
                </a:lnTo>
                <a:close/>
              </a:path>
            </a:pathLst>
          </a:custGeom>
          <a:solidFill>
            <a:srgbClr val="FFFFFF"/>
          </a:solidFill>
        </p:spPr>
        <p:txBody>
          <a:bodyPr wrap="square" lIns="0" tIns="0" rIns="0" bIns="0" rtlCol="0">
            <a:noAutofit/>
          </a:bodyPr>
          <a:lstStyle/>
          <a:p>
            <a:endParaRPr/>
          </a:p>
        </p:txBody>
      </p:sp>
      <p:sp>
        <p:nvSpPr>
          <p:cNvPr id="1446" name="object 1446"/>
          <p:cNvSpPr/>
          <p:nvPr/>
        </p:nvSpPr>
        <p:spPr>
          <a:xfrm>
            <a:off x="8490839" y="5015739"/>
            <a:ext cx="1040980" cy="1299337"/>
          </a:xfrm>
          <a:custGeom>
            <a:avLst/>
            <a:gdLst/>
            <a:ahLst/>
            <a:cxnLst/>
            <a:rect l="l" t="t" r="r" b="b"/>
            <a:pathLst>
              <a:path w="1040980" h="1299337">
                <a:moveTo>
                  <a:pt x="0" y="1299337"/>
                </a:moveTo>
                <a:lnTo>
                  <a:pt x="1040980" y="1299337"/>
                </a:lnTo>
                <a:lnTo>
                  <a:pt x="1040980" y="0"/>
                </a:lnTo>
                <a:lnTo>
                  <a:pt x="0" y="0"/>
                </a:lnTo>
                <a:lnTo>
                  <a:pt x="0" y="1299337"/>
                </a:lnTo>
                <a:close/>
              </a:path>
            </a:pathLst>
          </a:custGeom>
          <a:ln w="12700">
            <a:solidFill>
              <a:srgbClr val="000000"/>
            </a:solidFill>
          </a:ln>
        </p:spPr>
        <p:txBody>
          <a:bodyPr wrap="square" lIns="0" tIns="0" rIns="0" bIns="0" rtlCol="0">
            <a:noAutofit/>
          </a:bodyPr>
          <a:lstStyle/>
          <a:p>
            <a:endParaRPr/>
          </a:p>
        </p:txBody>
      </p:sp>
      <p:sp>
        <p:nvSpPr>
          <p:cNvPr id="1447" name="object 1447"/>
          <p:cNvSpPr/>
          <p:nvPr/>
        </p:nvSpPr>
        <p:spPr>
          <a:xfrm>
            <a:off x="8878277" y="5871832"/>
            <a:ext cx="414566" cy="0"/>
          </a:xfrm>
          <a:custGeom>
            <a:avLst/>
            <a:gdLst/>
            <a:ahLst/>
            <a:cxnLst/>
            <a:rect l="l" t="t" r="r" b="b"/>
            <a:pathLst>
              <a:path w="414566">
                <a:moveTo>
                  <a:pt x="0" y="0"/>
                </a:moveTo>
                <a:lnTo>
                  <a:pt x="414566" y="0"/>
                </a:lnTo>
              </a:path>
            </a:pathLst>
          </a:custGeom>
          <a:ln w="12700">
            <a:solidFill>
              <a:srgbClr val="000000"/>
            </a:solidFill>
          </a:ln>
        </p:spPr>
        <p:txBody>
          <a:bodyPr wrap="square" lIns="0" tIns="0" rIns="0" bIns="0" rtlCol="0">
            <a:noAutofit/>
          </a:bodyPr>
          <a:lstStyle/>
          <a:p>
            <a:endParaRPr/>
          </a:p>
        </p:txBody>
      </p:sp>
      <p:sp>
        <p:nvSpPr>
          <p:cNvPr id="1448" name="object 1448"/>
          <p:cNvSpPr/>
          <p:nvPr/>
        </p:nvSpPr>
        <p:spPr>
          <a:xfrm>
            <a:off x="8878277" y="6011481"/>
            <a:ext cx="414566" cy="0"/>
          </a:xfrm>
          <a:custGeom>
            <a:avLst/>
            <a:gdLst/>
            <a:ahLst/>
            <a:cxnLst/>
            <a:rect l="l" t="t" r="r" b="b"/>
            <a:pathLst>
              <a:path w="414566">
                <a:moveTo>
                  <a:pt x="0" y="0"/>
                </a:moveTo>
                <a:lnTo>
                  <a:pt x="414566" y="0"/>
                </a:lnTo>
              </a:path>
            </a:pathLst>
          </a:custGeom>
          <a:ln w="12700">
            <a:solidFill>
              <a:srgbClr val="000000"/>
            </a:solidFill>
          </a:ln>
        </p:spPr>
        <p:txBody>
          <a:bodyPr wrap="square" lIns="0" tIns="0" rIns="0" bIns="0" rtlCol="0">
            <a:noAutofit/>
          </a:bodyPr>
          <a:lstStyle/>
          <a:p>
            <a:endParaRPr/>
          </a:p>
        </p:txBody>
      </p:sp>
      <p:sp>
        <p:nvSpPr>
          <p:cNvPr id="1449" name="object 1449"/>
          <p:cNvSpPr/>
          <p:nvPr/>
        </p:nvSpPr>
        <p:spPr>
          <a:xfrm>
            <a:off x="9376029" y="6011481"/>
            <a:ext cx="113538" cy="0"/>
          </a:xfrm>
          <a:custGeom>
            <a:avLst/>
            <a:gdLst/>
            <a:ahLst/>
            <a:cxnLst/>
            <a:rect l="l" t="t" r="r" b="b"/>
            <a:pathLst>
              <a:path w="113538">
                <a:moveTo>
                  <a:pt x="0" y="0"/>
                </a:moveTo>
                <a:lnTo>
                  <a:pt x="113538" y="0"/>
                </a:lnTo>
              </a:path>
            </a:pathLst>
          </a:custGeom>
          <a:ln w="12700">
            <a:solidFill>
              <a:srgbClr val="000000"/>
            </a:solidFill>
          </a:ln>
        </p:spPr>
        <p:txBody>
          <a:bodyPr wrap="square" lIns="0" tIns="0" rIns="0" bIns="0" rtlCol="0">
            <a:noAutofit/>
          </a:bodyPr>
          <a:lstStyle/>
          <a:p>
            <a:endParaRPr/>
          </a:p>
        </p:txBody>
      </p:sp>
      <p:sp>
        <p:nvSpPr>
          <p:cNvPr id="1450" name="object 1450"/>
          <p:cNvSpPr/>
          <p:nvPr/>
        </p:nvSpPr>
        <p:spPr>
          <a:xfrm>
            <a:off x="8577199" y="6248285"/>
            <a:ext cx="130048" cy="0"/>
          </a:xfrm>
          <a:custGeom>
            <a:avLst/>
            <a:gdLst/>
            <a:ahLst/>
            <a:cxnLst/>
            <a:rect l="l" t="t" r="r" b="b"/>
            <a:pathLst>
              <a:path w="130048">
                <a:moveTo>
                  <a:pt x="0" y="0"/>
                </a:moveTo>
                <a:lnTo>
                  <a:pt x="130048" y="0"/>
                </a:lnTo>
              </a:path>
            </a:pathLst>
          </a:custGeom>
          <a:ln w="12700">
            <a:solidFill>
              <a:srgbClr val="000000"/>
            </a:solidFill>
          </a:ln>
        </p:spPr>
        <p:txBody>
          <a:bodyPr wrap="square" lIns="0" tIns="0" rIns="0" bIns="0" rtlCol="0">
            <a:noAutofit/>
          </a:bodyPr>
          <a:lstStyle/>
          <a:p>
            <a:endParaRPr/>
          </a:p>
        </p:txBody>
      </p:sp>
      <p:sp>
        <p:nvSpPr>
          <p:cNvPr id="1451" name="object 1451"/>
          <p:cNvSpPr/>
          <p:nvPr/>
        </p:nvSpPr>
        <p:spPr>
          <a:xfrm>
            <a:off x="8802624" y="6248285"/>
            <a:ext cx="490220" cy="0"/>
          </a:xfrm>
          <a:custGeom>
            <a:avLst/>
            <a:gdLst/>
            <a:ahLst/>
            <a:cxnLst/>
            <a:rect l="l" t="t" r="r" b="b"/>
            <a:pathLst>
              <a:path w="490220">
                <a:moveTo>
                  <a:pt x="0" y="0"/>
                </a:moveTo>
                <a:lnTo>
                  <a:pt x="490220" y="0"/>
                </a:lnTo>
              </a:path>
            </a:pathLst>
          </a:custGeom>
          <a:ln w="12700">
            <a:solidFill>
              <a:srgbClr val="000000"/>
            </a:solidFill>
          </a:ln>
        </p:spPr>
        <p:txBody>
          <a:bodyPr wrap="square" lIns="0" tIns="0" rIns="0" bIns="0" rtlCol="0">
            <a:noAutofit/>
          </a:bodyPr>
          <a:lstStyle/>
          <a:p>
            <a:endParaRPr/>
          </a:p>
        </p:txBody>
      </p:sp>
      <p:sp>
        <p:nvSpPr>
          <p:cNvPr id="1452" name="object 1452"/>
          <p:cNvSpPr/>
          <p:nvPr/>
        </p:nvSpPr>
        <p:spPr>
          <a:xfrm>
            <a:off x="9376029" y="6248285"/>
            <a:ext cx="113538" cy="0"/>
          </a:xfrm>
          <a:custGeom>
            <a:avLst/>
            <a:gdLst/>
            <a:ahLst/>
            <a:cxnLst/>
            <a:rect l="l" t="t" r="r" b="b"/>
            <a:pathLst>
              <a:path w="113538">
                <a:moveTo>
                  <a:pt x="0" y="0"/>
                </a:moveTo>
                <a:lnTo>
                  <a:pt x="113538" y="0"/>
                </a:lnTo>
              </a:path>
            </a:pathLst>
          </a:custGeom>
          <a:ln w="12700">
            <a:solidFill>
              <a:srgbClr val="000000"/>
            </a:solidFill>
          </a:ln>
        </p:spPr>
        <p:txBody>
          <a:bodyPr wrap="square" lIns="0" tIns="0" rIns="0" bIns="0" rtlCol="0">
            <a:noAutofit/>
          </a:bodyPr>
          <a:lstStyle/>
          <a:p>
            <a:endParaRPr/>
          </a:p>
        </p:txBody>
      </p:sp>
      <p:sp>
        <p:nvSpPr>
          <p:cNvPr id="1453" name="object 1453"/>
          <p:cNvSpPr/>
          <p:nvPr/>
        </p:nvSpPr>
        <p:spPr>
          <a:xfrm>
            <a:off x="8878277" y="6123813"/>
            <a:ext cx="582460" cy="0"/>
          </a:xfrm>
          <a:custGeom>
            <a:avLst/>
            <a:gdLst/>
            <a:ahLst/>
            <a:cxnLst/>
            <a:rect l="l" t="t" r="r" b="b"/>
            <a:pathLst>
              <a:path w="582460">
                <a:moveTo>
                  <a:pt x="0" y="0"/>
                </a:moveTo>
                <a:lnTo>
                  <a:pt x="582460" y="0"/>
                </a:lnTo>
              </a:path>
            </a:pathLst>
          </a:custGeom>
          <a:ln w="12700">
            <a:solidFill>
              <a:srgbClr val="000000"/>
            </a:solidFill>
          </a:ln>
        </p:spPr>
        <p:txBody>
          <a:bodyPr wrap="square" lIns="0" tIns="0" rIns="0" bIns="0" rtlCol="0">
            <a:noAutofit/>
          </a:bodyPr>
          <a:lstStyle/>
          <a:p>
            <a:endParaRPr/>
          </a:p>
        </p:txBody>
      </p:sp>
      <p:sp>
        <p:nvSpPr>
          <p:cNvPr id="1454" name="object 1454"/>
          <p:cNvSpPr/>
          <p:nvPr/>
        </p:nvSpPr>
        <p:spPr>
          <a:xfrm>
            <a:off x="8878278" y="5387594"/>
            <a:ext cx="673265" cy="0"/>
          </a:xfrm>
          <a:custGeom>
            <a:avLst/>
            <a:gdLst/>
            <a:ahLst/>
            <a:cxnLst/>
            <a:rect l="l" t="t" r="r" b="b"/>
            <a:pathLst>
              <a:path w="673265">
                <a:moveTo>
                  <a:pt x="0" y="0"/>
                </a:moveTo>
                <a:lnTo>
                  <a:pt x="673265" y="0"/>
                </a:lnTo>
              </a:path>
            </a:pathLst>
          </a:custGeom>
          <a:ln w="25400">
            <a:solidFill>
              <a:srgbClr val="000000"/>
            </a:solidFill>
          </a:ln>
        </p:spPr>
        <p:txBody>
          <a:bodyPr wrap="square" lIns="0" tIns="0" rIns="0" bIns="0" rtlCol="0">
            <a:noAutofit/>
          </a:bodyPr>
          <a:lstStyle/>
          <a:p>
            <a:endParaRPr/>
          </a:p>
        </p:txBody>
      </p:sp>
      <p:sp>
        <p:nvSpPr>
          <p:cNvPr id="1455" name="object 1455"/>
          <p:cNvSpPr/>
          <p:nvPr/>
        </p:nvSpPr>
        <p:spPr>
          <a:xfrm>
            <a:off x="8878277" y="5495417"/>
            <a:ext cx="414566" cy="0"/>
          </a:xfrm>
          <a:custGeom>
            <a:avLst/>
            <a:gdLst/>
            <a:ahLst/>
            <a:cxnLst/>
            <a:rect l="l" t="t" r="r" b="b"/>
            <a:pathLst>
              <a:path w="414566">
                <a:moveTo>
                  <a:pt x="0" y="0"/>
                </a:moveTo>
                <a:lnTo>
                  <a:pt x="414566" y="0"/>
                </a:lnTo>
              </a:path>
            </a:pathLst>
          </a:custGeom>
          <a:ln w="12700">
            <a:solidFill>
              <a:srgbClr val="000000"/>
            </a:solidFill>
          </a:ln>
        </p:spPr>
        <p:txBody>
          <a:bodyPr wrap="square" lIns="0" tIns="0" rIns="0" bIns="0" rtlCol="0">
            <a:noAutofit/>
          </a:bodyPr>
          <a:lstStyle/>
          <a:p>
            <a:endParaRPr/>
          </a:p>
        </p:txBody>
      </p:sp>
      <p:sp>
        <p:nvSpPr>
          <p:cNvPr id="1456" name="object 1456"/>
          <p:cNvSpPr/>
          <p:nvPr/>
        </p:nvSpPr>
        <p:spPr>
          <a:xfrm>
            <a:off x="9376029" y="5495417"/>
            <a:ext cx="113538" cy="0"/>
          </a:xfrm>
          <a:custGeom>
            <a:avLst/>
            <a:gdLst/>
            <a:ahLst/>
            <a:cxnLst/>
            <a:rect l="l" t="t" r="r" b="b"/>
            <a:pathLst>
              <a:path w="113538">
                <a:moveTo>
                  <a:pt x="0" y="0"/>
                </a:moveTo>
                <a:lnTo>
                  <a:pt x="113538" y="0"/>
                </a:lnTo>
              </a:path>
            </a:pathLst>
          </a:custGeom>
          <a:ln w="12700">
            <a:solidFill>
              <a:srgbClr val="000000"/>
            </a:solidFill>
          </a:ln>
        </p:spPr>
        <p:txBody>
          <a:bodyPr wrap="square" lIns="0" tIns="0" rIns="0" bIns="0" rtlCol="0">
            <a:noAutofit/>
          </a:bodyPr>
          <a:lstStyle/>
          <a:p>
            <a:endParaRPr/>
          </a:p>
        </p:txBody>
      </p:sp>
      <p:sp>
        <p:nvSpPr>
          <p:cNvPr id="1457" name="object 1457"/>
          <p:cNvSpPr/>
          <p:nvPr/>
        </p:nvSpPr>
        <p:spPr>
          <a:xfrm>
            <a:off x="8878277" y="5729135"/>
            <a:ext cx="414566" cy="0"/>
          </a:xfrm>
          <a:custGeom>
            <a:avLst/>
            <a:gdLst/>
            <a:ahLst/>
            <a:cxnLst/>
            <a:rect l="l" t="t" r="r" b="b"/>
            <a:pathLst>
              <a:path w="414566">
                <a:moveTo>
                  <a:pt x="0" y="0"/>
                </a:moveTo>
                <a:lnTo>
                  <a:pt x="414566" y="0"/>
                </a:lnTo>
              </a:path>
            </a:pathLst>
          </a:custGeom>
          <a:ln w="12700">
            <a:solidFill>
              <a:srgbClr val="000000"/>
            </a:solidFill>
          </a:ln>
        </p:spPr>
        <p:txBody>
          <a:bodyPr wrap="square" lIns="0" tIns="0" rIns="0" bIns="0" rtlCol="0">
            <a:noAutofit/>
          </a:bodyPr>
          <a:lstStyle/>
          <a:p>
            <a:endParaRPr/>
          </a:p>
        </p:txBody>
      </p:sp>
      <p:sp>
        <p:nvSpPr>
          <p:cNvPr id="1458" name="object 1458"/>
          <p:cNvSpPr/>
          <p:nvPr/>
        </p:nvSpPr>
        <p:spPr>
          <a:xfrm>
            <a:off x="9376029" y="5729135"/>
            <a:ext cx="113538" cy="0"/>
          </a:xfrm>
          <a:custGeom>
            <a:avLst/>
            <a:gdLst/>
            <a:ahLst/>
            <a:cxnLst/>
            <a:rect l="l" t="t" r="r" b="b"/>
            <a:pathLst>
              <a:path w="113538">
                <a:moveTo>
                  <a:pt x="0" y="0"/>
                </a:moveTo>
                <a:lnTo>
                  <a:pt x="113538" y="0"/>
                </a:lnTo>
              </a:path>
            </a:pathLst>
          </a:custGeom>
          <a:ln w="12700">
            <a:solidFill>
              <a:srgbClr val="000000"/>
            </a:solidFill>
          </a:ln>
        </p:spPr>
        <p:txBody>
          <a:bodyPr wrap="square" lIns="0" tIns="0" rIns="0" bIns="0" rtlCol="0">
            <a:noAutofit/>
          </a:bodyPr>
          <a:lstStyle/>
          <a:p>
            <a:endParaRPr/>
          </a:p>
        </p:txBody>
      </p:sp>
      <p:sp>
        <p:nvSpPr>
          <p:cNvPr id="1459" name="object 1459"/>
          <p:cNvSpPr/>
          <p:nvPr/>
        </p:nvSpPr>
        <p:spPr>
          <a:xfrm>
            <a:off x="8878277" y="5607697"/>
            <a:ext cx="582460" cy="0"/>
          </a:xfrm>
          <a:custGeom>
            <a:avLst/>
            <a:gdLst/>
            <a:ahLst/>
            <a:cxnLst/>
            <a:rect l="l" t="t" r="r" b="b"/>
            <a:pathLst>
              <a:path w="582460">
                <a:moveTo>
                  <a:pt x="0" y="0"/>
                </a:moveTo>
                <a:lnTo>
                  <a:pt x="582460" y="0"/>
                </a:lnTo>
              </a:path>
            </a:pathLst>
          </a:custGeom>
          <a:ln w="12700">
            <a:solidFill>
              <a:srgbClr val="000000"/>
            </a:solidFill>
          </a:ln>
        </p:spPr>
        <p:txBody>
          <a:bodyPr wrap="square" lIns="0" tIns="0" rIns="0" bIns="0" rtlCol="0">
            <a:noAutofit/>
          </a:bodyPr>
          <a:lstStyle/>
          <a:p>
            <a:endParaRPr/>
          </a:p>
        </p:txBody>
      </p:sp>
      <p:sp>
        <p:nvSpPr>
          <p:cNvPr id="1460" name="object 1460"/>
          <p:cNvSpPr/>
          <p:nvPr/>
        </p:nvSpPr>
        <p:spPr>
          <a:xfrm>
            <a:off x="7837297" y="4870006"/>
            <a:ext cx="1040980" cy="1299337"/>
          </a:xfrm>
          <a:custGeom>
            <a:avLst/>
            <a:gdLst/>
            <a:ahLst/>
            <a:cxnLst/>
            <a:rect l="l" t="t" r="r" b="b"/>
            <a:pathLst>
              <a:path w="1040980" h="1299337">
                <a:moveTo>
                  <a:pt x="0" y="1299336"/>
                </a:moveTo>
                <a:lnTo>
                  <a:pt x="1040980" y="1299336"/>
                </a:lnTo>
                <a:lnTo>
                  <a:pt x="1040980" y="0"/>
                </a:lnTo>
                <a:lnTo>
                  <a:pt x="0" y="0"/>
                </a:lnTo>
                <a:lnTo>
                  <a:pt x="0" y="1299336"/>
                </a:lnTo>
                <a:close/>
              </a:path>
            </a:pathLst>
          </a:custGeom>
          <a:solidFill>
            <a:srgbClr val="FFFFFF"/>
          </a:solidFill>
        </p:spPr>
        <p:txBody>
          <a:bodyPr wrap="square" lIns="0" tIns="0" rIns="0" bIns="0" rtlCol="0">
            <a:noAutofit/>
          </a:bodyPr>
          <a:lstStyle/>
          <a:p>
            <a:endParaRPr/>
          </a:p>
        </p:txBody>
      </p:sp>
      <p:sp>
        <p:nvSpPr>
          <p:cNvPr id="1461" name="object 1461"/>
          <p:cNvSpPr/>
          <p:nvPr/>
        </p:nvSpPr>
        <p:spPr>
          <a:xfrm>
            <a:off x="7837297" y="4870006"/>
            <a:ext cx="1040980" cy="1299337"/>
          </a:xfrm>
          <a:custGeom>
            <a:avLst/>
            <a:gdLst/>
            <a:ahLst/>
            <a:cxnLst/>
            <a:rect l="l" t="t" r="r" b="b"/>
            <a:pathLst>
              <a:path w="1040980" h="1299337">
                <a:moveTo>
                  <a:pt x="0" y="1299336"/>
                </a:moveTo>
                <a:lnTo>
                  <a:pt x="1040980" y="1299336"/>
                </a:lnTo>
                <a:lnTo>
                  <a:pt x="1040980" y="0"/>
                </a:lnTo>
                <a:lnTo>
                  <a:pt x="0" y="0"/>
                </a:lnTo>
                <a:lnTo>
                  <a:pt x="0" y="1299336"/>
                </a:lnTo>
                <a:close/>
              </a:path>
            </a:pathLst>
          </a:custGeom>
          <a:ln w="12700">
            <a:solidFill>
              <a:srgbClr val="000000"/>
            </a:solidFill>
          </a:ln>
        </p:spPr>
        <p:txBody>
          <a:bodyPr wrap="square" lIns="0" tIns="0" rIns="0" bIns="0" rtlCol="0">
            <a:noAutofit/>
          </a:bodyPr>
          <a:lstStyle/>
          <a:p>
            <a:endParaRPr/>
          </a:p>
        </p:txBody>
      </p:sp>
      <p:sp>
        <p:nvSpPr>
          <p:cNvPr id="1462" name="object 1462"/>
          <p:cNvSpPr/>
          <p:nvPr/>
        </p:nvSpPr>
        <p:spPr>
          <a:xfrm>
            <a:off x="7923530" y="5726099"/>
            <a:ext cx="130048" cy="0"/>
          </a:xfrm>
          <a:custGeom>
            <a:avLst/>
            <a:gdLst/>
            <a:ahLst/>
            <a:cxnLst/>
            <a:rect l="l" t="t" r="r" b="b"/>
            <a:pathLst>
              <a:path w="130048">
                <a:moveTo>
                  <a:pt x="0" y="0"/>
                </a:moveTo>
                <a:lnTo>
                  <a:pt x="130048" y="0"/>
                </a:lnTo>
              </a:path>
            </a:pathLst>
          </a:custGeom>
          <a:ln w="12700">
            <a:solidFill>
              <a:srgbClr val="000000"/>
            </a:solidFill>
          </a:ln>
        </p:spPr>
        <p:txBody>
          <a:bodyPr wrap="square" lIns="0" tIns="0" rIns="0" bIns="0" rtlCol="0">
            <a:noAutofit/>
          </a:bodyPr>
          <a:lstStyle/>
          <a:p>
            <a:endParaRPr/>
          </a:p>
        </p:txBody>
      </p:sp>
      <p:sp>
        <p:nvSpPr>
          <p:cNvPr id="1463" name="object 1463"/>
          <p:cNvSpPr/>
          <p:nvPr/>
        </p:nvSpPr>
        <p:spPr>
          <a:xfrm>
            <a:off x="8148955" y="5726099"/>
            <a:ext cx="490220" cy="0"/>
          </a:xfrm>
          <a:custGeom>
            <a:avLst/>
            <a:gdLst/>
            <a:ahLst/>
            <a:cxnLst/>
            <a:rect l="l" t="t" r="r" b="b"/>
            <a:pathLst>
              <a:path w="490220">
                <a:moveTo>
                  <a:pt x="0" y="0"/>
                </a:moveTo>
                <a:lnTo>
                  <a:pt x="490220" y="0"/>
                </a:lnTo>
              </a:path>
            </a:pathLst>
          </a:custGeom>
          <a:ln w="12700">
            <a:solidFill>
              <a:srgbClr val="000000"/>
            </a:solidFill>
          </a:ln>
        </p:spPr>
        <p:txBody>
          <a:bodyPr wrap="square" lIns="0" tIns="0" rIns="0" bIns="0" rtlCol="0">
            <a:noAutofit/>
          </a:bodyPr>
          <a:lstStyle/>
          <a:p>
            <a:endParaRPr/>
          </a:p>
        </p:txBody>
      </p:sp>
      <p:sp>
        <p:nvSpPr>
          <p:cNvPr id="1464" name="object 1464"/>
          <p:cNvSpPr/>
          <p:nvPr/>
        </p:nvSpPr>
        <p:spPr>
          <a:xfrm>
            <a:off x="8722359" y="5726099"/>
            <a:ext cx="113538" cy="0"/>
          </a:xfrm>
          <a:custGeom>
            <a:avLst/>
            <a:gdLst/>
            <a:ahLst/>
            <a:cxnLst/>
            <a:rect l="l" t="t" r="r" b="b"/>
            <a:pathLst>
              <a:path w="113538">
                <a:moveTo>
                  <a:pt x="0" y="0"/>
                </a:moveTo>
                <a:lnTo>
                  <a:pt x="113538" y="0"/>
                </a:lnTo>
              </a:path>
            </a:pathLst>
          </a:custGeom>
          <a:ln w="12700">
            <a:solidFill>
              <a:srgbClr val="000000"/>
            </a:solidFill>
          </a:ln>
        </p:spPr>
        <p:txBody>
          <a:bodyPr wrap="square" lIns="0" tIns="0" rIns="0" bIns="0" rtlCol="0">
            <a:noAutofit/>
          </a:bodyPr>
          <a:lstStyle/>
          <a:p>
            <a:endParaRPr/>
          </a:p>
        </p:txBody>
      </p:sp>
      <p:sp>
        <p:nvSpPr>
          <p:cNvPr id="1465" name="object 1465"/>
          <p:cNvSpPr/>
          <p:nvPr/>
        </p:nvSpPr>
        <p:spPr>
          <a:xfrm>
            <a:off x="7923530" y="5865749"/>
            <a:ext cx="130048" cy="0"/>
          </a:xfrm>
          <a:custGeom>
            <a:avLst/>
            <a:gdLst/>
            <a:ahLst/>
            <a:cxnLst/>
            <a:rect l="l" t="t" r="r" b="b"/>
            <a:pathLst>
              <a:path w="130048">
                <a:moveTo>
                  <a:pt x="0" y="0"/>
                </a:moveTo>
                <a:lnTo>
                  <a:pt x="130048" y="0"/>
                </a:lnTo>
              </a:path>
            </a:pathLst>
          </a:custGeom>
          <a:ln w="12700">
            <a:solidFill>
              <a:srgbClr val="000000"/>
            </a:solidFill>
          </a:ln>
        </p:spPr>
        <p:txBody>
          <a:bodyPr wrap="square" lIns="0" tIns="0" rIns="0" bIns="0" rtlCol="0">
            <a:noAutofit/>
          </a:bodyPr>
          <a:lstStyle/>
          <a:p>
            <a:endParaRPr/>
          </a:p>
        </p:txBody>
      </p:sp>
      <p:sp>
        <p:nvSpPr>
          <p:cNvPr id="1466" name="object 1466"/>
          <p:cNvSpPr/>
          <p:nvPr/>
        </p:nvSpPr>
        <p:spPr>
          <a:xfrm>
            <a:off x="8148955" y="5865749"/>
            <a:ext cx="490220" cy="0"/>
          </a:xfrm>
          <a:custGeom>
            <a:avLst/>
            <a:gdLst/>
            <a:ahLst/>
            <a:cxnLst/>
            <a:rect l="l" t="t" r="r" b="b"/>
            <a:pathLst>
              <a:path w="490220">
                <a:moveTo>
                  <a:pt x="0" y="0"/>
                </a:moveTo>
                <a:lnTo>
                  <a:pt x="490220" y="0"/>
                </a:lnTo>
              </a:path>
            </a:pathLst>
          </a:custGeom>
          <a:ln w="12700">
            <a:solidFill>
              <a:srgbClr val="000000"/>
            </a:solidFill>
          </a:ln>
        </p:spPr>
        <p:txBody>
          <a:bodyPr wrap="square" lIns="0" tIns="0" rIns="0" bIns="0" rtlCol="0">
            <a:noAutofit/>
          </a:bodyPr>
          <a:lstStyle/>
          <a:p>
            <a:endParaRPr/>
          </a:p>
        </p:txBody>
      </p:sp>
      <p:sp>
        <p:nvSpPr>
          <p:cNvPr id="1467" name="object 1467"/>
          <p:cNvSpPr/>
          <p:nvPr/>
        </p:nvSpPr>
        <p:spPr>
          <a:xfrm>
            <a:off x="8722359" y="5865749"/>
            <a:ext cx="113538" cy="0"/>
          </a:xfrm>
          <a:custGeom>
            <a:avLst/>
            <a:gdLst/>
            <a:ahLst/>
            <a:cxnLst/>
            <a:rect l="l" t="t" r="r" b="b"/>
            <a:pathLst>
              <a:path w="113538">
                <a:moveTo>
                  <a:pt x="0" y="0"/>
                </a:moveTo>
                <a:lnTo>
                  <a:pt x="113538" y="0"/>
                </a:lnTo>
              </a:path>
            </a:pathLst>
          </a:custGeom>
          <a:ln w="12700">
            <a:solidFill>
              <a:srgbClr val="000000"/>
            </a:solidFill>
          </a:ln>
        </p:spPr>
        <p:txBody>
          <a:bodyPr wrap="square" lIns="0" tIns="0" rIns="0" bIns="0" rtlCol="0">
            <a:noAutofit/>
          </a:bodyPr>
          <a:lstStyle/>
          <a:p>
            <a:endParaRPr/>
          </a:p>
        </p:txBody>
      </p:sp>
      <p:sp>
        <p:nvSpPr>
          <p:cNvPr id="1468" name="object 1468"/>
          <p:cNvSpPr/>
          <p:nvPr/>
        </p:nvSpPr>
        <p:spPr>
          <a:xfrm>
            <a:off x="7923530" y="6102553"/>
            <a:ext cx="130048" cy="0"/>
          </a:xfrm>
          <a:custGeom>
            <a:avLst/>
            <a:gdLst/>
            <a:ahLst/>
            <a:cxnLst/>
            <a:rect l="l" t="t" r="r" b="b"/>
            <a:pathLst>
              <a:path w="130048">
                <a:moveTo>
                  <a:pt x="0" y="0"/>
                </a:moveTo>
                <a:lnTo>
                  <a:pt x="130048" y="0"/>
                </a:lnTo>
              </a:path>
            </a:pathLst>
          </a:custGeom>
          <a:ln w="12700">
            <a:solidFill>
              <a:srgbClr val="000000"/>
            </a:solidFill>
          </a:ln>
        </p:spPr>
        <p:txBody>
          <a:bodyPr wrap="square" lIns="0" tIns="0" rIns="0" bIns="0" rtlCol="0">
            <a:noAutofit/>
          </a:bodyPr>
          <a:lstStyle/>
          <a:p>
            <a:endParaRPr/>
          </a:p>
        </p:txBody>
      </p:sp>
      <p:sp>
        <p:nvSpPr>
          <p:cNvPr id="1469" name="object 1469"/>
          <p:cNvSpPr/>
          <p:nvPr/>
        </p:nvSpPr>
        <p:spPr>
          <a:xfrm>
            <a:off x="8148955" y="6102553"/>
            <a:ext cx="490220" cy="0"/>
          </a:xfrm>
          <a:custGeom>
            <a:avLst/>
            <a:gdLst/>
            <a:ahLst/>
            <a:cxnLst/>
            <a:rect l="l" t="t" r="r" b="b"/>
            <a:pathLst>
              <a:path w="490220">
                <a:moveTo>
                  <a:pt x="0" y="0"/>
                </a:moveTo>
                <a:lnTo>
                  <a:pt x="490220" y="0"/>
                </a:lnTo>
              </a:path>
            </a:pathLst>
          </a:custGeom>
          <a:ln w="12700">
            <a:solidFill>
              <a:srgbClr val="000000"/>
            </a:solidFill>
          </a:ln>
        </p:spPr>
        <p:txBody>
          <a:bodyPr wrap="square" lIns="0" tIns="0" rIns="0" bIns="0" rtlCol="0">
            <a:noAutofit/>
          </a:bodyPr>
          <a:lstStyle/>
          <a:p>
            <a:endParaRPr/>
          </a:p>
        </p:txBody>
      </p:sp>
      <p:sp>
        <p:nvSpPr>
          <p:cNvPr id="1470" name="object 1470"/>
          <p:cNvSpPr/>
          <p:nvPr/>
        </p:nvSpPr>
        <p:spPr>
          <a:xfrm>
            <a:off x="8722359" y="6102553"/>
            <a:ext cx="113538" cy="0"/>
          </a:xfrm>
          <a:custGeom>
            <a:avLst/>
            <a:gdLst/>
            <a:ahLst/>
            <a:cxnLst/>
            <a:rect l="l" t="t" r="r" b="b"/>
            <a:pathLst>
              <a:path w="113538">
                <a:moveTo>
                  <a:pt x="0" y="0"/>
                </a:moveTo>
                <a:lnTo>
                  <a:pt x="113538" y="0"/>
                </a:lnTo>
              </a:path>
            </a:pathLst>
          </a:custGeom>
          <a:ln w="12700">
            <a:solidFill>
              <a:srgbClr val="000000"/>
            </a:solidFill>
          </a:ln>
        </p:spPr>
        <p:txBody>
          <a:bodyPr wrap="square" lIns="0" tIns="0" rIns="0" bIns="0" rtlCol="0">
            <a:noAutofit/>
          </a:bodyPr>
          <a:lstStyle/>
          <a:p>
            <a:endParaRPr/>
          </a:p>
        </p:txBody>
      </p:sp>
      <p:sp>
        <p:nvSpPr>
          <p:cNvPr id="1471" name="object 1471"/>
          <p:cNvSpPr/>
          <p:nvPr/>
        </p:nvSpPr>
        <p:spPr>
          <a:xfrm>
            <a:off x="7914387" y="5978080"/>
            <a:ext cx="892683" cy="0"/>
          </a:xfrm>
          <a:custGeom>
            <a:avLst/>
            <a:gdLst/>
            <a:ahLst/>
            <a:cxnLst/>
            <a:rect l="l" t="t" r="r" b="b"/>
            <a:pathLst>
              <a:path w="892683">
                <a:moveTo>
                  <a:pt x="0" y="0"/>
                </a:moveTo>
                <a:lnTo>
                  <a:pt x="892683" y="0"/>
                </a:lnTo>
              </a:path>
            </a:pathLst>
          </a:custGeom>
          <a:ln w="12700">
            <a:solidFill>
              <a:srgbClr val="000000"/>
            </a:solidFill>
          </a:ln>
        </p:spPr>
        <p:txBody>
          <a:bodyPr wrap="square" lIns="0" tIns="0" rIns="0" bIns="0" rtlCol="0">
            <a:noAutofit/>
          </a:bodyPr>
          <a:lstStyle/>
          <a:p>
            <a:endParaRPr/>
          </a:p>
        </p:txBody>
      </p:sp>
      <p:sp>
        <p:nvSpPr>
          <p:cNvPr id="1472" name="object 1472"/>
          <p:cNvSpPr/>
          <p:nvPr/>
        </p:nvSpPr>
        <p:spPr>
          <a:xfrm>
            <a:off x="7831202" y="5241925"/>
            <a:ext cx="1066673" cy="0"/>
          </a:xfrm>
          <a:custGeom>
            <a:avLst/>
            <a:gdLst/>
            <a:ahLst/>
            <a:cxnLst/>
            <a:rect l="l" t="t" r="r" b="b"/>
            <a:pathLst>
              <a:path w="1066673">
                <a:moveTo>
                  <a:pt x="0" y="0"/>
                </a:moveTo>
                <a:lnTo>
                  <a:pt x="1066673" y="0"/>
                </a:lnTo>
              </a:path>
            </a:pathLst>
          </a:custGeom>
          <a:ln w="25400">
            <a:solidFill>
              <a:srgbClr val="000000"/>
            </a:solidFill>
          </a:ln>
        </p:spPr>
        <p:txBody>
          <a:bodyPr wrap="square" lIns="0" tIns="0" rIns="0" bIns="0" rtlCol="0">
            <a:noAutofit/>
          </a:bodyPr>
          <a:lstStyle/>
          <a:p>
            <a:endParaRPr/>
          </a:p>
        </p:txBody>
      </p:sp>
      <p:sp>
        <p:nvSpPr>
          <p:cNvPr id="1473" name="object 1473"/>
          <p:cNvSpPr/>
          <p:nvPr/>
        </p:nvSpPr>
        <p:spPr>
          <a:xfrm>
            <a:off x="7923530" y="5349621"/>
            <a:ext cx="130048" cy="0"/>
          </a:xfrm>
          <a:custGeom>
            <a:avLst/>
            <a:gdLst/>
            <a:ahLst/>
            <a:cxnLst/>
            <a:rect l="l" t="t" r="r" b="b"/>
            <a:pathLst>
              <a:path w="130048">
                <a:moveTo>
                  <a:pt x="0" y="0"/>
                </a:moveTo>
                <a:lnTo>
                  <a:pt x="130048" y="0"/>
                </a:lnTo>
              </a:path>
            </a:pathLst>
          </a:custGeom>
          <a:ln w="12700">
            <a:solidFill>
              <a:srgbClr val="000000"/>
            </a:solidFill>
          </a:ln>
        </p:spPr>
        <p:txBody>
          <a:bodyPr wrap="square" lIns="0" tIns="0" rIns="0" bIns="0" rtlCol="0">
            <a:noAutofit/>
          </a:bodyPr>
          <a:lstStyle/>
          <a:p>
            <a:endParaRPr/>
          </a:p>
        </p:txBody>
      </p:sp>
      <p:sp>
        <p:nvSpPr>
          <p:cNvPr id="1474" name="object 1474"/>
          <p:cNvSpPr/>
          <p:nvPr/>
        </p:nvSpPr>
        <p:spPr>
          <a:xfrm>
            <a:off x="8148955" y="5349621"/>
            <a:ext cx="490220" cy="0"/>
          </a:xfrm>
          <a:custGeom>
            <a:avLst/>
            <a:gdLst/>
            <a:ahLst/>
            <a:cxnLst/>
            <a:rect l="l" t="t" r="r" b="b"/>
            <a:pathLst>
              <a:path w="490220">
                <a:moveTo>
                  <a:pt x="0" y="0"/>
                </a:moveTo>
                <a:lnTo>
                  <a:pt x="490220" y="0"/>
                </a:lnTo>
              </a:path>
            </a:pathLst>
          </a:custGeom>
          <a:ln w="12700">
            <a:solidFill>
              <a:srgbClr val="000000"/>
            </a:solidFill>
          </a:ln>
        </p:spPr>
        <p:txBody>
          <a:bodyPr wrap="square" lIns="0" tIns="0" rIns="0" bIns="0" rtlCol="0">
            <a:noAutofit/>
          </a:bodyPr>
          <a:lstStyle/>
          <a:p>
            <a:endParaRPr/>
          </a:p>
        </p:txBody>
      </p:sp>
      <p:sp>
        <p:nvSpPr>
          <p:cNvPr id="1475" name="object 1475"/>
          <p:cNvSpPr/>
          <p:nvPr/>
        </p:nvSpPr>
        <p:spPr>
          <a:xfrm>
            <a:off x="8722359" y="5349621"/>
            <a:ext cx="113538" cy="0"/>
          </a:xfrm>
          <a:custGeom>
            <a:avLst/>
            <a:gdLst/>
            <a:ahLst/>
            <a:cxnLst/>
            <a:rect l="l" t="t" r="r" b="b"/>
            <a:pathLst>
              <a:path w="113538">
                <a:moveTo>
                  <a:pt x="0" y="0"/>
                </a:moveTo>
                <a:lnTo>
                  <a:pt x="113538" y="0"/>
                </a:lnTo>
              </a:path>
            </a:pathLst>
          </a:custGeom>
          <a:ln w="12700">
            <a:solidFill>
              <a:srgbClr val="000000"/>
            </a:solidFill>
          </a:ln>
        </p:spPr>
        <p:txBody>
          <a:bodyPr wrap="square" lIns="0" tIns="0" rIns="0" bIns="0" rtlCol="0">
            <a:noAutofit/>
          </a:bodyPr>
          <a:lstStyle/>
          <a:p>
            <a:endParaRPr/>
          </a:p>
        </p:txBody>
      </p:sp>
      <p:sp>
        <p:nvSpPr>
          <p:cNvPr id="1476" name="object 1476"/>
          <p:cNvSpPr/>
          <p:nvPr/>
        </p:nvSpPr>
        <p:spPr>
          <a:xfrm>
            <a:off x="7923530" y="5583428"/>
            <a:ext cx="130048" cy="0"/>
          </a:xfrm>
          <a:custGeom>
            <a:avLst/>
            <a:gdLst/>
            <a:ahLst/>
            <a:cxnLst/>
            <a:rect l="l" t="t" r="r" b="b"/>
            <a:pathLst>
              <a:path w="130048">
                <a:moveTo>
                  <a:pt x="0" y="0"/>
                </a:moveTo>
                <a:lnTo>
                  <a:pt x="130048" y="0"/>
                </a:lnTo>
              </a:path>
            </a:pathLst>
          </a:custGeom>
          <a:ln w="12700">
            <a:solidFill>
              <a:srgbClr val="000000"/>
            </a:solidFill>
          </a:ln>
        </p:spPr>
        <p:txBody>
          <a:bodyPr wrap="square" lIns="0" tIns="0" rIns="0" bIns="0" rtlCol="0">
            <a:noAutofit/>
          </a:bodyPr>
          <a:lstStyle/>
          <a:p>
            <a:endParaRPr/>
          </a:p>
        </p:txBody>
      </p:sp>
      <p:sp>
        <p:nvSpPr>
          <p:cNvPr id="1477" name="object 1477"/>
          <p:cNvSpPr/>
          <p:nvPr/>
        </p:nvSpPr>
        <p:spPr>
          <a:xfrm>
            <a:off x="8148955" y="5583428"/>
            <a:ext cx="490220" cy="0"/>
          </a:xfrm>
          <a:custGeom>
            <a:avLst/>
            <a:gdLst/>
            <a:ahLst/>
            <a:cxnLst/>
            <a:rect l="l" t="t" r="r" b="b"/>
            <a:pathLst>
              <a:path w="490220">
                <a:moveTo>
                  <a:pt x="0" y="0"/>
                </a:moveTo>
                <a:lnTo>
                  <a:pt x="490220" y="0"/>
                </a:lnTo>
              </a:path>
            </a:pathLst>
          </a:custGeom>
          <a:ln w="12700">
            <a:solidFill>
              <a:srgbClr val="000000"/>
            </a:solidFill>
          </a:ln>
        </p:spPr>
        <p:txBody>
          <a:bodyPr wrap="square" lIns="0" tIns="0" rIns="0" bIns="0" rtlCol="0">
            <a:noAutofit/>
          </a:bodyPr>
          <a:lstStyle/>
          <a:p>
            <a:endParaRPr/>
          </a:p>
        </p:txBody>
      </p:sp>
      <p:sp>
        <p:nvSpPr>
          <p:cNvPr id="1478" name="object 1478"/>
          <p:cNvSpPr/>
          <p:nvPr/>
        </p:nvSpPr>
        <p:spPr>
          <a:xfrm>
            <a:off x="8722359" y="5583428"/>
            <a:ext cx="113538" cy="0"/>
          </a:xfrm>
          <a:custGeom>
            <a:avLst/>
            <a:gdLst/>
            <a:ahLst/>
            <a:cxnLst/>
            <a:rect l="l" t="t" r="r" b="b"/>
            <a:pathLst>
              <a:path w="113538">
                <a:moveTo>
                  <a:pt x="0" y="0"/>
                </a:moveTo>
                <a:lnTo>
                  <a:pt x="113538" y="0"/>
                </a:lnTo>
              </a:path>
            </a:pathLst>
          </a:custGeom>
          <a:ln w="12700">
            <a:solidFill>
              <a:srgbClr val="000000"/>
            </a:solidFill>
          </a:ln>
        </p:spPr>
        <p:txBody>
          <a:bodyPr wrap="square" lIns="0" tIns="0" rIns="0" bIns="0" rtlCol="0">
            <a:noAutofit/>
          </a:bodyPr>
          <a:lstStyle/>
          <a:p>
            <a:endParaRPr/>
          </a:p>
        </p:txBody>
      </p:sp>
      <p:sp>
        <p:nvSpPr>
          <p:cNvPr id="1479" name="object 1479"/>
          <p:cNvSpPr/>
          <p:nvPr/>
        </p:nvSpPr>
        <p:spPr>
          <a:xfrm>
            <a:off x="7914387" y="5462016"/>
            <a:ext cx="892683" cy="0"/>
          </a:xfrm>
          <a:custGeom>
            <a:avLst/>
            <a:gdLst/>
            <a:ahLst/>
            <a:cxnLst/>
            <a:rect l="l" t="t" r="r" b="b"/>
            <a:pathLst>
              <a:path w="892683">
                <a:moveTo>
                  <a:pt x="0" y="0"/>
                </a:moveTo>
                <a:lnTo>
                  <a:pt x="892683" y="0"/>
                </a:lnTo>
              </a:path>
            </a:pathLst>
          </a:custGeom>
          <a:ln w="12700">
            <a:solidFill>
              <a:srgbClr val="000000"/>
            </a:solidFill>
          </a:ln>
        </p:spPr>
        <p:txBody>
          <a:bodyPr wrap="square" lIns="0" tIns="0" rIns="0" bIns="0" rtlCol="0">
            <a:noAutofit/>
          </a:bodyPr>
          <a:lstStyle/>
          <a:p>
            <a:endParaRPr/>
          </a:p>
        </p:txBody>
      </p:sp>
      <p:sp>
        <p:nvSpPr>
          <p:cNvPr id="1480" name="object 1480"/>
          <p:cNvSpPr/>
          <p:nvPr/>
        </p:nvSpPr>
        <p:spPr>
          <a:xfrm>
            <a:off x="7909941" y="5531740"/>
            <a:ext cx="1791462" cy="285445"/>
          </a:xfrm>
          <a:custGeom>
            <a:avLst/>
            <a:gdLst/>
            <a:ahLst/>
            <a:cxnLst/>
            <a:rect l="l" t="t" r="r" b="b"/>
            <a:pathLst>
              <a:path w="1791462" h="285445">
                <a:moveTo>
                  <a:pt x="0" y="285445"/>
                </a:moveTo>
                <a:lnTo>
                  <a:pt x="1477010" y="285445"/>
                </a:lnTo>
                <a:lnTo>
                  <a:pt x="1791462" y="0"/>
                </a:lnTo>
                <a:lnTo>
                  <a:pt x="314452" y="0"/>
                </a:lnTo>
                <a:lnTo>
                  <a:pt x="0" y="285445"/>
                </a:lnTo>
                <a:close/>
              </a:path>
            </a:pathLst>
          </a:custGeom>
          <a:solidFill>
            <a:srgbClr val="000000"/>
          </a:solidFill>
        </p:spPr>
        <p:txBody>
          <a:bodyPr wrap="square" lIns="0" tIns="0" rIns="0" bIns="0" rtlCol="0">
            <a:noAutofit/>
          </a:bodyPr>
          <a:lstStyle/>
          <a:p>
            <a:endParaRPr/>
          </a:p>
        </p:txBody>
      </p:sp>
      <p:sp>
        <p:nvSpPr>
          <p:cNvPr id="1481" name="object 1481"/>
          <p:cNvSpPr/>
          <p:nvPr/>
        </p:nvSpPr>
        <p:spPr>
          <a:xfrm>
            <a:off x="7909941" y="5531740"/>
            <a:ext cx="1791462" cy="285445"/>
          </a:xfrm>
          <a:custGeom>
            <a:avLst/>
            <a:gdLst/>
            <a:ahLst/>
            <a:cxnLst/>
            <a:rect l="l" t="t" r="r" b="b"/>
            <a:pathLst>
              <a:path w="1791462" h="285445">
                <a:moveTo>
                  <a:pt x="0" y="285445"/>
                </a:moveTo>
                <a:lnTo>
                  <a:pt x="314452" y="0"/>
                </a:lnTo>
                <a:lnTo>
                  <a:pt x="1791462" y="0"/>
                </a:lnTo>
                <a:lnTo>
                  <a:pt x="1477010" y="285445"/>
                </a:lnTo>
                <a:lnTo>
                  <a:pt x="0" y="285445"/>
                </a:lnTo>
                <a:close/>
              </a:path>
            </a:pathLst>
          </a:custGeom>
          <a:ln w="25400">
            <a:solidFill>
              <a:srgbClr val="000000"/>
            </a:solidFill>
          </a:ln>
        </p:spPr>
        <p:txBody>
          <a:bodyPr wrap="square" lIns="0" tIns="0" rIns="0" bIns="0" rtlCol="0">
            <a:noAutofit/>
          </a:bodyPr>
          <a:lstStyle/>
          <a:p>
            <a:endParaRPr/>
          </a:p>
        </p:txBody>
      </p:sp>
      <p:sp>
        <p:nvSpPr>
          <p:cNvPr id="207" name="object 207"/>
          <p:cNvSpPr/>
          <p:nvPr/>
        </p:nvSpPr>
        <p:spPr>
          <a:xfrm>
            <a:off x="9806946" y="1201406"/>
            <a:ext cx="82142" cy="135461"/>
          </a:xfrm>
          <a:custGeom>
            <a:avLst/>
            <a:gdLst/>
            <a:ahLst/>
            <a:cxnLst/>
            <a:rect l="l" t="t" r="r" b="b"/>
            <a:pathLst>
              <a:path w="82142" h="135461">
                <a:moveTo>
                  <a:pt x="41071" y="0"/>
                </a:moveTo>
                <a:lnTo>
                  <a:pt x="36904" y="303"/>
                </a:lnTo>
                <a:lnTo>
                  <a:pt x="32737" y="1518"/>
                </a:lnTo>
                <a:lnTo>
                  <a:pt x="24999" y="5467"/>
                </a:lnTo>
                <a:lnTo>
                  <a:pt x="18154" y="11541"/>
                </a:lnTo>
                <a:lnTo>
                  <a:pt x="14880" y="15490"/>
                </a:lnTo>
                <a:lnTo>
                  <a:pt x="12202" y="19742"/>
                </a:lnTo>
                <a:lnTo>
                  <a:pt x="9523" y="24601"/>
                </a:lnTo>
                <a:lnTo>
                  <a:pt x="7142" y="29765"/>
                </a:lnTo>
                <a:lnTo>
                  <a:pt x="5059" y="35535"/>
                </a:lnTo>
                <a:lnTo>
                  <a:pt x="3273" y="41306"/>
                </a:lnTo>
                <a:lnTo>
                  <a:pt x="1785" y="47684"/>
                </a:lnTo>
                <a:lnTo>
                  <a:pt x="892" y="54063"/>
                </a:lnTo>
                <a:lnTo>
                  <a:pt x="297" y="60745"/>
                </a:lnTo>
                <a:lnTo>
                  <a:pt x="0" y="67730"/>
                </a:lnTo>
                <a:lnTo>
                  <a:pt x="297" y="74716"/>
                </a:lnTo>
                <a:lnTo>
                  <a:pt x="892" y="81398"/>
                </a:lnTo>
                <a:lnTo>
                  <a:pt x="1785" y="87776"/>
                </a:lnTo>
                <a:lnTo>
                  <a:pt x="3273" y="94154"/>
                </a:lnTo>
                <a:lnTo>
                  <a:pt x="5059" y="99925"/>
                </a:lnTo>
                <a:lnTo>
                  <a:pt x="7142" y="105696"/>
                </a:lnTo>
                <a:lnTo>
                  <a:pt x="9523" y="110859"/>
                </a:lnTo>
                <a:lnTo>
                  <a:pt x="12202" y="115719"/>
                </a:lnTo>
                <a:lnTo>
                  <a:pt x="14880" y="119971"/>
                </a:lnTo>
                <a:lnTo>
                  <a:pt x="18154" y="123920"/>
                </a:lnTo>
                <a:lnTo>
                  <a:pt x="21428" y="127261"/>
                </a:lnTo>
                <a:lnTo>
                  <a:pt x="28868" y="132424"/>
                </a:lnTo>
                <a:lnTo>
                  <a:pt x="36904" y="135157"/>
                </a:lnTo>
                <a:lnTo>
                  <a:pt x="41071" y="135461"/>
                </a:lnTo>
                <a:lnTo>
                  <a:pt x="45237" y="135157"/>
                </a:lnTo>
                <a:lnTo>
                  <a:pt x="53273" y="132424"/>
                </a:lnTo>
                <a:lnTo>
                  <a:pt x="57142" y="129994"/>
                </a:lnTo>
                <a:lnTo>
                  <a:pt x="63987" y="123920"/>
                </a:lnTo>
                <a:lnTo>
                  <a:pt x="67261" y="119971"/>
                </a:lnTo>
                <a:lnTo>
                  <a:pt x="70237" y="115719"/>
                </a:lnTo>
                <a:lnTo>
                  <a:pt x="72618" y="110859"/>
                </a:lnTo>
                <a:lnTo>
                  <a:pt x="74999" y="105696"/>
                </a:lnTo>
                <a:lnTo>
                  <a:pt x="77083" y="99925"/>
                </a:lnTo>
                <a:lnTo>
                  <a:pt x="78868" y="94154"/>
                </a:lnTo>
                <a:lnTo>
                  <a:pt x="80356" y="87776"/>
                </a:lnTo>
                <a:lnTo>
                  <a:pt x="81249" y="81398"/>
                </a:lnTo>
                <a:lnTo>
                  <a:pt x="81844" y="74716"/>
                </a:lnTo>
                <a:lnTo>
                  <a:pt x="82142" y="67730"/>
                </a:lnTo>
                <a:lnTo>
                  <a:pt x="81844" y="60745"/>
                </a:lnTo>
                <a:lnTo>
                  <a:pt x="81249" y="54063"/>
                </a:lnTo>
                <a:lnTo>
                  <a:pt x="80356" y="47684"/>
                </a:lnTo>
                <a:lnTo>
                  <a:pt x="78868" y="41306"/>
                </a:lnTo>
                <a:lnTo>
                  <a:pt x="77083" y="35535"/>
                </a:lnTo>
                <a:lnTo>
                  <a:pt x="74999" y="29765"/>
                </a:lnTo>
                <a:lnTo>
                  <a:pt x="72618" y="24601"/>
                </a:lnTo>
                <a:lnTo>
                  <a:pt x="70237" y="19742"/>
                </a:lnTo>
                <a:lnTo>
                  <a:pt x="67261" y="15490"/>
                </a:lnTo>
                <a:lnTo>
                  <a:pt x="63987" y="11541"/>
                </a:lnTo>
                <a:lnTo>
                  <a:pt x="60714" y="8200"/>
                </a:lnTo>
                <a:lnTo>
                  <a:pt x="53273" y="3037"/>
                </a:lnTo>
                <a:lnTo>
                  <a:pt x="45237" y="303"/>
                </a:lnTo>
                <a:lnTo>
                  <a:pt x="41071" y="0"/>
                </a:lnTo>
                <a:close/>
              </a:path>
            </a:pathLst>
          </a:custGeom>
          <a:solidFill>
            <a:srgbClr val="000000"/>
          </a:solidFill>
        </p:spPr>
        <p:txBody>
          <a:bodyPr wrap="square" lIns="0" tIns="0" rIns="0" bIns="0" rtlCol="0">
            <a:noAutofit/>
          </a:bodyPr>
          <a:lstStyle/>
          <a:p>
            <a:endParaRPr/>
          </a:p>
        </p:txBody>
      </p:sp>
      <p:sp>
        <p:nvSpPr>
          <p:cNvPr id="208" name="object 208"/>
          <p:cNvSpPr/>
          <p:nvPr/>
        </p:nvSpPr>
        <p:spPr>
          <a:xfrm>
            <a:off x="9848018" y="1199279"/>
            <a:ext cx="43154" cy="69856"/>
          </a:xfrm>
          <a:custGeom>
            <a:avLst/>
            <a:gdLst/>
            <a:ahLst/>
            <a:cxnLst/>
            <a:rect l="l" t="t" r="r" b="b"/>
            <a:pathLst>
              <a:path w="43154" h="69856">
                <a:moveTo>
                  <a:pt x="0" y="0"/>
                </a:moveTo>
                <a:lnTo>
                  <a:pt x="0" y="4252"/>
                </a:lnTo>
                <a:lnTo>
                  <a:pt x="3869" y="4555"/>
                </a:lnTo>
                <a:lnTo>
                  <a:pt x="7738" y="5770"/>
                </a:lnTo>
                <a:lnTo>
                  <a:pt x="11309" y="6985"/>
                </a:lnTo>
                <a:lnTo>
                  <a:pt x="14880" y="9415"/>
                </a:lnTo>
                <a:lnTo>
                  <a:pt x="18154" y="11845"/>
                </a:lnTo>
                <a:lnTo>
                  <a:pt x="21428" y="15186"/>
                </a:lnTo>
                <a:lnTo>
                  <a:pt x="24404" y="18830"/>
                </a:lnTo>
                <a:lnTo>
                  <a:pt x="27380" y="23083"/>
                </a:lnTo>
                <a:lnTo>
                  <a:pt x="29761" y="27639"/>
                </a:lnTo>
                <a:lnTo>
                  <a:pt x="32142" y="32802"/>
                </a:lnTo>
                <a:lnTo>
                  <a:pt x="33928" y="38269"/>
                </a:lnTo>
                <a:lnTo>
                  <a:pt x="35714" y="44040"/>
                </a:lnTo>
                <a:lnTo>
                  <a:pt x="37202" y="50114"/>
                </a:lnTo>
                <a:lnTo>
                  <a:pt x="38095" y="56492"/>
                </a:lnTo>
                <a:lnTo>
                  <a:pt x="38690" y="62871"/>
                </a:lnTo>
                <a:lnTo>
                  <a:pt x="38987" y="69856"/>
                </a:lnTo>
                <a:lnTo>
                  <a:pt x="43154" y="69856"/>
                </a:lnTo>
                <a:lnTo>
                  <a:pt x="42857" y="62871"/>
                </a:lnTo>
                <a:lnTo>
                  <a:pt x="42261" y="55885"/>
                </a:lnTo>
                <a:lnTo>
                  <a:pt x="41368" y="49507"/>
                </a:lnTo>
                <a:lnTo>
                  <a:pt x="39880" y="42825"/>
                </a:lnTo>
                <a:lnTo>
                  <a:pt x="38095" y="37054"/>
                </a:lnTo>
                <a:lnTo>
                  <a:pt x="35714" y="30980"/>
                </a:lnTo>
                <a:lnTo>
                  <a:pt x="33333" y="25816"/>
                </a:lnTo>
                <a:lnTo>
                  <a:pt x="30952" y="20653"/>
                </a:lnTo>
                <a:lnTo>
                  <a:pt x="27976" y="16401"/>
                </a:lnTo>
                <a:lnTo>
                  <a:pt x="24404" y="12149"/>
                </a:lnTo>
                <a:lnTo>
                  <a:pt x="21130" y="8808"/>
                </a:lnTo>
                <a:lnTo>
                  <a:pt x="17261" y="5770"/>
                </a:lnTo>
                <a:lnTo>
                  <a:pt x="13095" y="3340"/>
                </a:lnTo>
                <a:lnTo>
                  <a:pt x="8928" y="1518"/>
                </a:lnTo>
                <a:lnTo>
                  <a:pt x="4464" y="303"/>
                </a:lnTo>
                <a:lnTo>
                  <a:pt x="0" y="0"/>
                </a:lnTo>
                <a:close/>
              </a:path>
            </a:pathLst>
          </a:custGeom>
          <a:solidFill>
            <a:srgbClr val="000000"/>
          </a:solidFill>
        </p:spPr>
        <p:txBody>
          <a:bodyPr wrap="square" lIns="0" tIns="0" rIns="0" bIns="0" rtlCol="0">
            <a:noAutofit/>
          </a:bodyPr>
          <a:lstStyle/>
          <a:p>
            <a:endParaRPr/>
          </a:p>
        </p:txBody>
      </p:sp>
      <p:sp>
        <p:nvSpPr>
          <p:cNvPr id="209" name="object 209"/>
          <p:cNvSpPr/>
          <p:nvPr/>
        </p:nvSpPr>
        <p:spPr>
          <a:xfrm>
            <a:off x="9848018" y="1269136"/>
            <a:ext cx="43154" cy="69856"/>
          </a:xfrm>
          <a:custGeom>
            <a:avLst/>
            <a:gdLst/>
            <a:ahLst/>
            <a:cxnLst/>
            <a:rect l="l" t="t" r="r" b="b"/>
            <a:pathLst>
              <a:path w="43154" h="69856">
                <a:moveTo>
                  <a:pt x="4464" y="69553"/>
                </a:moveTo>
                <a:lnTo>
                  <a:pt x="8928" y="68338"/>
                </a:lnTo>
                <a:lnTo>
                  <a:pt x="13095" y="66515"/>
                </a:lnTo>
                <a:lnTo>
                  <a:pt x="17261" y="64086"/>
                </a:lnTo>
                <a:lnTo>
                  <a:pt x="21130" y="61048"/>
                </a:lnTo>
                <a:lnTo>
                  <a:pt x="24404" y="57707"/>
                </a:lnTo>
                <a:lnTo>
                  <a:pt x="27976" y="53455"/>
                </a:lnTo>
                <a:lnTo>
                  <a:pt x="30952" y="49203"/>
                </a:lnTo>
                <a:lnTo>
                  <a:pt x="33333" y="44040"/>
                </a:lnTo>
                <a:lnTo>
                  <a:pt x="35714" y="38876"/>
                </a:lnTo>
                <a:lnTo>
                  <a:pt x="38095" y="32802"/>
                </a:lnTo>
                <a:lnTo>
                  <a:pt x="39880" y="27031"/>
                </a:lnTo>
                <a:lnTo>
                  <a:pt x="41368" y="20349"/>
                </a:lnTo>
                <a:lnTo>
                  <a:pt x="42261" y="13971"/>
                </a:lnTo>
                <a:lnTo>
                  <a:pt x="42857" y="6985"/>
                </a:lnTo>
                <a:lnTo>
                  <a:pt x="43154" y="0"/>
                </a:lnTo>
                <a:lnTo>
                  <a:pt x="38987" y="0"/>
                </a:lnTo>
                <a:lnTo>
                  <a:pt x="38690" y="6985"/>
                </a:lnTo>
                <a:lnTo>
                  <a:pt x="38095" y="13363"/>
                </a:lnTo>
                <a:lnTo>
                  <a:pt x="37202" y="19742"/>
                </a:lnTo>
                <a:lnTo>
                  <a:pt x="35714" y="25816"/>
                </a:lnTo>
                <a:lnTo>
                  <a:pt x="33928" y="31587"/>
                </a:lnTo>
                <a:lnTo>
                  <a:pt x="32142" y="37054"/>
                </a:lnTo>
                <a:lnTo>
                  <a:pt x="29761" y="42217"/>
                </a:lnTo>
                <a:lnTo>
                  <a:pt x="27380" y="46773"/>
                </a:lnTo>
                <a:lnTo>
                  <a:pt x="24404" y="51025"/>
                </a:lnTo>
                <a:lnTo>
                  <a:pt x="21428" y="54670"/>
                </a:lnTo>
                <a:lnTo>
                  <a:pt x="18154" y="58011"/>
                </a:lnTo>
                <a:lnTo>
                  <a:pt x="14880" y="60441"/>
                </a:lnTo>
                <a:lnTo>
                  <a:pt x="11309" y="62871"/>
                </a:lnTo>
                <a:lnTo>
                  <a:pt x="7738" y="64086"/>
                </a:lnTo>
                <a:lnTo>
                  <a:pt x="3869" y="65301"/>
                </a:lnTo>
                <a:lnTo>
                  <a:pt x="0" y="65604"/>
                </a:lnTo>
                <a:lnTo>
                  <a:pt x="0" y="69856"/>
                </a:lnTo>
                <a:lnTo>
                  <a:pt x="4464" y="69553"/>
                </a:lnTo>
                <a:close/>
              </a:path>
            </a:pathLst>
          </a:custGeom>
          <a:solidFill>
            <a:srgbClr val="000000"/>
          </a:solidFill>
        </p:spPr>
        <p:txBody>
          <a:bodyPr wrap="square" lIns="0" tIns="0" rIns="0" bIns="0" rtlCol="0">
            <a:noAutofit/>
          </a:bodyPr>
          <a:lstStyle/>
          <a:p>
            <a:endParaRPr/>
          </a:p>
        </p:txBody>
      </p:sp>
      <p:sp>
        <p:nvSpPr>
          <p:cNvPr id="210" name="object 210"/>
          <p:cNvSpPr/>
          <p:nvPr/>
        </p:nvSpPr>
        <p:spPr>
          <a:xfrm>
            <a:off x="9804863" y="1269136"/>
            <a:ext cx="43154" cy="69856"/>
          </a:xfrm>
          <a:custGeom>
            <a:avLst/>
            <a:gdLst/>
            <a:ahLst/>
            <a:cxnLst/>
            <a:rect l="l" t="t" r="r" b="b"/>
            <a:pathLst>
              <a:path w="43154" h="69856">
                <a:moveTo>
                  <a:pt x="4166" y="0"/>
                </a:moveTo>
                <a:lnTo>
                  <a:pt x="0" y="0"/>
                </a:lnTo>
                <a:lnTo>
                  <a:pt x="297" y="6985"/>
                </a:lnTo>
                <a:lnTo>
                  <a:pt x="892" y="13971"/>
                </a:lnTo>
                <a:lnTo>
                  <a:pt x="1785" y="20349"/>
                </a:lnTo>
                <a:lnTo>
                  <a:pt x="3273" y="27031"/>
                </a:lnTo>
                <a:lnTo>
                  <a:pt x="5059" y="32802"/>
                </a:lnTo>
                <a:lnTo>
                  <a:pt x="7440" y="38876"/>
                </a:lnTo>
                <a:lnTo>
                  <a:pt x="9821" y="44040"/>
                </a:lnTo>
                <a:lnTo>
                  <a:pt x="12499" y="49203"/>
                </a:lnTo>
                <a:lnTo>
                  <a:pt x="15178" y="53455"/>
                </a:lnTo>
                <a:lnTo>
                  <a:pt x="18749" y="57707"/>
                </a:lnTo>
                <a:lnTo>
                  <a:pt x="22023" y="61048"/>
                </a:lnTo>
                <a:lnTo>
                  <a:pt x="25892" y="64086"/>
                </a:lnTo>
                <a:lnTo>
                  <a:pt x="30059" y="66515"/>
                </a:lnTo>
                <a:lnTo>
                  <a:pt x="34226" y="68338"/>
                </a:lnTo>
                <a:lnTo>
                  <a:pt x="38690" y="69553"/>
                </a:lnTo>
                <a:lnTo>
                  <a:pt x="43154" y="69856"/>
                </a:lnTo>
                <a:lnTo>
                  <a:pt x="43154" y="65604"/>
                </a:lnTo>
                <a:lnTo>
                  <a:pt x="39285" y="65301"/>
                </a:lnTo>
                <a:lnTo>
                  <a:pt x="35416" y="64086"/>
                </a:lnTo>
                <a:lnTo>
                  <a:pt x="31845" y="62871"/>
                </a:lnTo>
                <a:lnTo>
                  <a:pt x="28273" y="60441"/>
                </a:lnTo>
                <a:lnTo>
                  <a:pt x="24999" y="58011"/>
                </a:lnTo>
                <a:lnTo>
                  <a:pt x="21726" y="54670"/>
                </a:lnTo>
                <a:lnTo>
                  <a:pt x="18749" y="51025"/>
                </a:lnTo>
                <a:lnTo>
                  <a:pt x="16071" y="46773"/>
                </a:lnTo>
                <a:lnTo>
                  <a:pt x="13392" y="42217"/>
                </a:lnTo>
                <a:lnTo>
                  <a:pt x="11011" y="37054"/>
                </a:lnTo>
                <a:lnTo>
                  <a:pt x="9226" y="31587"/>
                </a:lnTo>
                <a:lnTo>
                  <a:pt x="7440" y="25816"/>
                </a:lnTo>
                <a:lnTo>
                  <a:pt x="5952" y="19742"/>
                </a:lnTo>
                <a:lnTo>
                  <a:pt x="5059" y="13363"/>
                </a:lnTo>
                <a:lnTo>
                  <a:pt x="4464" y="6985"/>
                </a:lnTo>
                <a:lnTo>
                  <a:pt x="4166" y="0"/>
                </a:lnTo>
                <a:close/>
              </a:path>
            </a:pathLst>
          </a:custGeom>
          <a:solidFill>
            <a:srgbClr val="000000"/>
          </a:solidFill>
        </p:spPr>
        <p:txBody>
          <a:bodyPr wrap="square" lIns="0" tIns="0" rIns="0" bIns="0" rtlCol="0">
            <a:noAutofit/>
          </a:bodyPr>
          <a:lstStyle/>
          <a:p>
            <a:endParaRPr/>
          </a:p>
        </p:txBody>
      </p:sp>
      <p:sp>
        <p:nvSpPr>
          <p:cNvPr id="211" name="object 211"/>
          <p:cNvSpPr/>
          <p:nvPr/>
        </p:nvSpPr>
        <p:spPr>
          <a:xfrm>
            <a:off x="9804863" y="1199279"/>
            <a:ext cx="43154" cy="69856"/>
          </a:xfrm>
          <a:custGeom>
            <a:avLst/>
            <a:gdLst/>
            <a:ahLst/>
            <a:cxnLst/>
            <a:rect l="l" t="t" r="r" b="b"/>
            <a:pathLst>
              <a:path w="43154" h="69856">
                <a:moveTo>
                  <a:pt x="5059" y="37054"/>
                </a:moveTo>
                <a:lnTo>
                  <a:pt x="3273" y="42825"/>
                </a:lnTo>
                <a:lnTo>
                  <a:pt x="1785" y="49507"/>
                </a:lnTo>
                <a:lnTo>
                  <a:pt x="892" y="55885"/>
                </a:lnTo>
                <a:lnTo>
                  <a:pt x="297" y="62871"/>
                </a:lnTo>
                <a:lnTo>
                  <a:pt x="0" y="69856"/>
                </a:lnTo>
                <a:lnTo>
                  <a:pt x="4166" y="69856"/>
                </a:lnTo>
                <a:lnTo>
                  <a:pt x="4464" y="62871"/>
                </a:lnTo>
                <a:lnTo>
                  <a:pt x="5059" y="56492"/>
                </a:lnTo>
                <a:lnTo>
                  <a:pt x="5952" y="50114"/>
                </a:lnTo>
                <a:lnTo>
                  <a:pt x="7440" y="44040"/>
                </a:lnTo>
                <a:lnTo>
                  <a:pt x="9226" y="38269"/>
                </a:lnTo>
                <a:lnTo>
                  <a:pt x="11011" y="32802"/>
                </a:lnTo>
                <a:lnTo>
                  <a:pt x="13392" y="27639"/>
                </a:lnTo>
                <a:lnTo>
                  <a:pt x="16071" y="23083"/>
                </a:lnTo>
                <a:lnTo>
                  <a:pt x="18749" y="18830"/>
                </a:lnTo>
                <a:lnTo>
                  <a:pt x="21726" y="15186"/>
                </a:lnTo>
                <a:lnTo>
                  <a:pt x="24999" y="11845"/>
                </a:lnTo>
                <a:lnTo>
                  <a:pt x="28273" y="9415"/>
                </a:lnTo>
                <a:lnTo>
                  <a:pt x="31845" y="6985"/>
                </a:lnTo>
                <a:lnTo>
                  <a:pt x="35416" y="5770"/>
                </a:lnTo>
                <a:lnTo>
                  <a:pt x="39285" y="4555"/>
                </a:lnTo>
                <a:lnTo>
                  <a:pt x="43154" y="4252"/>
                </a:lnTo>
                <a:lnTo>
                  <a:pt x="43154" y="0"/>
                </a:lnTo>
                <a:lnTo>
                  <a:pt x="38690" y="303"/>
                </a:lnTo>
                <a:lnTo>
                  <a:pt x="34226" y="1518"/>
                </a:lnTo>
                <a:lnTo>
                  <a:pt x="30059" y="3340"/>
                </a:lnTo>
                <a:lnTo>
                  <a:pt x="25892" y="5770"/>
                </a:lnTo>
                <a:lnTo>
                  <a:pt x="22023" y="8808"/>
                </a:lnTo>
                <a:lnTo>
                  <a:pt x="18749" y="12149"/>
                </a:lnTo>
                <a:lnTo>
                  <a:pt x="15178" y="16401"/>
                </a:lnTo>
                <a:lnTo>
                  <a:pt x="12499" y="20653"/>
                </a:lnTo>
                <a:lnTo>
                  <a:pt x="9821" y="25816"/>
                </a:lnTo>
                <a:lnTo>
                  <a:pt x="7440" y="30980"/>
                </a:lnTo>
                <a:lnTo>
                  <a:pt x="5059" y="37054"/>
                </a:lnTo>
                <a:close/>
              </a:path>
            </a:pathLst>
          </a:custGeom>
          <a:solidFill>
            <a:srgbClr val="000000"/>
          </a:solidFill>
        </p:spPr>
        <p:txBody>
          <a:bodyPr wrap="square" lIns="0" tIns="0" rIns="0" bIns="0" rtlCol="0">
            <a:noAutofit/>
          </a:bodyPr>
          <a:lstStyle/>
          <a:p>
            <a:endParaRPr/>
          </a:p>
        </p:txBody>
      </p:sp>
      <p:sp>
        <p:nvSpPr>
          <p:cNvPr id="212" name="object 212"/>
          <p:cNvSpPr/>
          <p:nvPr/>
        </p:nvSpPr>
        <p:spPr>
          <a:xfrm>
            <a:off x="9848315" y="1332311"/>
            <a:ext cx="27976" cy="4555"/>
          </a:xfrm>
          <a:custGeom>
            <a:avLst/>
            <a:gdLst/>
            <a:ahLst/>
            <a:cxnLst/>
            <a:rect l="l" t="t" r="r" b="b"/>
            <a:pathLst>
              <a:path w="27976" h="4555">
                <a:moveTo>
                  <a:pt x="27976" y="4555"/>
                </a:moveTo>
                <a:lnTo>
                  <a:pt x="13392" y="0"/>
                </a:lnTo>
                <a:lnTo>
                  <a:pt x="0" y="4555"/>
                </a:lnTo>
                <a:lnTo>
                  <a:pt x="27976" y="4555"/>
                </a:lnTo>
                <a:close/>
              </a:path>
            </a:pathLst>
          </a:custGeom>
          <a:solidFill>
            <a:srgbClr val="000000"/>
          </a:solidFill>
        </p:spPr>
        <p:txBody>
          <a:bodyPr wrap="square" lIns="0" tIns="0" rIns="0" bIns="0" rtlCol="0">
            <a:noAutofit/>
          </a:bodyPr>
          <a:lstStyle/>
          <a:p>
            <a:endParaRPr/>
          </a:p>
        </p:txBody>
      </p:sp>
      <p:sp>
        <p:nvSpPr>
          <p:cNvPr id="213" name="object 213"/>
          <p:cNvSpPr/>
          <p:nvPr/>
        </p:nvSpPr>
        <p:spPr>
          <a:xfrm>
            <a:off x="9847720" y="1201709"/>
            <a:ext cx="27380" cy="4859"/>
          </a:xfrm>
          <a:custGeom>
            <a:avLst/>
            <a:gdLst/>
            <a:ahLst/>
            <a:cxnLst/>
            <a:rect l="l" t="t" r="r" b="b"/>
            <a:pathLst>
              <a:path w="27380" h="4859">
                <a:moveTo>
                  <a:pt x="27380" y="0"/>
                </a:moveTo>
                <a:lnTo>
                  <a:pt x="0" y="0"/>
                </a:lnTo>
                <a:lnTo>
                  <a:pt x="13988" y="4859"/>
                </a:lnTo>
                <a:lnTo>
                  <a:pt x="27380" y="0"/>
                </a:lnTo>
                <a:close/>
              </a:path>
            </a:pathLst>
          </a:custGeom>
          <a:solidFill>
            <a:srgbClr val="000000"/>
          </a:solidFill>
        </p:spPr>
        <p:txBody>
          <a:bodyPr wrap="square" lIns="0" tIns="0" rIns="0" bIns="0" rtlCol="0">
            <a:noAutofit/>
          </a:bodyPr>
          <a:lstStyle/>
          <a:p>
            <a:endParaRPr/>
          </a:p>
        </p:txBody>
      </p:sp>
      <p:sp>
        <p:nvSpPr>
          <p:cNvPr id="214" name="object 214"/>
          <p:cNvSpPr/>
          <p:nvPr/>
        </p:nvSpPr>
        <p:spPr>
          <a:xfrm>
            <a:off x="9847720" y="1200191"/>
            <a:ext cx="28868" cy="3037"/>
          </a:xfrm>
          <a:custGeom>
            <a:avLst/>
            <a:gdLst/>
            <a:ahLst/>
            <a:cxnLst/>
            <a:rect l="l" t="t" r="r" b="b"/>
            <a:pathLst>
              <a:path w="28868" h="3037">
                <a:moveTo>
                  <a:pt x="26785" y="0"/>
                </a:moveTo>
                <a:lnTo>
                  <a:pt x="0" y="0"/>
                </a:lnTo>
                <a:lnTo>
                  <a:pt x="0" y="3037"/>
                </a:lnTo>
                <a:lnTo>
                  <a:pt x="27380" y="3037"/>
                </a:lnTo>
                <a:lnTo>
                  <a:pt x="27906" y="2679"/>
                </a:lnTo>
                <a:lnTo>
                  <a:pt x="28273" y="2429"/>
                </a:lnTo>
                <a:lnTo>
                  <a:pt x="28868" y="1518"/>
                </a:lnTo>
                <a:lnTo>
                  <a:pt x="28273" y="607"/>
                </a:lnTo>
                <a:lnTo>
                  <a:pt x="27380" y="0"/>
                </a:lnTo>
                <a:lnTo>
                  <a:pt x="26785" y="0"/>
                </a:lnTo>
                <a:close/>
              </a:path>
            </a:pathLst>
          </a:custGeom>
          <a:solidFill>
            <a:srgbClr val="000000"/>
          </a:solidFill>
        </p:spPr>
        <p:txBody>
          <a:bodyPr wrap="square" lIns="0" tIns="0" rIns="0" bIns="0" rtlCol="0">
            <a:noAutofit/>
          </a:bodyPr>
          <a:lstStyle/>
          <a:p>
            <a:endParaRPr/>
          </a:p>
        </p:txBody>
      </p:sp>
      <p:sp>
        <p:nvSpPr>
          <p:cNvPr id="215" name="object 215"/>
          <p:cNvSpPr/>
          <p:nvPr/>
        </p:nvSpPr>
        <p:spPr>
          <a:xfrm>
            <a:off x="9860221" y="1200190"/>
            <a:ext cx="14285" cy="7896"/>
          </a:xfrm>
          <a:custGeom>
            <a:avLst/>
            <a:gdLst/>
            <a:ahLst/>
            <a:cxnLst/>
            <a:rect l="l" t="t" r="r" b="b"/>
            <a:pathLst>
              <a:path w="14285" h="7896">
                <a:moveTo>
                  <a:pt x="892" y="4859"/>
                </a:moveTo>
                <a:lnTo>
                  <a:pt x="0" y="5770"/>
                </a:lnTo>
                <a:lnTo>
                  <a:pt x="297" y="6681"/>
                </a:lnTo>
                <a:lnTo>
                  <a:pt x="892" y="7896"/>
                </a:lnTo>
                <a:lnTo>
                  <a:pt x="2083" y="7896"/>
                </a:lnTo>
                <a:lnTo>
                  <a:pt x="2083" y="4859"/>
                </a:lnTo>
                <a:lnTo>
                  <a:pt x="14285" y="0"/>
                </a:lnTo>
                <a:lnTo>
                  <a:pt x="892" y="4859"/>
                </a:lnTo>
                <a:close/>
              </a:path>
            </a:pathLst>
          </a:custGeom>
          <a:solidFill>
            <a:srgbClr val="000000"/>
          </a:solidFill>
        </p:spPr>
        <p:txBody>
          <a:bodyPr wrap="square" lIns="0" tIns="0" rIns="0" bIns="0" rtlCol="0">
            <a:noAutofit/>
          </a:bodyPr>
          <a:lstStyle/>
          <a:p>
            <a:endParaRPr/>
          </a:p>
        </p:txBody>
      </p:sp>
      <p:sp>
        <p:nvSpPr>
          <p:cNvPr id="216" name="object 216"/>
          <p:cNvSpPr/>
          <p:nvPr/>
        </p:nvSpPr>
        <p:spPr>
          <a:xfrm>
            <a:off x="9862303" y="1200190"/>
            <a:ext cx="13392" cy="7896"/>
          </a:xfrm>
          <a:custGeom>
            <a:avLst/>
            <a:gdLst/>
            <a:ahLst/>
            <a:cxnLst/>
            <a:rect l="l" t="t" r="r" b="b"/>
            <a:pathLst>
              <a:path w="13392" h="7896">
                <a:moveTo>
                  <a:pt x="0" y="4859"/>
                </a:moveTo>
                <a:lnTo>
                  <a:pt x="0" y="7896"/>
                </a:lnTo>
                <a:lnTo>
                  <a:pt x="13392" y="3037"/>
                </a:lnTo>
                <a:lnTo>
                  <a:pt x="12202" y="0"/>
                </a:lnTo>
                <a:lnTo>
                  <a:pt x="0" y="4859"/>
                </a:lnTo>
                <a:close/>
              </a:path>
            </a:pathLst>
          </a:custGeom>
          <a:solidFill>
            <a:srgbClr val="000000"/>
          </a:solidFill>
        </p:spPr>
        <p:txBody>
          <a:bodyPr wrap="square" lIns="0" tIns="0" rIns="0" bIns="0" rtlCol="0">
            <a:noAutofit/>
          </a:bodyPr>
          <a:lstStyle/>
          <a:p>
            <a:endParaRPr/>
          </a:p>
        </p:txBody>
      </p:sp>
      <p:sp>
        <p:nvSpPr>
          <p:cNvPr id="217" name="object 217"/>
          <p:cNvSpPr/>
          <p:nvPr/>
        </p:nvSpPr>
        <p:spPr>
          <a:xfrm>
            <a:off x="9846232" y="1200190"/>
            <a:ext cx="14880" cy="7896"/>
          </a:xfrm>
          <a:custGeom>
            <a:avLst/>
            <a:gdLst/>
            <a:ahLst/>
            <a:cxnLst/>
            <a:rect l="l" t="t" r="r" b="b"/>
            <a:pathLst>
              <a:path w="14880" h="7896">
                <a:moveTo>
                  <a:pt x="892" y="3037"/>
                </a:moveTo>
                <a:lnTo>
                  <a:pt x="14880" y="7896"/>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218" name="object 218"/>
          <p:cNvSpPr/>
          <p:nvPr/>
        </p:nvSpPr>
        <p:spPr>
          <a:xfrm>
            <a:off x="9847721" y="1200190"/>
            <a:ext cx="14583" cy="7896"/>
          </a:xfrm>
          <a:custGeom>
            <a:avLst/>
            <a:gdLst/>
            <a:ahLst/>
            <a:cxnLst/>
            <a:rect l="l" t="t" r="r" b="b"/>
            <a:pathLst>
              <a:path w="14583" h="7896">
                <a:moveTo>
                  <a:pt x="595" y="0"/>
                </a:moveTo>
                <a:lnTo>
                  <a:pt x="0" y="0"/>
                </a:lnTo>
                <a:lnTo>
                  <a:pt x="0" y="3037"/>
                </a:lnTo>
                <a:lnTo>
                  <a:pt x="13392" y="7896"/>
                </a:lnTo>
                <a:lnTo>
                  <a:pt x="14583" y="4859"/>
                </a:lnTo>
                <a:lnTo>
                  <a:pt x="595" y="0"/>
                </a:lnTo>
                <a:close/>
              </a:path>
            </a:pathLst>
          </a:custGeom>
          <a:solidFill>
            <a:srgbClr val="000000"/>
          </a:solidFill>
        </p:spPr>
        <p:txBody>
          <a:bodyPr wrap="square" lIns="0" tIns="0" rIns="0" bIns="0" rtlCol="0">
            <a:noAutofit/>
          </a:bodyPr>
          <a:lstStyle/>
          <a:p>
            <a:endParaRPr/>
          </a:p>
        </p:txBody>
      </p:sp>
      <p:sp>
        <p:nvSpPr>
          <p:cNvPr id="219" name="object 219"/>
          <p:cNvSpPr/>
          <p:nvPr/>
        </p:nvSpPr>
        <p:spPr>
          <a:xfrm>
            <a:off x="9848315" y="1335349"/>
            <a:ext cx="29464" cy="3037"/>
          </a:xfrm>
          <a:custGeom>
            <a:avLst/>
            <a:gdLst/>
            <a:ahLst/>
            <a:cxnLst/>
            <a:rect l="l" t="t" r="r" b="b"/>
            <a:pathLst>
              <a:path w="29464" h="3037">
                <a:moveTo>
                  <a:pt x="29464" y="1518"/>
                </a:moveTo>
                <a:lnTo>
                  <a:pt x="28868" y="607"/>
                </a:lnTo>
                <a:lnTo>
                  <a:pt x="28255" y="189"/>
                </a:lnTo>
                <a:lnTo>
                  <a:pt x="27976" y="0"/>
                </a:lnTo>
                <a:lnTo>
                  <a:pt x="0" y="0"/>
                </a:lnTo>
                <a:lnTo>
                  <a:pt x="0" y="3037"/>
                </a:lnTo>
                <a:lnTo>
                  <a:pt x="27976" y="3037"/>
                </a:lnTo>
                <a:lnTo>
                  <a:pt x="28868" y="2429"/>
                </a:lnTo>
                <a:lnTo>
                  <a:pt x="29464" y="1518"/>
                </a:lnTo>
                <a:close/>
              </a:path>
            </a:pathLst>
          </a:custGeom>
          <a:solidFill>
            <a:srgbClr val="000000"/>
          </a:solidFill>
        </p:spPr>
        <p:txBody>
          <a:bodyPr wrap="square" lIns="0" tIns="0" rIns="0" bIns="0" rtlCol="0">
            <a:noAutofit/>
          </a:bodyPr>
          <a:lstStyle/>
          <a:p>
            <a:endParaRPr/>
          </a:p>
        </p:txBody>
      </p:sp>
      <p:sp>
        <p:nvSpPr>
          <p:cNvPr id="220" name="object 220"/>
          <p:cNvSpPr/>
          <p:nvPr/>
        </p:nvSpPr>
        <p:spPr>
          <a:xfrm>
            <a:off x="9861412" y="1333830"/>
            <a:ext cx="14583" cy="4555"/>
          </a:xfrm>
          <a:custGeom>
            <a:avLst/>
            <a:gdLst/>
            <a:ahLst/>
            <a:cxnLst/>
            <a:rect l="l" t="t" r="r" b="b"/>
            <a:pathLst>
              <a:path w="14583" h="4555">
                <a:moveTo>
                  <a:pt x="14583" y="4555"/>
                </a:moveTo>
                <a:lnTo>
                  <a:pt x="892" y="0"/>
                </a:lnTo>
                <a:lnTo>
                  <a:pt x="0" y="0"/>
                </a:lnTo>
                <a:lnTo>
                  <a:pt x="14583" y="4555"/>
                </a:lnTo>
                <a:close/>
              </a:path>
            </a:pathLst>
          </a:custGeom>
          <a:solidFill>
            <a:srgbClr val="000000"/>
          </a:solidFill>
        </p:spPr>
        <p:txBody>
          <a:bodyPr wrap="square" lIns="0" tIns="0" rIns="0" bIns="0" rtlCol="0">
            <a:noAutofit/>
          </a:bodyPr>
          <a:lstStyle/>
          <a:p>
            <a:endParaRPr/>
          </a:p>
        </p:txBody>
      </p:sp>
      <p:sp>
        <p:nvSpPr>
          <p:cNvPr id="221" name="object 221"/>
          <p:cNvSpPr/>
          <p:nvPr/>
        </p:nvSpPr>
        <p:spPr>
          <a:xfrm>
            <a:off x="9860519" y="1330793"/>
            <a:ext cx="16071" cy="7593"/>
          </a:xfrm>
          <a:custGeom>
            <a:avLst/>
            <a:gdLst/>
            <a:ahLst/>
            <a:cxnLst/>
            <a:rect l="l" t="t" r="r" b="b"/>
            <a:pathLst>
              <a:path w="16071" h="7593">
                <a:moveTo>
                  <a:pt x="15476" y="7593"/>
                </a:moveTo>
                <a:lnTo>
                  <a:pt x="16071" y="4555"/>
                </a:lnTo>
                <a:lnTo>
                  <a:pt x="1488" y="0"/>
                </a:lnTo>
                <a:lnTo>
                  <a:pt x="297" y="303"/>
                </a:lnTo>
                <a:lnTo>
                  <a:pt x="0" y="1214"/>
                </a:lnTo>
                <a:lnTo>
                  <a:pt x="0" y="2429"/>
                </a:lnTo>
                <a:lnTo>
                  <a:pt x="892" y="3037"/>
                </a:lnTo>
                <a:lnTo>
                  <a:pt x="1785" y="3037"/>
                </a:lnTo>
                <a:lnTo>
                  <a:pt x="15476" y="7593"/>
                </a:lnTo>
                <a:close/>
              </a:path>
            </a:pathLst>
          </a:custGeom>
          <a:solidFill>
            <a:srgbClr val="000000"/>
          </a:solidFill>
        </p:spPr>
        <p:txBody>
          <a:bodyPr wrap="square" lIns="0" tIns="0" rIns="0" bIns="0" rtlCol="0">
            <a:noAutofit/>
          </a:bodyPr>
          <a:lstStyle/>
          <a:p>
            <a:endParaRPr/>
          </a:p>
        </p:txBody>
      </p:sp>
      <p:sp>
        <p:nvSpPr>
          <p:cNvPr id="222" name="object 222"/>
          <p:cNvSpPr/>
          <p:nvPr/>
        </p:nvSpPr>
        <p:spPr>
          <a:xfrm>
            <a:off x="9847720" y="1330793"/>
            <a:ext cx="13392" cy="4555"/>
          </a:xfrm>
          <a:custGeom>
            <a:avLst/>
            <a:gdLst/>
            <a:ahLst/>
            <a:cxnLst/>
            <a:rect l="l" t="t" r="r" b="b"/>
            <a:pathLst>
              <a:path w="13392" h="4555">
                <a:moveTo>
                  <a:pt x="0" y="4555"/>
                </a:moveTo>
                <a:lnTo>
                  <a:pt x="595" y="4555"/>
                </a:lnTo>
                <a:lnTo>
                  <a:pt x="13392" y="0"/>
                </a:lnTo>
                <a:lnTo>
                  <a:pt x="0" y="4555"/>
                </a:lnTo>
                <a:close/>
              </a:path>
            </a:pathLst>
          </a:custGeom>
          <a:solidFill>
            <a:srgbClr val="000000"/>
          </a:solidFill>
        </p:spPr>
        <p:txBody>
          <a:bodyPr wrap="square" lIns="0" tIns="0" rIns="0" bIns="0" rtlCol="0">
            <a:noAutofit/>
          </a:bodyPr>
          <a:lstStyle/>
          <a:p>
            <a:endParaRPr/>
          </a:p>
        </p:txBody>
      </p:sp>
      <p:sp>
        <p:nvSpPr>
          <p:cNvPr id="223" name="object 223"/>
          <p:cNvSpPr/>
          <p:nvPr/>
        </p:nvSpPr>
        <p:spPr>
          <a:xfrm>
            <a:off x="9846827" y="1330793"/>
            <a:ext cx="15476" cy="7593"/>
          </a:xfrm>
          <a:custGeom>
            <a:avLst/>
            <a:gdLst/>
            <a:ahLst/>
            <a:cxnLst/>
            <a:rect l="l" t="t" r="r" b="b"/>
            <a:pathLst>
              <a:path w="15476" h="7593">
                <a:moveTo>
                  <a:pt x="297" y="6378"/>
                </a:moveTo>
                <a:lnTo>
                  <a:pt x="892" y="7593"/>
                </a:lnTo>
                <a:lnTo>
                  <a:pt x="2083" y="7593"/>
                </a:lnTo>
                <a:lnTo>
                  <a:pt x="15476" y="3037"/>
                </a:lnTo>
                <a:lnTo>
                  <a:pt x="14285" y="0"/>
                </a:lnTo>
                <a:lnTo>
                  <a:pt x="1488" y="4555"/>
                </a:lnTo>
                <a:lnTo>
                  <a:pt x="892" y="4555"/>
                </a:lnTo>
                <a:lnTo>
                  <a:pt x="0" y="5467"/>
                </a:lnTo>
                <a:lnTo>
                  <a:pt x="297" y="6378"/>
                </a:lnTo>
                <a:close/>
              </a:path>
            </a:pathLst>
          </a:custGeom>
          <a:solidFill>
            <a:srgbClr val="000000"/>
          </a:solidFill>
        </p:spPr>
        <p:txBody>
          <a:bodyPr wrap="square" lIns="0" tIns="0" rIns="0" bIns="0" rtlCol="0">
            <a:noAutofit/>
          </a:bodyPr>
          <a:lstStyle/>
          <a:p>
            <a:endParaRPr/>
          </a:p>
        </p:txBody>
      </p:sp>
      <p:sp>
        <p:nvSpPr>
          <p:cNvPr id="224" name="object 224"/>
          <p:cNvSpPr/>
          <p:nvPr/>
        </p:nvSpPr>
        <p:spPr>
          <a:xfrm>
            <a:off x="9834030" y="1201406"/>
            <a:ext cx="82142" cy="135461"/>
          </a:xfrm>
          <a:custGeom>
            <a:avLst/>
            <a:gdLst/>
            <a:ahLst/>
            <a:cxnLst/>
            <a:rect l="l" t="t" r="r" b="b"/>
            <a:pathLst>
              <a:path w="82142" h="135461">
                <a:moveTo>
                  <a:pt x="41071" y="0"/>
                </a:moveTo>
                <a:lnTo>
                  <a:pt x="36904" y="303"/>
                </a:lnTo>
                <a:lnTo>
                  <a:pt x="32737" y="1518"/>
                </a:lnTo>
                <a:lnTo>
                  <a:pt x="24999" y="5467"/>
                </a:lnTo>
                <a:lnTo>
                  <a:pt x="18154" y="11541"/>
                </a:lnTo>
                <a:lnTo>
                  <a:pt x="14880" y="15490"/>
                </a:lnTo>
                <a:lnTo>
                  <a:pt x="12202" y="19742"/>
                </a:lnTo>
                <a:lnTo>
                  <a:pt x="9523" y="24601"/>
                </a:lnTo>
                <a:lnTo>
                  <a:pt x="7142" y="29765"/>
                </a:lnTo>
                <a:lnTo>
                  <a:pt x="5059" y="35535"/>
                </a:lnTo>
                <a:lnTo>
                  <a:pt x="3273" y="41306"/>
                </a:lnTo>
                <a:lnTo>
                  <a:pt x="1785" y="47684"/>
                </a:lnTo>
                <a:lnTo>
                  <a:pt x="892" y="54063"/>
                </a:lnTo>
                <a:lnTo>
                  <a:pt x="297" y="60745"/>
                </a:lnTo>
                <a:lnTo>
                  <a:pt x="0" y="67730"/>
                </a:lnTo>
                <a:lnTo>
                  <a:pt x="297" y="74716"/>
                </a:lnTo>
                <a:lnTo>
                  <a:pt x="892" y="81398"/>
                </a:lnTo>
                <a:lnTo>
                  <a:pt x="1785" y="87776"/>
                </a:lnTo>
                <a:lnTo>
                  <a:pt x="3273" y="94154"/>
                </a:lnTo>
                <a:lnTo>
                  <a:pt x="5059" y="99925"/>
                </a:lnTo>
                <a:lnTo>
                  <a:pt x="7142" y="105696"/>
                </a:lnTo>
                <a:lnTo>
                  <a:pt x="9523" y="110859"/>
                </a:lnTo>
                <a:lnTo>
                  <a:pt x="12202" y="115719"/>
                </a:lnTo>
                <a:lnTo>
                  <a:pt x="14880" y="119971"/>
                </a:lnTo>
                <a:lnTo>
                  <a:pt x="18154" y="123920"/>
                </a:lnTo>
                <a:lnTo>
                  <a:pt x="21428" y="127261"/>
                </a:lnTo>
                <a:lnTo>
                  <a:pt x="28868" y="132424"/>
                </a:lnTo>
                <a:lnTo>
                  <a:pt x="36904" y="135157"/>
                </a:lnTo>
                <a:lnTo>
                  <a:pt x="41071" y="135461"/>
                </a:lnTo>
                <a:lnTo>
                  <a:pt x="45237" y="135157"/>
                </a:lnTo>
                <a:lnTo>
                  <a:pt x="53273" y="132424"/>
                </a:lnTo>
                <a:lnTo>
                  <a:pt x="57142" y="129994"/>
                </a:lnTo>
                <a:lnTo>
                  <a:pt x="63987" y="123920"/>
                </a:lnTo>
                <a:lnTo>
                  <a:pt x="67261" y="119971"/>
                </a:lnTo>
                <a:lnTo>
                  <a:pt x="70237" y="115719"/>
                </a:lnTo>
                <a:lnTo>
                  <a:pt x="72618" y="110859"/>
                </a:lnTo>
                <a:lnTo>
                  <a:pt x="74999" y="105696"/>
                </a:lnTo>
                <a:lnTo>
                  <a:pt x="77083" y="99925"/>
                </a:lnTo>
                <a:lnTo>
                  <a:pt x="78868" y="94154"/>
                </a:lnTo>
                <a:lnTo>
                  <a:pt x="80356" y="87776"/>
                </a:lnTo>
                <a:lnTo>
                  <a:pt x="81249" y="81398"/>
                </a:lnTo>
                <a:lnTo>
                  <a:pt x="81844" y="74716"/>
                </a:lnTo>
                <a:lnTo>
                  <a:pt x="82142" y="67730"/>
                </a:lnTo>
                <a:lnTo>
                  <a:pt x="81844" y="60745"/>
                </a:lnTo>
                <a:lnTo>
                  <a:pt x="81249" y="54063"/>
                </a:lnTo>
                <a:lnTo>
                  <a:pt x="80356" y="47684"/>
                </a:lnTo>
                <a:lnTo>
                  <a:pt x="78868" y="41306"/>
                </a:lnTo>
                <a:lnTo>
                  <a:pt x="77083" y="35535"/>
                </a:lnTo>
                <a:lnTo>
                  <a:pt x="74999" y="29765"/>
                </a:lnTo>
                <a:lnTo>
                  <a:pt x="72618" y="24601"/>
                </a:lnTo>
                <a:lnTo>
                  <a:pt x="70237" y="19742"/>
                </a:lnTo>
                <a:lnTo>
                  <a:pt x="67261" y="15490"/>
                </a:lnTo>
                <a:lnTo>
                  <a:pt x="63987" y="11541"/>
                </a:lnTo>
                <a:lnTo>
                  <a:pt x="60714" y="8200"/>
                </a:lnTo>
                <a:lnTo>
                  <a:pt x="53273" y="3037"/>
                </a:lnTo>
                <a:lnTo>
                  <a:pt x="45237" y="303"/>
                </a:lnTo>
                <a:lnTo>
                  <a:pt x="41071" y="0"/>
                </a:lnTo>
                <a:close/>
              </a:path>
            </a:pathLst>
          </a:custGeom>
          <a:solidFill>
            <a:srgbClr val="000000"/>
          </a:solidFill>
        </p:spPr>
        <p:txBody>
          <a:bodyPr wrap="square" lIns="0" tIns="0" rIns="0" bIns="0" rtlCol="0">
            <a:noAutofit/>
          </a:bodyPr>
          <a:lstStyle/>
          <a:p>
            <a:endParaRPr/>
          </a:p>
        </p:txBody>
      </p:sp>
      <p:sp>
        <p:nvSpPr>
          <p:cNvPr id="225" name="object 225"/>
          <p:cNvSpPr/>
          <p:nvPr/>
        </p:nvSpPr>
        <p:spPr>
          <a:xfrm>
            <a:off x="9875101" y="1199279"/>
            <a:ext cx="43154" cy="69856"/>
          </a:xfrm>
          <a:custGeom>
            <a:avLst/>
            <a:gdLst/>
            <a:ahLst/>
            <a:cxnLst/>
            <a:rect l="l" t="t" r="r" b="b"/>
            <a:pathLst>
              <a:path w="43154" h="69856">
                <a:moveTo>
                  <a:pt x="0" y="0"/>
                </a:moveTo>
                <a:lnTo>
                  <a:pt x="0" y="4252"/>
                </a:lnTo>
                <a:lnTo>
                  <a:pt x="3869" y="4555"/>
                </a:lnTo>
                <a:lnTo>
                  <a:pt x="7738" y="5770"/>
                </a:lnTo>
                <a:lnTo>
                  <a:pt x="11309" y="6985"/>
                </a:lnTo>
                <a:lnTo>
                  <a:pt x="14880" y="9415"/>
                </a:lnTo>
                <a:lnTo>
                  <a:pt x="18154" y="11845"/>
                </a:lnTo>
                <a:lnTo>
                  <a:pt x="21428" y="15186"/>
                </a:lnTo>
                <a:lnTo>
                  <a:pt x="24404" y="18830"/>
                </a:lnTo>
                <a:lnTo>
                  <a:pt x="27380" y="23083"/>
                </a:lnTo>
                <a:lnTo>
                  <a:pt x="29761" y="27639"/>
                </a:lnTo>
                <a:lnTo>
                  <a:pt x="32142" y="32802"/>
                </a:lnTo>
                <a:lnTo>
                  <a:pt x="33928" y="38269"/>
                </a:lnTo>
                <a:lnTo>
                  <a:pt x="35714" y="44040"/>
                </a:lnTo>
                <a:lnTo>
                  <a:pt x="37202" y="50114"/>
                </a:lnTo>
                <a:lnTo>
                  <a:pt x="38095" y="56492"/>
                </a:lnTo>
                <a:lnTo>
                  <a:pt x="38690" y="62871"/>
                </a:lnTo>
                <a:lnTo>
                  <a:pt x="38987" y="69856"/>
                </a:lnTo>
                <a:lnTo>
                  <a:pt x="43154" y="69856"/>
                </a:lnTo>
                <a:lnTo>
                  <a:pt x="42857" y="62871"/>
                </a:lnTo>
                <a:lnTo>
                  <a:pt x="42261" y="55885"/>
                </a:lnTo>
                <a:lnTo>
                  <a:pt x="41368" y="49507"/>
                </a:lnTo>
                <a:lnTo>
                  <a:pt x="39880" y="42825"/>
                </a:lnTo>
                <a:lnTo>
                  <a:pt x="38095" y="37054"/>
                </a:lnTo>
                <a:lnTo>
                  <a:pt x="35714" y="30980"/>
                </a:lnTo>
                <a:lnTo>
                  <a:pt x="33333" y="25816"/>
                </a:lnTo>
                <a:lnTo>
                  <a:pt x="30952" y="20653"/>
                </a:lnTo>
                <a:lnTo>
                  <a:pt x="27976" y="16401"/>
                </a:lnTo>
                <a:lnTo>
                  <a:pt x="24404" y="12149"/>
                </a:lnTo>
                <a:lnTo>
                  <a:pt x="21130" y="8808"/>
                </a:lnTo>
                <a:lnTo>
                  <a:pt x="17261" y="5770"/>
                </a:lnTo>
                <a:lnTo>
                  <a:pt x="13095" y="3340"/>
                </a:lnTo>
                <a:lnTo>
                  <a:pt x="8928" y="1518"/>
                </a:lnTo>
                <a:lnTo>
                  <a:pt x="4464" y="303"/>
                </a:lnTo>
                <a:lnTo>
                  <a:pt x="0" y="0"/>
                </a:lnTo>
                <a:close/>
              </a:path>
            </a:pathLst>
          </a:custGeom>
          <a:solidFill>
            <a:srgbClr val="000000"/>
          </a:solidFill>
        </p:spPr>
        <p:txBody>
          <a:bodyPr wrap="square" lIns="0" tIns="0" rIns="0" bIns="0" rtlCol="0">
            <a:noAutofit/>
          </a:bodyPr>
          <a:lstStyle/>
          <a:p>
            <a:endParaRPr/>
          </a:p>
        </p:txBody>
      </p:sp>
      <p:sp>
        <p:nvSpPr>
          <p:cNvPr id="226" name="object 226"/>
          <p:cNvSpPr/>
          <p:nvPr/>
        </p:nvSpPr>
        <p:spPr>
          <a:xfrm>
            <a:off x="9875101" y="1269136"/>
            <a:ext cx="43154" cy="69856"/>
          </a:xfrm>
          <a:custGeom>
            <a:avLst/>
            <a:gdLst/>
            <a:ahLst/>
            <a:cxnLst/>
            <a:rect l="l" t="t" r="r" b="b"/>
            <a:pathLst>
              <a:path w="43154" h="69856">
                <a:moveTo>
                  <a:pt x="4464" y="69553"/>
                </a:moveTo>
                <a:lnTo>
                  <a:pt x="8928" y="68338"/>
                </a:lnTo>
                <a:lnTo>
                  <a:pt x="13095" y="66515"/>
                </a:lnTo>
                <a:lnTo>
                  <a:pt x="17261" y="64086"/>
                </a:lnTo>
                <a:lnTo>
                  <a:pt x="21130" y="61048"/>
                </a:lnTo>
                <a:lnTo>
                  <a:pt x="24404" y="57707"/>
                </a:lnTo>
                <a:lnTo>
                  <a:pt x="27976" y="53455"/>
                </a:lnTo>
                <a:lnTo>
                  <a:pt x="30952" y="49203"/>
                </a:lnTo>
                <a:lnTo>
                  <a:pt x="33333" y="44040"/>
                </a:lnTo>
                <a:lnTo>
                  <a:pt x="35714" y="38876"/>
                </a:lnTo>
                <a:lnTo>
                  <a:pt x="38095" y="32802"/>
                </a:lnTo>
                <a:lnTo>
                  <a:pt x="39880" y="27031"/>
                </a:lnTo>
                <a:lnTo>
                  <a:pt x="41368" y="20349"/>
                </a:lnTo>
                <a:lnTo>
                  <a:pt x="42261" y="13971"/>
                </a:lnTo>
                <a:lnTo>
                  <a:pt x="42857" y="6985"/>
                </a:lnTo>
                <a:lnTo>
                  <a:pt x="43154" y="0"/>
                </a:lnTo>
                <a:lnTo>
                  <a:pt x="38987" y="0"/>
                </a:lnTo>
                <a:lnTo>
                  <a:pt x="38690" y="6985"/>
                </a:lnTo>
                <a:lnTo>
                  <a:pt x="38095" y="13363"/>
                </a:lnTo>
                <a:lnTo>
                  <a:pt x="37202" y="19742"/>
                </a:lnTo>
                <a:lnTo>
                  <a:pt x="35714" y="25816"/>
                </a:lnTo>
                <a:lnTo>
                  <a:pt x="33928" y="31587"/>
                </a:lnTo>
                <a:lnTo>
                  <a:pt x="32142" y="37054"/>
                </a:lnTo>
                <a:lnTo>
                  <a:pt x="29761" y="42217"/>
                </a:lnTo>
                <a:lnTo>
                  <a:pt x="27380" y="46773"/>
                </a:lnTo>
                <a:lnTo>
                  <a:pt x="24404" y="51025"/>
                </a:lnTo>
                <a:lnTo>
                  <a:pt x="21428" y="54670"/>
                </a:lnTo>
                <a:lnTo>
                  <a:pt x="18154" y="58011"/>
                </a:lnTo>
                <a:lnTo>
                  <a:pt x="14880" y="60441"/>
                </a:lnTo>
                <a:lnTo>
                  <a:pt x="11309" y="62871"/>
                </a:lnTo>
                <a:lnTo>
                  <a:pt x="7738" y="64086"/>
                </a:lnTo>
                <a:lnTo>
                  <a:pt x="3869" y="65301"/>
                </a:lnTo>
                <a:lnTo>
                  <a:pt x="0" y="65604"/>
                </a:lnTo>
                <a:lnTo>
                  <a:pt x="0" y="69856"/>
                </a:lnTo>
                <a:lnTo>
                  <a:pt x="4464" y="69553"/>
                </a:lnTo>
                <a:close/>
              </a:path>
            </a:pathLst>
          </a:custGeom>
          <a:solidFill>
            <a:srgbClr val="000000"/>
          </a:solidFill>
        </p:spPr>
        <p:txBody>
          <a:bodyPr wrap="square" lIns="0" tIns="0" rIns="0" bIns="0" rtlCol="0">
            <a:noAutofit/>
          </a:bodyPr>
          <a:lstStyle/>
          <a:p>
            <a:endParaRPr/>
          </a:p>
        </p:txBody>
      </p:sp>
      <p:sp>
        <p:nvSpPr>
          <p:cNvPr id="227" name="object 227"/>
          <p:cNvSpPr/>
          <p:nvPr/>
        </p:nvSpPr>
        <p:spPr>
          <a:xfrm>
            <a:off x="9831946" y="1269136"/>
            <a:ext cx="43154" cy="69856"/>
          </a:xfrm>
          <a:custGeom>
            <a:avLst/>
            <a:gdLst/>
            <a:ahLst/>
            <a:cxnLst/>
            <a:rect l="l" t="t" r="r" b="b"/>
            <a:pathLst>
              <a:path w="43154" h="69856">
                <a:moveTo>
                  <a:pt x="4166" y="0"/>
                </a:moveTo>
                <a:lnTo>
                  <a:pt x="0" y="0"/>
                </a:lnTo>
                <a:lnTo>
                  <a:pt x="297" y="6985"/>
                </a:lnTo>
                <a:lnTo>
                  <a:pt x="892" y="13971"/>
                </a:lnTo>
                <a:lnTo>
                  <a:pt x="1785" y="20349"/>
                </a:lnTo>
                <a:lnTo>
                  <a:pt x="3273" y="27031"/>
                </a:lnTo>
                <a:lnTo>
                  <a:pt x="5059" y="32802"/>
                </a:lnTo>
                <a:lnTo>
                  <a:pt x="7440" y="38876"/>
                </a:lnTo>
                <a:lnTo>
                  <a:pt x="9821" y="44040"/>
                </a:lnTo>
                <a:lnTo>
                  <a:pt x="12499" y="49203"/>
                </a:lnTo>
                <a:lnTo>
                  <a:pt x="15178" y="53455"/>
                </a:lnTo>
                <a:lnTo>
                  <a:pt x="18749" y="57707"/>
                </a:lnTo>
                <a:lnTo>
                  <a:pt x="22023" y="61048"/>
                </a:lnTo>
                <a:lnTo>
                  <a:pt x="25892" y="64086"/>
                </a:lnTo>
                <a:lnTo>
                  <a:pt x="30059" y="66515"/>
                </a:lnTo>
                <a:lnTo>
                  <a:pt x="34226" y="68338"/>
                </a:lnTo>
                <a:lnTo>
                  <a:pt x="38690" y="69553"/>
                </a:lnTo>
                <a:lnTo>
                  <a:pt x="43154" y="69856"/>
                </a:lnTo>
                <a:lnTo>
                  <a:pt x="43154" y="65604"/>
                </a:lnTo>
                <a:lnTo>
                  <a:pt x="39285" y="65301"/>
                </a:lnTo>
                <a:lnTo>
                  <a:pt x="35416" y="64086"/>
                </a:lnTo>
                <a:lnTo>
                  <a:pt x="31845" y="62871"/>
                </a:lnTo>
                <a:lnTo>
                  <a:pt x="28273" y="60441"/>
                </a:lnTo>
                <a:lnTo>
                  <a:pt x="24999" y="58011"/>
                </a:lnTo>
                <a:lnTo>
                  <a:pt x="21726" y="54670"/>
                </a:lnTo>
                <a:lnTo>
                  <a:pt x="18749" y="51025"/>
                </a:lnTo>
                <a:lnTo>
                  <a:pt x="16071" y="46773"/>
                </a:lnTo>
                <a:lnTo>
                  <a:pt x="13392" y="42217"/>
                </a:lnTo>
                <a:lnTo>
                  <a:pt x="11011" y="37054"/>
                </a:lnTo>
                <a:lnTo>
                  <a:pt x="9226" y="31587"/>
                </a:lnTo>
                <a:lnTo>
                  <a:pt x="7440" y="25816"/>
                </a:lnTo>
                <a:lnTo>
                  <a:pt x="5952" y="19742"/>
                </a:lnTo>
                <a:lnTo>
                  <a:pt x="5059" y="13363"/>
                </a:lnTo>
                <a:lnTo>
                  <a:pt x="4464" y="6985"/>
                </a:lnTo>
                <a:lnTo>
                  <a:pt x="4166" y="0"/>
                </a:lnTo>
                <a:close/>
              </a:path>
            </a:pathLst>
          </a:custGeom>
          <a:solidFill>
            <a:srgbClr val="000000"/>
          </a:solidFill>
        </p:spPr>
        <p:txBody>
          <a:bodyPr wrap="square" lIns="0" tIns="0" rIns="0" bIns="0" rtlCol="0">
            <a:noAutofit/>
          </a:bodyPr>
          <a:lstStyle/>
          <a:p>
            <a:endParaRPr/>
          </a:p>
        </p:txBody>
      </p:sp>
      <p:sp>
        <p:nvSpPr>
          <p:cNvPr id="228" name="object 228"/>
          <p:cNvSpPr/>
          <p:nvPr/>
        </p:nvSpPr>
        <p:spPr>
          <a:xfrm>
            <a:off x="9831946" y="1199279"/>
            <a:ext cx="43154" cy="69856"/>
          </a:xfrm>
          <a:custGeom>
            <a:avLst/>
            <a:gdLst/>
            <a:ahLst/>
            <a:cxnLst/>
            <a:rect l="l" t="t" r="r" b="b"/>
            <a:pathLst>
              <a:path w="43154" h="69856">
                <a:moveTo>
                  <a:pt x="5059" y="37054"/>
                </a:moveTo>
                <a:lnTo>
                  <a:pt x="3273" y="42825"/>
                </a:lnTo>
                <a:lnTo>
                  <a:pt x="1785" y="49507"/>
                </a:lnTo>
                <a:lnTo>
                  <a:pt x="892" y="55885"/>
                </a:lnTo>
                <a:lnTo>
                  <a:pt x="297" y="62871"/>
                </a:lnTo>
                <a:lnTo>
                  <a:pt x="0" y="69856"/>
                </a:lnTo>
                <a:lnTo>
                  <a:pt x="4166" y="69856"/>
                </a:lnTo>
                <a:lnTo>
                  <a:pt x="4464" y="62871"/>
                </a:lnTo>
                <a:lnTo>
                  <a:pt x="5059" y="56492"/>
                </a:lnTo>
                <a:lnTo>
                  <a:pt x="5952" y="50114"/>
                </a:lnTo>
                <a:lnTo>
                  <a:pt x="7440" y="44040"/>
                </a:lnTo>
                <a:lnTo>
                  <a:pt x="9226" y="38269"/>
                </a:lnTo>
                <a:lnTo>
                  <a:pt x="11011" y="32802"/>
                </a:lnTo>
                <a:lnTo>
                  <a:pt x="13392" y="27639"/>
                </a:lnTo>
                <a:lnTo>
                  <a:pt x="16071" y="23083"/>
                </a:lnTo>
                <a:lnTo>
                  <a:pt x="18749" y="18830"/>
                </a:lnTo>
                <a:lnTo>
                  <a:pt x="21726" y="15186"/>
                </a:lnTo>
                <a:lnTo>
                  <a:pt x="24999" y="11845"/>
                </a:lnTo>
                <a:lnTo>
                  <a:pt x="28273" y="9415"/>
                </a:lnTo>
                <a:lnTo>
                  <a:pt x="31845" y="6985"/>
                </a:lnTo>
                <a:lnTo>
                  <a:pt x="35416" y="5770"/>
                </a:lnTo>
                <a:lnTo>
                  <a:pt x="39285" y="4555"/>
                </a:lnTo>
                <a:lnTo>
                  <a:pt x="43154" y="4252"/>
                </a:lnTo>
                <a:lnTo>
                  <a:pt x="43154" y="0"/>
                </a:lnTo>
                <a:lnTo>
                  <a:pt x="38690" y="303"/>
                </a:lnTo>
                <a:lnTo>
                  <a:pt x="34226" y="1518"/>
                </a:lnTo>
                <a:lnTo>
                  <a:pt x="30059" y="3340"/>
                </a:lnTo>
                <a:lnTo>
                  <a:pt x="25892" y="5770"/>
                </a:lnTo>
                <a:lnTo>
                  <a:pt x="22023" y="8808"/>
                </a:lnTo>
                <a:lnTo>
                  <a:pt x="18749" y="12149"/>
                </a:lnTo>
                <a:lnTo>
                  <a:pt x="15178" y="16401"/>
                </a:lnTo>
                <a:lnTo>
                  <a:pt x="12499" y="20653"/>
                </a:lnTo>
                <a:lnTo>
                  <a:pt x="9821" y="25816"/>
                </a:lnTo>
                <a:lnTo>
                  <a:pt x="7440" y="30980"/>
                </a:lnTo>
                <a:lnTo>
                  <a:pt x="5059" y="37054"/>
                </a:lnTo>
                <a:close/>
              </a:path>
            </a:pathLst>
          </a:custGeom>
          <a:solidFill>
            <a:srgbClr val="000000"/>
          </a:solidFill>
        </p:spPr>
        <p:txBody>
          <a:bodyPr wrap="square" lIns="0" tIns="0" rIns="0" bIns="0" rtlCol="0">
            <a:noAutofit/>
          </a:bodyPr>
          <a:lstStyle/>
          <a:p>
            <a:endParaRPr/>
          </a:p>
        </p:txBody>
      </p:sp>
      <p:sp>
        <p:nvSpPr>
          <p:cNvPr id="229" name="object 229"/>
          <p:cNvSpPr/>
          <p:nvPr/>
        </p:nvSpPr>
        <p:spPr>
          <a:xfrm>
            <a:off x="9839684" y="1202317"/>
            <a:ext cx="82142" cy="135461"/>
          </a:xfrm>
          <a:custGeom>
            <a:avLst/>
            <a:gdLst/>
            <a:ahLst/>
            <a:cxnLst/>
            <a:rect l="l" t="t" r="r" b="b"/>
            <a:pathLst>
              <a:path w="82142" h="135461">
                <a:moveTo>
                  <a:pt x="41071" y="0"/>
                </a:moveTo>
                <a:lnTo>
                  <a:pt x="36904" y="303"/>
                </a:lnTo>
                <a:lnTo>
                  <a:pt x="32737" y="1518"/>
                </a:lnTo>
                <a:lnTo>
                  <a:pt x="24999" y="5467"/>
                </a:lnTo>
                <a:lnTo>
                  <a:pt x="18154" y="11541"/>
                </a:lnTo>
                <a:lnTo>
                  <a:pt x="14880" y="15490"/>
                </a:lnTo>
                <a:lnTo>
                  <a:pt x="12202" y="19742"/>
                </a:lnTo>
                <a:lnTo>
                  <a:pt x="9523" y="24601"/>
                </a:lnTo>
                <a:lnTo>
                  <a:pt x="7142" y="29765"/>
                </a:lnTo>
                <a:lnTo>
                  <a:pt x="5059" y="35535"/>
                </a:lnTo>
                <a:lnTo>
                  <a:pt x="3273" y="41306"/>
                </a:lnTo>
                <a:lnTo>
                  <a:pt x="1785" y="47684"/>
                </a:lnTo>
                <a:lnTo>
                  <a:pt x="892" y="54063"/>
                </a:lnTo>
                <a:lnTo>
                  <a:pt x="297" y="60745"/>
                </a:lnTo>
                <a:lnTo>
                  <a:pt x="0" y="67730"/>
                </a:lnTo>
                <a:lnTo>
                  <a:pt x="297" y="74716"/>
                </a:lnTo>
                <a:lnTo>
                  <a:pt x="892" y="81398"/>
                </a:lnTo>
                <a:lnTo>
                  <a:pt x="1785" y="87776"/>
                </a:lnTo>
                <a:lnTo>
                  <a:pt x="3273" y="94154"/>
                </a:lnTo>
                <a:lnTo>
                  <a:pt x="5059" y="99925"/>
                </a:lnTo>
                <a:lnTo>
                  <a:pt x="7142" y="105696"/>
                </a:lnTo>
                <a:lnTo>
                  <a:pt x="9523" y="110859"/>
                </a:lnTo>
                <a:lnTo>
                  <a:pt x="12202" y="115719"/>
                </a:lnTo>
                <a:lnTo>
                  <a:pt x="14880" y="119971"/>
                </a:lnTo>
                <a:lnTo>
                  <a:pt x="18154" y="123920"/>
                </a:lnTo>
                <a:lnTo>
                  <a:pt x="21428" y="127261"/>
                </a:lnTo>
                <a:lnTo>
                  <a:pt x="28868" y="132424"/>
                </a:lnTo>
                <a:lnTo>
                  <a:pt x="36904" y="135157"/>
                </a:lnTo>
                <a:lnTo>
                  <a:pt x="41071" y="135461"/>
                </a:lnTo>
                <a:lnTo>
                  <a:pt x="45237" y="135157"/>
                </a:lnTo>
                <a:lnTo>
                  <a:pt x="53273" y="132424"/>
                </a:lnTo>
                <a:lnTo>
                  <a:pt x="57142" y="129994"/>
                </a:lnTo>
                <a:lnTo>
                  <a:pt x="63987" y="123920"/>
                </a:lnTo>
                <a:lnTo>
                  <a:pt x="67261" y="119971"/>
                </a:lnTo>
                <a:lnTo>
                  <a:pt x="70237" y="115719"/>
                </a:lnTo>
                <a:lnTo>
                  <a:pt x="72618" y="110859"/>
                </a:lnTo>
                <a:lnTo>
                  <a:pt x="74999" y="105696"/>
                </a:lnTo>
                <a:lnTo>
                  <a:pt x="77083" y="99925"/>
                </a:lnTo>
                <a:lnTo>
                  <a:pt x="78868" y="94154"/>
                </a:lnTo>
                <a:lnTo>
                  <a:pt x="80356" y="87776"/>
                </a:lnTo>
                <a:lnTo>
                  <a:pt x="81249" y="81398"/>
                </a:lnTo>
                <a:lnTo>
                  <a:pt x="81844" y="74716"/>
                </a:lnTo>
                <a:lnTo>
                  <a:pt x="82142" y="67730"/>
                </a:lnTo>
                <a:lnTo>
                  <a:pt x="81844" y="60745"/>
                </a:lnTo>
                <a:lnTo>
                  <a:pt x="81249" y="54063"/>
                </a:lnTo>
                <a:lnTo>
                  <a:pt x="80356" y="47684"/>
                </a:lnTo>
                <a:lnTo>
                  <a:pt x="78868" y="41306"/>
                </a:lnTo>
                <a:lnTo>
                  <a:pt x="77083" y="35535"/>
                </a:lnTo>
                <a:lnTo>
                  <a:pt x="74999" y="29765"/>
                </a:lnTo>
                <a:lnTo>
                  <a:pt x="72618" y="24601"/>
                </a:lnTo>
                <a:lnTo>
                  <a:pt x="70237" y="19742"/>
                </a:lnTo>
                <a:lnTo>
                  <a:pt x="67261" y="15490"/>
                </a:lnTo>
                <a:lnTo>
                  <a:pt x="63987" y="11541"/>
                </a:lnTo>
                <a:lnTo>
                  <a:pt x="60714" y="8200"/>
                </a:lnTo>
                <a:lnTo>
                  <a:pt x="53273" y="3037"/>
                </a:lnTo>
                <a:lnTo>
                  <a:pt x="45237" y="303"/>
                </a:lnTo>
                <a:lnTo>
                  <a:pt x="41071" y="0"/>
                </a:lnTo>
                <a:close/>
              </a:path>
            </a:pathLst>
          </a:custGeom>
          <a:solidFill>
            <a:srgbClr val="000000"/>
          </a:solidFill>
        </p:spPr>
        <p:txBody>
          <a:bodyPr wrap="square" lIns="0" tIns="0" rIns="0" bIns="0" rtlCol="0">
            <a:noAutofit/>
          </a:bodyPr>
          <a:lstStyle/>
          <a:p>
            <a:endParaRPr/>
          </a:p>
        </p:txBody>
      </p:sp>
      <p:sp>
        <p:nvSpPr>
          <p:cNvPr id="230" name="object 230"/>
          <p:cNvSpPr/>
          <p:nvPr/>
        </p:nvSpPr>
        <p:spPr>
          <a:xfrm>
            <a:off x="9880756" y="1200190"/>
            <a:ext cx="43154" cy="69856"/>
          </a:xfrm>
          <a:custGeom>
            <a:avLst/>
            <a:gdLst/>
            <a:ahLst/>
            <a:cxnLst/>
            <a:rect l="l" t="t" r="r" b="b"/>
            <a:pathLst>
              <a:path w="43154" h="69856">
                <a:moveTo>
                  <a:pt x="0" y="0"/>
                </a:moveTo>
                <a:lnTo>
                  <a:pt x="0" y="4252"/>
                </a:lnTo>
                <a:lnTo>
                  <a:pt x="3869" y="4555"/>
                </a:lnTo>
                <a:lnTo>
                  <a:pt x="7738" y="5770"/>
                </a:lnTo>
                <a:lnTo>
                  <a:pt x="11309" y="6985"/>
                </a:lnTo>
                <a:lnTo>
                  <a:pt x="14880" y="9415"/>
                </a:lnTo>
                <a:lnTo>
                  <a:pt x="18154" y="11845"/>
                </a:lnTo>
                <a:lnTo>
                  <a:pt x="21428" y="15186"/>
                </a:lnTo>
                <a:lnTo>
                  <a:pt x="24404" y="18830"/>
                </a:lnTo>
                <a:lnTo>
                  <a:pt x="27380" y="23083"/>
                </a:lnTo>
                <a:lnTo>
                  <a:pt x="29761" y="27639"/>
                </a:lnTo>
                <a:lnTo>
                  <a:pt x="32142" y="32802"/>
                </a:lnTo>
                <a:lnTo>
                  <a:pt x="33928" y="38269"/>
                </a:lnTo>
                <a:lnTo>
                  <a:pt x="35714" y="44040"/>
                </a:lnTo>
                <a:lnTo>
                  <a:pt x="37202" y="50114"/>
                </a:lnTo>
                <a:lnTo>
                  <a:pt x="38095" y="56492"/>
                </a:lnTo>
                <a:lnTo>
                  <a:pt x="38690" y="62871"/>
                </a:lnTo>
                <a:lnTo>
                  <a:pt x="38987" y="69856"/>
                </a:lnTo>
                <a:lnTo>
                  <a:pt x="43154" y="69856"/>
                </a:lnTo>
                <a:lnTo>
                  <a:pt x="42857" y="62871"/>
                </a:lnTo>
                <a:lnTo>
                  <a:pt x="42261" y="55885"/>
                </a:lnTo>
                <a:lnTo>
                  <a:pt x="41368" y="49507"/>
                </a:lnTo>
                <a:lnTo>
                  <a:pt x="39880" y="42825"/>
                </a:lnTo>
                <a:lnTo>
                  <a:pt x="38095" y="37054"/>
                </a:lnTo>
                <a:lnTo>
                  <a:pt x="35714" y="30980"/>
                </a:lnTo>
                <a:lnTo>
                  <a:pt x="33333" y="25816"/>
                </a:lnTo>
                <a:lnTo>
                  <a:pt x="30952" y="20653"/>
                </a:lnTo>
                <a:lnTo>
                  <a:pt x="27976" y="16401"/>
                </a:lnTo>
                <a:lnTo>
                  <a:pt x="24404" y="12149"/>
                </a:lnTo>
                <a:lnTo>
                  <a:pt x="21130" y="8808"/>
                </a:lnTo>
                <a:lnTo>
                  <a:pt x="17261" y="5770"/>
                </a:lnTo>
                <a:lnTo>
                  <a:pt x="13095" y="3340"/>
                </a:lnTo>
                <a:lnTo>
                  <a:pt x="8928" y="1518"/>
                </a:lnTo>
                <a:lnTo>
                  <a:pt x="4464" y="303"/>
                </a:lnTo>
                <a:lnTo>
                  <a:pt x="0" y="0"/>
                </a:lnTo>
                <a:close/>
              </a:path>
            </a:pathLst>
          </a:custGeom>
          <a:solidFill>
            <a:srgbClr val="000000"/>
          </a:solidFill>
        </p:spPr>
        <p:txBody>
          <a:bodyPr wrap="square" lIns="0" tIns="0" rIns="0" bIns="0" rtlCol="0">
            <a:noAutofit/>
          </a:bodyPr>
          <a:lstStyle/>
          <a:p>
            <a:endParaRPr/>
          </a:p>
        </p:txBody>
      </p:sp>
      <p:sp>
        <p:nvSpPr>
          <p:cNvPr id="231" name="object 231"/>
          <p:cNvSpPr/>
          <p:nvPr/>
        </p:nvSpPr>
        <p:spPr>
          <a:xfrm>
            <a:off x="9880756" y="1270047"/>
            <a:ext cx="43154" cy="69856"/>
          </a:xfrm>
          <a:custGeom>
            <a:avLst/>
            <a:gdLst/>
            <a:ahLst/>
            <a:cxnLst/>
            <a:rect l="l" t="t" r="r" b="b"/>
            <a:pathLst>
              <a:path w="43154" h="69856">
                <a:moveTo>
                  <a:pt x="4464" y="69553"/>
                </a:moveTo>
                <a:lnTo>
                  <a:pt x="8928" y="68338"/>
                </a:lnTo>
                <a:lnTo>
                  <a:pt x="13095" y="66515"/>
                </a:lnTo>
                <a:lnTo>
                  <a:pt x="17261" y="64086"/>
                </a:lnTo>
                <a:lnTo>
                  <a:pt x="21130" y="61048"/>
                </a:lnTo>
                <a:lnTo>
                  <a:pt x="24404" y="57707"/>
                </a:lnTo>
                <a:lnTo>
                  <a:pt x="27976" y="53455"/>
                </a:lnTo>
                <a:lnTo>
                  <a:pt x="30952" y="49203"/>
                </a:lnTo>
                <a:lnTo>
                  <a:pt x="33333" y="44040"/>
                </a:lnTo>
                <a:lnTo>
                  <a:pt x="35714" y="38876"/>
                </a:lnTo>
                <a:lnTo>
                  <a:pt x="38095" y="32802"/>
                </a:lnTo>
                <a:lnTo>
                  <a:pt x="39880" y="27031"/>
                </a:lnTo>
                <a:lnTo>
                  <a:pt x="41368" y="20349"/>
                </a:lnTo>
                <a:lnTo>
                  <a:pt x="42261" y="13971"/>
                </a:lnTo>
                <a:lnTo>
                  <a:pt x="42857" y="6985"/>
                </a:lnTo>
                <a:lnTo>
                  <a:pt x="43154" y="0"/>
                </a:lnTo>
                <a:lnTo>
                  <a:pt x="38987" y="0"/>
                </a:lnTo>
                <a:lnTo>
                  <a:pt x="38690" y="6985"/>
                </a:lnTo>
                <a:lnTo>
                  <a:pt x="38095" y="13363"/>
                </a:lnTo>
                <a:lnTo>
                  <a:pt x="37202" y="19742"/>
                </a:lnTo>
                <a:lnTo>
                  <a:pt x="35714" y="25816"/>
                </a:lnTo>
                <a:lnTo>
                  <a:pt x="33928" y="31587"/>
                </a:lnTo>
                <a:lnTo>
                  <a:pt x="32142" y="37054"/>
                </a:lnTo>
                <a:lnTo>
                  <a:pt x="29761" y="42217"/>
                </a:lnTo>
                <a:lnTo>
                  <a:pt x="27380" y="46773"/>
                </a:lnTo>
                <a:lnTo>
                  <a:pt x="24404" y="51025"/>
                </a:lnTo>
                <a:lnTo>
                  <a:pt x="21428" y="54670"/>
                </a:lnTo>
                <a:lnTo>
                  <a:pt x="18154" y="58011"/>
                </a:lnTo>
                <a:lnTo>
                  <a:pt x="14880" y="60441"/>
                </a:lnTo>
                <a:lnTo>
                  <a:pt x="11309" y="62871"/>
                </a:lnTo>
                <a:lnTo>
                  <a:pt x="7738" y="64086"/>
                </a:lnTo>
                <a:lnTo>
                  <a:pt x="3869" y="65301"/>
                </a:lnTo>
                <a:lnTo>
                  <a:pt x="0" y="65604"/>
                </a:lnTo>
                <a:lnTo>
                  <a:pt x="0" y="69856"/>
                </a:lnTo>
                <a:lnTo>
                  <a:pt x="4464" y="69553"/>
                </a:lnTo>
                <a:close/>
              </a:path>
            </a:pathLst>
          </a:custGeom>
          <a:solidFill>
            <a:srgbClr val="000000"/>
          </a:solidFill>
        </p:spPr>
        <p:txBody>
          <a:bodyPr wrap="square" lIns="0" tIns="0" rIns="0" bIns="0" rtlCol="0">
            <a:noAutofit/>
          </a:bodyPr>
          <a:lstStyle/>
          <a:p>
            <a:endParaRPr/>
          </a:p>
        </p:txBody>
      </p:sp>
      <p:sp>
        <p:nvSpPr>
          <p:cNvPr id="232" name="object 232"/>
          <p:cNvSpPr/>
          <p:nvPr/>
        </p:nvSpPr>
        <p:spPr>
          <a:xfrm>
            <a:off x="9837601" y="1270047"/>
            <a:ext cx="43154" cy="69856"/>
          </a:xfrm>
          <a:custGeom>
            <a:avLst/>
            <a:gdLst/>
            <a:ahLst/>
            <a:cxnLst/>
            <a:rect l="l" t="t" r="r" b="b"/>
            <a:pathLst>
              <a:path w="43154" h="69856">
                <a:moveTo>
                  <a:pt x="4166" y="0"/>
                </a:moveTo>
                <a:lnTo>
                  <a:pt x="0" y="0"/>
                </a:lnTo>
                <a:lnTo>
                  <a:pt x="297" y="6985"/>
                </a:lnTo>
                <a:lnTo>
                  <a:pt x="892" y="13971"/>
                </a:lnTo>
                <a:lnTo>
                  <a:pt x="1785" y="20349"/>
                </a:lnTo>
                <a:lnTo>
                  <a:pt x="3273" y="27031"/>
                </a:lnTo>
                <a:lnTo>
                  <a:pt x="5059" y="32802"/>
                </a:lnTo>
                <a:lnTo>
                  <a:pt x="7440" y="38876"/>
                </a:lnTo>
                <a:lnTo>
                  <a:pt x="9821" y="44040"/>
                </a:lnTo>
                <a:lnTo>
                  <a:pt x="12499" y="49203"/>
                </a:lnTo>
                <a:lnTo>
                  <a:pt x="15178" y="53455"/>
                </a:lnTo>
                <a:lnTo>
                  <a:pt x="18749" y="57707"/>
                </a:lnTo>
                <a:lnTo>
                  <a:pt x="22023" y="61048"/>
                </a:lnTo>
                <a:lnTo>
                  <a:pt x="25892" y="64086"/>
                </a:lnTo>
                <a:lnTo>
                  <a:pt x="30059" y="66515"/>
                </a:lnTo>
                <a:lnTo>
                  <a:pt x="34226" y="68338"/>
                </a:lnTo>
                <a:lnTo>
                  <a:pt x="38690" y="69553"/>
                </a:lnTo>
                <a:lnTo>
                  <a:pt x="43154" y="69856"/>
                </a:lnTo>
                <a:lnTo>
                  <a:pt x="43154" y="65604"/>
                </a:lnTo>
                <a:lnTo>
                  <a:pt x="39285" y="65301"/>
                </a:lnTo>
                <a:lnTo>
                  <a:pt x="35416" y="64086"/>
                </a:lnTo>
                <a:lnTo>
                  <a:pt x="31845" y="62871"/>
                </a:lnTo>
                <a:lnTo>
                  <a:pt x="28273" y="60441"/>
                </a:lnTo>
                <a:lnTo>
                  <a:pt x="24999" y="58011"/>
                </a:lnTo>
                <a:lnTo>
                  <a:pt x="21726" y="54670"/>
                </a:lnTo>
                <a:lnTo>
                  <a:pt x="18749" y="51025"/>
                </a:lnTo>
                <a:lnTo>
                  <a:pt x="16071" y="46773"/>
                </a:lnTo>
                <a:lnTo>
                  <a:pt x="13392" y="42217"/>
                </a:lnTo>
                <a:lnTo>
                  <a:pt x="11011" y="37054"/>
                </a:lnTo>
                <a:lnTo>
                  <a:pt x="9226" y="31587"/>
                </a:lnTo>
                <a:lnTo>
                  <a:pt x="7440" y="25816"/>
                </a:lnTo>
                <a:lnTo>
                  <a:pt x="5952" y="19742"/>
                </a:lnTo>
                <a:lnTo>
                  <a:pt x="5059" y="13363"/>
                </a:lnTo>
                <a:lnTo>
                  <a:pt x="4464" y="6985"/>
                </a:lnTo>
                <a:lnTo>
                  <a:pt x="4166" y="0"/>
                </a:lnTo>
                <a:close/>
              </a:path>
            </a:pathLst>
          </a:custGeom>
          <a:solidFill>
            <a:srgbClr val="000000"/>
          </a:solidFill>
        </p:spPr>
        <p:txBody>
          <a:bodyPr wrap="square" lIns="0" tIns="0" rIns="0" bIns="0" rtlCol="0">
            <a:noAutofit/>
          </a:bodyPr>
          <a:lstStyle/>
          <a:p>
            <a:endParaRPr/>
          </a:p>
        </p:txBody>
      </p:sp>
      <p:sp>
        <p:nvSpPr>
          <p:cNvPr id="233" name="object 233"/>
          <p:cNvSpPr/>
          <p:nvPr/>
        </p:nvSpPr>
        <p:spPr>
          <a:xfrm>
            <a:off x="9837601" y="1200190"/>
            <a:ext cx="43154" cy="69856"/>
          </a:xfrm>
          <a:custGeom>
            <a:avLst/>
            <a:gdLst/>
            <a:ahLst/>
            <a:cxnLst/>
            <a:rect l="l" t="t" r="r" b="b"/>
            <a:pathLst>
              <a:path w="43154" h="69856">
                <a:moveTo>
                  <a:pt x="5059" y="37054"/>
                </a:moveTo>
                <a:lnTo>
                  <a:pt x="3273" y="42825"/>
                </a:lnTo>
                <a:lnTo>
                  <a:pt x="1785" y="49507"/>
                </a:lnTo>
                <a:lnTo>
                  <a:pt x="892" y="55885"/>
                </a:lnTo>
                <a:lnTo>
                  <a:pt x="297" y="62871"/>
                </a:lnTo>
                <a:lnTo>
                  <a:pt x="0" y="69856"/>
                </a:lnTo>
                <a:lnTo>
                  <a:pt x="4166" y="69856"/>
                </a:lnTo>
                <a:lnTo>
                  <a:pt x="4464" y="62871"/>
                </a:lnTo>
                <a:lnTo>
                  <a:pt x="5059" y="56492"/>
                </a:lnTo>
                <a:lnTo>
                  <a:pt x="5952" y="50114"/>
                </a:lnTo>
                <a:lnTo>
                  <a:pt x="7440" y="44040"/>
                </a:lnTo>
                <a:lnTo>
                  <a:pt x="9226" y="38269"/>
                </a:lnTo>
                <a:lnTo>
                  <a:pt x="11011" y="32802"/>
                </a:lnTo>
                <a:lnTo>
                  <a:pt x="13392" y="27639"/>
                </a:lnTo>
                <a:lnTo>
                  <a:pt x="16071" y="23083"/>
                </a:lnTo>
                <a:lnTo>
                  <a:pt x="18749" y="18830"/>
                </a:lnTo>
                <a:lnTo>
                  <a:pt x="21726" y="15186"/>
                </a:lnTo>
                <a:lnTo>
                  <a:pt x="24999" y="11845"/>
                </a:lnTo>
                <a:lnTo>
                  <a:pt x="28273" y="9415"/>
                </a:lnTo>
                <a:lnTo>
                  <a:pt x="31845" y="6985"/>
                </a:lnTo>
                <a:lnTo>
                  <a:pt x="35416" y="5770"/>
                </a:lnTo>
                <a:lnTo>
                  <a:pt x="39285" y="4555"/>
                </a:lnTo>
                <a:lnTo>
                  <a:pt x="43154" y="4252"/>
                </a:lnTo>
                <a:lnTo>
                  <a:pt x="43154" y="0"/>
                </a:lnTo>
                <a:lnTo>
                  <a:pt x="38690" y="303"/>
                </a:lnTo>
                <a:lnTo>
                  <a:pt x="34226" y="1518"/>
                </a:lnTo>
                <a:lnTo>
                  <a:pt x="30059" y="3340"/>
                </a:lnTo>
                <a:lnTo>
                  <a:pt x="25892" y="5770"/>
                </a:lnTo>
                <a:lnTo>
                  <a:pt x="22023" y="8808"/>
                </a:lnTo>
                <a:lnTo>
                  <a:pt x="18749" y="12149"/>
                </a:lnTo>
                <a:lnTo>
                  <a:pt x="15178" y="16401"/>
                </a:lnTo>
                <a:lnTo>
                  <a:pt x="12499" y="20653"/>
                </a:lnTo>
                <a:lnTo>
                  <a:pt x="9821" y="25816"/>
                </a:lnTo>
                <a:lnTo>
                  <a:pt x="7440" y="30980"/>
                </a:lnTo>
                <a:lnTo>
                  <a:pt x="5059" y="37054"/>
                </a:lnTo>
                <a:close/>
              </a:path>
            </a:pathLst>
          </a:custGeom>
          <a:solidFill>
            <a:srgbClr val="000000"/>
          </a:solidFill>
        </p:spPr>
        <p:txBody>
          <a:bodyPr wrap="square" lIns="0" tIns="0" rIns="0" bIns="0" rtlCol="0">
            <a:noAutofit/>
          </a:bodyPr>
          <a:lstStyle/>
          <a:p>
            <a:endParaRPr/>
          </a:p>
        </p:txBody>
      </p:sp>
      <p:sp>
        <p:nvSpPr>
          <p:cNvPr id="234" name="object 234"/>
          <p:cNvSpPr/>
          <p:nvPr/>
        </p:nvSpPr>
        <p:spPr>
          <a:xfrm>
            <a:off x="9881053" y="1332919"/>
            <a:ext cx="27976" cy="4555"/>
          </a:xfrm>
          <a:custGeom>
            <a:avLst/>
            <a:gdLst/>
            <a:ahLst/>
            <a:cxnLst/>
            <a:rect l="l" t="t" r="r" b="b"/>
            <a:pathLst>
              <a:path w="27976" h="4555">
                <a:moveTo>
                  <a:pt x="27976" y="4555"/>
                </a:moveTo>
                <a:lnTo>
                  <a:pt x="13392" y="0"/>
                </a:lnTo>
                <a:lnTo>
                  <a:pt x="0" y="4555"/>
                </a:lnTo>
                <a:lnTo>
                  <a:pt x="27976" y="4555"/>
                </a:lnTo>
                <a:close/>
              </a:path>
            </a:pathLst>
          </a:custGeom>
          <a:solidFill>
            <a:srgbClr val="000000"/>
          </a:solidFill>
        </p:spPr>
        <p:txBody>
          <a:bodyPr wrap="square" lIns="0" tIns="0" rIns="0" bIns="0" rtlCol="0">
            <a:noAutofit/>
          </a:bodyPr>
          <a:lstStyle/>
          <a:p>
            <a:endParaRPr/>
          </a:p>
        </p:txBody>
      </p:sp>
      <p:sp>
        <p:nvSpPr>
          <p:cNvPr id="235" name="object 235"/>
          <p:cNvSpPr/>
          <p:nvPr/>
        </p:nvSpPr>
        <p:spPr>
          <a:xfrm>
            <a:off x="9880458" y="1202317"/>
            <a:ext cx="27380" cy="4859"/>
          </a:xfrm>
          <a:custGeom>
            <a:avLst/>
            <a:gdLst/>
            <a:ahLst/>
            <a:cxnLst/>
            <a:rect l="l" t="t" r="r" b="b"/>
            <a:pathLst>
              <a:path w="27380" h="4859">
                <a:moveTo>
                  <a:pt x="27380" y="0"/>
                </a:moveTo>
                <a:lnTo>
                  <a:pt x="0" y="0"/>
                </a:lnTo>
                <a:lnTo>
                  <a:pt x="13988" y="4859"/>
                </a:lnTo>
                <a:lnTo>
                  <a:pt x="27380" y="0"/>
                </a:lnTo>
                <a:close/>
              </a:path>
            </a:pathLst>
          </a:custGeom>
          <a:solidFill>
            <a:srgbClr val="000000"/>
          </a:solidFill>
        </p:spPr>
        <p:txBody>
          <a:bodyPr wrap="square" lIns="0" tIns="0" rIns="0" bIns="0" rtlCol="0">
            <a:noAutofit/>
          </a:bodyPr>
          <a:lstStyle/>
          <a:p>
            <a:endParaRPr/>
          </a:p>
        </p:txBody>
      </p:sp>
      <p:sp>
        <p:nvSpPr>
          <p:cNvPr id="236" name="object 236"/>
          <p:cNvSpPr/>
          <p:nvPr/>
        </p:nvSpPr>
        <p:spPr>
          <a:xfrm>
            <a:off x="9880458" y="1200798"/>
            <a:ext cx="28868" cy="3037"/>
          </a:xfrm>
          <a:custGeom>
            <a:avLst/>
            <a:gdLst/>
            <a:ahLst/>
            <a:cxnLst/>
            <a:rect l="l" t="t" r="r" b="b"/>
            <a:pathLst>
              <a:path w="28868" h="3037">
                <a:moveTo>
                  <a:pt x="26785" y="0"/>
                </a:moveTo>
                <a:lnTo>
                  <a:pt x="0" y="0"/>
                </a:lnTo>
                <a:lnTo>
                  <a:pt x="0" y="3037"/>
                </a:lnTo>
                <a:lnTo>
                  <a:pt x="27380" y="3037"/>
                </a:lnTo>
                <a:lnTo>
                  <a:pt x="27906" y="2679"/>
                </a:lnTo>
                <a:lnTo>
                  <a:pt x="28273" y="2429"/>
                </a:lnTo>
                <a:lnTo>
                  <a:pt x="28868" y="1518"/>
                </a:lnTo>
                <a:lnTo>
                  <a:pt x="28273" y="607"/>
                </a:lnTo>
                <a:lnTo>
                  <a:pt x="27380" y="0"/>
                </a:lnTo>
                <a:lnTo>
                  <a:pt x="26785" y="0"/>
                </a:lnTo>
                <a:close/>
              </a:path>
            </a:pathLst>
          </a:custGeom>
          <a:solidFill>
            <a:srgbClr val="000000"/>
          </a:solidFill>
        </p:spPr>
        <p:txBody>
          <a:bodyPr wrap="square" lIns="0" tIns="0" rIns="0" bIns="0" rtlCol="0">
            <a:noAutofit/>
          </a:bodyPr>
          <a:lstStyle/>
          <a:p>
            <a:endParaRPr/>
          </a:p>
        </p:txBody>
      </p:sp>
      <p:sp>
        <p:nvSpPr>
          <p:cNvPr id="237" name="object 237"/>
          <p:cNvSpPr/>
          <p:nvPr/>
        </p:nvSpPr>
        <p:spPr>
          <a:xfrm>
            <a:off x="9892959" y="1200797"/>
            <a:ext cx="14285" cy="7896"/>
          </a:xfrm>
          <a:custGeom>
            <a:avLst/>
            <a:gdLst/>
            <a:ahLst/>
            <a:cxnLst/>
            <a:rect l="l" t="t" r="r" b="b"/>
            <a:pathLst>
              <a:path w="14285" h="7896">
                <a:moveTo>
                  <a:pt x="892" y="4859"/>
                </a:moveTo>
                <a:lnTo>
                  <a:pt x="0" y="5770"/>
                </a:lnTo>
                <a:lnTo>
                  <a:pt x="297" y="6681"/>
                </a:lnTo>
                <a:lnTo>
                  <a:pt x="892" y="7896"/>
                </a:lnTo>
                <a:lnTo>
                  <a:pt x="2083" y="7896"/>
                </a:lnTo>
                <a:lnTo>
                  <a:pt x="2083" y="4859"/>
                </a:lnTo>
                <a:lnTo>
                  <a:pt x="14285" y="0"/>
                </a:lnTo>
                <a:lnTo>
                  <a:pt x="892" y="4859"/>
                </a:lnTo>
                <a:close/>
              </a:path>
            </a:pathLst>
          </a:custGeom>
          <a:solidFill>
            <a:srgbClr val="000000"/>
          </a:solidFill>
        </p:spPr>
        <p:txBody>
          <a:bodyPr wrap="square" lIns="0" tIns="0" rIns="0" bIns="0" rtlCol="0">
            <a:noAutofit/>
          </a:bodyPr>
          <a:lstStyle/>
          <a:p>
            <a:endParaRPr/>
          </a:p>
        </p:txBody>
      </p:sp>
      <p:sp>
        <p:nvSpPr>
          <p:cNvPr id="238" name="object 238"/>
          <p:cNvSpPr/>
          <p:nvPr/>
        </p:nvSpPr>
        <p:spPr>
          <a:xfrm>
            <a:off x="9895041" y="1200797"/>
            <a:ext cx="13392" cy="7896"/>
          </a:xfrm>
          <a:custGeom>
            <a:avLst/>
            <a:gdLst/>
            <a:ahLst/>
            <a:cxnLst/>
            <a:rect l="l" t="t" r="r" b="b"/>
            <a:pathLst>
              <a:path w="13392" h="7896">
                <a:moveTo>
                  <a:pt x="0" y="4859"/>
                </a:moveTo>
                <a:lnTo>
                  <a:pt x="0" y="7896"/>
                </a:lnTo>
                <a:lnTo>
                  <a:pt x="13392" y="3037"/>
                </a:lnTo>
                <a:lnTo>
                  <a:pt x="12202" y="0"/>
                </a:lnTo>
                <a:lnTo>
                  <a:pt x="0" y="4859"/>
                </a:lnTo>
                <a:close/>
              </a:path>
            </a:pathLst>
          </a:custGeom>
          <a:solidFill>
            <a:srgbClr val="000000"/>
          </a:solidFill>
        </p:spPr>
        <p:txBody>
          <a:bodyPr wrap="square" lIns="0" tIns="0" rIns="0" bIns="0" rtlCol="0">
            <a:noAutofit/>
          </a:bodyPr>
          <a:lstStyle/>
          <a:p>
            <a:endParaRPr/>
          </a:p>
        </p:txBody>
      </p:sp>
      <p:sp>
        <p:nvSpPr>
          <p:cNvPr id="239" name="object 239"/>
          <p:cNvSpPr/>
          <p:nvPr/>
        </p:nvSpPr>
        <p:spPr>
          <a:xfrm>
            <a:off x="9878970" y="1200797"/>
            <a:ext cx="14880" cy="7896"/>
          </a:xfrm>
          <a:custGeom>
            <a:avLst/>
            <a:gdLst/>
            <a:ahLst/>
            <a:cxnLst/>
            <a:rect l="l" t="t" r="r" b="b"/>
            <a:pathLst>
              <a:path w="14880" h="7896">
                <a:moveTo>
                  <a:pt x="892" y="3037"/>
                </a:moveTo>
                <a:lnTo>
                  <a:pt x="14880" y="7896"/>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240" name="object 240"/>
          <p:cNvSpPr/>
          <p:nvPr/>
        </p:nvSpPr>
        <p:spPr>
          <a:xfrm>
            <a:off x="9880459" y="1200797"/>
            <a:ext cx="14583" cy="7896"/>
          </a:xfrm>
          <a:custGeom>
            <a:avLst/>
            <a:gdLst/>
            <a:ahLst/>
            <a:cxnLst/>
            <a:rect l="l" t="t" r="r" b="b"/>
            <a:pathLst>
              <a:path w="14583" h="7896">
                <a:moveTo>
                  <a:pt x="595" y="0"/>
                </a:moveTo>
                <a:lnTo>
                  <a:pt x="0" y="0"/>
                </a:lnTo>
                <a:lnTo>
                  <a:pt x="0" y="3037"/>
                </a:lnTo>
                <a:lnTo>
                  <a:pt x="13392" y="7896"/>
                </a:lnTo>
                <a:lnTo>
                  <a:pt x="14583" y="4859"/>
                </a:lnTo>
                <a:lnTo>
                  <a:pt x="595" y="0"/>
                </a:lnTo>
                <a:close/>
              </a:path>
            </a:pathLst>
          </a:custGeom>
          <a:solidFill>
            <a:srgbClr val="000000"/>
          </a:solidFill>
        </p:spPr>
        <p:txBody>
          <a:bodyPr wrap="square" lIns="0" tIns="0" rIns="0" bIns="0" rtlCol="0">
            <a:noAutofit/>
          </a:bodyPr>
          <a:lstStyle/>
          <a:p>
            <a:endParaRPr/>
          </a:p>
        </p:txBody>
      </p:sp>
      <p:sp>
        <p:nvSpPr>
          <p:cNvPr id="241" name="object 241"/>
          <p:cNvSpPr/>
          <p:nvPr/>
        </p:nvSpPr>
        <p:spPr>
          <a:xfrm>
            <a:off x="9881053" y="1335956"/>
            <a:ext cx="29464" cy="3037"/>
          </a:xfrm>
          <a:custGeom>
            <a:avLst/>
            <a:gdLst/>
            <a:ahLst/>
            <a:cxnLst/>
            <a:rect l="l" t="t" r="r" b="b"/>
            <a:pathLst>
              <a:path w="29464" h="3037">
                <a:moveTo>
                  <a:pt x="29464" y="1518"/>
                </a:moveTo>
                <a:lnTo>
                  <a:pt x="28868" y="607"/>
                </a:lnTo>
                <a:lnTo>
                  <a:pt x="28255" y="189"/>
                </a:lnTo>
                <a:lnTo>
                  <a:pt x="27976" y="0"/>
                </a:lnTo>
                <a:lnTo>
                  <a:pt x="0" y="0"/>
                </a:lnTo>
                <a:lnTo>
                  <a:pt x="0" y="3037"/>
                </a:lnTo>
                <a:lnTo>
                  <a:pt x="27976" y="3037"/>
                </a:lnTo>
                <a:lnTo>
                  <a:pt x="28868" y="2429"/>
                </a:lnTo>
                <a:lnTo>
                  <a:pt x="29464" y="1518"/>
                </a:lnTo>
                <a:close/>
              </a:path>
            </a:pathLst>
          </a:custGeom>
          <a:solidFill>
            <a:srgbClr val="000000"/>
          </a:solidFill>
        </p:spPr>
        <p:txBody>
          <a:bodyPr wrap="square" lIns="0" tIns="0" rIns="0" bIns="0" rtlCol="0">
            <a:noAutofit/>
          </a:bodyPr>
          <a:lstStyle/>
          <a:p>
            <a:endParaRPr/>
          </a:p>
        </p:txBody>
      </p:sp>
      <p:sp>
        <p:nvSpPr>
          <p:cNvPr id="242" name="object 242"/>
          <p:cNvSpPr/>
          <p:nvPr/>
        </p:nvSpPr>
        <p:spPr>
          <a:xfrm>
            <a:off x="9894150" y="1334438"/>
            <a:ext cx="14583" cy="4555"/>
          </a:xfrm>
          <a:custGeom>
            <a:avLst/>
            <a:gdLst/>
            <a:ahLst/>
            <a:cxnLst/>
            <a:rect l="l" t="t" r="r" b="b"/>
            <a:pathLst>
              <a:path w="14583" h="4555">
                <a:moveTo>
                  <a:pt x="14583" y="4555"/>
                </a:moveTo>
                <a:lnTo>
                  <a:pt x="892" y="0"/>
                </a:lnTo>
                <a:lnTo>
                  <a:pt x="0" y="0"/>
                </a:lnTo>
                <a:lnTo>
                  <a:pt x="14583" y="4555"/>
                </a:lnTo>
                <a:close/>
              </a:path>
            </a:pathLst>
          </a:custGeom>
          <a:solidFill>
            <a:srgbClr val="000000"/>
          </a:solidFill>
        </p:spPr>
        <p:txBody>
          <a:bodyPr wrap="square" lIns="0" tIns="0" rIns="0" bIns="0" rtlCol="0">
            <a:noAutofit/>
          </a:bodyPr>
          <a:lstStyle/>
          <a:p>
            <a:endParaRPr/>
          </a:p>
        </p:txBody>
      </p:sp>
      <p:sp>
        <p:nvSpPr>
          <p:cNvPr id="243" name="object 243"/>
          <p:cNvSpPr/>
          <p:nvPr/>
        </p:nvSpPr>
        <p:spPr>
          <a:xfrm>
            <a:off x="9893257" y="1331400"/>
            <a:ext cx="16071" cy="7593"/>
          </a:xfrm>
          <a:custGeom>
            <a:avLst/>
            <a:gdLst/>
            <a:ahLst/>
            <a:cxnLst/>
            <a:rect l="l" t="t" r="r" b="b"/>
            <a:pathLst>
              <a:path w="16071" h="7593">
                <a:moveTo>
                  <a:pt x="15476" y="7593"/>
                </a:moveTo>
                <a:lnTo>
                  <a:pt x="16071" y="4555"/>
                </a:lnTo>
                <a:lnTo>
                  <a:pt x="1488" y="0"/>
                </a:lnTo>
                <a:lnTo>
                  <a:pt x="297" y="303"/>
                </a:lnTo>
                <a:lnTo>
                  <a:pt x="0" y="1214"/>
                </a:lnTo>
                <a:lnTo>
                  <a:pt x="0" y="2429"/>
                </a:lnTo>
                <a:lnTo>
                  <a:pt x="892" y="3037"/>
                </a:lnTo>
                <a:lnTo>
                  <a:pt x="1785" y="3037"/>
                </a:lnTo>
                <a:lnTo>
                  <a:pt x="15476" y="7593"/>
                </a:lnTo>
                <a:close/>
              </a:path>
            </a:pathLst>
          </a:custGeom>
          <a:solidFill>
            <a:srgbClr val="000000"/>
          </a:solidFill>
        </p:spPr>
        <p:txBody>
          <a:bodyPr wrap="square" lIns="0" tIns="0" rIns="0" bIns="0" rtlCol="0">
            <a:noAutofit/>
          </a:bodyPr>
          <a:lstStyle/>
          <a:p>
            <a:endParaRPr/>
          </a:p>
        </p:txBody>
      </p:sp>
      <p:sp>
        <p:nvSpPr>
          <p:cNvPr id="244" name="object 244"/>
          <p:cNvSpPr/>
          <p:nvPr/>
        </p:nvSpPr>
        <p:spPr>
          <a:xfrm>
            <a:off x="9880458" y="1331400"/>
            <a:ext cx="13392" cy="4555"/>
          </a:xfrm>
          <a:custGeom>
            <a:avLst/>
            <a:gdLst/>
            <a:ahLst/>
            <a:cxnLst/>
            <a:rect l="l" t="t" r="r" b="b"/>
            <a:pathLst>
              <a:path w="13392" h="4555">
                <a:moveTo>
                  <a:pt x="0" y="4555"/>
                </a:moveTo>
                <a:lnTo>
                  <a:pt x="595" y="4555"/>
                </a:lnTo>
                <a:lnTo>
                  <a:pt x="13392" y="0"/>
                </a:lnTo>
                <a:lnTo>
                  <a:pt x="0" y="4555"/>
                </a:lnTo>
                <a:close/>
              </a:path>
            </a:pathLst>
          </a:custGeom>
          <a:solidFill>
            <a:srgbClr val="000000"/>
          </a:solidFill>
        </p:spPr>
        <p:txBody>
          <a:bodyPr wrap="square" lIns="0" tIns="0" rIns="0" bIns="0" rtlCol="0">
            <a:noAutofit/>
          </a:bodyPr>
          <a:lstStyle/>
          <a:p>
            <a:endParaRPr/>
          </a:p>
        </p:txBody>
      </p:sp>
      <p:sp>
        <p:nvSpPr>
          <p:cNvPr id="245" name="object 245"/>
          <p:cNvSpPr/>
          <p:nvPr/>
        </p:nvSpPr>
        <p:spPr>
          <a:xfrm>
            <a:off x="9879565" y="1331400"/>
            <a:ext cx="15476" cy="7593"/>
          </a:xfrm>
          <a:custGeom>
            <a:avLst/>
            <a:gdLst/>
            <a:ahLst/>
            <a:cxnLst/>
            <a:rect l="l" t="t" r="r" b="b"/>
            <a:pathLst>
              <a:path w="15476" h="7593">
                <a:moveTo>
                  <a:pt x="297" y="6378"/>
                </a:moveTo>
                <a:lnTo>
                  <a:pt x="892" y="7593"/>
                </a:lnTo>
                <a:lnTo>
                  <a:pt x="2083" y="7593"/>
                </a:lnTo>
                <a:lnTo>
                  <a:pt x="15476" y="3037"/>
                </a:lnTo>
                <a:lnTo>
                  <a:pt x="14285" y="0"/>
                </a:lnTo>
                <a:lnTo>
                  <a:pt x="1488" y="4555"/>
                </a:lnTo>
                <a:lnTo>
                  <a:pt x="892" y="4555"/>
                </a:lnTo>
                <a:lnTo>
                  <a:pt x="0" y="5467"/>
                </a:lnTo>
                <a:lnTo>
                  <a:pt x="297" y="6378"/>
                </a:lnTo>
                <a:close/>
              </a:path>
            </a:pathLst>
          </a:custGeom>
          <a:solidFill>
            <a:srgbClr val="000000"/>
          </a:solidFill>
        </p:spPr>
        <p:txBody>
          <a:bodyPr wrap="square" lIns="0" tIns="0" rIns="0" bIns="0" rtlCol="0">
            <a:noAutofit/>
          </a:bodyPr>
          <a:lstStyle/>
          <a:p>
            <a:endParaRPr/>
          </a:p>
        </p:txBody>
      </p:sp>
      <p:sp>
        <p:nvSpPr>
          <p:cNvPr id="246" name="object 246"/>
          <p:cNvSpPr/>
          <p:nvPr/>
        </p:nvSpPr>
        <p:spPr>
          <a:xfrm>
            <a:off x="9866768" y="1202317"/>
            <a:ext cx="82142" cy="135461"/>
          </a:xfrm>
          <a:custGeom>
            <a:avLst/>
            <a:gdLst/>
            <a:ahLst/>
            <a:cxnLst/>
            <a:rect l="l" t="t" r="r" b="b"/>
            <a:pathLst>
              <a:path w="82142" h="135461">
                <a:moveTo>
                  <a:pt x="41071" y="0"/>
                </a:moveTo>
                <a:lnTo>
                  <a:pt x="36904" y="303"/>
                </a:lnTo>
                <a:lnTo>
                  <a:pt x="32737" y="1518"/>
                </a:lnTo>
                <a:lnTo>
                  <a:pt x="24999" y="5467"/>
                </a:lnTo>
                <a:lnTo>
                  <a:pt x="18154" y="11541"/>
                </a:lnTo>
                <a:lnTo>
                  <a:pt x="14880" y="15490"/>
                </a:lnTo>
                <a:lnTo>
                  <a:pt x="12202" y="19742"/>
                </a:lnTo>
                <a:lnTo>
                  <a:pt x="9523" y="24601"/>
                </a:lnTo>
                <a:lnTo>
                  <a:pt x="7142" y="29765"/>
                </a:lnTo>
                <a:lnTo>
                  <a:pt x="5059" y="35535"/>
                </a:lnTo>
                <a:lnTo>
                  <a:pt x="3273" y="41306"/>
                </a:lnTo>
                <a:lnTo>
                  <a:pt x="1785" y="47684"/>
                </a:lnTo>
                <a:lnTo>
                  <a:pt x="892" y="54063"/>
                </a:lnTo>
                <a:lnTo>
                  <a:pt x="297" y="60745"/>
                </a:lnTo>
                <a:lnTo>
                  <a:pt x="0" y="67730"/>
                </a:lnTo>
                <a:lnTo>
                  <a:pt x="297" y="74716"/>
                </a:lnTo>
                <a:lnTo>
                  <a:pt x="892" y="81398"/>
                </a:lnTo>
                <a:lnTo>
                  <a:pt x="1785" y="87776"/>
                </a:lnTo>
                <a:lnTo>
                  <a:pt x="3273" y="94154"/>
                </a:lnTo>
                <a:lnTo>
                  <a:pt x="5059" y="99925"/>
                </a:lnTo>
                <a:lnTo>
                  <a:pt x="7142" y="105696"/>
                </a:lnTo>
                <a:lnTo>
                  <a:pt x="9523" y="110859"/>
                </a:lnTo>
                <a:lnTo>
                  <a:pt x="12202" y="115719"/>
                </a:lnTo>
                <a:lnTo>
                  <a:pt x="14880" y="119971"/>
                </a:lnTo>
                <a:lnTo>
                  <a:pt x="18154" y="123920"/>
                </a:lnTo>
                <a:lnTo>
                  <a:pt x="21428" y="127261"/>
                </a:lnTo>
                <a:lnTo>
                  <a:pt x="28868" y="132424"/>
                </a:lnTo>
                <a:lnTo>
                  <a:pt x="36904" y="135157"/>
                </a:lnTo>
                <a:lnTo>
                  <a:pt x="41071" y="135461"/>
                </a:lnTo>
                <a:lnTo>
                  <a:pt x="45237" y="135157"/>
                </a:lnTo>
                <a:lnTo>
                  <a:pt x="53273" y="132424"/>
                </a:lnTo>
                <a:lnTo>
                  <a:pt x="57142" y="129994"/>
                </a:lnTo>
                <a:lnTo>
                  <a:pt x="63987" y="123920"/>
                </a:lnTo>
                <a:lnTo>
                  <a:pt x="67261" y="119971"/>
                </a:lnTo>
                <a:lnTo>
                  <a:pt x="70237" y="115719"/>
                </a:lnTo>
                <a:lnTo>
                  <a:pt x="72618" y="110859"/>
                </a:lnTo>
                <a:lnTo>
                  <a:pt x="74999" y="105696"/>
                </a:lnTo>
                <a:lnTo>
                  <a:pt x="77083" y="99925"/>
                </a:lnTo>
                <a:lnTo>
                  <a:pt x="78868" y="94154"/>
                </a:lnTo>
                <a:lnTo>
                  <a:pt x="80356" y="87776"/>
                </a:lnTo>
                <a:lnTo>
                  <a:pt x="81249" y="81398"/>
                </a:lnTo>
                <a:lnTo>
                  <a:pt x="81844" y="74716"/>
                </a:lnTo>
                <a:lnTo>
                  <a:pt x="82142" y="67730"/>
                </a:lnTo>
                <a:lnTo>
                  <a:pt x="81844" y="60745"/>
                </a:lnTo>
                <a:lnTo>
                  <a:pt x="81249" y="54063"/>
                </a:lnTo>
                <a:lnTo>
                  <a:pt x="80356" y="47684"/>
                </a:lnTo>
                <a:lnTo>
                  <a:pt x="78868" y="41306"/>
                </a:lnTo>
                <a:lnTo>
                  <a:pt x="77083" y="35535"/>
                </a:lnTo>
                <a:lnTo>
                  <a:pt x="74999" y="29765"/>
                </a:lnTo>
                <a:lnTo>
                  <a:pt x="72618" y="24601"/>
                </a:lnTo>
                <a:lnTo>
                  <a:pt x="70237" y="19742"/>
                </a:lnTo>
                <a:lnTo>
                  <a:pt x="67261" y="15490"/>
                </a:lnTo>
                <a:lnTo>
                  <a:pt x="63987" y="11541"/>
                </a:lnTo>
                <a:lnTo>
                  <a:pt x="60714" y="8200"/>
                </a:lnTo>
                <a:lnTo>
                  <a:pt x="53273" y="3037"/>
                </a:lnTo>
                <a:lnTo>
                  <a:pt x="45237" y="303"/>
                </a:lnTo>
                <a:lnTo>
                  <a:pt x="41071" y="0"/>
                </a:lnTo>
                <a:close/>
              </a:path>
            </a:pathLst>
          </a:custGeom>
          <a:solidFill>
            <a:srgbClr val="000000"/>
          </a:solidFill>
        </p:spPr>
        <p:txBody>
          <a:bodyPr wrap="square" lIns="0" tIns="0" rIns="0" bIns="0" rtlCol="0">
            <a:noAutofit/>
          </a:bodyPr>
          <a:lstStyle/>
          <a:p>
            <a:endParaRPr/>
          </a:p>
        </p:txBody>
      </p:sp>
      <p:sp>
        <p:nvSpPr>
          <p:cNvPr id="247" name="object 247"/>
          <p:cNvSpPr/>
          <p:nvPr/>
        </p:nvSpPr>
        <p:spPr>
          <a:xfrm>
            <a:off x="9907839" y="1200190"/>
            <a:ext cx="43154" cy="69856"/>
          </a:xfrm>
          <a:custGeom>
            <a:avLst/>
            <a:gdLst/>
            <a:ahLst/>
            <a:cxnLst/>
            <a:rect l="l" t="t" r="r" b="b"/>
            <a:pathLst>
              <a:path w="43154" h="69856">
                <a:moveTo>
                  <a:pt x="0" y="0"/>
                </a:moveTo>
                <a:lnTo>
                  <a:pt x="0" y="4252"/>
                </a:lnTo>
                <a:lnTo>
                  <a:pt x="3869" y="4555"/>
                </a:lnTo>
                <a:lnTo>
                  <a:pt x="7738" y="5770"/>
                </a:lnTo>
                <a:lnTo>
                  <a:pt x="11309" y="6985"/>
                </a:lnTo>
                <a:lnTo>
                  <a:pt x="14880" y="9415"/>
                </a:lnTo>
                <a:lnTo>
                  <a:pt x="18154" y="11845"/>
                </a:lnTo>
                <a:lnTo>
                  <a:pt x="21428" y="15186"/>
                </a:lnTo>
                <a:lnTo>
                  <a:pt x="24404" y="18830"/>
                </a:lnTo>
                <a:lnTo>
                  <a:pt x="27380" y="23083"/>
                </a:lnTo>
                <a:lnTo>
                  <a:pt x="29761" y="27639"/>
                </a:lnTo>
                <a:lnTo>
                  <a:pt x="32142" y="32802"/>
                </a:lnTo>
                <a:lnTo>
                  <a:pt x="33928" y="38269"/>
                </a:lnTo>
                <a:lnTo>
                  <a:pt x="35714" y="44040"/>
                </a:lnTo>
                <a:lnTo>
                  <a:pt x="37202" y="50114"/>
                </a:lnTo>
                <a:lnTo>
                  <a:pt x="38095" y="56492"/>
                </a:lnTo>
                <a:lnTo>
                  <a:pt x="38690" y="62871"/>
                </a:lnTo>
                <a:lnTo>
                  <a:pt x="38987" y="69856"/>
                </a:lnTo>
                <a:lnTo>
                  <a:pt x="43154" y="69856"/>
                </a:lnTo>
                <a:lnTo>
                  <a:pt x="42857" y="62871"/>
                </a:lnTo>
                <a:lnTo>
                  <a:pt x="42261" y="55885"/>
                </a:lnTo>
                <a:lnTo>
                  <a:pt x="41368" y="49507"/>
                </a:lnTo>
                <a:lnTo>
                  <a:pt x="39880" y="42825"/>
                </a:lnTo>
                <a:lnTo>
                  <a:pt x="38095" y="37054"/>
                </a:lnTo>
                <a:lnTo>
                  <a:pt x="35714" y="30980"/>
                </a:lnTo>
                <a:lnTo>
                  <a:pt x="33333" y="25816"/>
                </a:lnTo>
                <a:lnTo>
                  <a:pt x="30952" y="20653"/>
                </a:lnTo>
                <a:lnTo>
                  <a:pt x="27976" y="16401"/>
                </a:lnTo>
                <a:lnTo>
                  <a:pt x="24404" y="12149"/>
                </a:lnTo>
                <a:lnTo>
                  <a:pt x="21130" y="8808"/>
                </a:lnTo>
                <a:lnTo>
                  <a:pt x="17261" y="5770"/>
                </a:lnTo>
                <a:lnTo>
                  <a:pt x="13095" y="3340"/>
                </a:lnTo>
                <a:lnTo>
                  <a:pt x="8928" y="1518"/>
                </a:lnTo>
                <a:lnTo>
                  <a:pt x="4464" y="303"/>
                </a:lnTo>
                <a:lnTo>
                  <a:pt x="0" y="0"/>
                </a:lnTo>
                <a:close/>
              </a:path>
            </a:pathLst>
          </a:custGeom>
          <a:solidFill>
            <a:srgbClr val="000000"/>
          </a:solidFill>
        </p:spPr>
        <p:txBody>
          <a:bodyPr wrap="square" lIns="0" tIns="0" rIns="0" bIns="0" rtlCol="0">
            <a:noAutofit/>
          </a:bodyPr>
          <a:lstStyle/>
          <a:p>
            <a:endParaRPr/>
          </a:p>
        </p:txBody>
      </p:sp>
      <p:sp>
        <p:nvSpPr>
          <p:cNvPr id="248" name="object 248"/>
          <p:cNvSpPr/>
          <p:nvPr/>
        </p:nvSpPr>
        <p:spPr>
          <a:xfrm>
            <a:off x="9907839" y="1270047"/>
            <a:ext cx="43154" cy="69856"/>
          </a:xfrm>
          <a:custGeom>
            <a:avLst/>
            <a:gdLst/>
            <a:ahLst/>
            <a:cxnLst/>
            <a:rect l="l" t="t" r="r" b="b"/>
            <a:pathLst>
              <a:path w="43154" h="69856">
                <a:moveTo>
                  <a:pt x="4464" y="69553"/>
                </a:moveTo>
                <a:lnTo>
                  <a:pt x="8928" y="68338"/>
                </a:lnTo>
                <a:lnTo>
                  <a:pt x="13095" y="66515"/>
                </a:lnTo>
                <a:lnTo>
                  <a:pt x="17261" y="64086"/>
                </a:lnTo>
                <a:lnTo>
                  <a:pt x="21130" y="61048"/>
                </a:lnTo>
                <a:lnTo>
                  <a:pt x="24404" y="57707"/>
                </a:lnTo>
                <a:lnTo>
                  <a:pt x="27976" y="53455"/>
                </a:lnTo>
                <a:lnTo>
                  <a:pt x="30952" y="49203"/>
                </a:lnTo>
                <a:lnTo>
                  <a:pt x="33333" y="44040"/>
                </a:lnTo>
                <a:lnTo>
                  <a:pt x="35714" y="38876"/>
                </a:lnTo>
                <a:lnTo>
                  <a:pt x="38095" y="32802"/>
                </a:lnTo>
                <a:lnTo>
                  <a:pt x="39880" y="27031"/>
                </a:lnTo>
                <a:lnTo>
                  <a:pt x="41368" y="20349"/>
                </a:lnTo>
                <a:lnTo>
                  <a:pt x="42261" y="13971"/>
                </a:lnTo>
                <a:lnTo>
                  <a:pt x="42857" y="6985"/>
                </a:lnTo>
                <a:lnTo>
                  <a:pt x="43154" y="0"/>
                </a:lnTo>
                <a:lnTo>
                  <a:pt x="38987" y="0"/>
                </a:lnTo>
                <a:lnTo>
                  <a:pt x="38690" y="6985"/>
                </a:lnTo>
                <a:lnTo>
                  <a:pt x="38095" y="13363"/>
                </a:lnTo>
                <a:lnTo>
                  <a:pt x="37202" y="19742"/>
                </a:lnTo>
                <a:lnTo>
                  <a:pt x="35714" y="25816"/>
                </a:lnTo>
                <a:lnTo>
                  <a:pt x="33928" y="31587"/>
                </a:lnTo>
                <a:lnTo>
                  <a:pt x="32142" y="37054"/>
                </a:lnTo>
                <a:lnTo>
                  <a:pt x="29761" y="42217"/>
                </a:lnTo>
                <a:lnTo>
                  <a:pt x="27380" y="46773"/>
                </a:lnTo>
                <a:lnTo>
                  <a:pt x="24404" y="51025"/>
                </a:lnTo>
                <a:lnTo>
                  <a:pt x="21428" y="54670"/>
                </a:lnTo>
                <a:lnTo>
                  <a:pt x="18154" y="58011"/>
                </a:lnTo>
                <a:lnTo>
                  <a:pt x="14880" y="60441"/>
                </a:lnTo>
                <a:lnTo>
                  <a:pt x="11309" y="62871"/>
                </a:lnTo>
                <a:lnTo>
                  <a:pt x="7738" y="64086"/>
                </a:lnTo>
                <a:lnTo>
                  <a:pt x="3869" y="65301"/>
                </a:lnTo>
                <a:lnTo>
                  <a:pt x="0" y="65604"/>
                </a:lnTo>
                <a:lnTo>
                  <a:pt x="0" y="69856"/>
                </a:lnTo>
                <a:lnTo>
                  <a:pt x="4464" y="69553"/>
                </a:lnTo>
                <a:close/>
              </a:path>
            </a:pathLst>
          </a:custGeom>
          <a:solidFill>
            <a:srgbClr val="000000"/>
          </a:solidFill>
        </p:spPr>
        <p:txBody>
          <a:bodyPr wrap="square" lIns="0" tIns="0" rIns="0" bIns="0" rtlCol="0">
            <a:noAutofit/>
          </a:bodyPr>
          <a:lstStyle/>
          <a:p>
            <a:endParaRPr/>
          </a:p>
        </p:txBody>
      </p:sp>
      <p:sp>
        <p:nvSpPr>
          <p:cNvPr id="249" name="object 249"/>
          <p:cNvSpPr/>
          <p:nvPr/>
        </p:nvSpPr>
        <p:spPr>
          <a:xfrm>
            <a:off x="9864684" y="1270047"/>
            <a:ext cx="43154" cy="69856"/>
          </a:xfrm>
          <a:custGeom>
            <a:avLst/>
            <a:gdLst/>
            <a:ahLst/>
            <a:cxnLst/>
            <a:rect l="l" t="t" r="r" b="b"/>
            <a:pathLst>
              <a:path w="43154" h="69856">
                <a:moveTo>
                  <a:pt x="4166" y="0"/>
                </a:moveTo>
                <a:lnTo>
                  <a:pt x="0" y="0"/>
                </a:lnTo>
                <a:lnTo>
                  <a:pt x="297" y="6985"/>
                </a:lnTo>
                <a:lnTo>
                  <a:pt x="892" y="13971"/>
                </a:lnTo>
                <a:lnTo>
                  <a:pt x="1785" y="20349"/>
                </a:lnTo>
                <a:lnTo>
                  <a:pt x="3273" y="27031"/>
                </a:lnTo>
                <a:lnTo>
                  <a:pt x="5059" y="32802"/>
                </a:lnTo>
                <a:lnTo>
                  <a:pt x="7440" y="38876"/>
                </a:lnTo>
                <a:lnTo>
                  <a:pt x="9821" y="44040"/>
                </a:lnTo>
                <a:lnTo>
                  <a:pt x="12499" y="49203"/>
                </a:lnTo>
                <a:lnTo>
                  <a:pt x="15178" y="53455"/>
                </a:lnTo>
                <a:lnTo>
                  <a:pt x="18749" y="57707"/>
                </a:lnTo>
                <a:lnTo>
                  <a:pt x="22023" y="61048"/>
                </a:lnTo>
                <a:lnTo>
                  <a:pt x="25892" y="64086"/>
                </a:lnTo>
                <a:lnTo>
                  <a:pt x="30059" y="66515"/>
                </a:lnTo>
                <a:lnTo>
                  <a:pt x="34226" y="68338"/>
                </a:lnTo>
                <a:lnTo>
                  <a:pt x="38690" y="69553"/>
                </a:lnTo>
                <a:lnTo>
                  <a:pt x="43154" y="69856"/>
                </a:lnTo>
                <a:lnTo>
                  <a:pt x="43154" y="65604"/>
                </a:lnTo>
                <a:lnTo>
                  <a:pt x="39285" y="65301"/>
                </a:lnTo>
                <a:lnTo>
                  <a:pt x="35416" y="64086"/>
                </a:lnTo>
                <a:lnTo>
                  <a:pt x="31845" y="62871"/>
                </a:lnTo>
                <a:lnTo>
                  <a:pt x="28273" y="60441"/>
                </a:lnTo>
                <a:lnTo>
                  <a:pt x="24999" y="58011"/>
                </a:lnTo>
                <a:lnTo>
                  <a:pt x="21726" y="54670"/>
                </a:lnTo>
                <a:lnTo>
                  <a:pt x="18749" y="51025"/>
                </a:lnTo>
                <a:lnTo>
                  <a:pt x="16071" y="46773"/>
                </a:lnTo>
                <a:lnTo>
                  <a:pt x="13392" y="42217"/>
                </a:lnTo>
                <a:lnTo>
                  <a:pt x="11011" y="37054"/>
                </a:lnTo>
                <a:lnTo>
                  <a:pt x="9226" y="31587"/>
                </a:lnTo>
                <a:lnTo>
                  <a:pt x="7440" y="25816"/>
                </a:lnTo>
                <a:lnTo>
                  <a:pt x="5952" y="19742"/>
                </a:lnTo>
                <a:lnTo>
                  <a:pt x="5059" y="13363"/>
                </a:lnTo>
                <a:lnTo>
                  <a:pt x="4464" y="6985"/>
                </a:lnTo>
                <a:lnTo>
                  <a:pt x="4166" y="0"/>
                </a:lnTo>
                <a:close/>
              </a:path>
            </a:pathLst>
          </a:custGeom>
          <a:solidFill>
            <a:srgbClr val="000000"/>
          </a:solidFill>
        </p:spPr>
        <p:txBody>
          <a:bodyPr wrap="square" lIns="0" tIns="0" rIns="0" bIns="0" rtlCol="0">
            <a:noAutofit/>
          </a:bodyPr>
          <a:lstStyle/>
          <a:p>
            <a:endParaRPr/>
          </a:p>
        </p:txBody>
      </p:sp>
      <p:sp>
        <p:nvSpPr>
          <p:cNvPr id="250" name="object 250"/>
          <p:cNvSpPr/>
          <p:nvPr/>
        </p:nvSpPr>
        <p:spPr>
          <a:xfrm>
            <a:off x="9864684" y="1200190"/>
            <a:ext cx="43154" cy="69856"/>
          </a:xfrm>
          <a:custGeom>
            <a:avLst/>
            <a:gdLst/>
            <a:ahLst/>
            <a:cxnLst/>
            <a:rect l="l" t="t" r="r" b="b"/>
            <a:pathLst>
              <a:path w="43154" h="69856">
                <a:moveTo>
                  <a:pt x="5059" y="37054"/>
                </a:moveTo>
                <a:lnTo>
                  <a:pt x="3273" y="42825"/>
                </a:lnTo>
                <a:lnTo>
                  <a:pt x="1785" y="49507"/>
                </a:lnTo>
                <a:lnTo>
                  <a:pt x="892" y="55885"/>
                </a:lnTo>
                <a:lnTo>
                  <a:pt x="297" y="62871"/>
                </a:lnTo>
                <a:lnTo>
                  <a:pt x="0" y="69856"/>
                </a:lnTo>
                <a:lnTo>
                  <a:pt x="4166" y="69856"/>
                </a:lnTo>
                <a:lnTo>
                  <a:pt x="4464" y="62871"/>
                </a:lnTo>
                <a:lnTo>
                  <a:pt x="5059" y="56492"/>
                </a:lnTo>
                <a:lnTo>
                  <a:pt x="5952" y="50114"/>
                </a:lnTo>
                <a:lnTo>
                  <a:pt x="7440" y="44040"/>
                </a:lnTo>
                <a:lnTo>
                  <a:pt x="9226" y="38269"/>
                </a:lnTo>
                <a:lnTo>
                  <a:pt x="11011" y="32802"/>
                </a:lnTo>
                <a:lnTo>
                  <a:pt x="13392" y="27639"/>
                </a:lnTo>
                <a:lnTo>
                  <a:pt x="16071" y="23083"/>
                </a:lnTo>
                <a:lnTo>
                  <a:pt x="18749" y="18830"/>
                </a:lnTo>
                <a:lnTo>
                  <a:pt x="21726" y="15186"/>
                </a:lnTo>
                <a:lnTo>
                  <a:pt x="24999" y="11845"/>
                </a:lnTo>
                <a:lnTo>
                  <a:pt x="28273" y="9415"/>
                </a:lnTo>
                <a:lnTo>
                  <a:pt x="31845" y="6985"/>
                </a:lnTo>
                <a:lnTo>
                  <a:pt x="35416" y="5770"/>
                </a:lnTo>
                <a:lnTo>
                  <a:pt x="39285" y="4555"/>
                </a:lnTo>
                <a:lnTo>
                  <a:pt x="43154" y="4252"/>
                </a:lnTo>
                <a:lnTo>
                  <a:pt x="43154" y="0"/>
                </a:lnTo>
                <a:lnTo>
                  <a:pt x="38690" y="303"/>
                </a:lnTo>
                <a:lnTo>
                  <a:pt x="34226" y="1518"/>
                </a:lnTo>
                <a:lnTo>
                  <a:pt x="30059" y="3340"/>
                </a:lnTo>
                <a:lnTo>
                  <a:pt x="25892" y="5770"/>
                </a:lnTo>
                <a:lnTo>
                  <a:pt x="22023" y="8808"/>
                </a:lnTo>
                <a:lnTo>
                  <a:pt x="18749" y="12149"/>
                </a:lnTo>
                <a:lnTo>
                  <a:pt x="15178" y="16401"/>
                </a:lnTo>
                <a:lnTo>
                  <a:pt x="12499" y="20653"/>
                </a:lnTo>
                <a:lnTo>
                  <a:pt x="9821" y="25816"/>
                </a:lnTo>
                <a:lnTo>
                  <a:pt x="7440" y="30980"/>
                </a:lnTo>
                <a:lnTo>
                  <a:pt x="5059" y="37054"/>
                </a:lnTo>
                <a:close/>
              </a:path>
            </a:pathLst>
          </a:custGeom>
          <a:solidFill>
            <a:srgbClr val="000000"/>
          </a:solidFill>
        </p:spPr>
        <p:txBody>
          <a:bodyPr wrap="square" lIns="0" tIns="0" rIns="0" bIns="0" rtlCol="0">
            <a:noAutofit/>
          </a:bodyPr>
          <a:lstStyle/>
          <a:p>
            <a:endParaRPr/>
          </a:p>
        </p:txBody>
      </p:sp>
      <p:sp>
        <p:nvSpPr>
          <p:cNvPr id="251" name="object 251"/>
          <p:cNvSpPr/>
          <p:nvPr/>
        </p:nvSpPr>
        <p:spPr>
          <a:xfrm>
            <a:off x="9708436" y="1200495"/>
            <a:ext cx="86309" cy="142751"/>
          </a:xfrm>
          <a:custGeom>
            <a:avLst/>
            <a:gdLst/>
            <a:ahLst/>
            <a:cxnLst/>
            <a:rect l="l" t="t" r="r" b="b"/>
            <a:pathLst>
              <a:path w="86309" h="142751">
                <a:moveTo>
                  <a:pt x="43154" y="0"/>
                </a:moveTo>
                <a:lnTo>
                  <a:pt x="38690" y="303"/>
                </a:lnTo>
                <a:lnTo>
                  <a:pt x="34523" y="1518"/>
                </a:lnTo>
                <a:lnTo>
                  <a:pt x="26488" y="5770"/>
                </a:lnTo>
                <a:lnTo>
                  <a:pt x="22618" y="8808"/>
                </a:lnTo>
                <a:lnTo>
                  <a:pt x="19047" y="12149"/>
                </a:lnTo>
                <a:lnTo>
                  <a:pt x="15773" y="16401"/>
                </a:lnTo>
                <a:lnTo>
                  <a:pt x="12797" y="20957"/>
                </a:lnTo>
                <a:lnTo>
                  <a:pt x="9821" y="26120"/>
                </a:lnTo>
                <a:lnTo>
                  <a:pt x="7440" y="31587"/>
                </a:lnTo>
                <a:lnTo>
                  <a:pt x="5357" y="37358"/>
                </a:lnTo>
                <a:lnTo>
                  <a:pt x="3273" y="43736"/>
                </a:lnTo>
                <a:lnTo>
                  <a:pt x="2083" y="50114"/>
                </a:lnTo>
                <a:lnTo>
                  <a:pt x="892" y="57100"/>
                </a:lnTo>
                <a:lnTo>
                  <a:pt x="297" y="64086"/>
                </a:lnTo>
                <a:lnTo>
                  <a:pt x="0" y="71375"/>
                </a:lnTo>
                <a:lnTo>
                  <a:pt x="297" y="78664"/>
                </a:lnTo>
                <a:lnTo>
                  <a:pt x="892" y="85650"/>
                </a:lnTo>
                <a:lnTo>
                  <a:pt x="2083" y="92636"/>
                </a:lnTo>
                <a:lnTo>
                  <a:pt x="3273" y="99318"/>
                </a:lnTo>
                <a:lnTo>
                  <a:pt x="5357" y="105392"/>
                </a:lnTo>
                <a:lnTo>
                  <a:pt x="7440" y="111163"/>
                </a:lnTo>
                <a:lnTo>
                  <a:pt x="9821" y="116934"/>
                </a:lnTo>
                <a:lnTo>
                  <a:pt x="12797" y="121793"/>
                </a:lnTo>
                <a:lnTo>
                  <a:pt x="15773" y="126349"/>
                </a:lnTo>
                <a:lnTo>
                  <a:pt x="19047" y="130602"/>
                </a:lnTo>
                <a:lnTo>
                  <a:pt x="22618" y="134246"/>
                </a:lnTo>
                <a:lnTo>
                  <a:pt x="26488" y="137283"/>
                </a:lnTo>
                <a:lnTo>
                  <a:pt x="34523" y="141232"/>
                </a:lnTo>
                <a:lnTo>
                  <a:pt x="43154" y="142751"/>
                </a:lnTo>
                <a:lnTo>
                  <a:pt x="47618" y="142447"/>
                </a:lnTo>
                <a:lnTo>
                  <a:pt x="55952" y="139410"/>
                </a:lnTo>
                <a:lnTo>
                  <a:pt x="63690" y="134246"/>
                </a:lnTo>
                <a:lnTo>
                  <a:pt x="67261" y="130602"/>
                </a:lnTo>
                <a:lnTo>
                  <a:pt x="70535" y="126349"/>
                </a:lnTo>
                <a:lnTo>
                  <a:pt x="73809" y="121793"/>
                </a:lnTo>
                <a:lnTo>
                  <a:pt x="76487" y="116934"/>
                </a:lnTo>
                <a:lnTo>
                  <a:pt x="78868" y="111163"/>
                </a:lnTo>
                <a:lnTo>
                  <a:pt x="80952" y="105392"/>
                </a:lnTo>
                <a:lnTo>
                  <a:pt x="83035" y="99318"/>
                </a:lnTo>
                <a:lnTo>
                  <a:pt x="84225" y="92636"/>
                </a:lnTo>
                <a:lnTo>
                  <a:pt x="85416" y="85650"/>
                </a:lnTo>
                <a:lnTo>
                  <a:pt x="86011" y="78664"/>
                </a:lnTo>
                <a:lnTo>
                  <a:pt x="86309" y="71375"/>
                </a:lnTo>
                <a:lnTo>
                  <a:pt x="86011" y="64086"/>
                </a:lnTo>
                <a:lnTo>
                  <a:pt x="85416" y="57100"/>
                </a:lnTo>
                <a:lnTo>
                  <a:pt x="84225" y="50114"/>
                </a:lnTo>
                <a:lnTo>
                  <a:pt x="83035" y="43736"/>
                </a:lnTo>
                <a:lnTo>
                  <a:pt x="80952" y="37358"/>
                </a:lnTo>
                <a:lnTo>
                  <a:pt x="78868" y="31587"/>
                </a:lnTo>
                <a:lnTo>
                  <a:pt x="76487" y="26120"/>
                </a:lnTo>
                <a:lnTo>
                  <a:pt x="73809" y="20957"/>
                </a:lnTo>
                <a:lnTo>
                  <a:pt x="70535" y="16401"/>
                </a:lnTo>
                <a:lnTo>
                  <a:pt x="67261" y="12149"/>
                </a:lnTo>
                <a:lnTo>
                  <a:pt x="63690" y="8808"/>
                </a:lnTo>
                <a:lnTo>
                  <a:pt x="59821" y="5770"/>
                </a:lnTo>
                <a:lnTo>
                  <a:pt x="51785" y="1518"/>
                </a:lnTo>
                <a:lnTo>
                  <a:pt x="47618" y="303"/>
                </a:lnTo>
                <a:lnTo>
                  <a:pt x="43154" y="0"/>
                </a:lnTo>
                <a:close/>
              </a:path>
            </a:pathLst>
          </a:custGeom>
          <a:solidFill>
            <a:srgbClr val="000000"/>
          </a:solidFill>
        </p:spPr>
        <p:txBody>
          <a:bodyPr wrap="square" lIns="0" tIns="0" rIns="0" bIns="0" rtlCol="0">
            <a:noAutofit/>
          </a:bodyPr>
          <a:lstStyle/>
          <a:p>
            <a:endParaRPr/>
          </a:p>
        </p:txBody>
      </p:sp>
      <p:sp>
        <p:nvSpPr>
          <p:cNvPr id="252" name="object 252"/>
          <p:cNvSpPr/>
          <p:nvPr/>
        </p:nvSpPr>
        <p:spPr>
          <a:xfrm>
            <a:off x="9751590" y="1198368"/>
            <a:ext cx="45237" cy="73501"/>
          </a:xfrm>
          <a:custGeom>
            <a:avLst/>
            <a:gdLst/>
            <a:ahLst/>
            <a:cxnLst/>
            <a:rect l="l" t="t" r="r" b="b"/>
            <a:pathLst>
              <a:path w="45237" h="73501">
                <a:moveTo>
                  <a:pt x="4166" y="4555"/>
                </a:moveTo>
                <a:lnTo>
                  <a:pt x="8035" y="5770"/>
                </a:lnTo>
                <a:lnTo>
                  <a:pt x="11904" y="7289"/>
                </a:lnTo>
                <a:lnTo>
                  <a:pt x="15476" y="9719"/>
                </a:lnTo>
                <a:lnTo>
                  <a:pt x="19345" y="12452"/>
                </a:lnTo>
                <a:lnTo>
                  <a:pt x="22618" y="15793"/>
                </a:lnTo>
                <a:lnTo>
                  <a:pt x="25595" y="19742"/>
                </a:lnTo>
                <a:lnTo>
                  <a:pt x="28868" y="24298"/>
                </a:lnTo>
                <a:lnTo>
                  <a:pt x="31547" y="29157"/>
                </a:lnTo>
                <a:lnTo>
                  <a:pt x="33928" y="34624"/>
                </a:lnTo>
                <a:lnTo>
                  <a:pt x="35714" y="40091"/>
                </a:lnTo>
                <a:lnTo>
                  <a:pt x="37797" y="46470"/>
                </a:lnTo>
                <a:lnTo>
                  <a:pt x="38987" y="52544"/>
                </a:lnTo>
                <a:lnTo>
                  <a:pt x="40178" y="59530"/>
                </a:lnTo>
                <a:lnTo>
                  <a:pt x="40773" y="66212"/>
                </a:lnTo>
                <a:lnTo>
                  <a:pt x="41071" y="73501"/>
                </a:lnTo>
                <a:lnTo>
                  <a:pt x="45237" y="73501"/>
                </a:lnTo>
                <a:lnTo>
                  <a:pt x="44940" y="66212"/>
                </a:lnTo>
                <a:lnTo>
                  <a:pt x="44345" y="58922"/>
                </a:lnTo>
                <a:lnTo>
                  <a:pt x="43154" y="51937"/>
                </a:lnTo>
                <a:lnTo>
                  <a:pt x="41964" y="45255"/>
                </a:lnTo>
                <a:lnTo>
                  <a:pt x="39880" y="38876"/>
                </a:lnTo>
                <a:lnTo>
                  <a:pt x="37499" y="32802"/>
                </a:lnTo>
                <a:lnTo>
                  <a:pt x="35118" y="27335"/>
                </a:lnTo>
                <a:lnTo>
                  <a:pt x="32440" y="21868"/>
                </a:lnTo>
                <a:lnTo>
                  <a:pt x="29166" y="17312"/>
                </a:lnTo>
                <a:lnTo>
                  <a:pt x="25595" y="12756"/>
                </a:lnTo>
                <a:lnTo>
                  <a:pt x="21726" y="9415"/>
                </a:lnTo>
                <a:lnTo>
                  <a:pt x="17857" y="6074"/>
                </a:lnTo>
                <a:lnTo>
                  <a:pt x="13690" y="3644"/>
                </a:lnTo>
                <a:lnTo>
                  <a:pt x="9226" y="1518"/>
                </a:lnTo>
                <a:lnTo>
                  <a:pt x="4761" y="303"/>
                </a:lnTo>
                <a:lnTo>
                  <a:pt x="0" y="0"/>
                </a:lnTo>
                <a:lnTo>
                  <a:pt x="0" y="4252"/>
                </a:lnTo>
                <a:lnTo>
                  <a:pt x="4166" y="4555"/>
                </a:lnTo>
                <a:close/>
              </a:path>
            </a:pathLst>
          </a:custGeom>
          <a:solidFill>
            <a:srgbClr val="000000"/>
          </a:solidFill>
        </p:spPr>
        <p:txBody>
          <a:bodyPr wrap="square" lIns="0" tIns="0" rIns="0" bIns="0" rtlCol="0">
            <a:noAutofit/>
          </a:bodyPr>
          <a:lstStyle/>
          <a:p>
            <a:endParaRPr/>
          </a:p>
        </p:txBody>
      </p:sp>
      <p:sp>
        <p:nvSpPr>
          <p:cNvPr id="253" name="object 253"/>
          <p:cNvSpPr/>
          <p:nvPr/>
        </p:nvSpPr>
        <p:spPr>
          <a:xfrm>
            <a:off x="9751590" y="1271870"/>
            <a:ext cx="45237" cy="73501"/>
          </a:xfrm>
          <a:custGeom>
            <a:avLst/>
            <a:gdLst/>
            <a:ahLst/>
            <a:cxnLst/>
            <a:rect l="l" t="t" r="r" b="b"/>
            <a:pathLst>
              <a:path w="45237" h="73501">
                <a:moveTo>
                  <a:pt x="4761" y="73197"/>
                </a:moveTo>
                <a:lnTo>
                  <a:pt x="9226" y="71982"/>
                </a:lnTo>
                <a:lnTo>
                  <a:pt x="13690" y="69856"/>
                </a:lnTo>
                <a:lnTo>
                  <a:pt x="17857" y="67730"/>
                </a:lnTo>
                <a:lnTo>
                  <a:pt x="22023" y="64389"/>
                </a:lnTo>
                <a:lnTo>
                  <a:pt x="25595" y="60745"/>
                </a:lnTo>
                <a:lnTo>
                  <a:pt x="29166" y="56189"/>
                </a:lnTo>
                <a:lnTo>
                  <a:pt x="32440" y="51633"/>
                </a:lnTo>
                <a:lnTo>
                  <a:pt x="35118" y="46470"/>
                </a:lnTo>
                <a:lnTo>
                  <a:pt x="37499" y="40699"/>
                </a:lnTo>
                <a:lnTo>
                  <a:pt x="39880" y="34624"/>
                </a:lnTo>
                <a:lnTo>
                  <a:pt x="41964" y="28550"/>
                </a:lnTo>
                <a:lnTo>
                  <a:pt x="43154" y="21564"/>
                </a:lnTo>
                <a:lnTo>
                  <a:pt x="44345" y="14578"/>
                </a:lnTo>
                <a:lnTo>
                  <a:pt x="44940" y="7289"/>
                </a:lnTo>
                <a:lnTo>
                  <a:pt x="45237" y="0"/>
                </a:lnTo>
                <a:lnTo>
                  <a:pt x="41071" y="0"/>
                </a:lnTo>
                <a:lnTo>
                  <a:pt x="40773" y="7289"/>
                </a:lnTo>
                <a:lnTo>
                  <a:pt x="40178" y="13971"/>
                </a:lnTo>
                <a:lnTo>
                  <a:pt x="38987" y="20957"/>
                </a:lnTo>
                <a:lnTo>
                  <a:pt x="37797" y="27335"/>
                </a:lnTo>
                <a:lnTo>
                  <a:pt x="35714" y="33409"/>
                </a:lnTo>
                <a:lnTo>
                  <a:pt x="33928" y="38876"/>
                </a:lnTo>
                <a:lnTo>
                  <a:pt x="31547" y="44647"/>
                </a:lnTo>
                <a:lnTo>
                  <a:pt x="28868" y="49203"/>
                </a:lnTo>
                <a:lnTo>
                  <a:pt x="25595" y="53759"/>
                </a:lnTo>
                <a:lnTo>
                  <a:pt x="22618" y="57707"/>
                </a:lnTo>
                <a:lnTo>
                  <a:pt x="19047" y="61352"/>
                </a:lnTo>
                <a:lnTo>
                  <a:pt x="15476" y="64086"/>
                </a:lnTo>
                <a:lnTo>
                  <a:pt x="11904" y="66212"/>
                </a:lnTo>
                <a:lnTo>
                  <a:pt x="8035" y="67730"/>
                </a:lnTo>
                <a:lnTo>
                  <a:pt x="4166" y="68945"/>
                </a:lnTo>
                <a:lnTo>
                  <a:pt x="0" y="69249"/>
                </a:lnTo>
                <a:lnTo>
                  <a:pt x="0" y="73501"/>
                </a:lnTo>
                <a:lnTo>
                  <a:pt x="4761" y="73197"/>
                </a:lnTo>
                <a:close/>
              </a:path>
            </a:pathLst>
          </a:custGeom>
          <a:solidFill>
            <a:srgbClr val="000000"/>
          </a:solidFill>
        </p:spPr>
        <p:txBody>
          <a:bodyPr wrap="square" lIns="0" tIns="0" rIns="0" bIns="0" rtlCol="0">
            <a:noAutofit/>
          </a:bodyPr>
          <a:lstStyle/>
          <a:p>
            <a:endParaRPr/>
          </a:p>
        </p:txBody>
      </p:sp>
      <p:sp>
        <p:nvSpPr>
          <p:cNvPr id="254" name="object 254"/>
          <p:cNvSpPr/>
          <p:nvPr/>
        </p:nvSpPr>
        <p:spPr>
          <a:xfrm>
            <a:off x="9706352" y="1271870"/>
            <a:ext cx="45237" cy="73501"/>
          </a:xfrm>
          <a:custGeom>
            <a:avLst/>
            <a:gdLst/>
            <a:ahLst/>
            <a:cxnLst/>
            <a:rect l="l" t="t" r="r" b="b"/>
            <a:pathLst>
              <a:path w="45237" h="73501">
                <a:moveTo>
                  <a:pt x="4166" y="0"/>
                </a:moveTo>
                <a:lnTo>
                  <a:pt x="0" y="0"/>
                </a:lnTo>
                <a:lnTo>
                  <a:pt x="297" y="7289"/>
                </a:lnTo>
                <a:lnTo>
                  <a:pt x="892" y="14578"/>
                </a:lnTo>
                <a:lnTo>
                  <a:pt x="2083" y="21564"/>
                </a:lnTo>
                <a:lnTo>
                  <a:pt x="3273" y="28550"/>
                </a:lnTo>
                <a:lnTo>
                  <a:pt x="5357" y="34624"/>
                </a:lnTo>
                <a:lnTo>
                  <a:pt x="7738" y="40699"/>
                </a:lnTo>
                <a:lnTo>
                  <a:pt x="10119" y="46470"/>
                </a:lnTo>
                <a:lnTo>
                  <a:pt x="13095" y="51633"/>
                </a:lnTo>
                <a:lnTo>
                  <a:pt x="16071" y="56189"/>
                </a:lnTo>
                <a:lnTo>
                  <a:pt x="19642" y="60745"/>
                </a:lnTo>
                <a:lnTo>
                  <a:pt x="23214" y="64389"/>
                </a:lnTo>
                <a:lnTo>
                  <a:pt x="27380" y="67730"/>
                </a:lnTo>
                <a:lnTo>
                  <a:pt x="31547" y="69856"/>
                </a:lnTo>
                <a:lnTo>
                  <a:pt x="36011" y="71982"/>
                </a:lnTo>
                <a:lnTo>
                  <a:pt x="40476" y="73197"/>
                </a:lnTo>
                <a:lnTo>
                  <a:pt x="45237" y="73501"/>
                </a:lnTo>
                <a:lnTo>
                  <a:pt x="45237" y="69249"/>
                </a:lnTo>
                <a:lnTo>
                  <a:pt x="41071" y="68945"/>
                </a:lnTo>
                <a:lnTo>
                  <a:pt x="37202" y="67730"/>
                </a:lnTo>
                <a:lnTo>
                  <a:pt x="33333" y="66212"/>
                </a:lnTo>
                <a:lnTo>
                  <a:pt x="29761" y="64086"/>
                </a:lnTo>
                <a:lnTo>
                  <a:pt x="26190" y="61352"/>
                </a:lnTo>
                <a:lnTo>
                  <a:pt x="22618" y="57707"/>
                </a:lnTo>
                <a:lnTo>
                  <a:pt x="19642" y="53759"/>
                </a:lnTo>
                <a:lnTo>
                  <a:pt x="16666" y="49203"/>
                </a:lnTo>
                <a:lnTo>
                  <a:pt x="13690" y="44647"/>
                </a:lnTo>
                <a:lnTo>
                  <a:pt x="11309" y="38876"/>
                </a:lnTo>
                <a:lnTo>
                  <a:pt x="9523" y="33409"/>
                </a:lnTo>
                <a:lnTo>
                  <a:pt x="7440" y="27335"/>
                </a:lnTo>
                <a:lnTo>
                  <a:pt x="6249" y="20957"/>
                </a:lnTo>
                <a:lnTo>
                  <a:pt x="5059" y="13971"/>
                </a:lnTo>
                <a:lnTo>
                  <a:pt x="4464" y="7289"/>
                </a:lnTo>
                <a:lnTo>
                  <a:pt x="4166" y="0"/>
                </a:lnTo>
                <a:close/>
              </a:path>
            </a:pathLst>
          </a:custGeom>
          <a:solidFill>
            <a:srgbClr val="000000"/>
          </a:solidFill>
        </p:spPr>
        <p:txBody>
          <a:bodyPr wrap="square" lIns="0" tIns="0" rIns="0" bIns="0" rtlCol="0">
            <a:noAutofit/>
          </a:bodyPr>
          <a:lstStyle/>
          <a:p>
            <a:endParaRPr/>
          </a:p>
        </p:txBody>
      </p:sp>
      <p:sp>
        <p:nvSpPr>
          <p:cNvPr id="255" name="object 255"/>
          <p:cNvSpPr/>
          <p:nvPr/>
        </p:nvSpPr>
        <p:spPr>
          <a:xfrm>
            <a:off x="9706352" y="1198368"/>
            <a:ext cx="45237" cy="73501"/>
          </a:xfrm>
          <a:custGeom>
            <a:avLst/>
            <a:gdLst/>
            <a:ahLst/>
            <a:cxnLst/>
            <a:rect l="l" t="t" r="r" b="b"/>
            <a:pathLst>
              <a:path w="45237" h="73501">
                <a:moveTo>
                  <a:pt x="5357" y="38876"/>
                </a:moveTo>
                <a:lnTo>
                  <a:pt x="3273" y="45255"/>
                </a:lnTo>
                <a:lnTo>
                  <a:pt x="2083" y="51937"/>
                </a:lnTo>
                <a:lnTo>
                  <a:pt x="892" y="58922"/>
                </a:lnTo>
                <a:lnTo>
                  <a:pt x="297" y="66212"/>
                </a:lnTo>
                <a:lnTo>
                  <a:pt x="0" y="73501"/>
                </a:lnTo>
                <a:lnTo>
                  <a:pt x="4166" y="73501"/>
                </a:lnTo>
                <a:lnTo>
                  <a:pt x="4464" y="66212"/>
                </a:lnTo>
                <a:lnTo>
                  <a:pt x="5059" y="59530"/>
                </a:lnTo>
                <a:lnTo>
                  <a:pt x="6249" y="52544"/>
                </a:lnTo>
                <a:lnTo>
                  <a:pt x="7440" y="46470"/>
                </a:lnTo>
                <a:lnTo>
                  <a:pt x="9523" y="40091"/>
                </a:lnTo>
                <a:lnTo>
                  <a:pt x="11309" y="34624"/>
                </a:lnTo>
                <a:lnTo>
                  <a:pt x="13690" y="29157"/>
                </a:lnTo>
                <a:lnTo>
                  <a:pt x="16666" y="24298"/>
                </a:lnTo>
                <a:lnTo>
                  <a:pt x="19642" y="19742"/>
                </a:lnTo>
                <a:lnTo>
                  <a:pt x="22618" y="15793"/>
                </a:lnTo>
                <a:lnTo>
                  <a:pt x="25892" y="12452"/>
                </a:lnTo>
                <a:lnTo>
                  <a:pt x="29761" y="9719"/>
                </a:lnTo>
                <a:lnTo>
                  <a:pt x="33333" y="7289"/>
                </a:lnTo>
                <a:lnTo>
                  <a:pt x="37202" y="5770"/>
                </a:lnTo>
                <a:lnTo>
                  <a:pt x="41071" y="4555"/>
                </a:lnTo>
                <a:lnTo>
                  <a:pt x="45237" y="4252"/>
                </a:lnTo>
                <a:lnTo>
                  <a:pt x="45237" y="0"/>
                </a:lnTo>
                <a:lnTo>
                  <a:pt x="40476" y="303"/>
                </a:lnTo>
                <a:lnTo>
                  <a:pt x="36011" y="1518"/>
                </a:lnTo>
                <a:lnTo>
                  <a:pt x="31547" y="3644"/>
                </a:lnTo>
                <a:lnTo>
                  <a:pt x="27380" y="6074"/>
                </a:lnTo>
                <a:lnTo>
                  <a:pt x="23511" y="9415"/>
                </a:lnTo>
                <a:lnTo>
                  <a:pt x="19642" y="12756"/>
                </a:lnTo>
                <a:lnTo>
                  <a:pt x="16071" y="17312"/>
                </a:lnTo>
                <a:lnTo>
                  <a:pt x="13095" y="21868"/>
                </a:lnTo>
                <a:lnTo>
                  <a:pt x="10119" y="27335"/>
                </a:lnTo>
                <a:lnTo>
                  <a:pt x="7738" y="32802"/>
                </a:lnTo>
                <a:lnTo>
                  <a:pt x="5357" y="38876"/>
                </a:lnTo>
                <a:close/>
              </a:path>
            </a:pathLst>
          </a:custGeom>
          <a:solidFill>
            <a:srgbClr val="000000"/>
          </a:solidFill>
        </p:spPr>
        <p:txBody>
          <a:bodyPr wrap="square" lIns="0" tIns="0" rIns="0" bIns="0" rtlCol="0">
            <a:noAutofit/>
          </a:bodyPr>
          <a:lstStyle/>
          <a:p>
            <a:endParaRPr/>
          </a:p>
        </p:txBody>
      </p:sp>
      <p:sp>
        <p:nvSpPr>
          <p:cNvPr id="256" name="object 256"/>
          <p:cNvSpPr/>
          <p:nvPr/>
        </p:nvSpPr>
        <p:spPr>
          <a:xfrm>
            <a:off x="9752185" y="1338386"/>
            <a:ext cx="29166" cy="4859"/>
          </a:xfrm>
          <a:custGeom>
            <a:avLst/>
            <a:gdLst/>
            <a:ahLst/>
            <a:cxnLst/>
            <a:rect l="l" t="t" r="r" b="b"/>
            <a:pathLst>
              <a:path w="29166" h="4859">
                <a:moveTo>
                  <a:pt x="29166" y="4859"/>
                </a:moveTo>
                <a:lnTo>
                  <a:pt x="13690" y="0"/>
                </a:lnTo>
                <a:lnTo>
                  <a:pt x="0" y="4859"/>
                </a:lnTo>
                <a:lnTo>
                  <a:pt x="29166" y="4859"/>
                </a:lnTo>
                <a:close/>
              </a:path>
            </a:pathLst>
          </a:custGeom>
          <a:solidFill>
            <a:srgbClr val="000000"/>
          </a:solidFill>
        </p:spPr>
        <p:txBody>
          <a:bodyPr wrap="square" lIns="0" tIns="0" rIns="0" bIns="0" rtlCol="0">
            <a:noAutofit/>
          </a:bodyPr>
          <a:lstStyle/>
          <a:p>
            <a:endParaRPr/>
          </a:p>
        </p:txBody>
      </p:sp>
      <p:sp>
        <p:nvSpPr>
          <p:cNvPr id="257" name="object 257"/>
          <p:cNvSpPr/>
          <p:nvPr/>
        </p:nvSpPr>
        <p:spPr>
          <a:xfrm>
            <a:off x="9751292" y="1200798"/>
            <a:ext cx="28868" cy="4859"/>
          </a:xfrm>
          <a:custGeom>
            <a:avLst/>
            <a:gdLst/>
            <a:ahLst/>
            <a:cxnLst/>
            <a:rect l="l" t="t" r="r" b="b"/>
            <a:pathLst>
              <a:path w="28868" h="4859">
                <a:moveTo>
                  <a:pt x="28868" y="0"/>
                </a:moveTo>
                <a:lnTo>
                  <a:pt x="0" y="0"/>
                </a:lnTo>
                <a:lnTo>
                  <a:pt x="14583" y="4859"/>
                </a:lnTo>
                <a:lnTo>
                  <a:pt x="28868" y="0"/>
                </a:lnTo>
                <a:close/>
              </a:path>
            </a:pathLst>
          </a:custGeom>
          <a:solidFill>
            <a:srgbClr val="000000"/>
          </a:solidFill>
        </p:spPr>
        <p:txBody>
          <a:bodyPr wrap="square" lIns="0" tIns="0" rIns="0" bIns="0" rtlCol="0">
            <a:noAutofit/>
          </a:bodyPr>
          <a:lstStyle/>
          <a:p>
            <a:endParaRPr/>
          </a:p>
        </p:txBody>
      </p:sp>
      <p:sp>
        <p:nvSpPr>
          <p:cNvPr id="258" name="object 258"/>
          <p:cNvSpPr/>
          <p:nvPr/>
        </p:nvSpPr>
        <p:spPr>
          <a:xfrm>
            <a:off x="9751293" y="1199280"/>
            <a:ext cx="30357" cy="3037"/>
          </a:xfrm>
          <a:custGeom>
            <a:avLst/>
            <a:gdLst/>
            <a:ahLst/>
            <a:cxnLst/>
            <a:rect l="l" t="t" r="r" b="b"/>
            <a:pathLst>
              <a:path w="30357" h="3037">
                <a:moveTo>
                  <a:pt x="28273" y="0"/>
                </a:moveTo>
                <a:lnTo>
                  <a:pt x="0" y="0"/>
                </a:lnTo>
                <a:lnTo>
                  <a:pt x="0" y="3037"/>
                </a:lnTo>
                <a:lnTo>
                  <a:pt x="28868" y="3037"/>
                </a:lnTo>
                <a:lnTo>
                  <a:pt x="29394" y="2679"/>
                </a:lnTo>
                <a:lnTo>
                  <a:pt x="29761" y="2429"/>
                </a:lnTo>
                <a:lnTo>
                  <a:pt x="30357" y="1518"/>
                </a:lnTo>
                <a:lnTo>
                  <a:pt x="29761" y="607"/>
                </a:lnTo>
                <a:lnTo>
                  <a:pt x="28868" y="0"/>
                </a:lnTo>
                <a:lnTo>
                  <a:pt x="28273" y="0"/>
                </a:lnTo>
                <a:close/>
              </a:path>
            </a:pathLst>
          </a:custGeom>
          <a:solidFill>
            <a:srgbClr val="000000"/>
          </a:solidFill>
        </p:spPr>
        <p:txBody>
          <a:bodyPr wrap="square" lIns="0" tIns="0" rIns="0" bIns="0" rtlCol="0">
            <a:noAutofit/>
          </a:bodyPr>
          <a:lstStyle/>
          <a:p>
            <a:endParaRPr/>
          </a:p>
        </p:txBody>
      </p:sp>
      <p:sp>
        <p:nvSpPr>
          <p:cNvPr id="259" name="object 259"/>
          <p:cNvSpPr/>
          <p:nvPr/>
        </p:nvSpPr>
        <p:spPr>
          <a:xfrm>
            <a:off x="9764387" y="1199279"/>
            <a:ext cx="15178" cy="7896"/>
          </a:xfrm>
          <a:custGeom>
            <a:avLst/>
            <a:gdLst/>
            <a:ahLst/>
            <a:cxnLst/>
            <a:rect l="l" t="t" r="r" b="b"/>
            <a:pathLst>
              <a:path w="15178" h="7896">
                <a:moveTo>
                  <a:pt x="892" y="4859"/>
                </a:moveTo>
                <a:lnTo>
                  <a:pt x="0" y="5770"/>
                </a:lnTo>
                <a:lnTo>
                  <a:pt x="297" y="6681"/>
                </a:lnTo>
                <a:lnTo>
                  <a:pt x="892" y="7896"/>
                </a:lnTo>
                <a:lnTo>
                  <a:pt x="2083" y="7896"/>
                </a:lnTo>
                <a:lnTo>
                  <a:pt x="2083" y="4859"/>
                </a:lnTo>
                <a:lnTo>
                  <a:pt x="15178" y="0"/>
                </a:lnTo>
                <a:lnTo>
                  <a:pt x="892" y="4859"/>
                </a:lnTo>
                <a:close/>
              </a:path>
            </a:pathLst>
          </a:custGeom>
          <a:solidFill>
            <a:srgbClr val="000000"/>
          </a:solidFill>
        </p:spPr>
        <p:txBody>
          <a:bodyPr wrap="square" lIns="0" tIns="0" rIns="0" bIns="0" rtlCol="0">
            <a:noAutofit/>
          </a:bodyPr>
          <a:lstStyle/>
          <a:p>
            <a:endParaRPr/>
          </a:p>
        </p:txBody>
      </p:sp>
      <p:sp>
        <p:nvSpPr>
          <p:cNvPr id="260" name="object 260"/>
          <p:cNvSpPr/>
          <p:nvPr/>
        </p:nvSpPr>
        <p:spPr>
          <a:xfrm>
            <a:off x="9766471" y="1199279"/>
            <a:ext cx="14285" cy="7896"/>
          </a:xfrm>
          <a:custGeom>
            <a:avLst/>
            <a:gdLst/>
            <a:ahLst/>
            <a:cxnLst/>
            <a:rect l="l" t="t" r="r" b="b"/>
            <a:pathLst>
              <a:path w="14285" h="7896">
                <a:moveTo>
                  <a:pt x="0" y="4859"/>
                </a:moveTo>
                <a:lnTo>
                  <a:pt x="0" y="7896"/>
                </a:lnTo>
                <a:lnTo>
                  <a:pt x="14285" y="3037"/>
                </a:lnTo>
                <a:lnTo>
                  <a:pt x="13095" y="0"/>
                </a:lnTo>
                <a:lnTo>
                  <a:pt x="0" y="4859"/>
                </a:lnTo>
                <a:close/>
              </a:path>
            </a:pathLst>
          </a:custGeom>
          <a:solidFill>
            <a:srgbClr val="000000"/>
          </a:solidFill>
        </p:spPr>
        <p:txBody>
          <a:bodyPr wrap="square" lIns="0" tIns="0" rIns="0" bIns="0" rtlCol="0">
            <a:noAutofit/>
          </a:bodyPr>
          <a:lstStyle/>
          <a:p>
            <a:endParaRPr/>
          </a:p>
        </p:txBody>
      </p:sp>
      <p:sp>
        <p:nvSpPr>
          <p:cNvPr id="261" name="object 261"/>
          <p:cNvSpPr/>
          <p:nvPr/>
        </p:nvSpPr>
        <p:spPr>
          <a:xfrm>
            <a:off x="9749804" y="1199279"/>
            <a:ext cx="15476" cy="7896"/>
          </a:xfrm>
          <a:custGeom>
            <a:avLst/>
            <a:gdLst/>
            <a:ahLst/>
            <a:cxnLst/>
            <a:rect l="l" t="t" r="r" b="b"/>
            <a:pathLst>
              <a:path w="15476" h="7896">
                <a:moveTo>
                  <a:pt x="892" y="3037"/>
                </a:moveTo>
                <a:lnTo>
                  <a:pt x="15476" y="7896"/>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262" name="object 262"/>
          <p:cNvSpPr/>
          <p:nvPr/>
        </p:nvSpPr>
        <p:spPr>
          <a:xfrm>
            <a:off x="9751292" y="1199279"/>
            <a:ext cx="15178" cy="7896"/>
          </a:xfrm>
          <a:custGeom>
            <a:avLst/>
            <a:gdLst/>
            <a:ahLst/>
            <a:cxnLst/>
            <a:rect l="l" t="t" r="r" b="b"/>
            <a:pathLst>
              <a:path w="15178" h="7896">
                <a:moveTo>
                  <a:pt x="595" y="0"/>
                </a:moveTo>
                <a:lnTo>
                  <a:pt x="0" y="0"/>
                </a:lnTo>
                <a:lnTo>
                  <a:pt x="0" y="3037"/>
                </a:lnTo>
                <a:lnTo>
                  <a:pt x="13988" y="7896"/>
                </a:lnTo>
                <a:lnTo>
                  <a:pt x="15178" y="4859"/>
                </a:lnTo>
                <a:lnTo>
                  <a:pt x="595" y="0"/>
                </a:lnTo>
                <a:close/>
              </a:path>
            </a:pathLst>
          </a:custGeom>
          <a:solidFill>
            <a:srgbClr val="000000"/>
          </a:solidFill>
        </p:spPr>
        <p:txBody>
          <a:bodyPr wrap="square" lIns="0" tIns="0" rIns="0" bIns="0" rtlCol="0">
            <a:noAutofit/>
          </a:bodyPr>
          <a:lstStyle/>
          <a:p>
            <a:endParaRPr/>
          </a:p>
        </p:txBody>
      </p:sp>
      <p:sp>
        <p:nvSpPr>
          <p:cNvPr id="263" name="object 263"/>
          <p:cNvSpPr/>
          <p:nvPr/>
        </p:nvSpPr>
        <p:spPr>
          <a:xfrm>
            <a:off x="9752185" y="1341727"/>
            <a:ext cx="30654" cy="3037"/>
          </a:xfrm>
          <a:custGeom>
            <a:avLst/>
            <a:gdLst/>
            <a:ahLst/>
            <a:cxnLst/>
            <a:rect l="l" t="t" r="r" b="b"/>
            <a:pathLst>
              <a:path w="30654" h="3037">
                <a:moveTo>
                  <a:pt x="30654" y="1518"/>
                </a:moveTo>
                <a:lnTo>
                  <a:pt x="30059" y="607"/>
                </a:lnTo>
                <a:lnTo>
                  <a:pt x="29445" y="189"/>
                </a:lnTo>
                <a:lnTo>
                  <a:pt x="29166" y="0"/>
                </a:lnTo>
                <a:lnTo>
                  <a:pt x="0" y="0"/>
                </a:lnTo>
                <a:lnTo>
                  <a:pt x="0" y="3037"/>
                </a:lnTo>
                <a:lnTo>
                  <a:pt x="29166" y="3037"/>
                </a:lnTo>
                <a:lnTo>
                  <a:pt x="30059" y="2429"/>
                </a:lnTo>
                <a:lnTo>
                  <a:pt x="30654" y="1518"/>
                </a:lnTo>
                <a:close/>
              </a:path>
            </a:pathLst>
          </a:custGeom>
          <a:solidFill>
            <a:srgbClr val="000000"/>
          </a:solidFill>
        </p:spPr>
        <p:txBody>
          <a:bodyPr wrap="square" lIns="0" tIns="0" rIns="0" bIns="0" rtlCol="0">
            <a:noAutofit/>
          </a:bodyPr>
          <a:lstStyle/>
          <a:p>
            <a:endParaRPr/>
          </a:p>
        </p:txBody>
      </p:sp>
      <p:sp>
        <p:nvSpPr>
          <p:cNvPr id="264" name="object 264"/>
          <p:cNvSpPr/>
          <p:nvPr/>
        </p:nvSpPr>
        <p:spPr>
          <a:xfrm>
            <a:off x="9765578" y="1339905"/>
            <a:ext cx="15476" cy="4859"/>
          </a:xfrm>
          <a:custGeom>
            <a:avLst/>
            <a:gdLst/>
            <a:ahLst/>
            <a:cxnLst/>
            <a:rect l="l" t="t" r="r" b="b"/>
            <a:pathLst>
              <a:path w="15476" h="4859">
                <a:moveTo>
                  <a:pt x="15476" y="4859"/>
                </a:moveTo>
                <a:lnTo>
                  <a:pt x="892" y="0"/>
                </a:lnTo>
                <a:lnTo>
                  <a:pt x="0" y="0"/>
                </a:lnTo>
                <a:lnTo>
                  <a:pt x="15476" y="4859"/>
                </a:lnTo>
                <a:close/>
              </a:path>
            </a:pathLst>
          </a:custGeom>
          <a:solidFill>
            <a:srgbClr val="000000"/>
          </a:solidFill>
        </p:spPr>
        <p:txBody>
          <a:bodyPr wrap="square" lIns="0" tIns="0" rIns="0" bIns="0" rtlCol="0">
            <a:noAutofit/>
          </a:bodyPr>
          <a:lstStyle/>
          <a:p>
            <a:endParaRPr/>
          </a:p>
        </p:txBody>
      </p:sp>
      <p:sp>
        <p:nvSpPr>
          <p:cNvPr id="265" name="object 265"/>
          <p:cNvSpPr/>
          <p:nvPr/>
        </p:nvSpPr>
        <p:spPr>
          <a:xfrm>
            <a:off x="9764685" y="1336866"/>
            <a:ext cx="16964" cy="7896"/>
          </a:xfrm>
          <a:custGeom>
            <a:avLst/>
            <a:gdLst/>
            <a:ahLst/>
            <a:cxnLst/>
            <a:rect l="l" t="t" r="r" b="b"/>
            <a:pathLst>
              <a:path w="16964" h="7896">
                <a:moveTo>
                  <a:pt x="16368" y="7896"/>
                </a:moveTo>
                <a:lnTo>
                  <a:pt x="16964" y="4859"/>
                </a:lnTo>
                <a:lnTo>
                  <a:pt x="1488" y="0"/>
                </a:lnTo>
                <a:lnTo>
                  <a:pt x="297" y="303"/>
                </a:lnTo>
                <a:lnTo>
                  <a:pt x="0" y="1214"/>
                </a:lnTo>
                <a:lnTo>
                  <a:pt x="0" y="2429"/>
                </a:lnTo>
                <a:lnTo>
                  <a:pt x="892" y="3037"/>
                </a:lnTo>
                <a:lnTo>
                  <a:pt x="1785" y="3037"/>
                </a:lnTo>
                <a:lnTo>
                  <a:pt x="16368" y="7896"/>
                </a:lnTo>
                <a:close/>
              </a:path>
            </a:pathLst>
          </a:custGeom>
          <a:solidFill>
            <a:srgbClr val="000000"/>
          </a:solidFill>
        </p:spPr>
        <p:txBody>
          <a:bodyPr wrap="square" lIns="0" tIns="0" rIns="0" bIns="0" rtlCol="0">
            <a:noAutofit/>
          </a:bodyPr>
          <a:lstStyle/>
          <a:p>
            <a:endParaRPr/>
          </a:p>
        </p:txBody>
      </p:sp>
      <p:sp>
        <p:nvSpPr>
          <p:cNvPr id="266" name="object 266"/>
          <p:cNvSpPr/>
          <p:nvPr/>
        </p:nvSpPr>
        <p:spPr>
          <a:xfrm>
            <a:off x="9751589" y="1336867"/>
            <a:ext cx="13690" cy="4859"/>
          </a:xfrm>
          <a:custGeom>
            <a:avLst/>
            <a:gdLst/>
            <a:ahLst/>
            <a:cxnLst/>
            <a:rect l="l" t="t" r="r" b="b"/>
            <a:pathLst>
              <a:path w="13690" h="4859">
                <a:moveTo>
                  <a:pt x="0" y="4859"/>
                </a:moveTo>
                <a:lnTo>
                  <a:pt x="595" y="4859"/>
                </a:lnTo>
                <a:lnTo>
                  <a:pt x="13690" y="0"/>
                </a:lnTo>
                <a:lnTo>
                  <a:pt x="0" y="4859"/>
                </a:lnTo>
                <a:close/>
              </a:path>
            </a:pathLst>
          </a:custGeom>
          <a:solidFill>
            <a:srgbClr val="000000"/>
          </a:solidFill>
        </p:spPr>
        <p:txBody>
          <a:bodyPr wrap="square" lIns="0" tIns="0" rIns="0" bIns="0" rtlCol="0">
            <a:noAutofit/>
          </a:bodyPr>
          <a:lstStyle/>
          <a:p>
            <a:endParaRPr/>
          </a:p>
        </p:txBody>
      </p:sp>
      <p:sp>
        <p:nvSpPr>
          <p:cNvPr id="267" name="object 267"/>
          <p:cNvSpPr/>
          <p:nvPr/>
        </p:nvSpPr>
        <p:spPr>
          <a:xfrm>
            <a:off x="9750698" y="1336866"/>
            <a:ext cx="15773" cy="7896"/>
          </a:xfrm>
          <a:custGeom>
            <a:avLst/>
            <a:gdLst/>
            <a:ahLst/>
            <a:cxnLst/>
            <a:rect l="l" t="t" r="r" b="b"/>
            <a:pathLst>
              <a:path w="15773" h="7896">
                <a:moveTo>
                  <a:pt x="297" y="6681"/>
                </a:moveTo>
                <a:lnTo>
                  <a:pt x="892" y="7896"/>
                </a:lnTo>
                <a:lnTo>
                  <a:pt x="2083" y="7896"/>
                </a:lnTo>
                <a:lnTo>
                  <a:pt x="15773" y="3037"/>
                </a:lnTo>
                <a:lnTo>
                  <a:pt x="14583" y="0"/>
                </a:lnTo>
                <a:lnTo>
                  <a:pt x="1488" y="4859"/>
                </a:lnTo>
                <a:lnTo>
                  <a:pt x="892" y="4859"/>
                </a:lnTo>
                <a:lnTo>
                  <a:pt x="0" y="5770"/>
                </a:lnTo>
                <a:lnTo>
                  <a:pt x="297" y="6681"/>
                </a:lnTo>
                <a:close/>
              </a:path>
            </a:pathLst>
          </a:custGeom>
          <a:solidFill>
            <a:srgbClr val="000000"/>
          </a:solidFill>
        </p:spPr>
        <p:txBody>
          <a:bodyPr wrap="square" lIns="0" tIns="0" rIns="0" bIns="0" rtlCol="0">
            <a:noAutofit/>
          </a:bodyPr>
          <a:lstStyle/>
          <a:p>
            <a:endParaRPr/>
          </a:p>
        </p:txBody>
      </p:sp>
      <p:sp>
        <p:nvSpPr>
          <p:cNvPr id="268" name="object 268"/>
          <p:cNvSpPr/>
          <p:nvPr/>
        </p:nvSpPr>
        <p:spPr>
          <a:xfrm>
            <a:off x="9737007" y="1200495"/>
            <a:ext cx="86309" cy="142751"/>
          </a:xfrm>
          <a:custGeom>
            <a:avLst/>
            <a:gdLst/>
            <a:ahLst/>
            <a:cxnLst/>
            <a:rect l="l" t="t" r="r" b="b"/>
            <a:pathLst>
              <a:path w="86309" h="142751">
                <a:moveTo>
                  <a:pt x="43154" y="0"/>
                </a:moveTo>
                <a:lnTo>
                  <a:pt x="38690" y="303"/>
                </a:lnTo>
                <a:lnTo>
                  <a:pt x="34523" y="1518"/>
                </a:lnTo>
                <a:lnTo>
                  <a:pt x="26488" y="5770"/>
                </a:lnTo>
                <a:lnTo>
                  <a:pt x="22618" y="8808"/>
                </a:lnTo>
                <a:lnTo>
                  <a:pt x="19047" y="12149"/>
                </a:lnTo>
                <a:lnTo>
                  <a:pt x="15773" y="16401"/>
                </a:lnTo>
                <a:lnTo>
                  <a:pt x="12797" y="20957"/>
                </a:lnTo>
                <a:lnTo>
                  <a:pt x="9821" y="26120"/>
                </a:lnTo>
                <a:lnTo>
                  <a:pt x="7440" y="31587"/>
                </a:lnTo>
                <a:lnTo>
                  <a:pt x="5357" y="37358"/>
                </a:lnTo>
                <a:lnTo>
                  <a:pt x="3273" y="43736"/>
                </a:lnTo>
                <a:lnTo>
                  <a:pt x="2083" y="50114"/>
                </a:lnTo>
                <a:lnTo>
                  <a:pt x="892" y="57100"/>
                </a:lnTo>
                <a:lnTo>
                  <a:pt x="297" y="64086"/>
                </a:lnTo>
                <a:lnTo>
                  <a:pt x="0" y="71375"/>
                </a:lnTo>
                <a:lnTo>
                  <a:pt x="297" y="78664"/>
                </a:lnTo>
                <a:lnTo>
                  <a:pt x="892" y="85650"/>
                </a:lnTo>
                <a:lnTo>
                  <a:pt x="2083" y="92636"/>
                </a:lnTo>
                <a:lnTo>
                  <a:pt x="3273" y="99318"/>
                </a:lnTo>
                <a:lnTo>
                  <a:pt x="5357" y="105392"/>
                </a:lnTo>
                <a:lnTo>
                  <a:pt x="7440" y="111163"/>
                </a:lnTo>
                <a:lnTo>
                  <a:pt x="9821" y="116934"/>
                </a:lnTo>
                <a:lnTo>
                  <a:pt x="12797" y="121793"/>
                </a:lnTo>
                <a:lnTo>
                  <a:pt x="15773" y="126349"/>
                </a:lnTo>
                <a:lnTo>
                  <a:pt x="19047" y="130602"/>
                </a:lnTo>
                <a:lnTo>
                  <a:pt x="22618" y="134246"/>
                </a:lnTo>
                <a:lnTo>
                  <a:pt x="26488" y="137283"/>
                </a:lnTo>
                <a:lnTo>
                  <a:pt x="34523" y="141232"/>
                </a:lnTo>
                <a:lnTo>
                  <a:pt x="43154" y="142751"/>
                </a:lnTo>
                <a:lnTo>
                  <a:pt x="47618" y="142447"/>
                </a:lnTo>
                <a:lnTo>
                  <a:pt x="55952" y="139410"/>
                </a:lnTo>
                <a:lnTo>
                  <a:pt x="63690" y="134246"/>
                </a:lnTo>
                <a:lnTo>
                  <a:pt x="67261" y="130602"/>
                </a:lnTo>
                <a:lnTo>
                  <a:pt x="70535" y="126349"/>
                </a:lnTo>
                <a:lnTo>
                  <a:pt x="73809" y="121793"/>
                </a:lnTo>
                <a:lnTo>
                  <a:pt x="76487" y="116934"/>
                </a:lnTo>
                <a:lnTo>
                  <a:pt x="78868" y="111163"/>
                </a:lnTo>
                <a:lnTo>
                  <a:pt x="80952" y="105392"/>
                </a:lnTo>
                <a:lnTo>
                  <a:pt x="83035" y="99318"/>
                </a:lnTo>
                <a:lnTo>
                  <a:pt x="84225" y="92636"/>
                </a:lnTo>
                <a:lnTo>
                  <a:pt x="85416" y="85650"/>
                </a:lnTo>
                <a:lnTo>
                  <a:pt x="86011" y="78664"/>
                </a:lnTo>
                <a:lnTo>
                  <a:pt x="86309" y="71375"/>
                </a:lnTo>
                <a:lnTo>
                  <a:pt x="86011" y="64086"/>
                </a:lnTo>
                <a:lnTo>
                  <a:pt x="85416" y="57100"/>
                </a:lnTo>
                <a:lnTo>
                  <a:pt x="84225" y="50114"/>
                </a:lnTo>
                <a:lnTo>
                  <a:pt x="83035" y="43736"/>
                </a:lnTo>
                <a:lnTo>
                  <a:pt x="80952" y="37358"/>
                </a:lnTo>
                <a:lnTo>
                  <a:pt x="78868" y="31587"/>
                </a:lnTo>
                <a:lnTo>
                  <a:pt x="76487" y="26120"/>
                </a:lnTo>
                <a:lnTo>
                  <a:pt x="73809" y="20957"/>
                </a:lnTo>
                <a:lnTo>
                  <a:pt x="70535" y="16401"/>
                </a:lnTo>
                <a:lnTo>
                  <a:pt x="67261" y="12149"/>
                </a:lnTo>
                <a:lnTo>
                  <a:pt x="63690" y="8808"/>
                </a:lnTo>
                <a:lnTo>
                  <a:pt x="59821" y="5770"/>
                </a:lnTo>
                <a:lnTo>
                  <a:pt x="51785" y="1518"/>
                </a:lnTo>
                <a:lnTo>
                  <a:pt x="47618" y="303"/>
                </a:lnTo>
                <a:lnTo>
                  <a:pt x="43154" y="0"/>
                </a:lnTo>
                <a:close/>
              </a:path>
            </a:pathLst>
          </a:custGeom>
          <a:solidFill>
            <a:srgbClr val="000000"/>
          </a:solidFill>
        </p:spPr>
        <p:txBody>
          <a:bodyPr wrap="square" lIns="0" tIns="0" rIns="0" bIns="0" rtlCol="0">
            <a:noAutofit/>
          </a:bodyPr>
          <a:lstStyle/>
          <a:p>
            <a:endParaRPr/>
          </a:p>
        </p:txBody>
      </p:sp>
      <p:sp>
        <p:nvSpPr>
          <p:cNvPr id="269" name="object 269"/>
          <p:cNvSpPr/>
          <p:nvPr/>
        </p:nvSpPr>
        <p:spPr>
          <a:xfrm>
            <a:off x="9780162" y="1198368"/>
            <a:ext cx="45237" cy="73501"/>
          </a:xfrm>
          <a:custGeom>
            <a:avLst/>
            <a:gdLst/>
            <a:ahLst/>
            <a:cxnLst/>
            <a:rect l="l" t="t" r="r" b="b"/>
            <a:pathLst>
              <a:path w="45237" h="73501">
                <a:moveTo>
                  <a:pt x="4166" y="4555"/>
                </a:moveTo>
                <a:lnTo>
                  <a:pt x="8035" y="5770"/>
                </a:lnTo>
                <a:lnTo>
                  <a:pt x="11904" y="7289"/>
                </a:lnTo>
                <a:lnTo>
                  <a:pt x="15476" y="9719"/>
                </a:lnTo>
                <a:lnTo>
                  <a:pt x="19345" y="12452"/>
                </a:lnTo>
                <a:lnTo>
                  <a:pt x="22618" y="15793"/>
                </a:lnTo>
                <a:lnTo>
                  <a:pt x="25595" y="19742"/>
                </a:lnTo>
                <a:lnTo>
                  <a:pt x="28868" y="24298"/>
                </a:lnTo>
                <a:lnTo>
                  <a:pt x="31547" y="29157"/>
                </a:lnTo>
                <a:lnTo>
                  <a:pt x="33928" y="34624"/>
                </a:lnTo>
                <a:lnTo>
                  <a:pt x="35714" y="40091"/>
                </a:lnTo>
                <a:lnTo>
                  <a:pt x="37797" y="46470"/>
                </a:lnTo>
                <a:lnTo>
                  <a:pt x="38987" y="52544"/>
                </a:lnTo>
                <a:lnTo>
                  <a:pt x="40178" y="59530"/>
                </a:lnTo>
                <a:lnTo>
                  <a:pt x="40773" y="66212"/>
                </a:lnTo>
                <a:lnTo>
                  <a:pt x="41071" y="73501"/>
                </a:lnTo>
                <a:lnTo>
                  <a:pt x="45237" y="73501"/>
                </a:lnTo>
                <a:lnTo>
                  <a:pt x="44940" y="66212"/>
                </a:lnTo>
                <a:lnTo>
                  <a:pt x="44345" y="58922"/>
                </a:lnTo>
                <a:lnTo>
                  <a:pt x="43154" y="51937"/>
                </a:lnTo>
                <a:lnTo>
                  <a:pt x="41964" y="45255"/>
                </a:lnTo>
                <a:lnTo>
                  <a:pt x="39880" y="38876"/>
                </a:lnTo>
                <a:lnTo>
                  <a:pt x="37499" y="32802"/>
                </a:lnTo>
                <a:lnTo>
                  <a:pt x="35118" y="27335"/>
                </a:lnTo>
                <a:lnTo>
                  <a:pt x="32440" y="21868"/>
                </a:lnTo>
                <a:lnTo>
                  <a:pt x="29166" y="17312"/>
                </a:lnTo>
                <a:lnTo>
                  <a:pt x="25595" y="12756"/>
                </a:lnTo>
                <a:lnTo>
                  <a:pt x="21726" y="9415"/>
                </a:lnTo>
                <a:lnTo>
                  <a:pt x="17857" y="6074"/>
                </a:lnTo>
                <a:lnTo>
                  <a:pt x="13690" y="3644"/>
                </a:lnTo>
                <a:lnTo>
                  <a:pt x="9226" y="1518"/>
                </a:lnTo>
                <a:lnTo>
                  <a:pt x="4761" y="303"/>
                </a:lnTo>
                <a:lnTo>
                  <a:pt x="0" y="0"/>
                </a:lnTo>
                <a:lnTo>
                  <a:pt x="0" y="4252"/>
                </a:lnTo>
                <a:lnTo>
                  <a:pt x="4166" y="4555"/>
                </a:lnTo>
                <a:close/>
              </a:path>
            </a:pathLst>
          </a:custGeom>
          <a:solidFill>
            <a:srgbClr val="000000"/>
          </a:solidFill>
        </p:spPr>
        <p:txBody>
          <a:bodyPr wrap="square" lIns="0" tIns="0" rIns="0" bIns="0" rtlCol="0">
            <a:noAutofit/>
          </a:bodyPr>
          <a:lstStyle/>
          <a:p>
            <a:endParaRPr/>
          </a:p>
        </p:txBody>
      </p:sp>
      <p:sp>
        <p:nvSpPr>
          <p:cNvPr id="270" name="object 270"/>
          <p:cNvSpPr/>
          <p:nvPr/>
        </p:nvSpPr>
        <p:spPr>
          <a:xfrm>
            <a:off x="9780162" y="1271870"/>
            <a:ext cx="45237" cy="73501"/>
          </a:xfrm>
          <a:custGeom>
            <a:avLst/>
            <a:gdLst/>
            <a:ahLst/>
            <a:cxnLst/>
            <a:rect l="l" t="t" r="r" b="b"/>
            <a:pathLst>
              <a:path w="45237" h="73501">
                <a:moveTo>
                  <a:pt x="4761" y="73197"/>
                </a:moveTo>
                <a:lnTo>
                  <a:pt x="9226" y="71982"/>
                </a:lnTo>
                <a:lnTo>
                  <a:pt x="13690" y="69856"/>
                </a:lnTo>
                <a:lnTo>
                  <a:pt x="17857" y="67730"/>
                </a:lnTo>
                <a:lnTo>
                  <a:pt x="22023" y="64389"/>
                </a:lnTo>
                <a:lnTo>
                  <a:pt x="25595" y="60745"/>
                </a:lnTo>
                <a:lnTo>
                  <a:pt x="29166" y="56189"/>
                </a:lnTo>
                <a:lnTo>
                  <a:pt x="32440" y="51633"/>
                </a:lnTo>
                <a:lnTo>
                  <a:pt x="35118" y="46470"/>
                </a:lnTo>
                <a:lnTo>
                  <a:pt x="37499" y="40699"/>
                </a:lnTo>
                <a:lnTo>
                  <a:pt x="39880" y="34624"/>
                </a:lnTo>
                <a:lnTo>
                  <a:pt x="41964" y="28550"/>
                </a:lnTo>
                <a:lnTo>
                  <a:pt x="43154" y="21564"/>
                </a:lnTo>
                <a:lnTo>
                  <a:pt x="44345" y="14578"/>
                </a:lnTo>
                <a:lnTo>
                  <a:pt x="44940" y="7289"/>
                </a:lnTo>
                <a:lnTo>
                  <a:pt x="45237" y="0"/>
                </a:lnTo>
                <a:lnTo>
                  <a:pt x="41071" y="0"/>
                </a:lnTo>
                <a:lnTo>
                  <a:pt x="40773" y="7289"/>
                </a:lnTo>
                <a:lnTo>
                  <a:pt x="40178" y="13971"/>
                </a:lnTo>
                <a:lnTo>
                  <a:pt x="38987" y="20957"/>
                </a:lnTo>
                <a:lnTo>
                  <a:pt x="37797" y="27335"/>
                </a:lnTo>
                <a:lnTo>
                  <a:pt x="35714" y="33409"/>
                </a:lnTo>
                <a:lnTo>
                  <a:pt x="33928" y="38876"/>
                </a:lnTo>
                <a:lnTo>
                  <a:pt x="31547" y="44647"/>
                </a:lnTo>
                <a:lnTo>
                  <a:pt x="28868" y="49203"/>
                </a:lnTo>
                <a:lnTo>
                  <a:pt x="25595" y="53759"/>
                </a:lnTo>
                <a:lnTo>
                  <a:pt x="22618" y="57707"/>
                </a:lnTo>
                <a:lnTo>
                  <a:pt x="19047" y="61352"/>
                </a:lnTo>
                <a:lnTo>
                  <a:pt x="15476" y="64086"/>
                </a:lnTo>
                <a:lnTo>
                  <a:pt x="11904" y="66212"/>
                </a:lnTo>
                <a:lnTo>
                  <a:pt x="8035" y="67730"/>
                </a:lnTo>
                <a:lnTo>
                  <a:pt x="4166" y="68945"/>
                </a:lnTo>
                <a:lnTo>
                  <a:pt x="0" y="69249"/>
                </a:lnTo>
                <a:lnTo>
                  <a:pt x="0" y="73501"/>
                </a:lnTo>
                <a:lnTo>
                  <a:pt x="4761" y="73197"/>
                </a:lnTo>
                <a:close/>
              </a:path>
            </a:pathLst>
          </a:custGeom>
          <a:solidFill>
            <a:srgbClr val="000000"/>
          </a:solidFill>
        </p:spPr>
        <p:txBody>
          <a:bodyPr wrap="square" lIns="0" tIns="0" rIns="0" bIns="0" rtlCol="0">
            <a:noAutofit/>
          </a:bodyPr>
          <a:lstStyle/>
          <a:p>
            <a:endParaRPr/>
          </a:p>
        </p:txBody>
      </p:sp>
      <p:sp>
        <p:nvSpPr>
          <p:cNvPr id="271" name="object 271"/>
          <p:cNvSpPr/>
          <p:nvPr/>
        </p:nvSpPr>
        <p:spPr>
          <a:xfrm>
            <a:off x="9734924" y="1271870"/>
            <a:ext cx="45237" cy="73501"/>
          </a:xfrm>
          <a:custGeom>
            <a:avLst/>
            <a:gdLst/>
            <a:ahLst/>
            <a:cxnLst/>
            <a:rect l="l" t="t" r="r" b="b"/>
            <a:pathLst>
              <a:path w="45237" h="73501">
                <a:moveTo>
                  <a:pt x="4166" y="0"/>
                </a:moveTo>
                <a:lnTo>
                  <a:pt x="0" y="0"/>
                </a:lnTo>
                <a:lnTo>
                  <a:pt x="297" y="7289"/>
                </a:lnTo>
                <a:lnTo>
                  <a:pt x="892" y="14578"/>
                </a:lnTo>
                <a:lnTo>
                  <a:pt x="2083" y="21564"/>
                </a:lnTo>
                <a:lnTo>
                  <a:pt x="3273" y="28550"/>
                </a:lnTo>
                <a:lnTo>
                  <a:pt x="5357" y="34624"/>
                </a:lnTo>
                <a:lnTo>
                  <a:pt x="7738" y="40699"/>
                </a:lnTo>
                <a:lnTo>
                  <a:pt x="10119" y="46470"/>
                </a:lnTo>
                <a:lnTo>
                  <a:pt x="13095" y="51633"/>
                </a:lnTo>
                <a:lnTo>
                  <a:pt x="16071" y="56189"/>
                </a:lnTo>
                <a:lnTo>
                  <a:pt x="19642" y="60745"/>
                </a:lnTo>
                <a:lnTo>
                  <a:pt x="23214" y="64389"/>
                </a:lnTo>
                <a:lnTo>
                  <a:pt x="27380" y="67730"/>
                </a:lnTo>
                <a:lnTo>
                  <a:pt x="31547" y="69856"/>
                </a:lnTo>
                <a:lnTo>
                  <a:pt x="36011" y="71982"/>
                </a:lnTo>
                <a:lnTo>
                  <a:pt x="40476" y="73197"/>
                </a:lnTo>
                <a:lnTo>
                  <a:pt x="45237" y="73501"/>
                </a:lnTo>
                <a:lnTo>
                  <a:pt x="45237" y="69249"/>
                </a:lnTo>
                <a:lnTo>
                  <a:pt x="41071" y="68945"/>
                </a:lnTo>
                <a:lnTo>
                  <a:pt x="37202" y="67730"/>
                </a:lnTo>
                <a:lnTo>
                  <a:pt x="33333" y="66212"/>
                </a:lnTo>
                <a:lnTo>
                  <a:pt x="29761" y="64086"/>
                </a:lnTo>
                <a:lnTo>
                  <a:pt x="26190" y="61352"/>
                </a:lnTo>
                <a:lnTo>
                  <a:pt x="22618" y="57707"/>
                </a:lnTo>
                <a:lnTo>
                  <a:pt x="19642" y="53759"/>
                </a:lnTo>
                <a:lnTo>
                  <a:pt x="16666" y="49203"/>
                </a:lnTo>
                <a:lnTo>
                  <a:pt x="13690" y="44647"/>
                </a:lnTo>
                <a:lnTo>
                  <a:pt x="11309" y="38876"/>
                </a:lnTo>
                <a:lnTo>
                  <a:pt x="9523" y="33409"/>
                </a:lnTo>
                <a:lnTo>
                  <a:pt x="7440" y="27335"/>
                </a:lnTo>
                <a:lnTo>
                  <a:pt x="6249" y="20957"/>
                </a:lnTo>
                <a:lnTo>
                  <a:pt x="5059" y="13971"/>
                </a:lnTo>
                <a:lnTo>
                  <a:pt x="4464" y="7289"/>
                </a:lnTo>
                <a:lnTo>
                  <a:pt x="4166" y="0"/>
                </a:lnTo>
                <a:close/>
              </a:path>
            </a:pathLst>
          </a:custGeom>
          <a:solidFill>
            <a:srgbClr val="000000"/>
          </a:solidFill>
        </p:spPr>
        <p:txBody>
          <a:bodyPr wrap="square" lIns="0" tIns="0" rIns="0" bIns="0" rtlCol="0">
            <a:noAutofit/>
          </a:bodyPr>
          <a:lstStyle/>
          <a:p>
            <a:endParaRPr/>
          </a:p>
        </p:txBody>
      </p:sp>
      <p:sp>
        <p:nvSpPr>
          <p:cNvPr id="272" name="object 272"/>
          <p:cNvSpPr/>
          <p:nvPr/>
        </p:nvSpPr>
        <p:spPr>
          <a:xfrm>
            <a:off x="9734924" y="1198368"/>
            <a:ext cx="45237" cy="73501"/>
          </a:xfrm>
          <a:custGeom>
            <a:avLst/>
            <a:gdLst/>
            <a:ahLst/>
            <a:cxnLst/>
            <a:rect l="l" t="t" r="r" b="b"/>
            <a:pathLst>
              <a:path w="45237" h="73501">
                <a:moveTo>
                  <a:pt x="5357" y="38876"/>
                </a:moveTo>
                <a:lnTo>
                  <a:pt x="3273" y="45255"/>
                </a:lnTo>
                <a:lnTo>
                  <a:pt x="2083" y="51937"/>
                </a:lnTo>
                <a:lnTo>
                  <a:pt x="892" y="58922"/>
                </a:lnTo>
                <a:lnTo>
                  <a:pt x="297" y="66212"/>
                </a:lnTo>
                <a:lnTo>
                  <a:pt x="0" y="73501"/>
                </a:lnTo>
                <a:lnTo>
                  <a:pt x="4166" y="73501"/>
                </a:lnTo>
                <a:lnTo>
                  <a:pt x="4464" y="66212"/>
                </a:lnTo>
                <a:lnTo>
                  <a:pt x="5059" y="59530"/>
                </a:lnTo>
                <a:lnTo>
                  <a:pt x="6249" y="52544"/>
                </a:lnTo>
                <a:lnTo>
                  <a:pt x="7440" y="46470"/>
                </a:lnTo>
                <a:lnTo>
                  <a:pt x="9523" y="40091"/>
                </a:lnTo>
                <a:lnTo>
                  <a:pt x="11309" y="34624"/>
                </a:lnTo>
                <a:lnTo>
                  <a:pt x="13690" y="29157"/>
                </a:lnTo>
                <a:lnTo>
                  <a:pt x="16666" y="24298"/>
                </a:lnTo>
                <a:lnTo>
                  <a:pt x="19642" y="19742"/>
                </a:lnTo>
                <a:lnTo>
                  <a:pt x="22618" y="15793"/>
                </a:lnTo>
                <a:lnTo>
                  <a:pt x="25892" y="12452"/>
                </a:lnTo>
                <a:lnTo>
                  <a:pt x="29761" y="9719"/>
                </a:lnTo>
                <a:lnTo>
                  <a:pt x="33333" y="7289"/>
                </a:lnTo>
                <a:lnTo>
                  <a:pt x="37202" y="5770"/>
                </a:lnTo>
                <a:lnTo>
                  <a:pt x="41071" y="4555"/>
                </a:lnTo>
                <a:lnTo>
                  <a:pt x="45237" y="4252"/>
                </a:lnTo>
                <a:lnTo>
                  <a:pt x="45237" y="0"/>
                </a:lnTo>
                <a:lnTo>
                  <a:pt x="40476" y="303"/>
                </a:lnTo>
                <a:lnTo>
                  <a:pt x="36011" y="1518"/>
                </a:lnTo>
                <a:lnTo>
                  <a:pt x="31547" y="3644"/>
                </a:lnTo>
                <a:lnTo>
                  <a:pt x="27380" y="6074"/>
                </a:lnTo>
                <a:lnTo>
                  <a:pt x="23511" y="9415"/>
                </a:lnTo>
                <a:lnTo>
                  <a:pt x="19642" y="12756"/>
                </a:lnTo>
                <a:lnTo>
                  <a:pt x="16071" y="17312"/>
                </a:lnTo>
                <a:lnTo>
                  <a:pt x="13095" y="21868"/>
                </a:lnTo>
                <a:lnTo>
                  <a:pt x="10119" y="27335"/>
                </a:lnTo>
                <a:lnTo>
                  <a:pt x="7738" y="32802"/>
                </a:lnTo>
                <a:lnTo>
                  <a:pt x="5357" y="38876"/>
                </a:lnTo>
                <a:close/>
              </a:path>
            </a:pathLst>
          </a:custGeom>
          <a:solidFill>
            <a:srgbClr val="000000"/>
          </a:solidFill>
        </p:spPr>
        <p:txBody>
          <a:bodyPr wrap="square" lIns="0" tIns="0" rIns="0" bIns="0" rtlCol="0">
            <a:noAutofit/>
          </a:bodyPr>
          <a:lstStyle/>
          <a:p>
            <a:endParaRPr/>
          </a:p>
        </p:txBody>
      </p:sp>
      <p:sp>
        <p:nvSpPr>
          <p:cNvPr id="273" name="object 273"/>
          <p:cNvSpPr/>
          <p:nvPr/>
        </p:nvSpPr>
        <p:spPr>
          <a:xfrm>
            <a:off x="9742960" y="1201406"/>
            <a:ext cx="86309" cy="142751"/>
          </a:xfrm>
          <a:custGeom>
            <a:avLst/>
            <a:gdLst/>
            <a:ahLst/>
            <a:cxnLst/>
            <a:rect l="l" t="t" r="r" b="b"/>
            <a:pathLst>
              <a:path w="86309" h="142751">
                <a:moveTo>
                  <a:pt x="43154" y="0"/>
                </a:moveTo>
                <a:lnTo>
                  <a:pt x="38690" y="303"/>
                </a:lnTo>
                <a:lnTo>
                  <a:pt x="34523" y="1518"/>
                </a:lnTo>
                <a:lnTo>
                  <a:pt x="26488" y="5770"/>
                </a:lnTo>
                <a:lnTo>
                  <a:pt x="22618" y="8808"/>
                </a:lnTo>
                <a:lnTo>
                  <a:pt x="19047" y="12149"/>
                </a:lnTo>
                <a:lnTo>
                  <a:pt x="15773" y="16401"/>
                </a:lnTo>
                <a:lnTo>
                  <a:pt x="12797" y="20957"/>
                </a:lnTo>
                <a:lnTo>
                  <a:pt x="9821" y="26120"/>
                </a:lnTo>
                <a:lnTo>
                  <a:pt x="7440" y="31587"/>
                </a:lnTo>
                <a:lnTo>
                  <a:pt x="5357" y="37358"/>
                </a:lnTo>
                <a:lnTo>
                  <a:pt x="3273" y="43736"/>
                </a:lnTo>
                <a:lnTo>
                  <a:pt x="2083" y="50114"/>
                </a:lnTo>
                <a:lnTo>
                  <a:pt x="892" y="57100"/>
                </a:lnTo>
                <a:lnTo>
                  <a:pt x="297" y="64086"/>
                </a:lnTo>
                <a:lnTo>
                  <a:pt x="0" y="71375"/>
                </a:lnTo>
                <a:lnTo>
                  <a:pt x="297" y="78664"/>
                </a:lnTo>
                <a:lnTo>
                  <a:pt x="892" y="85650"/>
                </a:lnTo>
                <a:lnTo>
                  <a:pt x="2083" y="92636"/>
                </a:lnTo>
                <a:lnTo>
                  <a:pt x="3273" y="99318"/>
                </a:lnTo>
                <a:lnTo>
                  <a:pt x="5357" y="105392"/>
                </a:lnTo>
                <a:lnTo>
                  <a:pt x="7440" y="111163"/>
                </a:lnTo>
                <a:lnTo>
                  <a:pt x="9821" y="116934"/>
                </a:lnTo>
                <a:lnTo>
                  <a:pt x="12797" y="121793"/>
                </a:lnTo>
                <a:lnTo>
                  <a:pt x="15773" y="126349"/>
                </a:lnTo>
                <a:lnTo>
                  <a:pt x="19047" y="130602"/>
                </a:lnTo>
                <a:lnTo>
                  <a:pt x="22618" y="134246"/>
                </a:lnTo>
                <a:lnTo>
                  <a:pt x="26488" y="137283"/>
                </a:lnTo>
                <a:lnTo>
                  <a:pt x="34523" y="141232"/>
                </a:lnTo>
                <a:lnTo>
                  <a:pt x="43154" y="142751"/>
                </a:lnTo>
                <a:lnTo>
                  <a:pt x="47618" y="142447"/>
                </a:lnTo>
                <a:lnTo>
                  <a:pt x="55952" y="139410"/>
                </a:lnTo>
                <a:lnTo>
                  <a:pt x="63690" y="134246"/>
                </a:lnTo>
                <a:lnTo>
                  <a:pt x="67261" y="130602"/>
                </a:lnTo>
                <a:lnTo>
                  <a:pt x="70535" y="126349"/>
                </a:lnTo>
                <a:lnTo>
                  <a:pt x="73809" y="121793"/>
                </a:lnTo>
                <a:lnTo>
                  <a:pt x="76487" y="116934"/>
                </a:lnTo>
                <a:lnTo>
                  <a:pt x="78868" y="111163"/>
                </a:lnTo>
                <a:lnTo>
                  <a:pt x="80952" y="105392"/>
                </a:lnTo>
                <a:lnTo>
                  <a:pt x="83035" y="99318"/>
                </a:lnTo>
                <a:lnTo>
                  <a:pt x="84225" y="92636"/>
                </a:lnTo>
                <a:lnTo>
                  <a:pt x="85416" y="85650"/>
                </a:lnTo>
                <a:lnTo>
                  <a:pt x="86011" y="78664"/>
                </a:lnTo>
                <a:lnTo>
                  <a:pt x="86309" y="71375"/>
                </a:lnTo>
                <a:lnTo>
                  <a:pt x="86011" y="64086"/>
                </a:lnTo>
                <a:lnTo>
                  <a:pt x="85416" y="57100"/>
                </a:lnTo>
                <a:lnTo>
                  <a:pt x="84225" y="50114"/>
                </a:lnTo>
                <a:lnTo>
                  <a:pt x="83035" y="43736"/>
                </a:lnTo>
                <a:lnTo>
                  <a:pt x="80952" y="37358"/>
                </a:lnTo>
                <a:lnTo>
                  <a:pt x="78868" y="31587"/>
                </a:lnTo>
                <a:lnTo>
                  <a:pt x="76487" y="26120"/>
                </a:lnTo>
                <a:lnTo>
                  <a:pt x="73809" y="20957"/>
                </a:lnTo>
                <a:lnTo>
                  <a:pt x="70535" y="16401"/>
                </a:lnTo>
                <a:lnTo>
                  <a:pt x="67261" y="12149"/>
                </a:lnTo>
                <a:lnTo>
                  <a:pt x="63690" y="8808"/>
                </a:lnTo>
                <a:lnTo>
                  <a:pt x="59821" y="5770"/>
                </a:lnTo>
                <a:lnTo>
                  <a:pt x="51785" y="1518"/>
                </a:lnTo>
                <a:lnTo>
                  <a:pt x="47618" y="303"/>
                </a:lnTo>
                <a:lnTo>
                  <a:pt x="43154" y="0"/>
                </a:lnTo>
                <a:close/>
              </a:path>
            </a:pathLst>
          </a:custGeom>
          <a:solidFill>
            <a:srgbClr val="000000"/>
          </a:solidFill>
        </p:spPr>
        <p:txBody>
          <a:bodyPr wrap="square" lIns="0" tIns="0" rIns="0" bIns="0" rtlCol="0">
            <a:noAutofit/>
          </a:bodyPr>
          <a:lstStyle/>
          <a:p>
            <a:endParaRPr/>
          </a:p>
        </p:txBody>
      </p:sp>
      <p:sp>
        <p:nvSpPr>
          <p:cNvPr id="274" name="object 274"/>
          <p:cNvSpPr/>
          <p:nvPr/>
        </p:nvSpPr>
        <p:spPr>
          <a:xfrm>
            <a:off x="9786114" y="1199280"/>
            <a:ext cx="45237" cy="73501"/>
          </a:xfrm>
          <a:custGeom>
            <a:avLst/>
            <a:gdLst/>
            <a:ahLst/>
            <a:cxnLst/>
            <a:rect l="l" t="t" r="r" b="b"/>
            <a:pathLst>
              <a:path w="45237" h="73501">
                <a:moveTo>
                  <a:pt x="4166" y="4555"/>
                </a:moveTo>
                <a:lnTo>
                  <a:pt x="8035" y="5770"/>
                </a:lnTo>
                <a:lnTo>
                  <a:pt x="11904" y="7289"/>
                </a:lnTo>
                <a:lnTo>
                  <a:pt x="15476" y="9719"/>
                </a:lnTo>
                <a:lnTo>
                  <a:pt x="19345" y="12452"/>
                </a:lnTo>
                <a:lnTo>
                  <a:pt x="22618" y="15793"/>
                </a:lnTo>
                <a:lnTo>
                  <a:pt x="25595" y="19742"/>
                </a:lnTo>
                <a:lnTo>
                  <a:pt x="28868" y="24298"/>
                </a:lnTo>
                <a:lnTo>
                  <a:pt x="31547" y="29157"/>
                </a:lnTo>
                <a:lnTo>
                  <a:pt x="33928" y="34624"/>
                </a:lnTo>
                <a:lnTo>
                  <a:pt x="35714" y="40091"/>
                </a:lnTo>
                <a:lnTo>
                  <a:pt x="37797" y="46470"/>
                </a:lnTo>
                <a:lnTo>
                  <a:pt x="38987" y="52544"/>
                </a:lnTo>
                <a:lnTo>
                  <a:pt x="40178" y="59530"/>
                </a:lnTo>
                <a:lnTo>
                  <a:pt x="40773" y="66212"/>
                </a:lnTo>
                <a:lnTo>
                  <a:pt x="41071" y="73501"/>
                </a:lnTo>
                <a:lnTo>
                  <a:pt x="45237" y="73501"/>
                </a:lnTo>
                <a:lnTo>
                  <a:pt x="44940" y="66212"/>
                </a:lnTo>
                <a:lnTo>
                  <a:pt x="44345" y="58922"/>
                </a:lnTo>
                <a:lnTo>
                  <a:pt x="43154" y="51937"/>
                </a:lnTo>
                <a:lnTo>
                  <a:pt x="41964" y="45255"/>
                </a:lnTo>
                <a:lnTo>
                  <a:pt x="39880" y="38876"/>
                </a:lnTo>
                <a:lnTo>
                  <a:pt x="37499" y="32802"/>
                </a:lnTo>
                <a:lnTo>
                  <a:pt x="35118" y="27335"/>
                </a:lnTo>
                <a:lnTo>
                  <a:pt x="32440" y="21868"/>
                </a:lnTo>
                <a:lnTo>
                  <a:pt x="29166" y="17312"/>
                </a:lnTo>
                <a:lnTo>
                  <a:pt x="25595" y="12756"/>
                </a:lnTo>
                <a:lnTo>
                  <a:pt x="21726" y="9415"/>
                </a:lnTo>
                <a:lnTo>
                  <a:pt x="17857" y="6074"/>
                </a:lnTo>
                <a:lnTo>
                  <a:pt x="13690" y="3644"/>
                </a:lnTo>
                <a:lnTo>
                  <a:pt x="9226" y="1518"/>
                </a:lnTo>
                <a:lnTo>
                  <a:pt x="4761" y="303"/>
                </a:lnTo>
                <a:lnTo>
                  <a:pt x="0" y="0"/>
                </a:lnTo>
                <a:lnTo>
                  <a:pt x="0" y="4252"/>
                </a:lnTo>
                <a:lnTo>
                  <a:pt x="4166" y="4555"/>
                </a:lnTo>
                <a:close/>
              </a:path>
            </a:pathLst>
          </a:custGeom>
          <a:solidFill>
            <a:srgbClr val="000000"/>
          </a:solidFill>
        </p:spPr>
        <p:txBody>
          <a:bodyPr wrap="square" lIns="0" tIns="0" rIns="0" bIns="0" rtlCol="0">
            <a:noAutofit/>
          </a:bodyPr>
          <a:lstStyle/>
          <a:p>
            <a:endParaRPr/>
          </a:p>
        </p:txBody>
      </p:sp>
      <p:sp>
        <p:nvSpPr>
          <p:cNvPr id="275" name="object 275"/>
          <p:cNvSpPr/>
          <p:nvPr/>
        </p:nvSpPr>
        <p:spPr>
          <a:xfrm>
            <a:off x="9786114" y="1272781"/>
            <a:ext cx="45237" cy="73501"/>
          </a:xfrm>
          <a:custGeom>
            <a:avLst/>
            <a:gdLst/>
            <a:ahLst/>
            <a:cxnLst/>
            <a:rect l="l" t="t" r="r" b="b"/>
            <a:pathLst>
              <a:path w="45237" h="73501">
                <a:moveTo>
                  <a:pt x="4761" y="73197"/>
                </a:moveTo>
                <a:lnTo>
                  <a:pt x="9226" y="71982"/>
                </a:lnTo>
                <a:lnTo>
                  <a:pt x="13690" y="69856"/>
                </a:lnTo>
                <a:lnTo>
                  <a:pt x="17857" y="67730"/>
                </a:lnTo>
                <a:lnTo>
                  <a:pt x="22023" y="64389"/>
                </a:lnTo>
                <a:lnTo>
                  <a:pt x="25595" y="60745"/>
                </a:lnTo>
                <a:lnTo>
                  <a:pt x="29166" y="56189"/>
                </a:lnTo>
                <a:lnTo>
                  <a:pt x="32440" y="51633"/>
                </a:lnTo>
                <a:lnTo>
                  <a:pt x="35118" y="46470"/>
                </a:lnTo>
                <a:lnTo>
                  <a:pt x="37499" y="40699"/>
                </a:lnTo>
                <a:lnTo>
                  <a:pt x="39880" y="34624"/>
                </a:lnTo>
                <a:lnTo>
                  <a:pt x="41964" y="28550"/>
                </a:lnTo>
                <a:lnTo>
                  <a:pt x="43154" y="21564"/>
                </a:lnTo>
                <a:lnTo>
                  <a:pt x="44345" y="14578"/>
                </a:lnTo>
                <a:lnTo>
                  <a:pt x="44940" y="7289"/>
                </a:lnTo>
                <a:lnTo>
                  <a:pt x="45237" y="0"/>
                </a:lnTo>
                <a:lnTo>
                  <a:pt x="41071" y="0"/>
                </a:lnTo>
                <a:lnTo>
                  <a:pt x="40773" y="7289"/>
                </a:lnTo>
                <a:lnTo>
                  <a:pt x="40178" y="13971"/>
                </a:lnTo>
                <a:lnTo>
                  <a:pt x="38987" y="20957"/>
                </a:lnTo>
                <a:lnTo>
                  <a:pt x="37797" y="27335"/>
                </a:lnTo>
                <a:lnTo>
                  <a:pt x="35714" y="33409"/>
                </a:lnTo>
                <a:lnTo>
                  <a:pt x="33928" y="38876"/>
                </a:lnTo>
                <a:lnTo>
                  <a:pt x="31547" y="44647"/>
                </a:lnTo>
                <a:lnTo>
                  <a:pt x="28868" y="49203"/>
                </a:lnTo>
                <a:lnTo>
                  <a:pt x="25595" y="53759"/>
                </a:lnTo>
                <a:lnTo>
                  <a:pt x="22618" y="57707"/>
                </a:lnTo>
                <a:lnTo>
                  <a:pt x="19047" y="61352"/>
                </a:lnTo>
                <a:lnTo>
                  <a:pt x="15476" y="64086"/>
                </a:lnTo>
                <a:lnTo>
                  <a:pt x="11904" y="66212"/>
                </a:lnTo>
                <a:lnTo>
                  <a:pt x="8035" y="67730"/>
                </a:lnTo>
                <a:lnTo>
                  <a:pt x="4166" y="68945"/>
                </a:lnTo>
                <a:lnTo>
                  <a:pt x="0" y="69249"/>
                </a:lnTo>
                <a:lnTo>
                  <a:pt x="0" y="73501"/>
                </a:lnTo>
                <a:lnTo>
                  <a:pt x="4761" y="73197"/>
                </a:lnTo>
                <a:close/>
              </a:path>
            </a:pathLst>
          </a:custGeom>
          <a:solidFill>
            <a:srgbClr val="000000"/>
          </a:solidFill>
        </p:spPr>
        <p:txBody>
          <a:bodyPr wrap="square" lIns="0" tIns="0" rIns="0" bIns="0" rtlCol="0">
            <a:noAutofit/>
          </a:bodyPr>
          <a:lstStyle/>
          <a:p>
            <a:endParaRPr/>
          </a:p>
        </p:txBody>
      </p:sp>
      <p:sp>
        <p:nvSpPr>
          <p:cNvPr id="276" name="object 276"/>
          <p:cNvSpPr/>
          <p:nvPr/>
        </p:nvSpPr>
        <p:spPr>
          <a:xfrm>
            <a:off x="9740876" y="1272781"/>
            <a:ext cx="45237" cy="73501"/>
          </a:xfrm>
          <a:custGeom>
            <a:avLst/>
            <a:gdLst/>
            <a:ahLst/>
            <a:cxnLst/>
            <a:rect l="l" t="t" r="r" b="b"/>
            <a:pathLst>
              <a:path w="45237" h="73501">
                <a:moveTo>
                  <a:pt x="4166" y="0"/>
                </a:moveTo>
                <a:lnTo>
                  <a:pt x="0" y="0"/>
                </a:lnTo>
                <a:lnTo>
                  <a:pt x="297" y="7289"/>
                </a:lnTo>
                <a:lnTo>
                  <a:pt x="892" y="14578"/>
                </a:lnTo>
                <a:lnTo>
                  <a:pt x="2083" y="21564"/>
                </a:lnTo>
                <a:lnTo>
                  <a:pt x="3273" y="28550"/>
                </a:lnTo>
                <a:lnTo>
                  <a:pt x="5357" y="34624"/>
                </a:lnTo>
                <a:lnTo>
                  <a:pt x="7738" y="40699"/>
                </a:lnTo>
                <a:lnTo>
                  <a:pt x="10119" y="46470"/>
                </a:lnTo>
                <a:lnTo>
                  <a:pt x="13095" y="51633"/>
                </a:lnTo>
                <a:lnTo>
                  <a:pt x="16071" y="56189"/>
                </a:lnTo>
                <a:lnTo>
                  <a:pt x="19642" y="60745"/>
                </a:lnTo>
                <a:lnTo>
                  <a:pt x="23214" y="64389"/>
                </a:lnTo>
                <a:lnTo>
                  <a:pt x="27380" y="67730"/>
                </a:lnTo>
                <a:lnTo>
                  <a:pt x="31547" y="69856"/>
                </a:lnTo>
                <a:lnTo>
                  <a:pt x="36011" y="71982"/>
                </a:lnTo>
                <a:lnTo>
                  <a:pt x="40476" y="73197"/>
                </a:lnTo>
                <a:lnTo>
                  <a:pt x="45237" y="73501"/>
                </a:lnTo>
                <a:lnTo>
                  <a:pt x="45237" y="69249"/>
                </a:lnTo>
                <a:lnTo>
                  <a:pt x="41071" y="68945"/>
                </a:lnTo>
                <a:lnTo>
                  <a:pt x="37202" y="67730"/>
                </a:lnTo>
                <a:lnTo>
                  <a:pt x="33333" y="66212"/>
                </a:lnTo>
                <a:lnTo>
                  <a:pt x="29761" y="64086"/>
                </a:lnTo>
                <a:lnTo>
                  <a:pt x="26190" y="61352"/>
                </a:lnTo>
                <a:lnTo>
                  <a:pt x="22618" y="57707"/>
                </a:lnTo>
                <a:lnTo>
                  <a:pt x="19642" y="53759"/>
                </a:lnTo>
                <a:lnTo>
                  <a:pt x="16666" y="49203"/>
                </a:lnTo>
                <a:lnTo>
                  <a:pt x="13690" y="44647"/>
                </a:lnTo>
                <a:lnTo>
                  <a:pt x="11309" y="38876"/>
                </a:lnTo>
                <a:lnTo>
                  <a:pt x="9523" y="33409"/>
                </a:lnTo>
                <a:lnTo>
                  <a:pt x="7440" y="27335"/>
                </a:lnTo>
                <a:lnTo>
                  <a:pt x="6249" y="20957"/>
                </a:lnTo>
                <a:lnTo>
                  <a:pt x="5059" y="13971"/>
                </a:lnTo>
                <a:lnTo>
                  <a:pt x="4464" y="7289"/>
                </a:lnTo>
                <a:lnTo>
                  <a:pt x="4166" y="0"/>
                </a:lnTo>
                <a:close/>
              </a:path>
            </a:pathLst>
          </a:custGeom>
          <a:solidFill>
            <a:srgbClr val="000000"/>
          </a:solidFill>
        </p:spPr>
        <p:txBody>
          <a:bodyPr wrap="square" lIns="0" tIns="0" rIns="0" bIns="0" rtlCol="0">
            <a:noAutofit/>
          </a:bodyPr>
          <a:lstStyle/>
          <a:p>
            <a:endParaRPr/>
          </a:p>
        </p:txBody>
      </p:sp>
      <p:sp>
        <p:nvSpPr>
          <p:cNvPr id="277" name="object 277"/>
          <p:cNvSpPr/>
          <p:nvPr/>
        </p:nvSpPr>
        <p:spPr>
          <a:xfrm>
            <a:off x="9740876" y="1199280"/>
            <a:ext cx="45237" cy="73501"/>
          </a:xfrm>
          <a:custGeom>
            <a:avLst/>
            <a:gdLst/>
            <a:ahLst/>
            <a:cxnLst/>
            <a:rect l="l" t="t" r="r" b="b"/>
            <a:pathLst>
              <a:path w="45237" h="73501">
                <a:moveTo>
                  <a:pt x="5357" y="38876"/>
                </a:moveTo>
                <a:lnTo>
                  <a:pt x="3273" y="45255"/>
                </a:lnTo>
                <a:lnTo>
                  <a:pt x="2083" y="51937"/>
                </a:lnTo>
                <a:lnTo>
                  <a:pt x="892" y="58922"/>
                </a:lnTo>
                <a:lnTo>
                  <a:pt x="297" y="66212"/>
                </a:lnTo>
                <a:lnTo>
                  <a:pt x="0" y="73501"/>
                </a:lnTo>
                <a:lnTo>
                  <a:pt x="4166" y="73501"/>
                </a:lnTo>
                <a:lnTo>
                  <a:pt x="4464" y="66212"/>
                </a:lnTo>
                <a:lnTo>
                  <a:pt x="5059" y="59530"/>
                </a:lnTo>
                <a:lnTo>
                  <a:pt x="6249" y="52544"/>
                </a:lnTo>
                <a:lnTo>
                  <a:pt x="7440" y="46470"/>
                </a:lnTo>
                <a:lnTo>
                  <a:pt x="9523" y="40091"/>
                </a:lnTo>
                <a:lnTo>
                  <a:pt x="11309" y="34624"/>
                </a:lnTo>
                <a:lnTo>
                  <a:pt x="13690" y="29157"/>
                </a:lnTo>
                <a:lnTo>
                  <a:pt x="16666" y="24298"/>
                </a:lnTo>
                <a:lnTo>
                  <a:pt x="19642" y="19742"/>
                </a:lnTo>
                <a:lnTo>
                  <a:pt x="22618" y="15793"/>
                </a:lnTo>
                <a:lnTo>
                  <a:pt x="25892" y="12452"/>
                </a:lnTo>
                <a:lnTo>
                  <a:pt x="29761" y="9719"/>
                </a:lnTo>
                <a:lnTo>
                  <a:pt x="33333" y="7289"/>
                </a:lnTo>
                <a:lnTo>
                  <a:pt x="37202" y="5770"/>
                </a:lnTo>
                <a:lnTo>
                  <a:pt x="41071" y="4555"/>
                </a:lnTo>
                <a:lnTo>
                  <a:pt x="45237" y="4252"/>
                </a:lnTo>
                <a:lnTo>
                  <a:pt x="45237" y="0"/>
                </a:lnTo>
                <a:lnTo>
                  <a:pt x="40476" y="303"/>
                </a:lnTo>
                <a:lnTo>
                  <a:pt x="36011" y="1518"/>
                </a:lnTo>
                <a:lnTo>
                  <a:pt x="31547" y="3644"/>
                </a:lnTo>
                <a:lnTo>
                  <a:pt x="27380" y="6074"/>
                </a:lnTo>
                <a:lnTo>
                  <a:pt x="23511" y="9415"/>
                </a:lnTo>
                <a:lnTo>
                  <a:pt x="19642" y="12756"/>
                </a:lnTo>
                <a:lnTo>
                  <a:pt x="16071" y="17312"/>
                </a:lnTo>
                <a:lnTo>
                  <a:pt x="13095" y="21868"/>
                </a:lnTo>
                <a:lnTo>
                  <a:pt x="10119" y="27335"/>
                </a:lnTo>
                <a:lnTo>
                  <a:pt x="7738" y="32802"/>
                </a:lnTo>
                <a:lnTo>
                  <a:pt x="5357" y="38876"/>
                </a:lnTo>
                <a:close/>
              </a:path>
            </a:pathLst>
          </a:custGeom>
          <a:solidFill>
            <a:srgbClr val="000000"/>
          </a:solidFill>
        </p:spPr>
        <p:txBody>
          <a:bodyPr wrap="square" lIns="0" tIns="0" rIns="0" bIns="0" rtlCol="0">
            <a:noAutofit/>
          </a:bodyPr>
          <a:lstStyle/>
          <a:p>
            <a:endParaRPr/>
          </a:p>
        </p:txBody>
      </p:sp>
      <p:sp>
        <p:nvSpPr>
          <p:cNvPr id="278" name="object 278"/>
          <p:cNvSpPr/>
          <p:nvPr/>
        </p:nvSpPr>
        <p:spPr>
          <a:xfrm>
            <a:off x="9786708" y="1339297"/>
            <a:ext cx="29166" cy="4859"/>
          </a:xfrm>
          <a:custGeom>
            <a:avLst/>
            <a:gdLst/>
            <a:ahLst/>
            <a:cxnLst/>
            <a:rect l="l" t="t" r="r" b="b"/>
            <a:pathLst>
              <a:path w="29166" h="4859">
                <a:moveTo>
                  <a:pt x="29166" y="4859"/>
                </a:moveTo>
                <a:lnTo>
                  <a:pt x="13690" y="0"/>
                </a:lnTo>
                <a:lnTo>
                  <a:pt x="0" y="4859"/>
                </a:lnTo>
                <a:lnTo>
                  <a:pt x="29166" y="4859"/>
                </a:lnTo>
                <a:close/>
              </a:path>
            </a:pathLst>
          </a:custGeom>
          <a:solidFill>
            <a:srgbClr val="000000"/>
          </a:solidFill>
        </p:spPr>
        <p:txBody>
          <a:bodyPr wrap="square" lIns="0" tIns="0" rIns="0" bIns="0" rtlCol="0">
            <a:noAutofit/>
          </a:bodyPr>
          <a:lstStyle/>
          <a:p>
            <a:endParaRPr/>
          </a:p>
        </p:txBody>
      </p:sp>
      <p:sp>
        <p:nvSpPr>
          <p:cNvPr id="279" name="object 279"/>
          <p:cNvSpPr/>
          <p:nvPr/>
        </p:nvSpPr>
        <p:spPr>
          <a:xfrm>
            <a:off x="9785816" y="1201709"/>
            <a:ext cx="28868" cy="4859"/>
          </a:xfrm>
          <a:custGeom>
            <a:avLst/>
            <a:gdLst/>
            <a:ahLst/>
            <a:cxnLst/>
            <a:rect l="l" t="t" r="r" b="b"/>
            <a:pathLst>
              <a:path w="28868" h="4859">
                <a:moveTo>
                  <a:pt x="28868" y="0"/>
                </a:moveTo>
                <a:lnTo>
                  <a:pt x="0" y="0"/>
                </a:lnTo>
                <a:lnTo>
                  <a:pt x="14583" y="4859"/>
                </a:lnTo>
                <a:lnTo>
                  <a:pt x="28868" y="0"/>
                </a:lnTo>
                <a:close/>
              </a:path>
            </a:pathLst>
          </a:custGeom>
          <a:solidFill>
            <a:srgbClr val="000000"/>
          </a:solidFill>
        </p:spPr>
        <p:txBody>
          <a:bodyPr wrap="square" lIns="0" tIns="0" rIns="0" bIns="0" rtlCol="0">
            <a:noAutofit/>
          </a:bodyPr>
          <a:lstStyle/>
          <a:p>
            <a:endParaRPr/>
          </a:p>
        </p:txBody>
      </p:sp>
      <p:sp>
        <p:nvSpPr>
          <p:cNvPr id="280" name="object 280"/>
          <p:cNvSpPr/>
          <p:nvPr/>
        </p:nvSpPr>
        <p:spPr>
          <a:xfrm>
            <a:off x="9785817" y="1200191"/>
            <a:ext cx="30357" cy="3037"/>
          </a:xfrm>
          <a:custGeom>
            <a:avLst/>
            <a:gdLst/>
            <a:ahLst/>
            <a:cxnLst/>
            <a:rect l="l" t="t" r="r" b="b"/>
            <a:pathLst>
              <a:path w="30357" h="3037">
                <a:moveTo>
                  <a:pt x="28273" y="0"/>
                </a:moveTo>
                <a:lnTo>
                  <a:pt x="0" y="0"/>
                </a:lnTo>
                <a:lnTo>
                  <a:pt x="0" y="3037"/>
                </a:lnTo>
                <a:lnTo>
                  <a:pt x="28868" y="3037"/>
                </a:lnTo>
                <a:lnTo>
                  <a:pt x="29394" y="2679"/>
                </a:lnTo>
                <a:lnTo>
                  <a:pt x="29761" y="2429"/>
                </a:lnTo>
                <a:lnTo>
                  <a:pt x="30357" y="1518"/>
                </a:lnTo>
                <a:lnTo>
                  <a:pt x="29761" y="607"/>
                </a:lnTo>
                <a:lnTo>
                  <a:pt x="28868" y="0"/>
                </a:lnTo>
                <a:lnTo>
                  <a:pt x="28273" y="0"/>
                </a:lnTo>
                <a:close/>
              </a:path>
            </a:pathLst>
          </a:custGeom>
          <a:solidFill>
            <a:srgbClr val="000000"/>
          </a:solidFill>
        </p:spPr>
        <p:txBody>
          <a:bodyPr wrap="square" lIns="0" tIns="0" rIns="0" bIns="0" rtlCol="0">
            <a:noAutofit/>
          </a:bodyPr>
          <a:lstStyle/>
          <a:p>
            <a:endParaRPr/>
          </a:p>
        </p:txBody>
      </p:sp>
      <p:sp>
        <p:nvSpPr>
          <p:cNvPr id="281" name="object 281"/>
          <p:cNvSpPr/>
          <p:nvPr/>
        </p:nvSpPr>
        <p:spPr>
          <a:xfrm>
            <a:off x="9798911" y="1200190"/>
            <a:ext cx="15178" cy="7896"/>
          </a:xfrm>
          <a:custGeom>
            <a:avLst/>
            <a:gdLst/>
            <a:ahLst/>
            <a:cxnLst/>
            <a:rect l="l" t="t" r="r" b="b"/>
            <a:pathLst>
              <a:path w="15178" h="7896">
                <a:moveTo>
                  <a:pt x="892" y="4859"/>
                </a:moveTo>
                <a:lnTo>
                  <a:pt x="0" y="5770"/>
                </a:lnTo>
                <a:lnTo>
                  <a:pt x="297" y="6681"/>
                </a:lnTo>
                <a:lnTo>
                  <a:pt x="892" y="7896"/>
                </a:lnTo>
                <a:lnTo>
                  <a:pt x="2083" y="7896"/>
                </a:lnTo>
                <a:lnTo>
                  <a:pt x="2083" y="4859"/>
                </a:lnTo>
                <a:lnTo>
                  <a:pt x="15178" y="0"/>
                </a:lnTo>
                <a:lnTo>
                  <a:pt x="892" y="4859"/>
                </a:lnTo>
                <a:close/>
              </a:path>
            </a:pathLst>
          </a:custGeom>
          <a:solidFill>
            <a:srgbClr val="000000"/>
          </a:solidFill>
        </p:spPr>
        <p:txBody>
          <a:bodyPr wrap="square" lIns="0" tIns="0" rIns="0" bIns="0" rtlCol="0">
            <a:noAutofit/>
          </a:bodyPr>
          <a:lstStyle/>
          <a:p>
            <a:endParaRPr/>
          </a:p>
        </p:txBody>
      </p:sp>
      <p:sp>
        <p:nvSpPr>
          <p:cNvPr id="282" name="object 282"/>
          <p:cNvSpPr/>
          <p:nvPr/>
        </p:nvSpPr>
        <p:spPr>
          <a:xfrm>
            <a:off x="9800995" y="1200190"/>
            <a:ext cx="14285" cy="7896"/>
          </a:xfrm>
          <a:custGeom>
            <a:avLst/>
            <a:gdLst/>
            <a:ahLst/>
            <a:cxnLst/>
            <a:rect l="l" t="t" r="r" b="b"/>
            <a:pathLst>
              <a:path w="14285" h="7896">
                <a:moveTo>
                  <a:pt x="0" y="4859"/>
                </a:moveTo>
                <a:lnTo>
                  <a:pt x="0" y="7896"/>
                </a:lnTo>
                <a:lnTo>
                  <a:pt x="14285" y="3037"/>
                </a:lnTo>
                <a:lnTo>
                  <a:pt x="13095" y="0"/>
                </a:lnTo>
                <a:lnTo>
                  <a:pt x="0" y="4859"/>
                </a:lnTo>
                <a:close/>
              </a:path>
            </a:pathLst>
          </a:custGeom>
          <a:solidFill>
            <a:srgbClr val="000000"/>
          </a:solidFill>
        </p:spPr>
        <p:txBody>
          <a:bodyPr wrap="square" lIns="0" tIns="0" rIns="0" bIns="0" rtlCol="0">
            <a:noAutofit/>
          </a:bodyPr>
          <a:lstStyle/>
          <a:p>
            <a:endParaRPr/>
          </a:p>
        </p:txBody>
      </p:sp>
      <p:sp>
        <p:nvSpPr>
          <p:cNvPr id="283" name="object 283"/>
          <p:cNvSpPr/>
          <p:nvPr/>
        </p:nvSpPr>
        <p:spPr>
          <a:xfrm>
            <a:off x="9784327" y="1200190"/>
            <a:ext cx="15476" cy="7896"/>
          </a:xfrm>
          <a:custGeom>
            <a:avLst/>
            <a:gdLst/>
            <a:ahLst/>
            <a:cxnLst/>
            <a:rect l="l" t="t" r="r" b="b"/>
            <a:pathLst>
              <a:path w="15476" h="7896">
                <a:moveTo>
                  <a:pt x="892" y="3037"/>
                </a:moveTo>
                <a:lnTo>
                  <a:pt x="15476" y="7896"/>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284" name="object 284"/>
          <p:cNvSpPr/>
          <p:nvPr/>
        </p:nvSpPr>
        <p:spPr>
          <a:xfrm>
            <a:off x="9785816" y="1200190"/>
            <a:ext cx="15178" cy="7896"/>
          </a:xfrm>
          <a:custGeom>
            <a:avLst/>
            <a:gdLst/>
            <a:ahLst/>
            <a:cxnLst/>
            <a:rect l="l" t="t" r="r" b="b"/>
            <a:pathLst>
              <a:path w="15178" h="7896">
                <a:moveTo>
                  <a:pt x="595" y="0"/>
                </a:moveTo>
                <a:lnTo>
                  <a:pt x="0" y="0"/>
                </a:lnTo>
                <a:lnTo>
                  <a:pt x="0" y="3037"/>
                </a:lnTo>
                <a:lnTo>
                  <a:pt x="13988" y="7896"/>
                </a:lnTo>
                <a:lnTo>
                  <a:pt x="15178" y="4859"/>
                </a:lnTo>
                <a:lnTo>
                  <a:pt x="595" y="0"/>
                </a:lnTo>
                <a:close/>
              </a:path>
            </a:pathLst>
          </a:custGeom>
          <a:solidFill>
            <a:srgbClr val="000000"/>
          </a:solidFill>
        </p:spPr>
        <p:txBody>
          <a:bodyPr wrap="square" lIns="0" tIns="0" rIns="0" bIns="0" rtlCol="0">
            <a:noAutofit/>
          </a:bodyPr>
          <a:lstStyle/>
          <a:p>
            <a:endParaRPr/>
          </a:p>
        </p:txBody>
      </p:sp>
      <p:sp>
        <p:nvSpPr>
          <p:cNvPr id="285" name="object 285"/>
          <p:cNvSpPr/>
          <p:nvPr/>
        </p:nvSpPr>
        <p:spPr>
          <a:xfrm>
            <a:off x="9786708" y="1342638"/>
            <a:ext cx="30654" cy="3037"/>
          </a:xfrm>
          <a:custGeom>
            <a:avLst/>
            <a:gdLst/>
            <a:ahLst/>
            <a:cxnLst/>
            <a:rect l="l" t="t" r="r" b="b"/>
            <a:pathLst>
              <a:path w="30654" h="3037">
                <a:moveTo>
                  <a:pt x="30654" y="1518"/>
                </a:moveTo>
                <a:lnTo>
                  <a:pt x="30059" y="607"/>
                </a:lnTo>
                <a:lnTo>
                  <a:pt x="29445" y="189"/>
                </a:lnTo>
                <a:lnTo>
                  <a:pt x="29166" y="0"/>
                </a:lnTo>
                <a:lnTo>
                  <a:pt x="0" y="0"/>
                </a:lnTo>
                <a:lnTo>
                  <a:pt x="0" y="3037"/>
                </a:lnTo>
                <a:lnTo>
                  <a:pt x="29166" y="3037"/>
                </a:lnTo>
                <a:lnTo>
                  <a:pt x="30059" y="2429"/>
                </a:lnTo>
                <a:lnTo>
                  <a:pt x="30654" y="1518"/>
                </a:lnTo>
                <a:close/>
              </a:path>
            </a:pathLst>
          </a:custGeom>
          <a:solidFill>
            <a:srgbClr val="000000"/>
          </a:solidFill>
        </p:spPr>
        <p:txBody>
          <a:bodyPr wrap="square" lIns="0" tIns="0" rIns="0" bIns="0" rtlCol="0">
            <a:noAutofit/>
          </a:bodyPr>
          <a:lstStyle/>
          <a:p>
            <a:endParaRPr/>
          </a:p>
        </p:txBody>
      </p:sp>
      <p:sp>
        <p:nvSpPr>
          <p:cNvPr id="286" name="object 286"/>
          <p:cNvSpPr/>
          <p:nvPr/>
        </p:nvSpPr>
        <p:spPr>
          <a:xfrm>
            <a:off x="9800101" y="1340816"/>
            <a:ext cx="15476" cy="4859"/>
          </a:xfrm>
          <a:custGeom>
            <a:avLst/>
            <a:gdLst/>
            <a:ahLst/>
            <a:cxnLst/>
            <a:rect l="l" t="t" r="r" b="b"/>
            <a:pathLst>
              <a:path w="15476" h="4859">
                <a:moveTo>
                  <a:pt x="15476" y="4859"/>
                </a:moveTo>
                <a:lnTo>
                  <a:pt x="892" y="0"/>
                </a:lnTo>
                <a:lnTo>
                  <a:pt x="0" y="0"/>
                </a:lnTo>
                <a:lnTo>
                  <a:pt x="15476" y="4859"/>
                </a:lnTo>
                <a:close/>
              </a:path>
            </a:pathLst>
          </a:custGeom>
          <a:solidFill>
            <a:srgbClr val="000000"/>
          </a:solidFill>
        </p:spPr>
        <p:txBody>
          <a:bodyPr wrap="square" lIns="0" tIns="0" rIns="0" bIns="0" rtlCol="0">
            <a:noAutofit/>
          </a:bodyPr>
          <a:lstStyle/>
          <a:p>
            <a:endParaRPr/>
          </a:p>
        </p:txBody>
      </p:sp>
      <p:sp>
        <p:nvSpPr>
          <p:cNvPr id="287" name="object 287"/>
          <p:cNvSpPr/>
          <p:nvPr/>
        </p:nvSpPr>
        <p:spPr>
          <a:xfrm>
            <a:off x="9799208" y="1337778"/>
            <a:ext cx="16964" cy="7896"/>
          </a:xfrm>
          <a:custGeom>
            <a:avLst/>
            <a:gdLst/>
            <a:ahLst/>
            <a:cxnLst/>
            <a:rect l="l" t="t" r="r" b="b"/>
            <a:pathLst>
              <a:path w="16964" h="7896">
                <a:moveTo>
                  <a:pt x="16368" y="7896"/>
                </a:moveTo>
                <a:lnTo>
                  <a:pt x="16964" y="4859"/>
                </a:lnTo>
                <a:lnTo>
                  <a:pt x="1488" y="0"/>
                </a:lnTo>
                <a:lnTo>
                  <a:pt x="297" y="303"/>
                </a:lnTo>
                <a:lnTo>
                  <a:pt x="0" y="1214"/>
                </a:lnTo>
                <a:lnTo>
                  <a:pt x="0" y="2429"/>
                </a:lnTo>
                <a:lnTo>
                  <a:pt x="892" y="3037"/>
                </a:lnTo>
                <a:lnTo>
                  <a:pt x="1785" y="3037"/>
                </a:lnTo>
                <a:lnTo>
                  <a:pt x="16368" y="7896"/>
                </a:lnTo>
                <a:close/>
              </a:path>
            </a:pathLst>
          </a:custGeom>
          <a:solidFill>
            <a:srgbClr val="000000"/>
          </a:solidFill>
        </p:spPr>
        <p:txBody>
          <a:bodyPr wrap="square" lIns="0" tIns="0" rIns="0" bIns="0" rtlCol="0">
            <a:noAutofit/>
          </a:bodyPr>
          <a:lstStyle/>
          <a:p>
            <a:endParaRPr/>
          </a:p>
        </p:txBody>
      </p:sp>
      <p:sp>
        <p:nvSpPr>
          <p:cNvPr id="288" name="object 288"/>
          <p:cNvSpPr/>
          <p:nvPr/>
        </p:nvSpPr>
        <p:spPr>
          <a:xfrm>
            <a:off x="9786113" y="1337779"/>
            <a:ext cx="13690" cy="4859"/>
          </a:xfrm>
          <a:custGeom>
            <a:avLst/>
            <a:gdLst/>
            <a:ahLst/>
            <a:cxnLst/>
            <a:rect l="l" t="t" r="r" b="b"/>
            <a:pathLst>
              <a:path w="13690" h="4859">
                <a:moveTo>
                  <a:pt x="0" y="4859"/>
                </a:moveTo>
                <a:lnTo>
                  <a:pt x="595" y="4859"/>
                </a:lnTo>
                <a:lnTo>
                  <a:pt x="13690" y="0"/>
                </a:lnTo>
                <a:lnTo>
                  <a:pt x="0" y="4859"/>
                </a:lnTo>
                <a:close/>
              </a:path>
            </a:pathLst>
          </a:custGeom>
          <a:solidFill>
            <a:srgbClr val="000000"/>
          </a:solidFill>
        </p:spPr>
        <p:txBody>
          <a:bodyPr wrap="square" lIns="0" tIns="0" rIns="0" bIns="0" rtlCol="0">
            <a:noAutofit/>
          </a:bodyPr>
          <a:lstStyle/>
          <a:p>
            <a:endParaRPr/>
          </a:p>
        </p:txBody>
      </p:sp>
      <p:sp>
        <p:nvSpPr>
          <p:cNvPr id="289" name="object 289"/>
          <p:cNvSpPr/>
          <p:nvPr/>
        </p:nvSpPr>
        <p:spPr>
          <a:xfrm>
            <a:off x="9785221" y="1337778"/>
            <a:ext cx="15773" cy="7896"/>
          </a:xfrm>
          <a:custGeom>
            <a:avLst/>
            <a:gdLst/>
            <a:ahLst/>
            <a:cxnLst/>
            <a:rect l="l" t="t" r="r" b="b"/>
            <a:pathLst>
              <a:path w="15773" h="7896">
                <a:moveTo>
                  <a:pt x="297" y="6681"/>
                </a:moveTo>
                <a:lnTo>
                  <a:pt x="892" y="7896"/>
                </a:lnTo>
                <a:lnTo>
                  <a:pt x="2083" y="7896"/>
                </a:lnTo>
                <a:lnTo>
                  <a:pt x="15773" y="3037"/>
                </a:lnTo>
                <a:lnTo>
                  <a:pt x="14583" y="0"/>
                </a:lnTo>
                <a:lnTo>
                  <a:pt x="1488" y="4859"/>
                </a:lnTo>
                <a:lnTo>
                  <a:pt x="892" y="4859"/>
                </a:lnTo>
                <a:lnTo>
                  <a:pt x="0" y="5770"/>
                </a:lnTo>
                <a:lnTo>
                  <a:pt x="297" y="6681"/>
                </a:lnTo>
                <a:close/>
              </a:path>
            </a:pathLst>
          </a:custGeom>
          <a:solidFill>
            <a:srgbClr val="000000"/>
          </a:solidFill>
        </p:spPr>
        <p:txBody>
          <a:bodyPr wrap="square" lIns="0" tIns="0" rIns="0" bIns="0" rtlCol="0">
            <a:noAutofit/>
          </a:bodyPr>
          <a:lstStyle/>
          <a:p>
            <a:endParaRPr/>
          </a:p>
        </p:txBody>
      </p:sp>
      <p:sp>
        <p:nvSpPr>
          <p:cNvPr id="290" name="object 290"/>
          <p:cNvSpPr/>
          <p:nvPr/>
        </p:nvSpPr>
        <p:spPr>
          <a:xfrm>
            <a:off x="9771233" y="1201406"/>
            <a:ext cx="86309" cy="142751"/>
          </a:xfrm>
          <a:custGeom>
            <a:avLst/>
            <a:gdLst/>
            <a:ahLst/>
            <a:cxnLst/>
            <a:rect l="l" t="t" r="r" b="b"/>
            <a:pathLst>
              <a:path w="86309" h="142751">
                <a:moveTo>
                  <a:pt x="43154" y="0"/>
                </a:moveTo>
                <a:lnTo>
                  <a:pt x="38690" y="303"/>
                </a:lnTo>
                <a:lnTo>
                  <a:pt x="34523" y="1518"/>
                </a:lnTo>
                <a:lnTo>
                  <a:pt x="26488" y="5770"/>
                </a:lnTo>
                <a:lnTo>
                  <a:pt x="22618" y="8808"/>
                </a:lnTo>
                <a:lnTo>
                  <a:pt x="19047" y="12149"/>
                </a:lnTo>
                <a:lnTo>
                  <a:pt x="15773" y="16401"/>
                </a:lnTo>
                <a:lnTo>
                  <a:pt x="12797" y="20957"/>
                </a:lnTo>
                <a:lnTo>
                  <a:pt x="9821" y="26120"/>
                </a:lnTo>
                <a:lnTo>
                  <a:pt x="7440" y="31587"/>
                </a:lnTo>
                <a:lnTo>
                  <a:pt x="5357" y="37358"/>
                </a:lnTo>
                <a:lnTo>
                  <a:pt x="3273" y="43736"/>
                </a:lnTo>
                <a:lnTo>
                  <a:pt x="2083" y="50114"/>
                </a:lnTo>
                <a:lnTo>
                  <a:pt x="892" y="57100"/>
                </a:lnTo>
                <a:lnTo>
                  <a:pt x="297" y="64086"/>
                </a:lnTo>
                <a:lnTo>
                  <a:pt x="0" y="71375"/>
                </a:lnTo>
                <a:lnTo>
                  <a:pt x="297" y="78664"/>
                </a:lnTo>
                <a:lnTo>
                  <a:pt x="892" y="85650"/>
                </a:lnTo>
                <a:lnTo>
                  <a:pt x="2083" y="92636"/>
                </a:lnTo>
                <a:lnTo>
                  <a:pt x="3273" y="99318"/>
                </a:lnTo>
                <a:lnTo>
                  <a:pt x="5357" y="105392"/>
                </a:lnTo>
                <a:lnTo>
                  <a:pt x="7440" y="111163"/>
                </a:lnTo>
                <a:lnTo>
                  <a:pt x="9821" y="116934"/>
                </a:lnTo>
                <a:lnTo>
                  <a:pt x="12797" y="121793"/>
                </a:lnTo>
                <a:lnTo>
                  <a:pt x="15773" y="126349"/>
                </a:lnTo>
                <a:lnTo>
                  <a:pt x="19047" y="130602"/>
                </a:lnTo>
                <a:lnTo>
                  <a:pt x="22618" y="134246"/>
                </a:lnTo>
                <a:lnTo>
                  <a:pt x="26488" y="137283"/>
                </a:lnTo>
                <a:lnTo>
                  <a:pt x="34523" y="141232"/>
                </a:lnTo>
                <a:lnTo>
                  <a:pt x="43154" y="142751"/>
                </a:lnTo>
                <a:lnTo>
                  <a:pt x="47618" y="142447"/>
                </a:lnTo>
                <a:lnTo>
                  <a:pt x="55952" y="139410"/>
                </a:lnTo>
                <a:lnTo>
                  <a:pt x="63690" y="134246"/>
                </a:lnTo>
                <a:lnTo>
                  <a:pt x="67261" y="130602"/>
                </a:lnTo>
                <a:lnTo>
                  <a:pt x="70535" y="126349"/>
                </a:lnTo>
                <a:lnTo>
                  <a:pt x="73809" y="121793"/>
                </a:lnTo>
                <a:lnTo>
                  <a:pt x="76487" y="116934"/>
                </a:lnTo>
                <a:lnTo>
                  <a:pt x="78868" y="111163"/>
                </a:lnTo>
                <a:lnTo>
                  <a:pt x="80952" y="105392"/>
                </a:lnTo>
                <a:lnTo>
                  <a:pt x="83035" y="99318"/>
                </a:lnTo>
                <a:lnTo>
                  <a:pt x="84225" y="92636"/>
                </a:lnTo>
                <a:lnTo>
                  <a:pt x="85416" y="85650"/>
                </a:lnTo>
                <a:lnTo>
                  <a:pt x="86011" y="78664"/>
                </a:lnTo>
                <a:lnTo>
                  <a:pt x="86309" y="71375"/>
                </a:lnTo>
                <a:lnTo>
                  <a:pt x="86011" y="64086"/>
                </a:lnTo>
                <a:lnTo>
                  <a:pt x="85416" y="57100"/>
                </a:lnTo>
                <a:lnTo>
                  <a:pt x="84225" y="50114"/>
                </a:lnTo>
                <a:lnTo>
                  <a:pt x="83035" y="43736"/>
                </a:lnTo>
                <a:lnTo>
                  <a:pt x="80952" y="37358"/>
                </a:lnTo>
                <a:lnTo>
                  <a:pt x="78868" y="31587"/>
                </a:lnTo>
                <a:lnTo>
                  <a:pt x="76487" y="26120"/>
                </a:lnTo>
                <a:lnTo>
                  <a:pt x="73809" y="20957"/>
                </a:lnTo>
                <a:lnTo>
                  <a:pt x="70535" y="16401"/>
                </a:lnTo>
                <a:lnTo>
                  <a:pt x="67261" y="12149"/>
                </a:lnTo>
                <a:lnTo>
                  <a:pt x="63690" y="8808"/>
                </a:lnTo>
                <a:lnTo>
                  <a:pt x="59821" y="5770"/>
                </a:lnTo>
                <a:lnTo>
                  <a:pt x="51785" y="1518"/>
                </a:lnTo>
                <a:lnTo>
                  <a:pt x="47618" y="303"/>
                </a:lnTo>
                <a:lnTo>
                  <a:pt x="43154" y="0"/>
                </a:lnTo>
                <a:close/>
              </a:path>
            </a:pathLst>
          </a:custGeom>
          <a:solidFill>
            <a:srgbClr val="000000"/>
          </a:solidFill>
        </p:spPr>
        <p:txBody>
          <a:bodyPr wrap="square" lIns="0" tIns="0" rIns="0" bIns="0" rtlCol="0">
            <a:noAutofit/>
          </a:bodyPr>
          <a:lstStyle/>
          <a:p>
            <a:endParaRPr/>
          </a:p>
        </p:txBody>
      </p:sp>
      <p:sp>
        <p:nvSpPr>
          <p:cNvPr id="291" name="object 291"/>
          <p:cNvSpPr/>
          <p:nvPr/>
        </p:nvSpPr>
        <p:spPr>
          <a:xfrm>
            <a:off x="9814388" y="1199280"/>
            <a:ext cx="45237" cy="73501"/>
          </a:xfrm>
          <a:custGeom>
            <a:avLst/>
            <a:gdLst/>
            <a:ahLst/>
            <a:cxnLst/>
            <a:rect l="l" t="t" r="r" b="b"/>
            <a:pathLst>
              <a:path w="45237" h="73501">
                <a:moveTo>
                  <a:pt x="4166" y="4555"/>
                </a:moveTo>
                <a:lnTo>
                  <a:pt x="8035" y="5770"/>
                </a:lnTo>
                <a:lnTo>
                  <a:pt x="11904" y="7289"/>
                </a:lnTo>
                <a:lnTo>
                  <a:pt x="15476" y="9719"/>
                </a:lnTo>
                <a:lnTo>
                  <a:pt x="19345" y="12452"/>
                </a:lnTo>
                <a:lnTo>
                  <a:pt x="22618" y="15793"/>
                </a:lnTo>
                <a:lnTo>
                  <a:pt x="25595" y="19742"/>
                </a:lnTo>
                <a:lnTo>
                  <a:pt x="28868" y="24298"/>
                </a:lnTo>
                <a:lnTo>
                  <a:pt x="31547" y="29157"/>
                </a:lnTo>
                <a:lnTo>
                  <a:pt x="33928" y="34624"/>
                </a:lnTo>
                <a:lnTo>
                  <a:pt x="35714" y="40091"/>
                </a:lnTo>
                <a:lnTo>
                  <a:pt x="37797" y="46470"/>
                </a:lnTo>
                <a:lnTo>
                  <a:pt x="38987" y="52544"/>
                </a:lnTo>
                <a:lnTo>
                  <a:pt x="40178" y="59530"/>
                </a:lnTo>
                <a:lnTo>
                  <a:pt x="40773" y="66212"/>
                </a:lnTo>
                <a:lnTo>
                  <a:pt x="41071" y="73501"/>
                </a:lnTo>
                <a:lnTo>
                  <a:pt x="45237" y="73501"/>
                </a:lnTo>
                <a:lnTo>
                  <a:pt x="44940" y="66212"/>
                </a:lnTo>
                <a:lnTo>
                  <a:pt x="44345" y="58922"/>
                </a:lnTo>
                <a:lnTo>
                  <a:pt x="43154" y="51937"/>
                </a:lnTo>
                <a:lnTo>
                  <a:pt x="41964" y="45255"/>
                </a:lnTo>
                <a:lnTo>
                  <a:pt x="39880" y="38876"/>
                </a:lnTo>
                <a:lnTo>
                  <a:pt x="37499" y="32802"/>
                </a:lnTo>
                <a:lnTo>
                  <a:pt x="35118" y="27335"/>
                </a:lnTo>
                <a:lnTo>
                  <a:pt x="32440" y="21868"/>
                </a:lnTo>
                <a:lnTo>
                  <a:pt x="29166" y="17312"/>
                </a:lnTo>
                <a:lnTo>
                  <a:pt x="25595" y="12756"/>
                </a:lnTo>
                <a:lnTo>
                  <a:pt x="21726" y="9415"/>
                </a:lnTo>
                <a:lnTo>
                  <a:pt x="17857" y="6074"/>
                </a:lnTo>
                <a:lnTo>
                  <a:pt x="13690" y="3644"/>
                </a:lnTo>
                <a:lnTo>
                  <a:pt x="9226" y="1518"/>
                </a:lnTo>
                <a:lnTo>
                  <a:pt x="4761" y="303"/>
                </a:lnTo>
                <a:lnTo>
                  <a:pt x="0" y="0"/>
                </a:lnTo>
                <a:lnTo>
                  <a:pt x="0" y="4252"/>
                </a:lnTo>
                <a:lnTo>
                  <a:pt x="4166" y="4555"/>
                </a:lnTo>
                <a:close/>
              </a:path>
            </a:pathLst>
          </a:custGeom>
          <a:solidFill>
            <a:srgbClr val="000000"/>
          </a:solidFill>
        </p:spPr>
        <p:txBody>
          <a:bodyPr wrap="square" lIns="0" tIns="0" rIns="0" bIns="0" rtlCol="0">
            <a:noAutofit/>
          </a:bodyPr>
          <a:lstStyle/>
          <a:p>
            <a:endParaRPr/>
          </a:p>
        </p:txBody>
      </p:sp>
      <p:sp>
        <p:nvSpPr>
          <p:cNvPr id="292" name="object 292"/>
          <p:cNvSpPr/>
          <p:nvPr/>
        </p:nvSpPr>
        <p:spPr>
          <a:xfrm>
            <a:off x="9814388" y="1272781"/>
            <a:ext cx="45237" cy="73501"/>
          </a:xfrm>
          <a:custGeom>
            <a:avLst/>
            <a:gdLst/>
            <a:ahLst/>
            <a:cxnLst/>
            <a:rect l="l" t="t" r="r" b="b"/>
            <a:pathLst>
              <a:path w="45237" h="73501">
                <a:moveTo>
                  <a:pt x="4761" y="73197"/>
                </a:moveTo>
                <a:lnTo>
                  <a:pt x="9226" y="71982"/>
                </a:lnTo>
                <a:lnTo>
                  <a:pt x="13690" y="69856"/>
                </a:lnTo>
                <a:lnTo>
                  <a:pt x="17857" y="67730"/>
                </a:lnTo>
                <a:lnTo>
                  <a:pt x="22023" y="64389"/>
                </a:lnTo>
                <a:lnTo>
                  <a:pt x="25595" y="60745"/>
                </a:lnTo>
                <a:lnTo>
                  <a:pt x="29166" y="56189"/>
                </a:lnTo>
                <a:lnTo>
                  <a:pt x="32440" y="51633"/>
                </a:lnTo>
                <a:lnTo>
                  <a:pt x="35118" y="46470"/>
                </a:lnTo>
                <a:lnTo>
                  <a:pt x="37499" y="40699"/>
                </a:lnTo>
                <a:lnTo>
                  <a:pt x="39880" y="34624"/>
                </a:lnTo>
                <a:lnTo>
                  <a:pt x="41964" y="28550"/>
                </a:lnTo>
                <a:lnTo>
                  <a:pt x="43154" y="21564"/>
                </a:lnTo>
                <a:lnTo>
                  <a:pt x="44345" y="14578"/>
                </a:lnTo>
                <a:lnTo>
                  <a:pt x="44940" y="7289"/>
                </a:lnTo>
                <a:lnTo>
                  <a:pt x="45237" y="0"/>
                </a:lnTo>
                <a:lnTo>
                  <a:pt x="41071" y="0"/>
                </a:lnTo>
                <a:lnTo>
                  <a:pt x="40773" y="7289"/>
                </a:lnTo>
                <a:lnTo>
                  <a:pt x="40178" y="13971"/>
                </a:lnTo>
                <a:lnTo>
                  <a:pt x="38987" y="20957"/>
                </a:lnTo>
                <a:lnTo>
                  <a:pt x="37797" y="27335"/>
                </a:lnTo>
                <a:lnTo>
                  <a:pt x="35714" y="33409"/>
                </a:lnTo>
                <a:lnTo>
                  <a:pt x="33928" y="38876"/>
                </a:lnTo>
                <a:lnTo>
                  <a:pt x="31547" y="44647"/>
                </a:lnTo>
                <a:lnTo>
                  <a:pt x="28868" y="49203"/>
                </a:lnTo>
                <a:lnTo>
                  <a:pt x="25595" y="53759"/>
                </a:lnTo>
                <a:lnTo>
                  <a:pt x="22618" y="57707"/>
                </a:lnTo>
                <a:lnTo>
                  <a:pt x="19047" y="61352"/>
                </a:lnTo>
                <a:lnTo>
                  <a:pt x="15476" y="64086"/>
                </a:lnTo>
                <a:lnTo>
                  <a:pt x="11904" y="66212"/>
                </a:lnTo>
                <a:lnTo>
                  <a:pt x="8035" y="67730"/>
                </a:lnTo>
                <a:lnTo>
                  <a:pt x="4166" y="68945"/>
                </a:lnTo>
                <a:lnTo>
                  <a:pt x="0" y="69249"/>
                </a:lnTo>
                <a:lnTo>
                  <a:pt x="0" y="73501"/>
                </a:lnTo>
                <a:lnTo>
                  <a:pt x="4761" y="73197"/>
                </a:lnTo>
                <a:close/>
              </a:path>
            </a:pathLst>
          </a:custGeom>
          <a:solidFill>
            <a:srgbClr val="000000"/>
          </a:solidFill>
        </p:spPr>
        <p:txBody>
          <a:bodyPr wrap="square" lIns="0" tIns="0" rIns="0" bIns="0" rtlCol="0">
            <a:noAutofit/>
          </a:bodyPr>
          <a:lstStyle/>
          <a:p>
            <a:endParaRPr/>
          </a:p>
        </p:txBody>
      </p:sp>
      <p:sp>
        <p:nvSpPr>
          <p:cNvPr id="293" name="object 293"/>
          <p:cNvSpPr/>
          <p:nvPr/>
        </p:nvSpPr>
        <p:spPr>
          <a:xfrm>
            <a:off x="9769150" y="1272781"/>
            <a:ext cx="45237" cy="73501"/>
          </a:xfrm>
          <a:custGeom>
            <a:avLst/>
            <a:gdLst/>
            <a:ahLst/>
            <a:cxnLst/>
            <a:rect l="l" t="t" r="r" b="b"/>
            <a:pathLst>
              <a:path w="45237" h="73501">
                <a:moveTo>
                  <a:pt x="4166" y="0"/>
                </a:moveTo>
                <a:lnTo>
                  <a:pt x="0" y="0"/>
                </a:lnTo>
                <a:lnTo>
                  <a:pt x="297" y="7289"/>
                </a:lnTo>
                <a:lnTo>
                  <a:pt x="892" y="14578"/>
                </a:lnTo>
                <a:lnTo>
                  <a:pt x="2083" y="21564"/>
                </a:lnTo>
                <a:lnTo>
                  <a:pt x="3273" y="28550"/>
                </a:lnTo>
                <a:lnTo>
                  <a:pt x="5357" y="34624"/>
                </a:lnTo>
                <a:lnTo>
                  <a:pt x="7738" y="40699"/>
                </a:lnTo>
                <a:lnTo>
                  <a:pt x="10119" y="46470"/>
                </a:lnTo>
                <a:lnTo>
                  <a:pt x="13095" y="51633"/>
                </a:lnTo>
                <a:lnTo>
                  <a:pt x="16071" y="56189"/>
                </a:lnTo>
                <a:lnTo>
                  <a:pt x="19642" y="60745"/>
                </a:lnTo>
                <a:lnTo>
                  <a:pt x="23214" y="64389"/>
                </a:lnTo>
                <a:lnTo>
                  <a:pt x="27380" y="67730"/>
                </a:lnTo>
                <a:lnTo>
                  <a:pt x="31547" y="69856"/>
                </a:lnTo>
                <a:lnTo>
                  <a:pt x="36011" y="71982"/>
                </a:lnTo>
                <a:lnTo>
                  <a:pt x="40476" y="73197"/>
                </a:lnTo>
                <a:lnTo>
                  <a:pt x="45237" y="73501"/>
                </a:lnTo>
                <a:lnTo>
                  <a:pt x="45237" y="69249"/>
                </a:lnTo>
                <a:lnTo>
                  <a:pt x="41071" y="68945"/>
                </a:lnTo>
                <a:lnTo>
                  <a:pt x="37202" y="67730"/>
                </a:lnTo>
                <a:lnTo>
                  <a:pt x="33333" y="66212"/>
                </a:lnTo>
                <a:lnTo>
                  <a:pt x="29761" y="64086"/>
                </a:lnTo>
                <a:lnTo>
                  <a:pt x="26190" y="61352"/>
                </a:lnTo>
                <a:lnTo>
                  <a:pt x="22618" y="57707"/>
                </a:lnTo>
                <a:lnTo>
                  <a:pt x="19642" y="53759"/>
                </a:lnTo>
                <a:lnTo>
                  <a:pt x="16666" y="49203"/>
                </a:lnTo>
                <a:lnTo>
                  <a:pt x="13690" y="44647"/>
                </a:lnTo>
                <a:lnTo>
                  <a:pt x="11309" y="38876"/>
                </a:lnTo>
                <a:lnTo>
                  <a:pt x="9523" y="33409"/>
                </a:lnTo>
                <a:lnTo>
                  <a:pt x="7440" y="27335"/>
                </a:lnTo>
                <a:lnTo>
                  <a:pt x="6249" y="20957"/>
                </a:lnTo>
                <a:lnTo>
                  <a:pt x="5059" y="13971"/>
                </a:lnTo>
                <a:lnTo>
                  <a:pt x="4464" y="7289"/>
                </a:lnTo>
                <a:lnTo>
                  <a:pt x="4166" y="0"/>
                </a:lnTo>
                <a:close/>
              </a:path>
            </a:pathLst>
          </a:custGeom>
          <a:solidFill>
            <a:srgbClr val="000000"/>
          </a:solidFill>
        </p:spPr>
        <p:txBody>
          <a:bodyPr wrap="square" lIns="0" tIns="0" rIns="0" bIns="0" rtlCol="0">
            <a:noAutofit/>
          </a:bodyPr>
          <a:lstStyle/>
          <a:p>
            <a:endParaRPr/>
          </a:p>
        </p:txBody>
      </p:sp>
      <p:sp>
        <p:nvSpPr>
          <p:cNvPr id="294" name="object 294"/>
          <p:cNvSpPr/>
          <p:nvPr/>
        </p:nvSpPr>
        <p:spPr>
          <a:xfrm>
            <a:off x="9769150" y="1199280"/>
            <a:ext cx="45237" cy="73501"/>
          </a:xfrm>
          <a:custGeom>
            <a:avLst/>
            <a:gdLst/>
            <a:ahLst/>
            <a:cxnLst/>
            <a:rect l="l" t="t" r="r" b="b"/>
            <a:pathLst>
              <a:path w="45237" h="73501">
                <a:moveTo>
                  <a:pt x="5357" y="38876"/>
                </a:moveTo>
                <a:lnTo>
                  <a:pt x="3273" y="45255"/>
                </a:lnTo>
                <a:lnTo>
                  <a:pt x="2083" y="51937"/>
                </a:lnTo>
                <a:lnTo>
                  <a:pt x="892" y="58922"/>
                </a:lnTo>
                <a:lnTo>
                  <a:pt x="297" y="66212"/>
                </a:lnTo>
                <a:lnTo>
                  <a:pt x="0" y="73501"/>
                </a:lnTo>
                <a:lnTo>
                  <a:pt x="4166" y="73501"/>
                </a:lnTo>
                <a:lnTo>
                  <a:pt x="4464" y="66212"/>
                </a:lnTo>
                <a:lnTo>
                  <a:pt x="5059" y="59530"/>
                </a:lnTo>
                <a:lnTo>
                  <a:pt x="6249" y="52544"/>
                </a:lnTo>
                <a:lnTo>
                  <a:pt x="7440" y="46470"/>
                </a:lnTo>
                <a:lnTo>
                  <a:pt x="9523" y="40091"/>
                </a:lnTo>
                <a:lnTo>
                  <a:pt x="11309" y="34624"/>
                </a:lnTo>
                <a:lnTo>
                  <a:pt x="13690" y="29157"/>
                </a:lnTo>
                <a:lnTo>
                  <a:pt x="16666" y="24298"/>
                </a:lnTo>
                <a:lnTo>
                  <a:pt x="19642" y="19742"/>
                </a:lnTo>
                <a:lnTo>
                  <a:pt x="22618" y="15793"/>
                </a:lnTo>
                <a:lnTo>
                  <a:pt x="25892" y="12452"/>
                </a:lnTo>
                <a:lnTo>
                  <a:pt x="29761" y="9719"/>
                </a:lnTo>
                <a:lnTo>
                  <a:pt x="33333" y="7289"/>
                </a:lnTo>
                <a:lnTo>
                  <a:pt x="37202" y="5770"/>
                </a:lnTo>
                <a:lnTo>
                  <a:pt x="41071" y="4555"/>
                </a:lnTo>
                <a:lnTo>
                  <a:pt x="45237" y="4252"/>
                </a:lnTo>
                <a:lnTo>
                  <a:pt x="45237" y="0"/>
                </a:lnTo>
                <a:lnTo>
                  <a:pt x="40476" y="303"/>
                </a:lnTo>
                <a:lnTo>
                  <a:pt x="36011" y="1518"/>
                </a:lnTo>
                <a:lnTo>
                  <a:pt x="31547" y="3644"/>
                </a:lnTo>
                <a:lnTo>
                  <a:pt x="27380" y="6074"/>
                </a:lnTo>
                <a:lnTo>
                  <a:pt x="23511" y="9415"/>
                </a:lnTo>
                <a:lnTo>
                  <a:pt x="19642" y="12756"/>
                </a:lnTo>
                <a:lnTo>
                  <a:pt x="16071" y="17312"/>
                </a:lnTo>
                <a:lnTo>
                  <a:pt x="13095" y="21868"/>
                </a:lnTo>
                <a:lnTo>
                  <a:pt x="10119" y="27335"/>
                </a:lnTo>
                <a:lnTo>
                  <a:pt x="7738" y="32802"/>
                </a:lnTo>
                <a:lnTo>
                  <a:pt x="5357" y="38876"/>
                </a:lnTo>
                <a:close/>
              </a:path>
            </a:pathLst>
          </a:custGeom>
          <a:solidFill>
            <a:srgbClr val="000000"/>
          </a:solidFill>
        </p:spPr>
        <p:txBody>
          <a:bodyPr wrap="square" lIns="0" tIns="0" rIns="0" bIns="0" rtlCol="0">
            <a:noAutofit/>
          </a:bodyPr>
          <a:lstStyle/>
          <a:p>
            <a:endParaRPr/>
          </a:p>
        </p:txBody>
      </p:sp>
      <p:sp>
        <p:nvSpPr>
          <p:cNvPr id="295" name="object 295"/>
          <p:cNvSpPr/>
          <p:nvPr/>
        </p:nvSpPr>
        <p:spPr>
          <a:xfrm>
            <a:off x="8756058" y="1139445"/>
            <a:ext cx="1507733" cy="182842"/>
          </a:xfrm>
          <a:custGeom>
            <a:avLst/>
            <a:gdLst/>
            <a:ahLst/>
            <a:cxnLst/>
            <a:rect l="l" t="t" r="r" b="b"/>
            <a:pathLst>
              <a:path w="1507733" h="182842">
                <a:moveTo>
                  <a:pt x="1361305" y="65604"/>
                </a:moveTo>
                <a:lnTo>
                  <a:pt x="1329460" y="94458"/>
                </a:lnTo>
                <a:lnTo>
                  <a:pt x="876485" y="123616"/>
                </a:lnTo>
                <a:lnTo>
                  <a:pt x="831842" y="80791"/>
                </a:lnTo>
                <a:lnTo>
                  <a:pt x="831842" y="303"/>
                </a:lnTo>
                <a:lnTo>
                  <a:pt x="0" y="0"/>
                </a:lnTo>
                <a:lnTo>
                  <a:pt x="0" y="131816"/>
                </a:lnTo>
                <a:lnTo>
                  <a:pt x="666664" y="131816"/>
                </a:lnTo>
                <a:lnTo>
                  <a:pt x="696724" y="182842"/>
                </a:lnTo>
                <a:lnTo>
                  <a:pt x="1102080" y="154900"/>
                </a:lnTo>
                <a:lnTo>
                  <a:pt x="1102377" y="117845"/>
                </a:lnTo>
                <a:lnTo>
                  <a:pt x="1305055" y="117845"/>
                </a:lnTo>
                <a:lnTo>
                  <a:pt x="1305055" y="140928"/>
                </a:lnTo>
                <a:lnTo>
                  <a:pt x="1507733" y="126957"/>
                </a:lnTo>
                <a:lnTo>
                  <a:pt x="1507733" y="59226"/>
                </a:lnTo>
                <a:lnTo>
                  <a:pt x="1361305" y="65604"/>
                </a:lnTo>
                <a:close/>
              </a:path>
            </a:pathLst>
          </a:custGeom>
          <a:solidFill>
            <a:srgbClr val="404040"/>
          </a:solidFill>
        </p:spPr>
        <p:txBody>
          <a:bodyPr wrap="square" lIns="0" tIns="0" rIns="0" bIns="0" rtlCol="0">
            <a:noAutofit/>
          </a:bodyPr>
          <a:lstStyle/>
          <a:p>
            <a:endParaRPr/>
          </a:p>
        </p:txBody>
      </p:sp>
      <p:sp>
        <p:nvSpPr>
          <p:cNvPr id="296" name="object 296"/>
          <p:cNvSpPr/>
          <p:nvPr/>
        </p:nvSpPr>
        <p:spPr>
          <a:xfrm>
            <a:off x="8754569" y="1139446"/>
            <a:ext cx="2976" cy="133031"/>
          </a:xfrm>
          <a:custGeom>
            <a:avLst/>
            <a:gdLst/>
            <a:ahLst/>
            <a:cxnLst/>
            <a:rect l="l" t="t" r="r" b="b"/>
            <a:pathLst>
              <a:path w="2976" h="133031">
                <a:moveTo>
                  <a:pt x="1041" y="132879"/>
                </a:moveTo>
                <a:lnTo>
                  <a:pt x="1488" y="133031"/>
                </a:lnTo>
                <a:lnTo>
                  <a:pt x="1488" y="130298"/>
                </a:lnTo>
                <a:lnTo>
                  <a:pt x="2976" y="0"/>
                </a:lnTo>
                <a:lnTo>
                  <a:pt x="0" y="0"/>
                </a:lnTo>
                <a:lnTo>
                  <a:pt x="0" y="131816"/>
                </a:lnTo>
                <a:lnTo>
                  <a:pt x="595" y="132728"/>
                </a:lnTo>
                <a:lnTo>
                  <a:pt x="1041" y="132879"/>
                </a:lnTo>
                <a:close/>
              </a:path>
            </a:pathLst>
          </a:custGeom>
          <a:solidFill>
            <a:srgbClr val="000000"/>
          </a:solidFill>
        </p:spPr>
        <p:txBody>
          <a:bodyPr wrap="square" lIns="0" tIns="0" rIns="0" bIns="0" rtlCol="0">
            <a:noAutofit/>
          </a:bodyPr>
          <a:lstStyle/>
          <a:p>
            <a:endParaRPr/>
          </a:p>
        </p:txBody>
      </p:sp>
      <p:sp>
        <p:nvSpPr>
          <p:cNvPr id="297" name="object 297"/>
          <p:cNvSpPr/>
          <p:nvPr/>
        </p:nvSpPr>
        <p:spPr>
          <a:xfrm>
            <a:off x="8756057" y="1139446"/>
            <a:ext cx="1488" cy="133031"/>
          </a:xfrm>
          <a:custGeom>
            <a:avLst/>
            <a:gdLst/>
            <a:ahLst/>
            <a:cxnLst/>
            <a:rect l="l" t="t" r="r" b="b"/>
            <a:pathLst>
              <a:path w="1488" h="133031">
                <a:moveTo>
                  <a:pt x="0" y="130298"/>
                </a:moveTo>
                <a:lnTo>
                  <a:pt x="0" y="133031"/>
                </a:lnTo>
                <a:lnTo>
                  <a:pt x="892" y="132728"/>
                </a:lnTo>
                <a:lnTo>
                  <a:pt x="1488" y="131816"/>
                </a:lnTo>
                <a:lnTo>
                  <a:pt x="1488" y="0"/>
                </a:lnTo>
                <a:lnTo>
                  <a:pt x="0" y="130298"/>
                </a:lnTo>
                <a:close/>
              </a:path>
            </a:pathLst>
          </a:custGeom>
          <a:solidFill>
            <a:srgbClr val="000000"/>
          </a:solidFill>
        </p:spPr>
        <p:txBody>
          <a:bodyPr wrap="square" lIns="0" tIns="0" rIns="0" bIns="0" rtlCol="0">
            <a:noAutofit/>
          </a:bodyPr>
          <a:lstStyle/>
          <a:p>
            <a:endParaRPr/>
          </a:p>
        </p:txBody>
      </p:sp>
      <p:sp>
        <p:nvSpPr>
          <p:cNvPr id="298" name="object 298"/>
          <p:cNvSpPr/>
          <p:nvPr/>
        </p:nvSpPr>
        <p:spPr>
          <a:xfrm>
            <a:off x="9421532" y="1270351"/>
            <a:ext cx="32737" cy="53455"/>
          </a:xfrm>
          <a:custGeom>
            <a:avLst/>
            <a:gdLst/>
            <a:ahLst/>
            <a:cxnLst/>
            <a:rect l="l" t="t" r="r" b="b"/>
            <a:pathLst>
              <a:path w="32737" h="53455">
                <a:moveTo>
                  <a:pt x="0" y="1822"/>
                </a:moveTo>
                <a:lnTo>
                  <a:pt x="30059" y="52848"/>
                </a:lnTo>
                <a:lnTo>
                  <a:pt x="31249" y="50418"/>
                </a:lnTo>
                <a:lnTo>
                  <a:pt x="32142" y="53151"/>
                </a:lnTo>
                <a:lnTo>
                  <a:pt x="32737" y="52240"/>
                </a:lnTo>
                <a:lnTo>
                  <a:pt x="32440" y="51025"/>
                </a:lnTo>
                <a:lnTo>
                  <a:pt x="2380" y="0"/>
                </a:lnTo>
                <a:lnTo>
                  <a:pt x="0" y="1822"/>
                </a:lnTo>
                <a:close/>
              </a:path>
              <a:path w="32737" h="53455">
                <a:moveTo>
                  <a:pt x="31249" y="50418"/>
                </a:moveTo>
                <a:lnTo>
                  <a:pt x="30059" y="52848"/>
                </a:lnTo>
                <a:lnTo>
                  <a:pt x="31249" y="53455"/>
                </a:lnTo>
                <a:lnTo>
                  <a:pt x="32142" y="53151"/>
                </a:lnTo>
                <a:lnTo>
                  <a:pt x="31249" y="50418"/>
                </a:lnTo>
                <a:close/>
              </a:path>
            </a:pathLst>
          </a:custGeom>
          <a:solidFill>
            <a:srgbClr val="000000"/>
          </a:solidFill>
        </p:spPr>
        <p:txBody>
          <a:bodyPr wrap="square" lIns="0" tIns="0" rIns="0" bIns="0" rtlCol="0">
            <a:noAutofit/>
          </a:bodyPr>
          <a:lstStyle/>
          <a:p>
            <a:endParaRPr/>
          </a:p>
        </p:txBody>
      </p:sp>
      <p:sp>
        <p:nvSpPr>
          <p:cNvPr id="299" name="object 299"/>
          <p:cNvSpPr/>
          <p:nvPr/>
        </p:nvSpPr>
        <p:spPr>
          <a:xfrm>
            <a:off x="9452781" y="1292826"/>
            <a:ext cx="406844" cy="30980"/>
          </a:xfrm>
          <a:custGeom>
            <a:avLst/>
            <a:gdLst/>
            <a:ahLst/>
            <a:cxnLst/>
            <a:rect l="l" t="t" r="r" b="b"/>
            <a:pathLst>
              <a:path w="406844" h="30980">
                <a:moveTo>
                  <a:pt x="406248" y="2429"/>
                </a:moveTo>
                <a:lnTo>
                  <a:pt x="406844" y="1518"/>
                </a:lnTo>
                <a:lnTo>
                  <a:pt x="406248" y="607"/>
                </a:lnTo>
                <a:lnTo>
                  <a:pt x="405355" y="0"/>
                </a:lnTo>
                <a:lnTo>
                  <a:pt x="0" y="27942"/>
                </a:lnTo>
                <a:lnTo>
                  <a:pt x="0" y="30980"/>
                </a:lnTo>
                <a:lnTo>
                  <a:pt x="405355" y="3037"/>
                </a:lnTo>
                <a:lnTo>
                  <a:pt x="403867" y="1518"/>
                </a:lnTo>
                <a:lnTo>
                  <a:pt x="405355" y="3037"/>
                </a:lnTo>
                <a:lnTo>
                  <a:pt x="406248" y="2429"/>
                </a:lnTo>
                <a:close/>
              </a:path>
            </a:pathLst>
          </a:custGeom>
          <a:solidFill>
            <a:srgbClr val="000000"/>
          </a:solidFill>
        </p:spPr>
        <p:txBody>
          <a:bodyPr wrap="square" lIns="0" tIns="0" rIns="0" bIns="0" rtlCol="0">
            <a:noAutofit/>
          </a:bodyPr>
          <a:lstStyle/>
          <a:p>
            <a:endParaRPr/>
          </a:p>
        </p:txBody>
      </p:sp>
      <p:sp>
        <p:nvSpPr>
          <p:cNvPr id="300" name="object 300"/>
          <p:cNvSpPr/>
          <p:nvPr/>
        </p:nvSpPr>
        <p:spPr>
          <a:xfrm>
            <a:off x="9856650" y="1255773"/>
            <a:ext cx="3273" cy="38573"/>
          </a:xfrm>
          <a:custGeom>
            <a:avLst/>
            <a:gdLst/>
            <a:ahLst/>
            <a:cxnLst/>
            <a:rect l="l" t="t" r="r" b="b"/>
            <a:pathLst>
              <a:path w="3273" h="38573">
                <a:moveTo>
                  <a:pt x="2678" y="607"/>
                </a:moveTo>
                <a:lnTo>
                  <a:pt x="1785" y="0"/>
                </a:lnTo>
                <a:lnTo>
                  <a:pt x="1785" y="3037"/>
                </a:lnTo>
                <a:lnTo>
                  <a:pt x="297" y="1518"/>
                </a:lnTo>
                <a:lnTo>
                  <a:pt x="0" y="38573"/>
                </a:lnTo>
                <a:lnTo>
                  <a:pt x="2976" y="38573"/>
                </a:lnTo>
                <a:lnTo>
                  <a:pt x="3273" y="1518"/>
                </a:lnTo>
                <a:lnTo>
                  <a:pt x="2678" y="607"/>
                </a:lnTo>
                <a:close/>
              </a:path>
            </a:pathLst>
          </a:custGeom>
          <a:solidFill>
            <a:srgbClr val="000000"/>
          </a:solidFill>
        </p:spPr>
        <p:txBody>
          <a:bodyPr wrap="square" lIns="0" tIns="0" rIns="0" bIns="0" rtlCol="0">
            <a:noAutofit/>
          </a:bodyPr>
          <a:lstStyle/>
          <a:p>
            <a:endParaRPr/>
          </a:p>
        </p:txBody>
      </p:sp>
      <p:sp>
        <p:nvSpPr>
          <p:cNvPr id="301" name="object 301"/>
          <p:cNvSpPr/>
          <p:nvPr/>
        </p:nvSpPr>
        <p:spPr>
          <a:xfrm>
            <a:off x="9856946" y="1255773"/>
            <a:ext cx="1488" cy="3037"/>
          </a:xfrm>
          <a:custGeom>
            <a:avLst/>
            <a:gdLst/>
            <a:ahLst/>
            <a:cxnLst/>
            <a:rect l="l" t="t" r="r" b="b"/>
            <a:pathLst>
              <a:path w="1488" h="3037">
                <a:moveTo>
                  <a:pt x="1488" y="0"/>
                </a:moveTo>
                <a:lnTo>
                  <a:pt x="595" y="607"/>
                </a:lnTo>
                <a:lnTo>
                  <a:pt x="0" y="1518"/>
                </a:lnTo>
                <a:lnTo>
                  <a:pt x="1488" y="3037"/>
                </a:lnTo>
                <a:lnTo>
                  <a:pt x="1488" y="0"/>
                </a:lnTo>
                <a:close/>
              </a:path>
            </a:pathLst>
          </a:custGeom>
          <a:solidFill>
            <a:srgbClr val="000000"/>
          </a:solidFill>
        </p:spPr>
        <p:txBody>
          <a:bodyPr wrap="square" lIns="0" tIns="0" rIns="0" bIns="0" rtlCol="0">
            <a:noAutofit/>
          </a:bodyPr>
          <a:lstStyle/>
          <a:p>
            <a:endParaRPr/>
          </a:p>
        </p:txBody>
      </p:sp>
      <p:sp>
        <p:nvSpPr>
          <p:cNvPr id="302" name="object 302"/>
          <p:cNvSpPr/>
          <p:nvPr/>
        </p:nvSpPr>
        <p:spPr>
          <a:xfrm>
            <a:off x="9858434" y="1255773"/>
            <a:ext cx="204166" cy="3037"/>
          </a:xfrm>
          <a:custGeom>
            <a:avLst/>
            <a:gdLst/>
            <a:ahLst/>
            <a:cxnLst/>
            <a:rect l="l" t="t" r="r" b="b"/>
            <a:pathLst>
              <a:path w="204166" h="3037">
                <a:moveTo>
                  <a:pt x="202677" y="0"/>
                </a:moveTo>
                <a:lnTo>
                  <a:pt x="0" y="0"/>
                </a:lnTo>
                <a:lnTo>
                  <a:pt x="0" y="3037"/>
                </a:lnTo>
                <a:lnTo>
                  <a:pt x="202677" y="3037"/>
                </a:lnTo>
                <a:lnTo>
                  <a:pt x="203570" y="2429"/>
                </a:lnTo>
                <a:lnTo>
                  <a:pt x="204166" y="1518"/>
                </a:lnTo>
                <a:lnTo>
                  <a:pt x="203570" y="607"/>
                </a:lnTo>
                <a:lnTo>
                  <a:pt x="202677" y="0"/>
                </a:lnTo>
                <a:lnTo>
                  <a:pt x="201189" y="1518"/>
                </a:lnTo>
                <a:lnTo>
                  <a:pt x="202677" y="0"/>
                </a:lnTo>
                <a:close/>
              </a:path>
            </a:pathLst>
          </a:custGeom>
          <a:solidFill>
            <a:srgbClr val="000000"/>
          </a:solidFill>
        </p:spPr>
        <p:txBody>
          <a:bodyPr wrap="square" lIns="0" tIns="0" rIns="0" bIns="0" rtlCol="0">
            <a:noAutofit/>
          </a:bodyPr>
          <a:lstStyle/>
          <a:p>
            <a:endParaRPr/>
          </a:p>
        </p:txBody>
      </p:sp>
      <p:sp>
        <p:nvSpPr>
          <p:cNvPr id="303" name="object 303"/>
          <p:cNvSpPr/>
          <p:nvPr/>
        </p:nvSpPr>
        <p:spPr>
          <a:xfrm>
            <a:off x="10059624" y="1257290"/>
            <a:ext cx="2976" cy="24298"/>
          </a:xfrm>
          <a:custGeom>
            <a:avLst/>
            <a:gdLst/>
            <a:ahLst/>
            <a:cxnLst/>
            <a:rect l="l" t="t" r="r" b="b"/>
            <a:pathLst>
              <a:path w="2976" h="24298">
                <a:moveTo>
                  <a:pt x="1041" y="24146"/>
                </a:moveTo>
                <a:lnTo>
                  <a:pt x="1488" y="24298"/>
                </a:lnTo>
                <a:lnTo>
                  <a:pt x="1488" y="21564"/>
                </a:lnTo>
                <a:lnTo>
                  <a:pt x="2976" y="0"/>
                </a:lnTo>
                <a:lnTo>
                  <a:pt x="0" y="0"/>
                </a:lnTo>
                <a:lnTo>
                  <a:pt x="0" y="23083"/>
                </a:lnTo>
                <a:lnTo>
                  <a:pt x="595" y="23994"/>
                </a:lnTo>
                <a:lnTo>
                  <a:pt x="1041" y="24146"/>
                </a:lnTo>
                <a:close/>
              </a:path>
            </a:pathLst>
          </a:custGeom>
          <a:solidFill>
            <a:srgbClr val="000000"/>
          </a:solidFill>
        </p:spPr>
        <p:txBody>
          <a:bodyPr wrap="square" lIns="0" tIns="0" rIns="0" bIns="0" rtlCol="0">
            <a:noAutofit/>
          </a:bodyPr>
          <a:lstStyle/>
          <a:p>
            <a:endParaRPr/>
          </a:p>
        </p:txBody>
      </p:sp>
      <p:sp>
        <p:nvSpPr>
          <p:cNvPr id="304" name="object 304"/>
          <p:cNvSpPr/>
          <p:nvPr/>
        </p:nvSpPr>
        <p:spPr>
          <a:xfrm>
            <a:off x="10061112" y="1257290"/>
            <a:ext cx="1488" cy="24298"/>
          </a:xfrm>
          <a:custGeom>
            <a:avLst/>
            <a:gdLst/>
            <a:ahLst/>
            <a:cxnLst/>
            <a:rect l="l" t="t" r="r" b="b"/>
            <a:pathLst>
              <a:path w="1488" h="24298">
                <a:moveTo>
                  <a:pt x="0" y="21564"/>
                </a:moveTo>
                <a:lnTo>
                  <a:pt x="0" y="24298"/>
                </a:lnTo>
                <a:lnTo>
                  <a:pt x="892" y="23994"/>
                </a:lnTo>
                <a:lnTo>
                  <a:pt x="1488" y="23083"/>
                </a:lnTo>
                <a:lnTo>
                  <a:pt x="1488" y="0"/>
                </a:lnTo>
                <a:lnTo>
                  <a:pt x="0" y="21564"/>
                </a:lnTo>
                <a:close/>
              </a:path>
            </a:pathLst>
          </a:custGeom>
          <a:solidFill>
            <a:srgbClr val="000000"/>
          </a:solidFill>
        </p:spPr>
        <p:txBody>
          <a:bodyPr wrap="square" lIns="0" tIns="0" rIns="0" bIns="0" rtlCol="0">
            <a:noAutofit/>
          </a:bodyPr>
          <a:lstStyle/>
          <a:p>
            <a:endParaRPr/>
          </a:p>
        </p:txBody>
      </p:sp>
      <p:sp>
        <p:nvSpPr>
          <p:cNvPr id="305" name="object 305"/>
          <p:cNvSpPr/>
          <p:nvPr/>
        </p:nvSpPr>
        <p:spPr>
          <a:xfrm>
            <a:off x="10061112" y="1264883"/>
            <a:ext cx="204166" cy="17008"/>
          </a:xfrm>
          <a:custGeom>
            <a:avLst/>
            <a:gdLst/>
            <a:ahLst/>
            <a:cxnLst/>
            <a:rect l="l" t="t" r="r" b="b"/>
            <a:pathLst>
              <a:path w="204166" h="17008">
                <a:moveTo>
                  <a:pt x="203570" y="2429"/>
                </a:moveTo>
                <a:lnTo>
                  <a:pt x="204166" y="1518"/>
                </a:lnTo>
                <a:lnTo>
                  <a:pt x="203570" y="607"/>
                </a:lnTo>
                <a:lnTo>
                  <a:pt x="202677" y="0"/>
                </a:lnTo>
                <a:lnTo>
                  <a:pt x="0" y="13971"/>
                </a:lnTo>
                <a:lnTo>
                  <a:pt x="0" y="17008"/>
                </a:lnTo>
                <a:lnTo>
                  <a:pt x="202677" y="3037"/>
                </a:lnTo>
                <a:lnTo>
                  <a:pt x="201189" y="1518"/>
                </a:lnTo>
                <a:lnTo>
                  <a:pt x="202677" y="3037"/>
                </a:lnTo>
                <a:lnTo>
                  <a:pt x="203570" y="2429"/>
                </a:lnTo>
                <a:close/>
              </a:path>
            </a:pathLst>
          </a:custGeom>
          <a:solidFill>
            <a:srgbClr val="000000"/>
          </a:solidFill>
        </p:spPr>
        <p:txBody>
          <a:bodyPr wrap="square" lIns="0" tIns="0" rIns="0" bIns="0" rtlCol="0">
            <a:noAutofit/>
          </a:bodyPr>
          <a:lstStyle/>
          <a:p>
            <a:endParaRPr/>
          </a:p>
        </p:txBody>
      </p:sp>
      <p:sp>
        <p:nvSpPr>
          <p:cNvPr id="306" name="object 306"/>
          <p:cNvSpPr/>
          <p:nvPr/>
        </p:nvSpPr>
        <p:spPr>
          <a:xfrm>
            <a:off x="10262897" y="1197154"/>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307" name="object 307"/>
          <p:cNvSpPr/>
          <p:nvPr/>
        </p:nvSpPr>
        <p:spPr>
          <a:xfrm>
            <a:off x="10262302" y="1197154"/>
            <a:ext cx="2976" cy="69249"/>
          </a:xfrm>
          <a:custGeom>
            <a:avLst/>
            <a:gdLst/>
            <a:ahLst/>
            <a:cxnLst/>
            <a:rect l="l" t="t" r="r" b="b"/>
            <a:pathLst>
              <a:path w="2976" h="69249">
                <a:moveTo>
                  <a:pt x="595" y="607"/>
                </a:moveTo>
                <a:lnTo>
                  <a:pt x="0" y="1518"/>
                </a:lnTo>
                <a:lnTo>
                  <a:pt x="0" y="69249"/>
                </a:lnTo>
                <a:lnTo>
                  <a:pt x="2976" y="69249"/>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308" name="object 308"/>
          <p:cNvSpPr/>
          <p:nvPr/>
        </p:nvSpPr>
        <p:spPr>
          <a:xfrm>
            <a:off x="10116172" y="1197154"/>
            <a:ext cx="147618" cy="9415"/>
          </a:xfrm>
          <a:custGeom>
            <a:avLst/>
            <a:gdLst/>
            <a:ahLst/>
            <a:cxnLst/>
            <a:rect l="l" t="t" r="r" b="b"/>
            <a:pathLst>
              <a:path w="147618" h="9415">
                <a:moveTo>
                  <a:pt x="0" y="7896"/>
                </a:moveTo>
                <a:lnTo>
                  <a:pt x="297" y="8808"/>
                </a:lnTo>
                <a:lnTo>
                  <a:pt x="1190" y="9415"/>
                </a:lnTo>
                <a:lnTo>
                  <a:pt x="2083" y="9111"/>
                </a:lnTo>
                <a:lnTo>
                  <a:pt x="147618" y="3037"/>
                </a:lnTo>
                <a:lnTo>
                  <a:pt x="147618" y="0"/>
                </a:lnTo>
                <a:lnTo>
                  <a:pt x="1190" y="6378"/>
                </a:lnTo>
                <a:lnTo>
                  <a:pt x="297" y="6985"/>
                </a:lnTo>
                <a:lnTo>
                  <a:pt x="0" y="7896"/>
                </a:lnTo>
                <a:close/>
              </a:path>
            </a:pathLst>
          </a:custGeom>
          <a:solidFill>
            <a:srgbClr val="000000"/>
          </a:solidFill>
        </p:spPr>
        <p:txBody>
          <a:bodyPr wrap="square" lIns="0" tIns="0" rIns="0" bIns="0" rtlCol="0">
            <a:noAutofit/>
          </a:bodyPr>
          <a:lstStyle/>
          <a:p>
            <a:endParaRPr/>
          </a:p>
        </p:txBody>
      </p:sp>
      <p:sp>
        <p:nvSpPr>
          <p:cNvPr id="309" name="object 309"/>
          <p:cNvSpPr/>
          <p:nvPr/>
        </p:nvSpPr>
        <p:spPr>
          <a:xfrm>
            <a:off x="10117362" y="1200190"/>
            <a:ext cx="146428" cy="6378"/>
          </a:xfrm>
          <a:custGeom>
            <a:avLst/>
            <a:gdLst/>
            <a:ahLst/>
            <a:cxnLst/>
            <a:rect l="l" t="t" r="r" b="b"/>
            <a:pathLst>
              <a:path w="146428" h="6378">
                <a:moveTo>
                  <a:pt x="146428" y="0"/>
                </a:moveTo>
                <a:lnTo>
                  <a:pt x="892" y="6074"/>
                </a:lnTo>
                <a:lnTo>
                  <a:pt x="0" y="6378"/>
                </a:lnTo>
                <a:lnTo>
                  <a:pt x="146428" y="0"/>
                </a:lnTo>
                <a:close/>
              </a:path>
            </a:pathLst>
          </a:custGeom>
          <a:solidFill>
            <a:srgbClr val="000000"/>
          </a:solidFill>
        </p:spPr>
        <p:txBody>
          <a:bodyPr wrap="square" lIns="0" tIns="0" rIns="0" bIns="0" rtlCol="0">
            <a:noAutofit/>
          </a:bodyPr>
          <a:lstStyle/>
          <a:p>
            <a:endParaRPr/>
          </a:p>
        </p:txBody>
      </p:sp>
      <p:sp>
        <p:nvSpPr>
          <p:cNvPr id="310" name="object 310"/>
          <p:cNvSpPr/>
          <p:nvPr/>
        </p:nvSpPr>
        <p:spPr>
          <a:xfrm>
            <a:off x="10084029" y="1203836"/>
            <a:ext cx="34226" cy="31587"/>
          </a:xfrm>
          <a:custGeom>
            <a:avLst/>
            <a:gdLst/>
            <a:ahLst/>
            <a:cxnLst/>
            <a:rect l="l" t="t" r="r" b="b"/>
            <a:pathLst>
              <a:path w="34226" h="31587">
                <a:moveTo>
                  <a:pt x="0" y="29765"/>
                </a:moveTo>
                <a:lnTo>
                  <a:pt x="297" y="30980"/>
                </a:lnTo>
                <a:lnTo>
                  <a:pt x="1190" y="31587"/>
                </a:lnTo>
                <a:lnTo>
                  <a:pt x="2380" y="31283"/>
                </a:lnTo>
                <a:lnTo>
                  <a:pt x="34226" y="2429"/>
                </a:lnTo>
                <a:lnTo>
                  <a:pt x="32440" y="0"/>
                </a:lnTo>
                <a:lnTo>
                  <a:pt x="1488" y="28550"/>
                </a:lnTo>
                <a:lnTo>
                  <a:pt x="595" y="28853"/>
                </a:lnTo>
                <a:lnTo>
                  <a:pt x="0" y="29765"/>
                </a:lnTo>
                <a:close/>
              </a:path>
              <a:path w="34226" h="31587">
                <a:moveTo>
                  <a:pt x="1488" y="28550"/>
                </a:moveTo>
                <a:lnTo>
                  <a:pt x="32440" y="0"/>
                </a:lnTo>
                <a:lnTo>
                  <a:pt x="595" y="28853"/>
                </a:lnTo>
                <a:lnTo>
                  <a:pt x="1488" y="28550"/>
                </a:lnTo>
                <a:close/>
              </a:path>
            </a:pathLst>
          </a:custGeom>
          <a:solidFill>
            <a:srgbClr val="000000"/>
          </a:solidFill>
        </p:spPr>
        <p:txBody>
          <a:bodyPr wrap="square" lIns="0" tIns="0" rIns="0" bIns="0" rtlCol="0">
            <a:noAutofit/>
          </a:bodyPr>
          <a:lstStyle/>
          <a:p>
            <a:endParaRPr/>
          </a:p>
        </p:txBody>
      </p:sp>
      <p:sp>
        <p:nvSpPr>
          <p:cNvPr id="311" name="object 311"/>
          <p:cNvSpPr/>
          <p:nvPr/>
        </p:nvSpPr>
        <p:spPr>
          <a:xfrm>
            <a:off x="9631353" y="1232385"/>
            <a:ext cx="454165" cy="32194"/>
          </a:xfrm>
          <a:custGeom>
            <a:avLst/>
            <a:gdLst/>
            <a:ahLst/>
            <a:cxnLst/>
            <a:rect l="l" t="t" r="r" b="b"/>
            <a:pathLst>
              <a:path w="454165" h="32194">
                <a:moveTo>
                  <a:pt x="0" y="30676"/>
                </a:moveTo>
                <a:lnTo>
                  <a:pt x="297" y="31587"/>
                </a:lnTo>
                <a:lnTo>
                  <a:pt x="1190" y="32194"/>
                </a:lnTo>
                <a:lnTo>
                  <a:pt x="2083" y="29461"/>
                </a:lnTo>
                <a:lnTo>
                  <a:pt x="454165" y="3037"/>
                </a:lnTo>
                <a:lnTo>
                  <a:pt x="454165" y="0"/>
                </a:lnTo>
                <a:lnTo>
                  <a:pt x="1190" y="29157"/>
                </a:lnTo>
                <a:lnTo>
                  <a:pt x="297" y="29765"/>
                </a:lnTo>
                <a:lnTo>
                  <a:pt x="0" y="30676"/>
                </a:lnTo>
                <a:close/>
              </a:path>
              <a:path w="454165" h="32194">
                <a:moveTo>
                  <a:pt x="2083" y="29461"/>
                </a:moveTo>
                <a:lnTo>
                  <a:pt x="1190" y="32194"/>
                </a:lnTo>
                <a:lnTo>
                  <a:pt x="454165" y="3037"/>
                </a:lnTo>
                <a:lnTo>
                  <a:pt x="2083" y="29461"/>
                </a:lnTo>
                <a:close/>
              </a:path>
            </a:pathLst>
          </a:custGeom>
          <a:solidFill>
            <a:srgbClr val="000000"/>
          </a:solidFill>
        </p:spPr>
        <p:txBody>
          <a:bodyPr wrap="square" lIns="0" tIns="0" rIns="0" bIns="0" rtlCol="0">
            <a:noAutofit/>
          </a:bodyPr>
          <a:lstStyle/>
          <a:p>
            <a:endParaRPr/>
          </a:p>
        </p:txBody>
      </p:sp>
      <p:sp>
        <p:nvSpPr>
          <p:cNvPr id="312" name="object 312"/>
          <p:cNvSpPr/>
          <p:nvPr/>
        </p:nvSpPr>
        <p:spPr>
          <a:xfrm>
            <a:off x="9586412" y="1218717"/>
            <a:ext cx="47023" cy="45558"/>
          </a:xfrm>
          <a:custGeom>
            <a:avLst/>
            <a:gdLst/>
            <a:ahLst/>
            <a:cxnLst/>
            <a:rect l="l" t="t" r="r" b="b"/>
            <a:pathLst>
              <a:path w="47023" h="45558">
                <a:moveTo>
                  <a:pt x="47023" y="43129"/>
                </a:moveTo>
                <a:lnTo>
                  <a:pt x="2976" y="1518"/>
                </a:lnTo>
                <a:lnTo>
                  <a:pt x="1190" y="0"/>
                </a:lnTo>
                <a:lnTo>
                  <a:pt x="297" y="607"/>
                </a:lnTo>
                <a:lnTo>
                  <a:pt x="0" y="1518"/>
                </a:lnTo>
                <a:lnTo>
                  <a:pt x="595" y="2733"/>
                </a:lnTo>
                <a:lnTo>
                  <a:pt x="45237" y="45558"/>
                </a:lnTo>
                <a:lnTo>
                  <a:pt x="47023" y="43129"/>
                </a:lnTo>
                <a:close/>
              </a:path>
              <a:path w="47023" h="45558">
                <a:moveTo>
                  <a:pt x="2976" y="1518"/>
                </a:moveTo>
                <a:lnTo>
                  <a:pt x="47023" y="43129"/>
                </a:lnTo>
                <a:lnTo>
                  <a:pt x="2380" y="303"/>
                </a:lnTo>
                <a:lnTo>
                  <a:pt x="1190" y="0"/>
                </a:lnTo>
                <a:lnTo>
                  <a:pt x="2976" y="1518"/>
                </a:lnTo>
                <a:close/>
              </a:path>
            </a:pathLst>
          </a:custGeom>
          <a:solidFill>
            <a:srgbClr val="000000"/>
          </a:solidFill>
        </p:spPr>
        <p:txBody>
          <a:bodyPr wrap="square" lIns="0" tIns="0" rIns="0" bIns="0" rtlCol="0">
            <a:noAutofit/>
          </a:bodyPr>
          <a:lstStyle/>
          <a:p>
            <a:endParaRPr/>
          </a:p>
        </p:txBody>
      </p:sp>
      <p:sp>
        <p:nvSpPr>
          <p:cNvPr id="313" name="object 313"/>
          <p:cNvSpPr/>
          <p:nvPr/>
        </p:nvSpPr>
        <p:spPr>
          <a:xfrm>
            <a:off x="9587007" y="1138231"/>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314" name="object 314"/>
          <p:cNvSpPr/>
          <p:nvPr/>
        </p:nvSpPr>
        <p:spPr>
          <a:xfrm>
            <a:off x="9586411" y="1138231"/>
            <a:ext cx="2976" cy="82005"/>
          </a:xfrm>
          <a:custGeom>
            <a:avLst/>
            <a:gdLst/>
            <a:ahLst/>
            <a:cxnLst/>
            <a:rect l="l" t="t" r="r" b="b"/>
            <a:pathLst>
              <a:path w="2976" h="82005">
                <a:moveTo>
                  <a:pt x="595" y="607"/>
                </a:moveTo>
                <a:lnTo>
                  <a:pt x="0" y="1518"/>
                </a:lnTo>
                <a:lnTo>
                  <a:pt x="0" y="82005"/>
                </a:lnTo>
                <a:lnTo>
                  <a:pt x="2976" y="82005"/>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315" name="object 315"/>
          <p:cNvSpPr/>
          <p:nvPr/>
        </p:nvSpPr>
        <p:spPr>
          <a:xfrm>
            <a:off x="9921529" y="1234511"/>
            <a:ext cx="127082" cy="41306"/>
          </a:xfrm>
          <a:custGeom>
            <a:avLst/>
            <a:gdLst/>
            <a:ahLst/>
            <a:cxnLst/>
            <a:rect l="l" t="t" r="r" b="b"/>
            <a:pathLst>
              <a:path w="127082" h="41306">
                <a:moveTo>
                  <a:pt x="63690" y="0"/>
                </a:moveTo>
                <a:lnTo>
                  <a:pt x="57142" y="0"/>
                </a:lnTo>
                <a:lnTo>
                  <a:pt x="50892" y="303"/>
                </a:lnTo>
                <a:lnTo>
                  <a:pt x="44642" y="911"/>
                </a:lnTo>
                <a:lnTo>
                  <a:pt x="38987" y="1518"/>
                </a:lnTo>
                <a:lnTo>
                  <a:pt x="33333" y="2429"/>
                </a:lnTo>
                <a:lnTo>
                  <a:pt x="27976" y="3340"/>
                </a:lnTo>
                <a:lnTo>
                  <a:pt x="23214" y="4555"/>
                </a:lnTo>
                <a:lnTo>
                  <a:pt x="18749" y="6074"/>
                </a:lnTo>
                <a:lnTo>
                  <a:pt x="14583" y="7593"/>
                </a:lnTo>
                <a:lnTo>
                  <a:pt x="11011" y="9111"/>
                </a:lnTo>
                <a:lnTo>
                  <a:pt x="7738" y="10630"/>
                </a:lnTo>
                <a:lnTo>
                  <a:pt x="5059" y="12452"/>
                </a:lnTo>
                <a:lnTo>
                  <a:pt x="2976" y="14578"/>
                </a:lnTo>
                <a:lnTo>
                  <a:pt x="1190" y="16401"/>
                </a:lnTo>
                <a:lnTo>
                  <a:pt x="297" y="18527"/>
                </a:lnTo>
                <a:lnTo>
                  <a:pt x="0" y="20653"/>
                </a:lnTo>
                <a:lnTo>
                  <a:pt x="297" y="22779"/>
                </a:lnTo>
                <a:lnTo>
                  <a:pt x="1190" y="24905"/>
                </a:lnTo>
                <a:lnTo>
                  <a:pt x="2976" y="26727"/>
                </a:lnTo>
                <a:lnTo>
                  <a:pt x="5059" y="28853"/>
                </a:lnTo>
                <a:lnTo>
                  <a:pt x="7738" y="30676"/>
                </a:lnTo>
                <a:lnTo>
                  <a:pt x="11011" y="32194"/>
                </a:lnTo>
                <a:lnTo>
                  <a:pt x="14583" y="33713"/>
                </a:lnTo>
                <a:lnTo>
                  <a:pt x="18749" y="35232"/>
                </a:lnTo>
                <a:lnTo>
                  <a:pt x="23214" y="36750"/>
                </a:lnTo>
                <a:lnTo>
                  <a:pt x="27976" y="37965"/>
                </a:lnTo>
                <a:lnTo>
                  <a:pt x="33333" y="38876"/>
                </a:lnTo>
                <a:lnTo>
                  <a:pt x="38987" y="39788"/>
                </a:lnTo>
                <a:lnTo>
                  <a:pt x="44642" y="40395"/>
                </a:lnTo>
                <a:lnTo>
                  <a:pt x="50892" y="41002"/>
                </a:lnTo>
                <a:lnTo>
                  <a:pt x="57142" y="41306"/>
                </a:lnTo>
                <a:lnTo>
                  <a:pt x="70237" y="41306"/>
                </a:lnTo>
                <a:lnTo>
                  <a:pt x="76487" y="41002"/>
                </a:lnTo>
                <a:lnTo>
                  <a:pt x="82440" y="40395"/>
                </a:lnTo>
                <a:lnTo>
                  <a:pt x="88392" y="39788"/>
                </a:lnTo>
                <a:lnTo>
                  <a:pt x="93749" y="38876"/>
                </a:lnTo>
                <a:lnTo>
                  <a:pt x="99106" y="37965"/>
                </a:lnTo>
                <a:lnTo>
                  <a:pt x="103868" y="36750"/>
                </a:lnTo>
                <a:lnTo>
                  <a:pt x="108333" y="35232"/>
                </a:lnTo>
                <a:lnTo>
                  <a:pt x="112499" y="33713"/>
                </a:lnTo>
                <a:lnTo>
                  <a:pt x="116071" y="32194"/>
                </a:lnTo>
                <a:lnTo>
                  <a:pt x="119344" y="30676"/>
                </a:lnTo>
                <a:lnTo>
                  <a:pt x="122023" y="28853"/>
                </a:lnTo>
                <a:lnTo>
                  <a:pt x="124106" y="26727"/>
                </a:lnTo>
                <a:lnTo>
                  <a:pt x="125892" y="24905"/>
                </a:lnTo>
                <a:lnTo>
                  <a:pt x="126785" y="22779"/>
                </a:lnTo>
                <a:lnTo>
                  <a:pt x="127082" y="20653"/>
                </a:lnTo>
                <a:lnTo>
                  <a:pt x="126785" y="18527"/>
                </a:lnTo>
                <a:lnTo>
                  <a:pt x="125892" y="16401"/>
                </a:lnTo>
                <a:lnTo>
                  <a:pt x="124106" y="14578"/>
                </a:lnTo>
                <a:lnTo>
                  <a:pt x="122023" y="12452"/>
                </a:lnTo>
                <a:lnTo>
                  <a:pt x="119344" y="10630"/>
                </a:lnTo>
                <a:lnTo>
                  <a:pt x="116071" y="9111"/>
                </a:lnTo>
                <a:lnTo>
                  <a:pt x="112499" y="7593"/>
                </a:lnTo>
                <a:lnTo>
                  <a:pt x="108333" y="6074"/>
                </a:lnTo>
                <a:lnTo>
                  <a:pt x="103868" y="4555"/>
                </a:lnTo>
                <a:lnTo>
                  <a:pt x="99106" y="3340"/>
                </a:lnTo>
                <a:lnTo>
                  <a:pt x="93749" y="2429"/>
                </a:lnTo>
                <a:lnTo>
                  <a:pt x="88392" y="1518"/>
                </a:lnTo>
                <a:lnTo>
                  <a:pt x="82440" y="911"/>
                </a:lnTo>
                <a:lnTo>
                  <a:pt x="76487" y="303"/>
                </a:lnTo>
                <a:lnTo>
                  <a:pt x="70237" y="0"/>
                </a:lnTo>
                <a:lnTo>
                  <a:pt x="63690" y="0"/>
                </a:lnTo>
                <a:close/>
              </a:path>
            </a:pathLst>
          </a:custGeom>
          <a:solidFill>
            <a:srgbClr val="000000"/>
          </a:solidFill>
        </p:spPr>
        <p:txBody>
          <a:bodyPr wrap="square" lIns="0" tIns="0" rIns="0" bIns="0" rtlCol="0">
            <a:noAutofit/>
          </a:bodyPr>
          <a:lstStyle/>
          <a:p>
            <a:endParaRPr/>
          </a:p>
        </p:txBody>
      </p:sp>
      <p:sp>
        <p:nvSpPr>
          <p:cNvPr id="316" name="object 316"/>
          <p:cNvSpPr/>
          <p:nvPr/>
        </p:nvSpPr>
        <p:spPr>
          <a:xfrm>
            <a:off x="9985220" y="1232993"/>
            <a:ext cx="64880" cy="22171"/>
          </a:xfrm>
          <a:custGeom>
            <a:avLst/>
            <a:gdLst/>
            <a:ahLst/>
            <a:cxnLst/>
            <a:rect l="l" t="t" r="r" b="b"/>
            <a:pathLst>
              <a:path w="64880" h="22171">
                <a:moveTo>
                  <a:pt x="57440" y="15186"/>
                </a:moveTo>
                <a:lnTo>
                  <a:pt x="59226" y="17312"/>
                </a:lnTo>
                <a:lnTo>
                  <a:pt x="61011" y="18830"/>
                </a:lnTo>
                <a:lnTo>
                  <a:pt x="61606" y="20349"/>
                </a:lnTo>
                <a:lnTo>
                  <a:pt x="61904" y="22171"/>
                </a:lnTo>
                <a:lnTo>
                  <a:pt x="64880" y="22171"/>
                </a:lnTo>
                <a:lnTo>
                  <a:pt x="64583" y="19742"/>
                </a:lnTo>
                <a:lnTo>
                  <a:pt x="63392" y="17008"/>
                </a:lnTo>
                <a:lnTo>
                  <a:pt x="61606" y="14882"/>
                </a:lnTo>
                <a:lnTo>
                  <a:pt x="59226" y="12756"/>
                </a:lnTo>
                <a:lnTo>
                  <a:pt x="56249" y="10934"/>
                </a:lnTo>
                <a:lnTo>
                  <a:pt x="52976" y="9111"/>
                </a:lnTo>
                <a:lnTo>
                  <a:pt x="49404" y="7593"/>
                </a:lnTo>
                <a:lnTo>
                  <a:pt x="45237" y="6074"/>
                </a:lnTo>
                <a:lnTo>
                  <a:pt x="40476" y="4555"/>
                </a:lnTo>
                <a:lnTo>
                  <a:pt x="35714" y="3340"/>
                </a:lnTo>
                <a:lnTo>
                  <a:pt x="30357" y="2429"/>
                </a:lnTo>
                <a:lnTo>
                  <a:pt x="24999" y="1518"/>
                </a:lnTo>
                <a:lnTo>
                  <a:pt x="18749" y="911"/>
                </a:lnTo>
                <a:lnTo>
                  <a:pt x="12797" y="303"/>
                </a:lnTo>
                <a:lnTo>
                  <a:pt x="6547" y="0"/>
                </a:lnTo>
                <a:lnTo>
                  <a:pt x="0" y="0"/>
                </a:lnTo>
                <a:lnTo>
                  <a:pt x="0" y="3037"/>
                </a:lnTo>
                <a:lnTo>
                  <a:pt x="6547" y="3037"/>
                </a:lnTo>
                <a:lnTo>
                  <a:pt x="12797" y="3340"/>
                </a:lnTo>
                <a:lnTo>
                  <a:pt x="18749" y="3948"/>
                </a:lnTo>
                <a:lnTo>
                  <a:pt x="24404" y="4555"/>
                </a:lnTo>
                <a:lnTo>
                  <a:pt x="29761" y="5467"/>
                </a:lnTo>
                <a:lnTo>
                  <a:pt x="35118" y="6378"/>
                </a:lnTo>
                <a:lnTo>
                  <a:pt x="39880" y="7593"/>
                </a:lnTo>
                <a:lnTo>
                  <a:pt x="44047" y="9111"/>
                </a:lnTo>
                <a:lnTo>
                  <a:pt x="48214" y="10630"/>
                </a:lnTo>
                <a:lnTo>
                  <a:pt x="51785" y="12149"/>
                </a:lnTo>
                <a:lnTo>
                  <a:pt x="55059" y="13363"/>
                </a:lnTo>
                <a:lnTo>
                  <a:pt x="57440" y="15186"/>
                </a:lnTo>
                <a:close/>
              </a:path>
            </a:pathLst>
          </a:custGeom>
          <a:solidFill>
            <a:srgbClr val="000000"/>
          </a:solidFill>
        </p:spPr>
        <p:txBody>
          <a:bodyPr wrap="square" lIns="0" tIns="0" rIns="0" bIns="0" rtlCol="0">
            <a:noAutofit/>
          </a:bodyPr>
          <a:lstStyle/>
          <a:p>
            <a:endParaRPr/>
          </a:p>
        </p:txBody>
      </p:sp>
      <p:sp>
        <p:nvSpPr>
          <p:cNvPr id="317" name="object 317"/>
          <p:cNvSpPr/>
          <p:nvPr/>
        </p:nvSpPr>
        <p:spPr>
          <a:xfrm>
            <a:off x="9985220" y="1255165"/>
            <a:ext cx="64880" cy="22171"/>
          </a:xfrm>
          <a:custGeom>
            <a:avLst/>
            <a:gdLst/>
            <a:ahLst/>
            <a:cxnLst/>
            <a:rect l="l" t="t" r="r" b="b"/>
            <a:pathLst>
              <a:path w="64880" h="22171">
                <a:moveTo>
                  <a:pt x="24999" y="20653"/>
                </a:moveTo>
                <a:lnTo>
                  <a:pt x="30357" y="19742"/>
                </a:lnTo>
                <a:lnTo>
                  <a:pt x="35714" y="18830"/>
                </a:lnTo>
                <a:lnTo>
                  <a:pt x="40476" y="17616"/>
                </a:lnTo>
                <a:lnTo>
                  <a:pt x="45237" y="16097"/>
                </a:lnTo>
                <a:lnTo>
                  <a:pt x="49404" y="14578"/>
                </a:lnTo>
                <a:lnTo>
                  <a:pt x="52976" y="13060"/>
                </a:lnTo>
                <a:lnTo>
                  <a:pt x="56249" y="11237"/>
                </a:lnTo>
                <a:lnTo>
                  <a:pt x="59226" y="9415"/>
                </a:lnTo>
                <a:lnTo>
                  <a:pt x="61606" y="7289"/>
                </a:lnTo>
                <a:lnTo>
                  <a:pt x="63392" y="5163"/>
                </a:lnTo>
                <a:lnTo>
                  <a:pt x="64583" y="2429"/>
                </a:lnTo>
                <a:lnTo>
                  <a:pt x="64880" y="0"/>
                </a:lnTo>
                <a:lnTo>
                  <a:pt x="61904" y="0"/>
                </a:lnTo>
                <a:lnTo>
                  <a:pt x="61606" y="1822"/>
                </a:lnTo>
                <a:lnTo>
                  <a:pt x="61011" y="3340"/>
                </a:lnTo>
                <a:lnTo>
                  <a:pt x="59226" y="4859"/>
                </a:lnTo>
                <a:lnTo>
                  <a:pt x="57440" y="6985"/>
                </a:lnTo>
                <a:lnTo>
                  <a:pt x="55059" y="8808"/>
                </a:lnTo>
                <a:lnTo>
                  <a:pt x="51785" y="10022"/>
                </a:lnTo>
                <a:lnTo>
                  <a:pt x="48214" y="11541"/>
                </a:lnTo>
                <a:lnTo>
                  <a:pt x="44047" y="13060"/>
                </a:lnTo>
                <a:lnTo>
                  <a:pt x="39880" y="14578"/>
                </a:lnTo>
                <a:lnTo>
                  <a:pt x="35118" y="15793"/>
                </a:lnTo>
                <a:lnTo>
                  <a:pt x="29761" y="16704"/>
                </a:lnTo>
                <a:lnTo>
                  <a:pt x="24404" y="17616"/>
                </a:lnTo>
                <a:lnTo>
                  <a:pt x="18749" y="18223"/>
                </a:lnTo>
                <a:lnTo>
                  <a:pt x="12797" y="18830"/>
                </a:lnTo>
                <a:lnTo>
                  <a:pt x="6547" y="19134"/>
                </a:lnTo>
                <a:lnTo>
                  <a:pt x="0" y="19134"/>
                </a:lnTo>
                <a:lnTo>
                  <a:pt x="0" y="22171"/>
                </a:lnTo>
                <a:lnTo>
                  <a:pt x="6547" y="22171"/>
                </a:lnTo>
                <a:lnTo>
                  <a:pt x="12797" y="21868"/>
                </a:lnTo>
                <a:lnTo>
                  <a:pt x="18749" y="21260"/>
                </a:lnTo>
                <a:lnTo>
                  <a:pt x="24999" y="20653"/>
                </a:lnTo>
                <a:close/>
              </a:path>
            </a:pathLst>
          </a:custGeom>
          <a:solidFill>
            <a:srgbClr val="000000"/>
          </a:solidFill>
        </p:spPr>
        <p:txBody>
          <a:bodyPr wrap="square" lIns="0" tIns="0" rIns="0" bIns="0" rtlCol="0">
            <a:noAutofit/>
          </a:bodyPr>
          <a:lstStyle/>
          <a:p>
            <a:endParaRPr/>
          </a:p>
        </p:txBody>
      </p:sp>
      <p:sp>
        <p:nvSpPr>
          <p:cNvPr id="318" name="object 318"/>
          <p:cNvSpPr/>
          <p:nvPr/>
        </p:nvSpPr>
        <p:spPr>
          <a:xfrm>
            <a:off x="9920041" y="1255165"/>
            <a:ext cx="65178" cy="22171"/>
          </a:xfrm>
          <a:custGeom>
            <a:avLst/>
            <a:gdLst/>
            <a:ahLst/>
            <a:cxnLst/>
            <a:rect l="l" t="t" r="r" b="b"/>
            <a:pathLst>
              <a:path w="65178" h="22171">
                <a:moveTo>
                  <a:pt x="297" y="2429"/>
                </a:moveTo>
                <a:lnTo>
                  <a:pt x="1488" y="5163"/>
                </a:lnTo>
                <a:lnTo>
                  <a:pt x="3273" y="7289"/>
                </a:lnTo>
                <a:lnTo>
                  <a:pt x="5654" y="9415"/>
                </a:lnTo>
                <a:lnTo>
                  <a:pt x="8630" y="11237"/>
                </a:lnTo>
                <a:lnTo>
                  <a:pt x="11904" y="13060"/>
                </a:lnTo>
                <a:lnTo>
                  <a:pt x="15476" y="14578"/>
                </a:lnTo>
                <a:lnTo>
                  <a:pt x="19642" y="16097"/>
                </a:lnTo>
                <a:lnTo>
                  <a:pt x="24404" y="17616"/>
                </a:lnTo>
                <a:lnTo>
                  <a:pt x="29166" y="18830"/>
                </a:lnTo>
                <a:lnTo>
                  <a:pt x="34523" y="19742"/>
                </a:lnTo>
                <a:lnTo>
                  <a:pt x="40178" y="20653"/>
                </a:lnTo>
                <a:lnTo>
                  <a:pt x="46130" y="21260"/>
                </a:lnTo>
                <a:lnTo>
                  <a:pt x="52380" y="21868"/>
                </a:lnTo>
                <a:lnTo>
                  <a:pt x="58630" y="22171"/>
                </a:lnTo>
                <a:lnTo>
                  <a:pt x="65178" y="22171"/>
                </a:lnTo>
                <a:lnTo>
                  <a:pt x="65178" y="19134"/>
                </a:lnTo>
                <a:lnTo>
                  <a:pt x="58630" y="19134"/>
                </a:lnTo>
                <a:lnTo>
                  <a:pt x="52380" y="18830"/>
                </a:lnTo>
                <a:lnTo>
                  <a:pt x="46130" y="18223"/>
                </a:lnTo>
                <a:lnTo>
                  <a:pt x="40773" y="17616"/>
                </a:lnTo>
                <a:lnTo>
                  <a:pt x="35118" y="16704"/>
                </a:lnTo>
                <a:lnTo>
                  <a:pt x="29761" y="15793"/>
                </a:lnTo>
                <a:lnTo>
                  <a:pt x="24999" y="14578"/>
                </a:lnTo>
                <a:lnTo>
                  <a:pt x="20833" y="13060"/>
                </a:lnTo>
                <a:lnTo>
                  <a:pt x="16666" y="11541"/>
                </a:lnTo>
                <a:lnTo>
                  <a:pt x="13095" y="10022"/>
                </a:lnTo>
                <a:lnTo>
                  <a:pt x="9821" y="8808"/>
                </a:lnTo>
                <a:lnTo>
                  <a:pt x="7440" y="6985"/>
                </a:lnTo>
                <a:lnTo>
                  <a:pt x="5654" y="4859"/>
                </a:lnTo>
                <a:lnTo>
                  <a:pt x="3869" y="3340"/>
                </a:lnTo>
                <a:lnTo>
                  <a:pt x="3273" y="1822"/>
                </a:lnTo>
                <a:lnTo>
                  <a:pt x="2976" y="0"/>
                </a:lnTo>
                <a:lnTo>
                  <a:pt x="0" y="0"/>
                </a:lnTo>
                <a:lnTo>
                  <a:pt x="297" y="2429"/>
                </a:lnTo>
                <a:close/>
              </a:path>
            </a:pathLst>
          </a:custGeom>
          <a:solidFill>
            <a:srgbClr val="000000"/>
          </a:solidFill>
        </p:spPr>
        <p:txBody>
          <a:bodyPr wrap="square" lIns="0" tIns="0" rIns="0" bIns="0" rtlCol="0">
            <a:noAutofit/>
          </a:bodyPr>
          <a:lstStyle/>
          <a:p>
            <a:endParaRPr/>
          </a:p>
        </p:txBody>
      </p:sp>
      <p:sp>
        <p:nvSpPr>
          <p:cNvPr id="319" name="object 319"/>
          <p:cNvSpPr/>
          <p:nvPr/>
        </p:nvSpPr>
        <p:spPr>
          <a:xfrm>
            <a:off x="9920041" y="1232993"/>
            <a:ext cx="65178" cy="22171"/>
          </a:xfrm>
          <a:custGeom>
            <a:avLst/>
            <a:gdLst/>
            <a:ahLst/>
            <a:cxnLst/>
            <a:rect l="l" t="t" r="r" b="b"/>
            <a:pathLst>
              <a:path w="65178" h="22171">
                <a:moveTo>
                  <a:pt x="3273" y="14882"/>
                </a:moveTo>
                <a:lnTo>
                  <a:pt x="1488" y="17008"/>
                </a:lnTo>
                <a:lnTo>
                  <a:pt x="297" y="19742"/>
                </a:lnTo>
                <a:lnTo>
                  <a:pt x="0" y="22171"/>
                </a:lnTo>
                <a:lnTo>
                  <a:pt x="2976" y="22171"/>
                </a:lnTo>
                <a:lnTo>
                  <a:pt x="3273" y="20349"/>
                </a:lnTo>
                <a:lnTo>
                  <a:pt x="3869" y="18830"/>
                </a:lnTo>
                <a:lnTo>
                  <a:pt x="5654" y="17312"/>
                </a:lnTo>
                <a:lnTo>
                  <a:pt x="7440" y="15186"/>
                </a:lnTo>
                <a:lnTo>
                  <a:pt x="9821" y="13363"/>
                </a:lnTo>
                <a:lnTo>
                  <a:pt x="13095" y="12149"/>
                </a:lnTo>
                <a:lnTo>
                  <a:pt x="16666" y="10630"/>
                </a:lnTo>
                <a:lnTo>
                  <a:pt x="20833" y="9111"/>
                </a:lnTo>
                <a:lnTo>
                  <a:pt x="24999" y="7593"/>
                </a:lnTo>
                <a:lnTo>
                  <a:pt x="29761" y="6378"/>
                </a:lnTo>
                <a:lnTo>
                  <a:pt x="35118" y="5467"/>
                </a:lnTo>
                <a:lnTo>
                  <a:pt x="40773" y="4555"/>
                </a:lnTo>
                <a:lnTo>
                  <a:pt x="46130" y="3948"/>
                </a:lnTo>
                <a:lnTo>
                  <a:pt x="52380" y="3340"/>
                </a:lnTo>
                <a:lnTo>
                  <a:pt x="58630" y="3037"/>
                </a:lnTo>
                <a:lnTo>
                  <a:pt x="65178" y="3037"/>
                </a:lnTo>
                <a:lnTo>
                  <a:pt x="65178" y="0"/>
                </a:lnTo>
                <a:lnTo>
                  <a:pt x="58630" y="0"/>
                </a:lnTo>
                <a:lnTo>
                  <a:pt x="52380" y="303"/>
                </a:lnTo>
                <a:lnTo>
                  <a:pt x="46130" y="911"/>
                </a:lnTo>
                <a:lnTo>
                  <a:pt x="40178" y="1518"/>
                </a:lnTo>
                <a:lnTo>
                  <a:pt x="34523" y="2429"/>
                </a:lnTo>
                <a:lnTo>
                  <a:pt x="29166" y="3340"/>
                </a:lnTo>
                <a:lnTo>
                  <a:pt x="24404" y="4555"/>
                </a:lnTo>
                <a:lnTo>
                  <a:pt x="19642" y="6074"/>
                </a:lnTo>
                <a:lnTo>
                  <a:pt x="15476" y="7593"/>
                </a:lnTo>
                <a:lnTo>
                  <a:pt x="11904" y="9111"/>
                </a:lnTo>
                <a:lnTo>
                  <a:pt x="8630" y="10934"/>
                </a:lnTo>
                <a:lnTo>
                  <a:pt x="5654" y="12756"/>
                </a:lnTo>
                <a:lnTo>
                  <a:pt x="3273" y="14882"/>
                </a:lnTo>
                <a:close/>
              </a:path>
            </a:pathLst>
          </a:custGeom>
          <a:solidFill>
            <a:srgbClr val="000000"/>
          </a:solidFill>
        </p:spPr>
        <p:txBody>
          <a:bodyPr wrap="square" lIns="0" tIns="0" rIns="0" bIns="0" rtlCol="0">
            <a:noAutofit/>
          </a:bodyPr>
          <a:lstStyle/>
          <a:p>
            <a:endParaRPr/>
          </a:p>
        </p:txBody>
      </p:sp>
      <p:sp>
        <p:nvSpPr>
          <p:cNvPr id="320" name="object 320"/>
          <p:cNvSpPr/>
          <p:nvPr/>
        </p:nvSpPr>
        <p:spPr>
          <a:xfrm>
            <a:off x="10130756" y="1210518"/>
            <a:ext cx="82737" cy="146395"/>
          </a:xfrm>
          <a:custGeom>
            <a:avLst/>
            <a:gdLst/>
            <a:ahLst/>
            <a:cxnLst/>
            <a:rect l="l" t="t" r="r" b="b"/>
            <a:pathLst>
              <a:path w="82737" h="146395">
                <a:moveTo>
                  <a:pt x="41368" y="0"/>
                </a:moveTo>
                <a:lnTo>
                  <a:pt x="37202" y="303"/>
                </a:lnTo>
                <a:lnTo>
                  <a:pt x="33035" y="1518"/>
                </a:lnTo>
                <a:lnTo>
                  <a:pt x="25297" y="5770"/>
                </a:lnTo>
                <a:lnTo>
                  <a:pt x="18154" y="12452"/>
                </a:lnTo>
                <a:lnTo>
                  <a:pt x="14880" y="16704"/>
                </a:lnTo>
                <a:lnTo>
                  <a:pt x="12202" y="21564"/>
                </a:lnTo>
                <a:lnTo>
                  <a:pt x="9523" y="26727"/>
                </a:lnTo>
                <a:lnTo>
                  <a:pt x="7142" y="32194"/>
                </a:lnTo>
                <a:lnTo>
                  <a:pt x="5059" y="38269"/>
                </a:lnTo>
                <a:lnTo>
                  <a:pt x="3273" y="44647"/>
                </a:lnTo>
                <a:lnTo>
                  <a:pt x="1785" y="51329"/>
                </a:lnTo>
                <a:lnTo>
                  <a:pt x="892" y="58315"/>
                </a:lnTo>
                <a:lnTo>
                  <a:pt x="297" y="65604"/>
                </a:lnTo>
                <a:lnTo>
                  <a:pt x="0" y="73197"/>
                </a:lnTo>
                <a:lnTo>
                  <a:pt x="297" y="80791"/>
                </a:lnTo>
                <a:lnTo>
                  <a:pt x="892" y="88080"/>
                </a:lnTo>
                <a:lnTo>
                  <a:pt x="1785" y="95066"/>
                </a:lnTo>
                <a:lnTo>
                  <a:pt x="3273" y="101748"/>
                </a:lnTo>
                <a:lnTo>
                  <a:pt x="5059" y="108126"/>
                </a:lnTo>
                <a:lnTo>
                  <a:pt x="7142" y="114200"/>
                </a:lnTo>
                <a:lnTo>
                  <a:pt x="9523" y="119667"/>
                </a:lnTo>
                <a:lnTo>
                  <a:pt x="12202" y="124831"/>
                </a:lnTo>
                <a:lnTo>
                  <a:pt x="14880" y="129690"/>
                </a:lnTo>
                <a:lnTo>
                  <a:pt x="18154" y="133942"/>
                </a:lnTo>
                <a:lnTo>
                  <a:pt x="21726" y="137587"/>
                </a:lnTo>
                <a:lnTo>
                  <a:pt x="29166" y="143054"/>
                </a:lnTo>
                <a:lnTo>
                  <a:pt x="37202" y="146092"/>
                </a:lnTo>
                <a:lnTo>
                  <a:pt x="41368" y="146395"/>
                </a:lnTo>
                <a:lnTo>
                  <a:pt x="45535" y="146092"/>
                </a:lnTo>
                <a:lnTo>
                  <a:pt x="53571" y="143054"/>
                </a:lnTo>
                <a:lnTo>
                  <a:pt x="61011" y="137587"/>
                </a:lnTo>
                <a:lnTo>
                  <a:pt x="64285" y="133942"/>
                </a:lnTo>
                <a:lnTo>
                  <a:pt x="67559" y="129690"/>
                </a:lnTo>
                <a:lnTo>
                  <a:pt x="70535" y="124831"/>
                </a:lnTo>
                <a:lnTo>
                  <a:pt x="73214" y="119667"/>
                </a:lnTo>
                <a:lnTo>
                  <a:pt x="75595" y="114200"/>
                </a:lnTo>
                <a:lnTo>
                  <a:pt x="77678" y="108126"/>
                </a:lnTo>
                <a:lnTo>
                  <a:pt x="79464" y="101748"/>
                </a:lnTo>
                <a:lnTo>
                  <a:pt x="80952" y="95066"/>
                </a:lnTo>
                <a:lnTo>
                  <a:pt x="81844" y="88080"/>
                </a:lnTo>
                <a:lnTo>
                  <a:pt x="82440" y="80791"/>
                </a:lnTo>
                <a:lnTo>
                  <a:pt x="82737" y="73197"/>
                </a:lnTo>
                <a:lnTo>
                  <a:pt x="82440" y="65604"/>
                </a:lnTo>
                <a:lnTo>
                  <a:pt x="81844" y="58315"/>
                </a:lnTo>
                <a:lnTo>
                  <a:pt x="80952" y="51329"/>
                </a:lnTo>
                <a:lnTo>
                  <a:pt x="79464" y="44647"/>
                </a:lnTo>
                <a:lnTo>
                  <a:pt x="77678" y="38269"/>
                </a:lnTo>
                <a:lnTo>
                  <a:pt x="75595" y="32194"/>
                </a:lnTo>
                <a:lnTo>
                  <a:pt x="73214" y="26727"/>
                </a:lnTo>
                <a:lnTo>
                  <a:pt x="70535" y="21564"/>
                </a:lnTo>
                <a:lnTo>
                  <a:pt x="67559" y="16704"/>
                </a:lnTo>
                <a:lnTo>
                  <a:pt x="64285" y="12452"/>
                </a:lnTo>
                <a:lnTo>
                  <a:pt x="61011" y="8808"/>
                </a:lnTo>
                <a:lnTo>
                  <a:pt x="53571" y="3340"/>
                </a:lnTo>
                <a:lnTo>
                  <a:pt x="45535" y="303"/>
                </a:lnTo>
                <a:lnTo>
                  <a:pt x="41368" y="0"/>
                </a:lnTo>
                <a:close/>
              </a:path>
            </a:pathLst>
          </a:custGeom>
          <a:solidFill>
            <a:srgbClr val="000000"/>
          </a:solidFill>
        </p:spPr>
        <p:txBody>
          <a:bodyPr wrap="square" lIns="0" tIns="0" rIns="0" bIns="0" rtlCol="0">
            <a:noAutofit/>
          </a:bodyPr>
          <a:lstStyle/>
          <a:p>
            <a:endParaRPr/>
          </a:p>
        </p:txBody>
      </p:sp>
      <p:sp>
        <p:nvSpPr>
          <p:cNvPr id="321" name="object 321"/>
          <p:cNvSpPr/>
          <p:nvPr/>
        </p:nvSpPr>
        <p:spPr>
          <a:xfrm>
            <a:off x="10172124" y="1208391"/>
            <a:ext cx="43452" cy="75323"/>
          </a:xfrm>
          <a:custGeom>
            <a:avLst/>
            <a:gdLst/>
            <a:ahLst/>
            <a:cxnLst/>
            <a:rect l="l" t="t" r="r" b="b"/>
            <a:pathLst>
              <a:path w="43452" h="75323">
                <a:moveTo>
                  <a:pt x="0" y="0"/>
                </a:moveTo>
                <a:lnTo>
                  <a:pt x="0" y="4252"/>
                </a:lnTo>
                <a:lnTo>
                  <a:pt x="3869" y="4555"/>
                </a:lnTo>
                <a:lnTo>
                  <a:pt x="7738" y="5770"/>
                </a:lnTo>
                <a:lnTo>
                  <a:pt x="11309" y="7289"/>
                </a:lnTo>
                <a:lnTo>
                  <a:pt x="14880" y="9719"/>
                </a:lnTo>
                <a:lnTo>
                  <a:pt x="18154" y="12452"/>
                </a:lnTo>
                <a:lnTo>
                  <a:pt x="21428" y="16097"/>
                </a:lnTo>
                <a:lnTo>
                  <a:pt x="24404" y="20045"/>
                </a:lnTo>
                <a:lnTo>
                  <a:pt x="27380" y="24601"/>
                </a:lnTo>
                <a:lnTo>
                  <a:pt x="30059" y="29765"/>
                </a:lnTo>
                <a:lnTo>
                  <a:pt x="32440" y="35232"/>
                </a:lnTo>
                <a:lnTo>
                  <a:pt x="34226" y="41002"/>
                </a:lnTo>
                <a:lnTo>
                  <a:pt x="36011" y="47381"/>
                </a:lnTo>
                <a:lnTo>
                  <a:pt x="37499" y="53759"/>
                </a:lnTo>
                <a:lnTo>
                  <a:pt x="38392" y="60745"/>
                </a:lnTo>
                <a:lnTo>
                  <a:pt x="38987" y="67730"/>
                </a:lnTo>
                <a:lnTo>
                  <a:pt x="39285" y="75323"/>
                </a:lnTo>
                <a:lnTo>
                  <a:pt x="43452" y="75323"/>
                </a:lnTo>
                <a:lnTo>
                  <a:pt x="43154" y="67730"/>
                </a:lnTo>
                <a:lnTo>
                  <a:pt x="42559" y="60137"/>
                </a:lnTo>
                <a:lnTo>
                  <a:pt x="41666" y="53151"/>
                </a:lnTo>
                <a:lnTo>
                  <a:pt x="40178" y="46166"/>
                </a:lnTo>
                <a:lnTo>
                  <a:pt x="38392" y="39788"/>
                </a:lnTo>
                <a:lnTo>
                  <a:pt x="36011" y="33409"/>
                </a:lnTo>
                <a:lnTo>
                  <a:pt x="33630" y="27942"/>
                </a:lnTo>
                <a:lnTo>
                  <a:pt x="30952" y="22779"/>
                </a:lnTo>
                <a:lnTo>
                  <a:pt x="27976" y="17616"/>
                </a:lnTo>
                <a:lnTo>
                  <a:pt x="24404" y="13060"/>
                </a:lnTo>
                <a:lnTo>
                  <a:pt x="21130" y="9415"/>
                </a:lnTo>
                <a:lnTo>
                  <a:pt x="17261" y="6074"/>
                </a:lnTo>
                <a:lnTo>
                  <a:pt x="13095" y="3644"/>
                </a:lnTo>
                <a:lnTo>
                  <a:pt x="8928" y="1518"/>
                </a:lnTo>
                <a:lnTo>
                  <a:pt x="4464" y="303"/>
                </a:lnTo>
                <a:lnTo>
                  <a:pt x="0" y="0"/>
                </a:lnTo>
                <a:close/>
              </a:path>
            </a:pathLst>
          </a:custGeom>
          <a:solidFill>
            <a:srgbClr val="000000"/>
          </a:solidFill>
        </p:spPr>
        <p:txBody>
          <a:bodyPr wrap="square" lIns="0" tIns="0" rIns="0" bIns="0" rtlCol="0">
            <a:noAutofit/>
          </a:bodyPr>
          <a:lstStyle/>
          <a:p>
            <a:endParaRPr/>
          </a:p>
        </p:txBody>
      </p:sp>
      <p:sp>
        <p:nvSpPr>
          <p:cNvPr id="322" name="object 322"/>
          <p:cNvSpPr/>
          <p:nvPr/>
        </p:nvSpPr>
        <p:spPr>
          <a:xfrm>
            <a:off x="10172124" y="1283715"/>
            <a:ext cx="43452" cy="75323"/>
          </a:xfrm>
          <a:custGeom>
            <a:avLst/>
            <a:gdLst/>
            <a:ahLst/>
            <a:cxnLst/>
            <a:rect l="l" t="t" r="r" b="b"/>
            <a:pathLst>
              <a:path w="43452" h="75323">
                <a:moveTo>
                  <a:pt x="4464" y="75020"/>
                </a:moveTo>
                <a:lnTo>
                  <a:pt x="8928" y="73805"/>
                </a:lnTo>
                <a:lnTo>
                  <a:pt x="13095" y="71679"/>
                </a:lnTo>
                <a:lnTo>
                  <a:pt x="17261" y="69249"/>
                </a:lnTo>
                <a:lnTo>
                  <a:pt x="21130" y="65908"/>
                </a:lnTo>
                <a:lnTo>
                  <a:pt x="24404" y="62263"/>
                </a:lnTo>
                <a:lnTo>
                  <a:pt x="27976" y="57707"/>
                </a:lnTo>
                <a:lnTo>
                  <a:pt x="30952" y="52544"/>
                </a:lnTo>
                <a:lnTo>
                  <a:pt x="33630" y="47381"/>
                </a:lnTo>
                <a:lnTo>
                  <a:pt x="36011" y="41914"/>
                </a:lnTo>
                <a:lnTo>
                  <a:pt x="38392" y="35535"/>
                </a:lnTo>
                <a:lnTo>
                  <a:pt x="40178" y="29157"/>
                </a:lnTo>
                <a:lnTo>
                  <a:pt x="41666" y="22171"/>
                </a:lnTo>
                <a:lnTo>
                  <a:pt x="42559" y="15186"/>
                </a:lnTo>
                <a:lnTo>
                  <a:pt x="43154" y="7593"/>
                </a:lnTo>
                <a:lnTo>
                  <a:pt x="43452" y="0"/>
                </a:lnTo>
                <a:lnTo>
                  <a:pt x="39285" y="0"/>
                </a:lnTo>
                <a:lnTo>
                  <a:pt x="38987" y="7593"/>
                </a:lnTo>
                <a:lnTo>
                  <a:pt x="38392" y="14578"/>
                </a:lnTo>
                <a:lnTo>
                  <a:pt x="37499" y="21564"/>
                </a:lnTo>
                <a:lnTo>
                  <a:pt x="36011" y="27942"/>
                </a:lnTo>
                <a:lnTo>
                  <a:pt x="34226" y="34320"/>
                </a:lnTo>
                <a:lnTo>
                  <a:pt x="32440" y="40091"/>
                </a:lnTo>
                <a:lnTo>
                  <a:pt x="30059" y="45558"/>
                </a:lnTo>
                <a:lnTo>
                  <a:pt x="27380" y="50722"/>
                </a:lnTo>
                <a:lnTo>
                  <a:pt x="24404" y="55278"/>
                </a:lnTo>
                <a:lnTo>
                  <a:pt x="21428" y="59226"/>
                </a:lnTo>
                <a:lnTo>
                  <a:pt x="18154" y="62871"/>
                </a:lnTo>
                <a:lnTo>
                  <a:pt x="14880" y="65604"/>
                </a:lnTo>
                <a:lnTo>
                  <a:pt x="11309" y="68034"/>
                </a:lnTo>
                <a:lnTo>
                  <a:pt x="7738" y="69553"/>
                </a:lnTo>
                <a:lnTo>
                  <a:pt x="3869" y="70768"/>
                </a:lnTo>
                <a:lnTo>
                  <a:pt x="0" y="71071"/>
                </a:lnTo>
                <a:lnTo>
                  <a:pt x="0" y="75323"/>
                </a:lnTo>
                <a:lnTo>
                  <a:pt x="4464" y="75020"/>
                </a:lnTo>
                <a:close/>
              </a:path>
            </a:pathLst>
          </a:custGeom>
          <a:solidFill>
            <a:srgbClr val="000000"/>
          </a:solidFill>
        </p:spPr>
        <p:txBody>
          <a:bodyPr wrap="square" lIns="0" tIns="0" rIns="0" bIns="0" rtlCol="0">
            <a:noAutofit/>
          </a:bodyPr>
          <a:lstStyle/>
          <a:p>
            <a:endParaRPr/>
          </a:p>
        </p:txBody>
      </p:sp>
      <p:sp>
        <p:nvSpPr>
          <p:cNvPr id="323" name="object 323"/>
          <p:cNvSpPr/>
          <p:nvPr/>
        </p:nvSpPr>
        <p:spPr>
          <a:xfrm>
            <a:off x="10128672" y="1283715"/>
            <a:ext cx="43452" cy="75323"/>
          </a:xfrm>
          <a:custGeom>
            <a:avLst/>
            <a:gdLst/>
            <a:ahLst/>
            <a:cxnLst/>
            <a:rect l="l" t="t" r="r" b="b"/>
            <a:pathLst>
              <a:path w="43452" h="75323">
                <a:moveTo>
                  <a:pt x="4166" y="0"/>
                </a:moveTo>
                <a:lnTo>
                  <a:pt x="0" y="0"/>
                </a:lnTo>
                <a:lnTo>
                  <a:pt x="297" y="7593"/>
                </a:lnTo>
                <a:lnTo>
                  <a:pt x="892" y="15186"/>
                </a:lnTo>
                <a:lnTo>
                  <a:pt x="1785" y="22171"/>
                </a:lnTo>
                <a:lnTo>
                  <a:pt x="3273" y="29157"/>
                </a:lnTo>
                <a:lnTo>
                  <a:pt x="5059" y="35535"/>
                </a:lnTo>
                <a:lnTo>
                  <a:pt x="7440" y="41914"/>
                </a:lnTo>
                <a:lnTo>
                  <a:pt x="9821" y="47381"/>
                </a:lnTo>
                <a:lnTo>
                  <a:pt x="12499" y="52544"/>
                </a:lnTo>
                <a:lnTo>
                  <a:pt x="15178" y="57707"/>
                </a:lnTo>
                <a:lnTo>
                  <a:pt x="18749" y="62263"/>
                </a:lnTo>
                <a:lnTo>
                  <a:pt x="22321" y="65908"/>
                </a:lnTo>
                <a:lnTo>
                  <a:pt x="26190" y="69249"/>
                </a:lnTo>
                <a:lnTo>
                  <a:pt x="30357" y="71679"/>
                </a:lnTo>
                <a:lnTo>
                  <a:pt x="34523" y="73805"/>
                </a:lnTo>
                <a:lnTo>
                  <a:pt x="38987" y="75020"/>
                </a:lnTo>
                <a:lnTo>
                  <a:pt x="43452" y="75323"/>
                </a:lnTo>
                <a:lnTo>
                  <a:pt x="43452" y="71071"/>
                </a:lnTo>
                <a:lnTo>
                  <a:pt x="39583" y="70768"/>
                </a:lnTo>
                <a:lnTo>
                  <a:pt x="35714" y="69553"/>
                </a:lnTo>
                <a:lnTo>
                  <a:pt x="32142" y="68034"/>
                </a:lnTo>
                <a:lnTo>
                  <a:pt x="28571" y="65604"/>
                </a:lnTo>
                <a:lnTo>
                  <a:pt x="25297" y="62871"/>
                </a:lnTo>
                <a:lnTo>
                  <a:pt x="21726" y="59226"/>
                </a:lnTo>
                <a:lnTo>
                  <a:pt x="18749" y="55278"/>
                </a:lnTo>
                <a:lnTo>
                  <a:pt x="16071" y="50722"/>
                </a:lnTo>
                <a:lnTo>
                  <a:pt x="13392" y="45558"/>
                </a:lnTo>
                <a:lnTo>
                  <a:pt x="11011" y="40091"/>
                </a:lnTo>
                <a:lnTo>
                  <a:pt x="9226" y="34320"/>
                </a:lnTo>
                <a:lnTo>
                  <a:pt x="7440" y="27942"/>
                </a:lnTo>
                <a:lnTo>
                  <a:pt x="5952" y="21564"/>
                </a:lnTo>
                <a:lnTo>
                  <a:pt x="5059" y="14578"/>
                </a:lnTo>
                <a:lnTo>
                  <a:pt x="4464" y="7593"/>
                </a:lnTo>
                <a:lnTo>
                  <a:pt x="4166" y="0"/>
                </a:lnTo>
                <a:close/>
              </a:path>
            </a:pathLst>
          </a:custGeom>
          <a:solidFill>
            <a:srgbClr val="000000"/>
          </a:solidFill>
        </p:spPr>
        <p:txBody>
          <a:bodyPr wrap="square" lIns="0" tIns="0" rIns="0" bIns="0" rtlCol="0">
            <a:noAutofit/>
          </a:bodyPr>
          <a:lstStyle/>
          <a:p>
            <a:endParaRPr/>
          </a:p>
        </p:txBody>
      </p:sp>
      <p:sp>
        <p:nvSpPr>
          <p:cNvPr id="324" name="object 324"/>
          <p:cNvSpPr/>
          <p:nvPr/>
        </p:nvSpPr>
        <p:spPr>
          <a:xfrm>
            <a:off x="10128672" y="1208391"/>
            <a:ext cx="43452" cy="75323"/>
          </a:xfrm>
          <a:custGeom>
            <a:avLst/>
            <a:gdLst/>
            <a:ahLst/>
            <a:cxnLst/>
            <a:rect l="l" t="t" r="r" b="b"/>
            <a:pathLst>
              <a:path w="43452" h="75323">
                <a:moveTo>
                  <a:pt x="5059" y="39788"/>
                </a:moveTo>
                <a:lnTo>
                  <a:pt x="3273" y="46166"/>
                </a:lnTo>
                <a:lnTo>
                  <a:pt x="1785" y="53151"/>
                </a:lnTo>
                <a:lnTo>
                  <a:pt x="892" y="60137"/>
                </a:lnTo>
                <a:lnTo>
                  <a:pt x="297" y="67730"/>
                </a:lnTo>
                <a:lnTo>
                  <a:pt x="0" y="75323"/>
                </a:lnTo>
                <a:lnTo>
                  <a:pt x="4166" y="75323"/>
                </a:lnTo>
                <a:lnTo>
                  <a:pt x="4464" y="67730"/>
                </a:lnTo>
                <a:lnTo>
                  <a:pt x="5059" y="60745"/>
                </a:lnTo>
                <a:lnTo>
                  <a:pt x="5952" y="53759"/>
                </a:lnTo>
                <a:lnTo>
                  <a:pt x="7440" y="47381"/>
                </a:lnTo>
                <a:lnTo>
                  <a:pt x="9226" y="41002"/>
                </a:lnTo>
                <a:lnTo>
                  <a:pt x="11011" y="35232"/>
                </a:lnTo>
                <a:lnTo>
                  <a:pt x="13392" y="29765"/>
                </a:lnTo>
                <a:lnTo>
                  <a:pt x="16071" y="24601"/>
                </a:lnTo>
                <a:lnTo>
                  <a:pt x="18749" y="20045"/>
                </a:lnTo>
                <a:lnTo>
                  <a:pt x="21726" y="16097"/>
                </a:lnTo>
                <a:lnTo>
                  <a:pt x="25297" y="12452"/>
                </a:lnTo>
                <a:lnTo>
                  <a:pt x="28571" y="9719"/>
                </a:lnTo>
                <a:lnTo>
                  <a:pt x="32142" y="7289"/>
                </a:lnTo>
                <a:lnTo>
                  <a:pt x="35714" y="5770"/>
                </a:lnTo>
                <a:lnTo>
                  <a:pt x="39583" y="4555"/>
                </a:lnTo>
                <a:lnTo>
                  <a:pt x="43452" y="4252"/>
                </a:lnTo>
                <a:lnTo>
                  <a:pt x="43452" y="0"/>
                </a:lnTo>
                <a:lnTo>
                  <a:pt x="38987" y="303"/>
                </a:lnTo>
                <a:lnTo>
                  <a:pt x="34523" y="1518"/>
                </a:lnTo>
                <a:lnTo>
                  <a:pt x="30357" y="3644"/>
                </a:lnTo>
                <a:lnTo>
                  <a:pt x="26190" y="6074"/>
                </a:lnTo>
                <a:lnTo>
                  <a:pt x="22321" y="9415"/>
                </a:lnTo>
                <a:lnTo>
                  <a:pt x="18749" y="13060"/>
                </a:lnTo>
                <a:lnTo>
                  <a:pt x="15178" y="17616"/>
                </a:lnTo>
                <a:lnTo>
                  <a:pt x="12499" y="22779"/>
                </a:lnTo>
                <a:lnTo>
                  <a:pt x="9821" y="27942"/>
                </a:lnTo>
                <a:lnTo>
                  <a:pt x="7440" y="33409"/>
                </a:lnTo>
                <a:lnTo>
                  <a:pt x="5059" y="39788"/>
                </a:lnTo>
                <a:close/>
              </a:path>
            </a:pathLst>
          </a:custGeom>
          <a:solidFill>
            <a:srgbClr val="000000"/>
          </a:solidFill>
        </p:spPr>
        <p:txBody>
          <a:bodyPr wrap="square" lIns="0" tIns="0" rIns="0" bIns="0" rtlCol="0">
            <a:noAutofit/>
          </a:bodyPr>
          <a:lstStyle/>
          <a:p>
            <a:endParaRPr/>
          </a:p>
        </p:txBody>
      </p:sp>
      <p:sp>
        <p:nvSpPr>
          <p:cNvPr id="325" name="object 325"/>
          <p:cNvSpPr/>
          <p:nvPr/>
        </p:nvSpPr>
        <p:spPr>
          <a:xfrm>
            <a:off x="10172422" y="1351750"/>
            <a:ext cx="27976" cy="5163"/>
          </a:xfrm>
          <a:custGeom>
            <a:avLst/>
            <a:gdLst/>
            <a:ahLst/>
            <a:cxnLst/>
            <a:rect l="l" t="t" r="r" b="b"/>
            <a:pathLst>
              <a:path w="27976" h="5163">
                <a:moveTo>
                  <a:pt x="27976" y="5163"/>
                </a:moveTo>
                <a:lnTo>
                  <a:pt x="13392" y="0"/>
                </a:lnTo>
                <a:lnTo>
                  <a:pt x="0" y="5163"/>
                </a:lnTo>
                <a:lnTo>
                  <a:pt x="27976" y="5163"/>
                </a:lnTo>
                <a:close/>
              </a:path>
            </a:pathLst>
          </a:custGeom>
          <a:solidFill>
            <a:srgbClr val="000000"/>
          </a:solidFill>
        </p:spPr>
        <p:txBody>
          <a:bodyPr wrap="square" lIns="0" tIns="0" rIns="0" bIns="0" rtlCol="0">
            <a:noAutofit/>
          </a:bodyPr>
          <a:lstStyle/>
          <a:p>
            <a:endParaRPr/>
          </a:p>
        </p:txBody>
      </p:sp>
      <p:sp>
        <p:nvSpPr>
          <p:cNvPr id="326" name="object 326"/>
          <p:cNvSpPr/>
          <p:nvPr/>
        </p:nvSpPr>
        <p:spPr>
          <a:xfrm>
            <a:off x="10171826" y="1210821"/>
            <a:ext cx="27380" cy="5163"/>
          </a:xfrm>
          <a:custGeom>
            <a:avLst/>
            <a:gdLst/>
            <a:ahLst/>
            <a:cxnLst/>
            <a:rect l="l" t="t" r="r" b="b"/>
            <a:pathLst>
              <a:path w="27380" h="5163">
                <a:moveTo>
                  <a:pt x="27380" y="0"/>
                </a:moveTo>
                <a:lnTo>
                  <a:pt x="0" y="0"/>
                </a:lnTo>
                <a:lnTo>
                  <a:pt x="13988" y="5163"/>
                </a:lnTo>
                <a:lnTo>
                  <a:pt x="27380" y="0"/>
                </a:lnTo>
                <a:close/>
              </a:path>
            </a:pathLst>
          </a:custGeom>
          <a:solidFill>
            <a:srgbClr val="000000"/>
          </a:solidFill>
        </p:spPr>
        <p:txBody>
          <a:bodyPr wrap="square" lIns="0" tIns="0" rIns="0" bIns="0" rtlCol="0">
            <a:noAutofit/>
          </a:bodyPr>
          <a:lstStyle/>
          <a:p>
            <a:endParaRPr/>
          </a:p>
        </p:txBody>
      </p:sp>
      <p:sp>
        <p:nvSpPr>
          <p:cNvPr id="327" name="object 327"/>
          <p:cNvSpPr/>
          <p:nvPr/>
        </p:nvSpPr>
        <p:spPr>
          <a:xfrm>
            <a:off x="10171826" y="1209303"/>
            <a:ext cx="28868" cy="3037"/>
          </a:xfrm>
          <a:custGeom>
            <a:avLst/>
            <a:gdLst/>
            <a:ahLst/>
            <a:cxnLst/>
            <a:rect l="l" t="t" r="r" b="b"/>
            <a:pathLst>
              <a:path w="28868" h="3037">
                <a:moveTo>
                  <a:pt x="26785" y="0"/>
                </a:moveTo>
                <a:lnTo>
                  <a:pt x="0" y="0"/>
                </a:lnTo>
                <a:lnTo>
                  <a:pt x="0" y="3037"/>
                </a:lnTo>
                <a:lnTo>
                  <a:pt x="27380" y="3037"/>
                </a:lnTo>
                <a:lnTo>
                  <a:pt x="27906" y="2679"/>
                </a:lnTo>
                <a:lnTo>
                  <a:pt x="28273" y="2429"/>
                </a:lnTo>
                <a:lnTo>
                  <a:pt x="28868" y="1518"/>
                </a:lnTo>
                <a:lnTo>
                  <a:pt x="28273" y="607"/>
                </a:lnTo>
                <a:lnTo>
                  <a:pt x="27380" y="0"/>
                </a:lnTo>
                <a:lnTo>
                  <a:pt x="26785" y="0"/>
                </a:lnTo>
                <a:close/>
              </a:path>
            </a:pathLst>
          </a:custGeom>
          <a:solidFill>
            <a:srgbClr val="000000"/>
          </a:solidFill>
        </p:spPr>
        <p:txBody>
          <a:bodyPr wrap="square" lIns="0" tIns="0" rIns="0" bIns="0" rtlCol="0">
            <a:noAutofit/>
          </a:bodyPr>
          <a:lstStyle/>
          <a:p>
            <a:endParaRPr/>
          </a:p>
        </p:txBody>
      </p:sp>
      <p:sp>
        <p:nvSpPr>
          <p:cNvPr id="328" name="object 328"/>
          <p:cNvSpPr/>
          <p:nvPr/>
        </p:nvSpPr>
        <p:spPr>
          <a:xfrm>
            <a:off x="10184327" y="1209302"/>
            <a:ext cx="14285" cy="8200"/>
          </a:xfrm>
          <a:custGeom>
            <a:avLst/>
            <a:gdLst/>
            <a:ahLst/>
            <a:cxnLst/>
            <a:rect l="l" t="t" r="r" b="b"/>
            <a:pathLst>
              <a:path w="14285" h="8200">
                <a:moveTo>
                  <a:pt x="892" y="5163"/>
                </a:moveTo>
                <a:lnTo>
                  <a:pt x="0" y="6074"/>
                </a:lnTo>
                <a:lnTo>
                  <a:pt x="297" y="6985"/>
                </a:lnTo>
                <a:lnTo>
                  <a:pt x="892" y="8200"/>
                </a:lnTo>
                <a:lnTo>
                  <a:pt x="2083" y="8200"/>
                </a:lnTo>
                <a:lnTo>
                  <a:pt x="2083" y="5163"/>
                </a:lnTo>
                <a:lnTo>
                  <a:pt x="14285" y="0"/>
                </a:lnTo>
                <a:lnTo>
                  <a:pt x="892" y="5163"/>
                </a:lnTo>
                <a:close/>
              </a:path>
            </a:pathLst>
          </a:custGeom>
          <a:solidFill>
            <a:srgbClr val="000000"/>
          </a:solidFill>
        </p:spPr>
        <p:txBody>
          <a:bodyPr wrap="square" lIns="0" tIns="0" rIns="0" bIns="0" rtlCol="0">
            <a:noAutofit/>
          </a:bodyPr>
          <a:lstStyle/>
          <a:p>
            <a:endParaRPr/>
          </a:p>
        </p:txBody>
      </p:sp>
      <p:sp>
        <p:nvSpPr>
          <p:cNvPr id="329" name="object 329"/>
          <p:cNvSpPr/>
          <p:nvPr/>
        </p:nvSpPr>
        <p:spPr>
          <a:xfrm>
            <a:off x="10186410" y="1209302"/>
            <a:ext cx="13392" cy="8200"/>
          </a:xfrm>
          <a:custGeom>
            <a:avLst/>
            <a:gdLst/>
            <a:ahLst/>
            <a:cxnLst/>
            <a:rect l="l" t="t" r="r" b="b"/>
            <a:pathLst>
              <a:path w="13392" h="8200">
                <a:moveTo>
                  <a:pt x="0" y="5163"/>
                </a:moveTo>
                <a:lnTo>
                  <a:pt x="0" y="8200"/>
                </a:lnTo>
                <a:lnTo>
                  <a:pt x="13392" y="3037"/>
                </a:lnTo>
                <a:lnTo>
                  <a:pt x="12202" y="0"/>
                </a:lnTo>
                <a:lnTo>
                  <a:pt x="0" y="5163"/>
                </a:lnTo>
                <a:close/>
              </a:path>
            </a:pathLst>
          </a:custGeom>
          <a:solidFill>
            <a:srgbClr val="000000"/>
          </a:solidFill>
        </p:spPr>
        <p:txBody>
          <a:bodyPr wrap="square" lIns="0" tIns="0" rIns="0" bIns="0" rtlCol="0">
            <a:noAutofit/>
          </a:bodyPr>
          <a:lstStyle/>
          <a:p>
            <a:endParaRPr/>
          </a:p>
        </p:txBody>
      </p:sp>
      <p:sp>
        <p:nvSpPr>
          <p:cNvPr id="330" name="object 330"/>
          <p:cNvSpPr/>
          <p:nvPr/>
        </p:nvSpPr>
        <p:spPr>
          <a:xfrm>
            <a:off x="10170338" y="1209302"/>
            <a:ext cx="14880" cy="8200"/>
          </a:xfrm>
          <a:custGeom>
            <a:avLst/>
            <a:gdLst/>
            <a:ahLst/>
            <a:cxnLst/>
            <a:rect l="l" t="t" r="r" b="b"/>
            <a:pathLst>
              <a:path w="14880" h="8200">
                <a:moveTo>
                  <a:pt x="892" y="3037"/>
                </a:moveTo>
                <a:lnTo>
                  <a:pt x="14880" y="8200"/>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331" name="object 331"/>
          <p:cNvSpPr/>
          <p:nvPr/>
        </p:nvSpPr>
        <p:spPr>
          <a:xfrm>
            <a:off x="10171827" y="1209302"/>
            <a:ext cx="14583" cy="8200"/>
          </a:xfrm>
          <a:custGeom>
            <a:avLst/>
            <a:gdLst/>
            <a:ahLst/>
            <a:cxnLst/>
            <a:rect l="l" t="t" r="r" b="b"/>
            <a:pathLst>
              <a:path w="14583" h="8200">
                <a:moveTo>
                  <a:pt x="595" y="0"/>
                </a:moveTo>
                <a:lnTo>
                  <a:pt x="0" y="0"/>
                </a:lnTo>
                <a:lnTo>
                  <a:pt x="0" y="3037"/>
                </a:lnTo>
                <a:lnTo>
                  <a:pt x="13392" y="8200"/>
                </a:lnTo>
                <a:lnTo>
                  <a:pt x="14583" y="5163"/>
                </a:lnTo>
                <a:lnTo>
                  <a:pt x="595" y="0"/>
                </a:lnTo>
                <a:close/>
              </a:path>
            </a:pathLst>
          </a:custGeom>
          <a:solidFill>
            <a:srgbClr val="000000"/>
          </a:solidFill>
        </p:spPr>
        <p:txBody>
          <a:bodyPr wrap="square" lIns="0" tIns="0" rIns="0" bIns="0" rtlCol="0">
            <a:noAutofit/>
          </a:bodyPr>
          <a:lstStyle/>
          <a:p>
            <a:endParaRPr/>
          </a:p>
        </p:txBody>
      </p:sp>
      <p:sp>
        <p:nvSpPr>
          <p:cNvPr id="332" name="object 332"/>
          <p:cNvSpPr/>
          <p:nvPr/>
        </p:nvSpPr>
        <p:spPr>
          <a:xfrm>
            <a:off x="10172422" y="1355395"/>
            <a:ext cx="29464" cy="3037"/>
          </a:xfrm>
          <a:custGeom>
            <a:avLst/>
            <a:gdLst/>
            <a:ahLst/>
            <a:cxnLst/>
            <a:rect l="l" t="t" r="r" b="b"/>
            <a:pathLst>
              <a:path w="29464" h="3037">
                <a:moveTo>
                  <a:pt x="29464" y="1518"/>
                </a:moveTo>
                <a:lnTo>
                  <a:pt x="28868" y="607"/>
                </a:lnTo>
                <a:lnTo>
                  <a:pt x="28501" y="357"/>
                </a:lnTo>
                <a:lnTo>
                  <a:pt x="27976" y="0"/>
                </a:lnTo>
                <a:lnTo>
                  <a:pt x="0" y="0"/>
                </a:lnTo>
                <a:lnTo>
                  <a:pt x="0" y="3037"/>
                </a:lnTo>
                <a:lnTo>
                  <a:pt x="27976" y="3037"/>
                </a:lnTo>
                <a:lnTo>
                  <a:pt x="28868" y="2429"/>
                </a:lnTo>
                <a:lnTo>
                  <a:pt x="29464" y="1518"/>
                </a:lnTo>
                <a:close/>
              </a:path>
            </a:pathLst>
          </a:custGeom>
          <a:solidFill>
            <a:srgbClr val="000000"/>
          </a:solidFill>
        </p:spPr>
        <p:txBody>
          <a:bodyPr wrap="square" lIns="0" tIns="0" rIns="0" bIns="0" rtlCol="0">
            <a:noAutofit/>
          </a:bodyPr>
          <a:lstStyle/>
          <a:p>
            <a:endParaRPr/>
          </a:p>
        </p:txBody>
      </p:sp>
      <p:sp>
        <p:nvSpPr>
          <p:cNvPr id="333" name="object 333"/>
          <p:cNvSpPr/>
          <p:nvPr/>
        </p:nvSpPr>
        <p:spPr>
          <a:xfrm>
            <a:off x="10185220" y="1353269"/>
            <a:ext cx="14583" cy="5163"/>
          </a:xfrm>
          <a:custGeom>
            <a:avLst/>
            <a:gdLst/>
            <a:ahLst/>
            <a:cxnLst/>
            <a:rect l="l" t="t" r="r" b="b"/>
            <a:pathLst>
              <a:path w="14583" h="5163">
                <a:moveTo>
                  <a:pt x="14583" y="5163"/>
                </a:moveTo>
                <a:lnTo>
                  <a:pt x="1190" y="0"/>
                </a:lnTo>
                <a:lnTo>
                  <a:pt x="0" y="0"/>
                </a:lnTo>
                <a:lnTo>
                  <a:pt x="14583" y="5163"/>
                </a:lnTo>
                <a:close/>
              </a:path>
            </a:pathLst>
          </a:custGeom>
          <a:solidFill>
            <a:srgbClr val="000000"/>
          </a:solidFill>
        </p:spPr>
        <p:txBody>
          <a:bodyPr wrap="square" lIns="0" tIns="0" rIns="0" bIns="0" rtlCol="0">
            <a:noAutofit/>
          </a:bodyPr>
          <a:lstStyle/>
          <a:p>
            <a:endParaRPr/>
          </a:p>
        </p:txBody>
      </p:sp>
      <p:sp>
        <p:nvSpPr>
          <p:cNvPr id="334" name="object 334"/>
          <p:cNvSpPr/>
          <p:nvPr/>
        </p:nvSpPr>
        <p:spPr>
          <a:xfrm>
            <a:off x="10184326" y="1350230"/>
            <a:ext cx="16666" cy="8200"/>
          </a:xfrm>
          <a:custGeom>
            <a:avLst/>
            <a:gdLst/>
            <a:ahLst/>
            <a:cxnLst/>
            <a:rect l="l" t="t" r="r" b="b"/>
            <a:pathLst>
              <a:path w="16666" h="8200">
                <a:moveTo>
                  <a:pt x="297" y="911"/>
                </a:moveTo>
                <a:lnTo>
                  <a:pt x="0" y="2126"/>
                </a:lnTo>
                <a:lnTo>
                  <a:pt x="892" y="3037"/>
                </a:lnTo>
                <a:lnTo>
                  <a:pt x="2083" y="3037"/>
                </a:lnTo>
                <a:lnTo>
                  <a:pt x="15476" y="8200"/>
                </a:lnTo>
                <a:lnTo>
                  <a:pt x="16666" y="5163"/>
                </a:lnTo>
                <a:lnTo>
                  <a:pt x="2083" y="0"/>
                </a:lnTo>
                <a:lnTo>
                  <a:pt x="892" y="0"/>
                </a:lnTo>
                <a:lnTo>
                  <a:pt x="297" y="911"/>
                </a:lnTo>
                <a:close/>
              </a:path>
            </a:pathLst>
          </a:custGeom>
          <a:solidFill>
            <a:srgbClr val="000000"/>
          </a:solidFill>
        </p:spPr>
        <p:txBody>
          <a:bodyPr wrap="square" lIns="0" tIns="0" rIns="0" bIns="0" rtlCol="0">
            <a:noAutofit/>
          </a:bodyPr>
          <a:lstStyle/>
          <a:p>
            <a:endParaRPr/>
          </a:p>
        </p:txBody>
      </p:sp>
      <p:sp>
        <p:nvSpPr>
          <p:cNvPr id="335" name="object 335"/>
          <p:cNvSpPr/>
          <p:nvPr/>
        </p:nvSpPr>
        <p:spPr>
          <a:xfrm>
            <a:off x="10171826" y="1350231"/>
            <a:ext cx="13392" cy="5163"/>
          </a:xfrm>
          <a:custGeom>
            <a:avLst/>
            <a:gdLst/>
            <a:ahLst/>
            <a:cxnLst/>
            <a:rect l="l" t="t" r="r" b="b"/>
            <a:pathLst>
              <a:path w="13392" h="5163">
                <a:moveTo>
                  <a:pt x="0" y="5163"/>
                </a:moveTo>
                <a:lnTo>
                  <a:pt x="595" y="5163"/>
                </a:lnTo>
                <a:lnTo>
                  <a:pt x="13392" y="0"/>
                </a:lnTo>
                <a:lnTo>
                  <a:pt x="0" y="5163"/>
                </a:lnTo>
                <a:close/>
              </a:path>
            </a:pathLst>
          </a:custGeom>
          <a:solidFill>
            <a:srgbClr val="000000"/>
          </a:solidFill>
        </p:spPr>
        <p:txBody>
          <a:bodyPr wrap="square" lIns="0" tIns="0" rIns="0" bIns="0" rtlCol="0">
            <a:noAutofit/>
          </a:bodyPr>
          <a:lstStyle/>
          <a:p>
            <a:endParaRPr/>
          </a:p>
        </p:txBody>
      </p:sp>
      <p:sp>
        <p:nvSpPr>
          <p:cNvPr id="336" name="object 336"/>
          <p:cNvSpPr/>
          <p:nvPr/>
        </p:nvSpPr>
        <p:spPr>
          <a:xfrm>
            <a:off x="10170933" y="1350230"/>
            <a:ext cx="15476" cy="8200"/>
          </a:xfrm>
          <a:custGeom>
            <a:avLst/>
            <a:gdLst/>
            <a:ahLst/>
            <a:cxnLst/>
            <a:rect l="l" t="t" r="r" b="b"/>
            <a:pathLst>
              <a:path w="15476" h="8200">
                <a:moveTo>
                  <a:pt x="297" y="6985"/>
                </a:moveTo>
                <a:lnTo>
                  <a:pt x="892" y="8200"/>
                </a:lnTo>
                <a:lnTo>
                  <a:pt x="2083" y="8200"/>
                </a:lnTo>
                <a:lnTo>
                  <a:pt x="15476" y="3037"/>
                </a:lnTo>
                <a:lnTo>
                  <a:pt x="14285" y="0"/>
                </a:lnTo>
                <a:lnTo>
                  <a:pt x="1488" y="5163"/>
                </a:lnTo>
                <a:lnTo>
                  <a:pt x="892" y="5163"/>
                </a:lnTo>
                <a:lnTo>
                  <a:pt x="0" y="6074"/>
                </a:lnTo>
                <a:lnTo>
                  <a:pt x="297" y="6985"/>
                </a:lnTo>
                <a:close/>
              </a:path>
            </a:pathLst>
          </a:custGeom>
          <a:solidFill>
            <a:srgbClr val="000000"/>
          </a:solidFill>
        </p:spPr>
        <p:txBody>
          <a:bodyPr wrap="square" lIns="0" tIns="0" rIns="0" bIns="0" rtlCol="0">
            <a:noAutofit/>
          </a:bodyPr>
          <a:lstStyle/>
          <a:p>
            <a:endParaRPr/>
          </a:p>
        </p:txBody>
      </p:sp>
      <p:sp>
        <p:nvSpPr>
          <p:cNvPr id="337" name="object 337"/>
          <p:cNvSpPr/>
          <p:nvPr/>
        </p:nvSpPr>
        <p:spPr>
          <a:xfrm>
            <a:off x="10157839" y="1210518"/>
            <a:ext cx="82737" cy="146395"/>
          </a:xfrm>
          <a:custGeom>
            <a:avLst/>
            <a:gdLst/>
            <a:ahLst/>
            <a:cxnLst/>
            <a:rect l="l" t="t" r="r" b="b"/>
            <a:pathLst>
              <a:path w="82737" h="146395">
                <a:moveTo>
                  <a:pt x="41368" y="0"/>
                </a:moveTo>
                <a:lnTo>
                  <a:pt x="37202" y="303"/>
                </a:lnTo>
                <a:lnTo>
                  <a:pt x="33035" y="1518"/>
                </a:lnTo>
                <a:lnTo>
                  <a:pt x="25297" y="5770"/>
                </a:lnTo>
                <a:lnTo>
                  <a:pt x="18154" y="12452"/>
                </a:lnTo>
                <a:lnTo>
                  <a:pt x="14880" y="16704"/>
                </a:lnTo>
                <a:lnTo>
                  <a:pt x="12202" y="21564"/>
                </a:lnTo>
                <a:lnTo>
                  <a:pt x="9523" y="26727"/>
                </a:lnTo>
                <a:lnTo>
                  <a:pt x="7142" y="32194"/>
                </a:lnTo>
                <a:lnTo>
                  <a:pt x="5059" y="38269"/>
                </a:lnTo>
                <a:lnTo>
                  <a:pt x="3273" y="44647"/>
                </a:lnTo>
                <a:lnTo>
                  <a:pt x="1785" y="51329"/>
                </a:lnTo>
                <a:lnTo>
                  <a:pt x="892" y="58315"/>
                </a:lnTo>
                <a:lnTo>
                  <a:pt x="297" y="65604"/>
                </a:lnTo>
                <a:lnTo>
                  <a:pt x="0" y="73197"/>
                </a:lnTo>
                <a:lnTo>
                  <a:pt x="297" y="80791"/>
                </a:lnTo>
                <a:lnTo>
                  <a:pt x="892" y="88080"/>
                </a:lnTo>
                <a:lnTo>
                  <a:pt x="1785" y="95066"/>
                </a:lnTo>
                <a:lnTo>
                  <a:pt x="3273" y="101748"/>
                </a:lnTo>
                <a:lnTo>
                  <a:pt x="5059" y="108126"/>
                </a:lnTo>
                <a:lnTo>
                  <a:pt x="7142" y="114200"/>
                </a:lnTo>
                <a:lnTo>
                  <a:pt x="9523" y="119667"/>
                </a:lnTo>
                <a:lnTo>
                  <a:pt x="12202" y="124831"/>
                </a:lnTo>
                <a:lnTo>
                  <a:pt x="14880" y="129690"/>
                </a:lnTo>
                <a:lnTo>
                  <a:pt x="18154" y="133942"/>
                </a:lnTo>
                <a:lnTo>
                  <a:pt x="21726" y="137587"/>
                </a:lnTo>
                <a:lnTo>
                  <a:pt x="29166" y="143054"/>
                </a:lnTo>
                <a:lnTo>
                  <a:pt x="37202" y="146092"/>
                </a:lnTo>
                <a:lnTo>
                  <a:pt x="41368" y="146395"/>
                </a:lnTo>
                <a:lnTo>
                  <a:pt x="45535" y="146092"/>
                </a:lnTo>
                <a:lnTo>
                  <a:pt x="53571" y="143054"/>
                </a:lnTo>
                <a:lnTo>
                  <a:pt x="61011" y="137587"/>
                </a:lnTo>
                <a:lnTo>
                  <a:pt x="64285" y="133942"/>
                </a:lnTo>
                <a:lnTo>
                  <a:pt x="67559" y="129690"/>
                </a:lnTo>
                <a:lnTo>
                  <a:pt x="70535" y="124831"/>
                </a:lnTo>
                <a:lnTo>
                  <a:pt x="73214" y="119667"/>
                </a:lnTo>
                <a:lnTo>
                  <a:pt x="75595" y="114200"/>
                </a:lnTo>
                <a:lnTo>
                  <a:pt x="77678" y="108126"/>
                </a:lnTo>
                <a:lnTo>
                  <a:pt x="79464" y="101748"/>
                </a:lnTo>
                <a:lnTo>
                  <a:pt x="80952" y="95066"/>
                </a:lnTo>
                <a:lnTo>
                  <a:pt x="81844" y="88080"/>
                </a:lnTo>
                <a:lnTo>
                  <a:pt x="82440" y="80791"/>
                </a:lnTo>
                <a:lnTo>
                  <a:pt x="82737" y="73197"/>
                </a:lnTo>
                <a:lnTo>
                  <a:pt x="82440" y="65604"/>
                </a:lnTo>
                <a:lnTo>
                  <a:pt x="81844" y="58315"/>
                </a:lnTo>
                <a:lnTo>
                  <a:pt x="80952" y="51329"/>
                </a:lnTo>
                <a:lnTo>
                  <a:pt x="79464" y="44647"/>
                </a:lnTo>
                <a:lnTo>
                  <a:pt x="77678" y="38269"/>
                </a:lnTo>
                <a:lnTo>
                  <a:pt x="75595" y="32194"/>
                </a:lnTo>
                <a:lnTo>
                  <a:pt x="73214" y="26727"/>
                </a:lnTo>
                <a:lnTo>
                  <a:pt x="70535" y="21564"/>
                </a:lnTo>
                <a:lnTo>
                  <a:pt x="67559" y="16704"/>
                </a:lnTo>
                <a:lnTo>
                  <a:pt x="64285" y="12452"/>
                </a:lnTo>
                <a:lnTo>
                  <a:pt x="61011" y="8808"/>
                </a:lnTo>
                <a:lnTo>
                  <a:pt x="53571" y="3340"/>
                </a:lnTo>
                <a:lnTo>
                  <a:pt x="45535" y="303"/>
                </a:lnTo>
                <a:lnTo>
                  <a:pt x="41368" y="0"/>
                </a:lnTo>
                <a:close/>
              </a:path>
            </a:pathLst>
          </a:custGeom>
          <a:solidFill>
            <a:srgbClr val="000000"/>
          </a:solidFill>
        </p:spPr>
        <p:txBody>
          <a:bodyPr wrap="square" lIns="0" tIns="0" rIns="0" bIns="0" rtlCol="0">
            <a:noAutofit/>
          </a:bodyPr>
          <a:lstStyle/>
          <a:p>
            <a:endParaRPr/>
          </a:p>
        </p:txBody>
      </p:sp>
      <p:sp>
        <p:nvSpPr>
          <p:cNvPr id="338" name="object 338"/>
          <p:cNvSpPr/>
          <p:nvPr/>
        </p:nvSpPr>
        <p:spPr>
          <a:xfrm>
            <a:off x="10199207" y="1208391"/>
            <a:ext cx="43452" cy="75323"/>
          </a:xfrm>
          <a:custGeom>
            <a:avLst/>
            <a:gdLst/>
            <a:ahLst/>
            <a:cxnLst/>
            <a:rect l="l" t="t" r="r" b="b"/>
            <a:pathLst>
              <a:path w="43452" h="75323">
                <a:moveTo>
                  <a:pt x="0" y="0"/>
                </a:moveTo>
                <a:lnTo>
                  <a:pt x="0" y="4252"/>
                </a:lnTo>
                <a:lnTo>
                  <a:pt x="3869" y="4555"/>
                </a:lnTo>
                <a:lnTo>
                  <a:pt x="7738" y="5770"/>
                </a:lnTo>
                <a:lnTo>
                  <a:pt x="11309" y="7289"/>
                </a:lnTo>
                <a:lnTo>
                  <a:pt x="14880" y="9719"/>
                </a:lnTo>
                <a:lnTo>
                  <a:pt x="18154" y="12452"/>
                </a:lnTo>
                <a:lnTo>
                  <a:pt x="21428" y="16097"/>
                </a:lnTo>
                <a:lnTo>
                  <a:pt x="24404" y="20045"/>
                </a:lnTo>
                <a:lnTo>
                  <a:pt x="27380" y="24601"/>
                </a:lnTo>
                <a:lnTo>
                  <a:pt x="30059" y="29765"/>
                </a:lnTo>
                <a:lnTo>
                  <a:pt x="32440" y="35232"/>
                </a:lnTo>
                <a:lnTo>
                  <a:pt x="34226" y="41002"/>
                </a:lnTo>
                <a:lnTo>
                  <a:pt x="36011" y="47381"/>
                </a:lnTo>
                <a:lnTo>
                  <a:pt x="37499" y="53759"/>
                </a:lnTo>
                <a:lnTo>
                  <a:pt x="38392" y="60745"/>
                </a:lnTo>
                <a:lnTo>
                  <a:pt x="38987" y="67730"/>
                </a:lnTo>
                <a:lnTo>
                  <a:pt x="39285" y="75323"/>
                </a:lnTo>
                <a:lnTo>
                  <a:pt x="43452" y="75323"/>
                </a:lnTo>
                <a:lnTo>
                  <a:pt x="43154" y="67730"/>
                </a:lnTo>
                <a:lnTo>
                  <a:pt x="42559" y="60137"/>
                </a:lnTo>
                <a:lnTo>
                  <a:pt x="41666" y="53151"/>
                </a:lnTo>
                <a:lnTo>
                  <a:pt x="40178" y="46166"/>
                </a:lnTo>
                <a:lnTo>
                  <a:pt x="38392" y="39788"/>
                </a:lnTo>
                <a:lnTo>
                  <a:pt x="36011" y="33409"/>
                </a:lnTo>
                <a:lnTo>
                  <a:pt x="33630" y="27942"/>
                </a:lnTo>
                <a:lnTo>
                  <a:pt x="30952" y="22779"/>
                </a:lnTo>
                <a:lnTo>
                  <a:pt x="27976" y="17616"/>
                </a:lnTo>
                <a:lnTo>
                  <a:pt x="24404" y="13060"/>
                </a:lnTo>
                <a:lnTo>
                  <a:pt x="21130" y="9415"/>
                </a:lnTo>
                <a:lnTo>
                  <a:pt x="17261" y="6074"/>
                </a:lnTo>
                <a:lnTo>
                  <a:pt x="13095" y="3644"/>
                </a:lnTo>
                <a:lnTo>
                  <a:pt x="8928" y="1518"/>
                </a:lnTo>
                <a:lnTo>
                  <a:pt x="4464" y="303"/>
                </a:lnTo>
                <a:lnTo>
                  <a:pt x="0" y="0"/>
                </a:lnTo>
                <a:close/>
              </a:path>
            </a:pathLst>
          </a:custGeom>
          <a:solidFill>
            <a:srgbClr val="000000"/>
          </a:solidFill>
        </p:spPr>
        <p:txBody>
          <a:bodyPr wrap="square" lIns="0" tIns="0" rIns="0" bIns="0" rtlCol="0">
            <a:noAutofit/>
          </a:bodyPr>
          <a:lstStyle/>
          <a:p>
            <a:endParaRPr/>
          </a:p>
        </p:txBody>
      </p:sp>
      <p:sp>
        <p:nvSpPr>
          <p:cNvPr id="339" name="object 339"/>
          <p:cNvSpPr/>
          <p:nvPr/>
        </p:nvSpPr>
        <p:spPr>
          <a:xfrm>
            <a:off x="10199207" y="1283715"/>
            <a:ext cx="43452" cy="75323"/>
          </a:xfrm>
          <a:custGeom>
            <a:avLst/>
            <a:gdLst/>
            <a:ahLst/>
            <a:cxnLst/>
            <a:rect l="l" t="t" r="r" b="b"/>
            <a:pathLst>
              <a:path w="43452" h="75323">
                <a:moveTo>
                  <a:pt x="4464" y="75020"/>
                </a:moveTo>
                <a:lnTo>
                  <a:pt x="8928" y="73805"/>
                </a:lnTo>
                <a:lnTo>
                  <a:pt x="13095" y="71679"/>
                </a:lnTo>
                <a:lnTo>
                  <a:pt x="17261" y="69249"/>
                </a:lnTo>
                <a:lnTo>
                  <a:pt x="21130" y="65908"/>
                </a:lnTo>
                <a:lnTo>
                  <a:pt x="24404" y="62263"/>
                </a:lnTo>
                <a:lnTo>
                  <a:pt x="27976" y="57707"/>
                </a:lnTo>
                <a:lnTo>
                  <a:pt x="30952" y="52544"/>
                </a:lnTo>
                <a:lnTo>
                  <a:pt x="33630" y="47381"/>
                </a:lnTo>
                <a:lnTo>
                  <a:pt x="36011" y="41914"/>
                </a:lnTo>
                <a:lnTo>
                  <a:pt x="38392" y="35535"/>
                </a:lnTo>
                <a:lnTo>
                  <a:pt x="40178" y="29157"/>
                </a:lnTo>
                <a:lnTo>
                  <a:pt x="41666" y="22171"/>
                </a:lnTo>
                <a:lnTo>
                  <a:pt x="42559" y="15186"/>
                </a:lnTo>
                <a:lnTo>
                  <a:pt x="43154" y="7593"/>
                </a:lnTo>
                <a:lnTo>
                  <a:pt x="43452" y="0"/>
                </a:lnTo>
                <a:lnTo>
                  <a:pt x="39285" y="0"/>
                </a:lnTo>
                <a:lnTo>
                  <a:pt x="38987" y="7593"/>
                </a:lnTo>
                <a:lnTo>
                  <a:pt x="38392" y="14578"/>
                </a:lnTo>
                <a:lnTo>
                  <a:pt x="37499" y="21564"/>
                </a:lnTo>
                <a:lnTo>
                  <a:pt x="36011" y="27942"/>
                </a:lnTo>
                <a:lnTo>
                  <a:pt x="34226" y="34320"/>
                </a:lnTo>
                <a:lnTo>
                  <a:pt x="32440" y="40091"/>
                </a:lnTo>
                <a:lnTo>
                  <a:pt x="30059" y="45558"/>
                </a:lnTo>
                <a:lnTo>
                  <a:pt x="27380" y="50722"/>
                </a:lnTo>
                <a:lnTo>
                  <a:pt x="24404" y="55278"/>
                </a:lnTo>
                <a:lnTo>
                  <a:pt x="21428" y="59226"/>
                </a:lnTo>
                <a:lnTo>
                  <a:pt x="18154" y="62871"/>
                </a:lnTo>
                <a:lnTo>
                  <a:pt x="14880" y="65604"/>
                </a:lnTo>
                <a:lnTo>
                  <a:pt x="11309" y="68034"/>
                </a:lnTo>
                <a:lnTo>
                  <a:pt x="7738" y="69553"/>
                </a:lnTo>
                <a:lnTo>
                  <a:pt x="3869" y="70768"/>
                </a:lnTo>
                <a:lnTo>
                  <a:pt x="0" y="71071"/>
                </a:lnTo>
                <a:lnTo>
                  <a:pt x="0" y="75323"/>
                </a:lnTo>
                <a:lnTo>
                  <a:pt x="4464" y="75020"/>
                </a:lnTo>
                <a:close/>
              </a:path>
            </a:pathLst>
          </a:custGeom>
          <a:solidFill>
            <a:srgbClr val="000000"/>
          </a:solidFill>
        </p:spPr>
        <p:txBody>
          <a:bodyPr wrap="square" lIns="0" tIns="0" rIns="0" bIns="0" rtlCol="0">
            <a:noAutofit/>
          </a:bodyPr>
          <a:lstStyle/>
          <a:p>
            <a:endParaRPr/>
          </a:p>
        </p:txBody>
      </p:sp>
      <p:sp>
        <p:nvSpPr>
          <p:cNvPr id="340" name="object 340"/>
          <p:cNvSpPr/>
          <p:nvPr/>
        </p:nvSpPr>
        <p:spPr>
          <a:xfrm>
            <a:off x="10155755" y="1283715"/>
            <a:ext cx="43452" cy="75323"/>
          </a:xfrm>
          <a:custGeom>
            <a:avLst/>
            <a:gdLst/>
            <a:ahLst/>
            <a:cxnLst/>
            <a:rect l="l" t="t" r="r" b="b"/>
            <a:pathLst>
              <a:path w="43452" h="75323">
                <a:moveTo>
                  <a:pt x="4166" y="0"/>
                </a:moveTo>
                <a:lnTo>
                  <a:pt x="0" y="0"/>
                </a:lnTo>
                <a:lnTo>
                  <a:pt x="297" y="7593"/>
                </a:lnTo>
                <a:lnTo>
                  <a:pt x="892" y="15186"/>
                </a:lnTo>
                <a:lnTo>
                  <a:pt x="1785" y="22171"/>
                </a:lnTo>
                <a:lnTo>
                  <a:pt x="3273" y="29157"/>
                </a:lnTo>
                <a:lnTo>
                  <a:pt x="5059" y="35535"/>
                </a:lnTo>
                <a:lnTo>
                  <a:pt x="7440" y="41914"/>
                </a:lnTo>
                <a:lnTo>
                  <a:pt x="9821" y="47381"/>
                </a:lnTo>
                <a:lnTo>
                  <a:pt x="12499" y="52544"/>
                </a:lnTo>
                <a:lnTo>
                  <a:pt x="15178" y="57707"/>
                </a:lnTo>
                <a:lnTo>
                  <a:pt x="18749" y="62263"/>
                </a:lnTo>
                <a:lnTo>
                  <a:pt x="22321" y="65908"/>
                </a:lnTo>
                <a:lnTo>
                  <a:pt x="26190" y="69249"/>
                </a:lnTo>
                <a:lnTo>
                  <a:pt x="30357" y="71679"/>
                </a:lnTo>
                <a:lnTo>
                  <a:pt x="34523" y="73805"/>
                </a:lnTo>
                <a:lnTo>
                  <a:pt x="38987" y="75020"/>
                </a:lnTo>
                <a:lnTo>
                  <a:pt x="43452" y="75323"/>
                </a:lnTo>
                <a:lnTo>
                  <a:pt x="43452" y="71071"/>
                </a:lnTo>
                <a:lnTo>
                  <a:pt x="39583" y="70768"/>
                </a:lnTo>
                <a:lnTo>
                  <a:pt x="35714" y="69553"/>
                </a:lnTo>
                <a:lnTo>
                  <a:pt x="32142" y="68034"/>
                </a:lnTo>
                <a:lnTo>
                  <a:pt x="28571" y="65604"/>
                </a:lnTo>
                <a:lnTo>
                  <a:pt x="25297" y="62871"/>
                </a:lnTo>
                <a:lnTo>
                  <a:pt x="21726" y="59226"/>
                </a:lnTo>
                <a:lnTo>
                  <a:pt x="18749" y="55278"/>
                </a:lnTo>
                <a:lnTo>
                  <a:pt x="16071" y="50722"/>
                </a:lnTo>
                <a:lnTo>
                  <a:pt x="13392" y="45558"/>
                </a:lnTo>
                <a:lnTo>
                  <a:pt x="11011" y="40091"/>
                </a:lnTo>
                <a:lnTo>
                  <a:pt x="9226" y="34320"/>
                </a:lnTo>
                <a:lnTo>
                  <a:pt x="7440" y="27942"/>
                </a:lnTo>
                <a:lnTo>
                  <a:pt x="5952" y="21564"/>
                </a:lnTo>
                <a:lnTo>
                  <a:pt x="5059" y="14578"/>
                </a:lnTo>
                <a:lnTo>
                  <a:pt x="4464" y="7593"/>
                </a:lnTo>
                <a:lnTo>
                  <a:pt x="4166" y="0"/>
                </a:lnTo>
                <a:close/>
              </a:path>
            </a:pathLst>
          </a:custGeom>
          <a:solidFill>
            <a:srgbClr val="000000"/>
          </a:solidFill>
        </p:spPr>
        <p:txBody>
          <a:bodyPr wrap="square" lIns="0" tIns="0" rIns="0" bIns="0" rtlCol="0">
            <a:noAutofit/>
          </a:bodyPr>
          <a:lstStyle/>
          <a:p>
            <a:endParaRPr/>
          </a:p>
        </p:txBody>
      </p:sp>
      <p:sp>
        <p:nvSpPr>
          <p:cNvPr id="341" name="object 341"/>
          <p:cNvSpPr/>
          <p:nvPr/>
        </p:nvSpPr>
        <p:spPr>
          <a:xfrm>
            <a:off x="10155755" y="1208391"/>
            <a:ext cx="43452" cy="75323"/>
          </a:xfrm>
          <a:custGeom>
            <a:avLst/>
            <a:gdLst/>
            <a:ahLst/>
            <a:cxnLst/>
            <a:rect l="l" t="t" r="r" b="b"/>
            <a:pathLst>
              <a:path w="43452" h="75323">
                <a:moveTo>
                  <a:pt x="5059" y="39788"/>
                </a:moveTo>
                <a:lnTo>
                  <a:pt x="3273" y="46166"/>
                </a:lnTo>
                <a:lnTo>
                  <a:pt x="1785" y="53151"/>
                </a:lnTo>
                <a:lnTo>
                  <a:pt x="892" y="60137"/>
                </a:lnTo>
                <a:lnTo>
                  <a:pt x="297" y="67730"/>
                </a:lnTo>
                <a:lnTo>
                  <a:pt x="0" y="75323"/>
                </a:lnTo>
                <a:lnTo>
                  <a:pt x="4166" y="75323"/>
                </a:lnTo>
                <a:lnTo>
                  <a:pt x="4464" y="67730"/>
                </a:lnTo>
                <a:lnTo>
                  <a:pt x="5059" y="60745"/>
                </a:lnTo>
                <a:lnTo>
                  <a:pt x="5952" y="53759"/>
                </a:lnTo>
                <a:lnTo>
                  <a:pt x="7440" y="47381"/>
                </a:lnTo>
                <a:lnTo>
                  <a:pt x="9226" y="41002"/>
                </a:lnTo>
                <a:lnTo>
                  <a:pt x="11011" y="35232"/>
                </a:lnTo>
                <a:lnTo>
                  <a:pt x="13392" y="29765"/>
                </a:lnTo>
                <a:lnTo>
                  <a:pt x="16071" y="24601"/>
                </a:lnTo>
                <a:lnTo>
                  <a:pt x="18749" y="20045"/>
                </a:lnTo>
                <a:lnTo>
                  <a:pt x="21726" y="16097"/>
                </a:lnTo>
                <a:lnTo>
                  <a:pt x="25297" y="12452"/>
                </a:lnTo>
                <a:lnTo>
                  <a:pt x="28571" y="9719"/>
                </a:lnTo>
                <a:lnTo>
                  <a:pt x="32142" y="7289"/>
                </a:lnTo>
                <a:lnTo>
                  <a:pt x="35714" y="5770"/>
                </a:lnTo>
                <a:lnTo>
                  <a:pt x="39583" y="4555"/>
                </a:lnTo>
                <a:lnTo>
                  <a:pt x="43452" y="4252"/>
                </a:lnTo>
                <a:lnTo>
                  <a:pt x="43452" y="0"/>
                </a:lnTo>
                <a:lnTo>
                  <a:pt x="38987" y="303"/>
                </a:lnTo>
                <a:lnTo>
                  <a:pt x="34523" y="1518"/>
                </a:lnTo>
                <a:lnTo>
                  <a:pt x="30357" y="3644"/>
                </a:lnTo>
                <a:lnTo>
                  <a:pt x="26190" y="6074"/>
                </a:lnTo>
                <a:lnTo>
                  <a:pt x="22321" y="9415"/>
                </a:lnTo>
                <a:lnTo>
                  <a:pt x="18749" y="13060"/>
                </a:lnTo>
                <a:lnTo>
                  <a:pt x="15178" y="17616"/>
                </a:lnTo>
                <a:lnTo>
                  <a:pt x="12499" y="22779"/>
                </a:lnTo>
                <a:lnTo>
                  <a:pt x="9821" y="27942"/>
                </a:lnTo>
                <a:lnTo>
                  <a:pt x="7440" y="33409"/>
                </a:lnTo>
                <a:lnTo>
                  <a:pt x="5059" y="39788"/>
                </a:lnTo>
                <a:close/>
              </a:path>
            </a:pathLst>
          </a:custGeom>
          <a:solidFill>
            <a:srgbClr val="000000"/>
          </a:solidFill>
        </p:spPr>
        <p:txBody>
          <a:bodyPr wrap="square" lIns="0" tIns="0" rIns="0" bIns="0" rtlCol="0">
            <a:noAutofit/>
          </a:bodyPr>
          <a:lstStyle/>
          <a:p>
            <a:endParaRPr/>
          </a:p>
        </p:txBody>
      </p:sp>
      <p:sp>
        <p:nvSpPr>
          <p:cNvPr id="342" name="object 342"/>
          <p:cNvSpPr/>
          <p:nvPr/>
        </p:nvSpPr>
        <p:spPr>
          <a:xfrm>
            <a:off x="10163792" y="1211429"/>
            <a:ext cx="82737" cy="146395"/>
          </a:xfrm>
          <a:custGeom>
            <a:avLst/>
            <a:gdLst/>
            <a:ahLst/>
            <a:cxnLst/>
            <a:rect l="l" t="t" r="r" b="b"/>
            <a:pathLst>
              <a:path w="82737" h="146395">
                <a:moveTo>
                  <a:pt x="41368" y="0"/>
                </a:moveTo>
                <a:lnTo>
                  <a:pt x="37202" y="303"/>
                </a:lnTo>
                <a:lnTo>
                  <a:pt x="33035" y="1518"/>
                </a:lnTo>
                <a:lnTo>
                  <a:pt x="25297" y="5770"/>
                </a:lnTo>
                <a:lnTo>
                  <a:pt x="18154" y="12452"/>
                </a:lnTo>
                <a:lnTo>
                  <a:pt x="14880" y="16704"/>
                </a:lnTo>
                <a:lnTo>
                  <a:pt x="12202" y="21564"/>
                </a:lnTo>
                <a:lnTo>
                  <a:pt x="9523" y="26727"/>
                </a:lnTo>
                <a:lnTo>
                  <a:pt x="7142" y="32194"/>
                </a:lnTo>
                <a:lnTo>
                  <a:pt x="5059" y="38269"/>
                </a:lnTo>
                <a:lnTo>
                  <a:pt x="3273" y="44647"/>
                </a:lnTo>
                <a:lnTo>
                  <a:pt x="1785" y="51329"/>
                </a:lnTo>
                <a:lnTo>
                  <a:pt x="892" y="58315"/>
                </a:lnTo>
                <a:lnTo>
                  <a:pt x="297" y="65604"/>
                </a:lnTo>
                <a:lnTo>
                  <a:pt x="0" y="73197"/>
                </a:lnTo>
                <a:lnTo>
                  <a:pt x="297" y="80791"/>
                </a:lnTo>
                <a:lnTo>
                  <a:pt x="892" y="88080"/>
                </a:lnTo>
                <a:lnTo>
                  <a:pt x="1785" y="95066"/>
                </a:lnTo>
                <a:lnTo>
                  <a:pt x="3273" y="101748"/>
                </a:lnTo>
                <a:lnTo>
                  <a:pt x="5059" y="108126"/>
                </a:lnTo>
                <a:lnTo>
                  <a:pt x="7142" y="114200"/>
                </a:lnTo>
                <a:lnTo>
                  <a:pt x="9523" y="119667"/>
                </a:lnTo>
                <a:lnTo>
                  <a:pt x="12202" y="124831"/>
                </a:lnTo>
                <a:lnTo>
                  <a:pt x="14880" y="129690"/>
                </a:lnTo>
                <a:lnTo>
                  <a:pt x="18154" y="133942"/>
                </a:lnTo>
                <a:lnTo>
                  <a:pt x="21726" y="137587"/>
                </a:lnTo>
                <a:lnTo>
                  <a:pt x="29166" y="143054"/>
                </a:lnTo>
                <a:lnTo>
                  <a:pt x="37202" y="146092"/>
                </a:lnTo>
                <a:lnTo>
                  <a:pt x="41368" y="146395"/>
                </a:lnTo>
                <a:lnTo>
                  <a:pt x="45535" y="146092"/>
                </a:lnTo>
                <a:lnTo>
                  <a:pt x="53571" y="143054"/>
                </a:lnTo>
                <a:lnTo>
                  <a:pt x="61011" y="137587"/>
                </a:lnTo>
                <a:lnTo>
                  <a:pt x="64285" y="133942"/>
                </a:lnTo>
                <a:lnTo>
                  <a:pt x="67559" y="129690"/>
                </a:lnTo>
                <a:lnTo>
                  <a:pt x="70535" y="124831"/>
                </a:lnTo>
                <a:lnTo>
                  <a:pt x="73214" y="119667"/>
                </a:lnTo>
                <a:lnTo>
                  <a:pt x="75595" y="114200"/>
                </a:lnTo>
                <a:lnTo>
                  <a:pt x="77678" y="108126"/>
                </a:lnTo>
                <a:lnTo>
                  <a:pt x="79464" y="101748"/>
                </a:lnTo>
                <a:lnTo>
                  <a:pt x="80952" y="95066"/>
                </a:lnTo>
                <a:lnTo>
                  <a:pt x="81844" y="88080"/>
                </a:lnTo>
                <a:lnTo>
                  <a:pt x="82440" y="80791"/>
                </a:lnTo>
                <a:lnTo>
                  <a:pt x="82737" y="73197"/>
                </a:lnTo>
                <a:lnTo>
                  <a:pt x="82440" y="65604"/>
                </a:lnTo>
                <a:lnTo>
                  <a:pt x="81844" y="58315"/>
                </a:lnTo>
                <a:lnTo>
                  <a:pt x="80952" y="51329"/>
                </a:lnTo>
                <a:lnTo>
                  <a:pt x="79464" y="44647"/>
                </a:lnTo>
                <a:lnTo>
                  <a:pt x="77678" y="38269"/>
                </a:lnTo>
                <a:lnTo>
                  <a:pt x="75595" y="32194"/>
                </a:lnTo>
                <a:lnTo>
                  <a:pt x="73214" y="26727"/>
                </a:lnTo>
                <a:lnTo>
                  <a:pt x="70535" y="21564"/>
                </a:lnTo>
                <a:lnTo>
                  <a:pt x="67559" y="16704"/>
                </a:lnTo>
                <a:lnTo>
                  <a:pt x="64285" y="12452"/>
                </a:lnTo>
                <a:lnTo>
                  <a:pt x="61011" y="8808"/>
                </a:lnTo>
                <a:lnTo>
                  <a:pt x="53571" y="3340"/>
                </a:lnTo>
                <a:lnTo>
                  <a:pt x="45535" y="303"/>
                </a:lnTo>
                <a:lnTo>
                  <a:pt x="41368" y="0"/>
                </a:lnTo>
                <a:close/>
              </a:path>
            </a:pathLst>
          </a:custGeom>
          <a:solidFill>
            <a:srgbClr val="000000"/>
          </a:solidFill>
        </p:spPr>
        <p:txBody>
          <a:bodyPr wrap="square" lIns="0" tIns="0" rIns="0" bIns="0" rtlCol="0">
            <a:noAutofit/>
          </a:bodyPr>
          <a:lstStyle/>
          <a:p>
            <a:endParaRPr/>
          </a:p>
        </p:txBody>
      </p:sp>
      <p:sp>
        <p:nvSpPr>
          <p:cNvPr id="343" name="object 343"/>
          <p:cNvSpPr/>
          <p:nvPr/>
        </p:nvSpPr>
        <p:spPr>
          <a:xfrm>
            <a:off x="10205160" y="1209303"/>
            <a:ext cx="43452" cy="75323"/>
          </a:xfrm>
          <a:custGeom>
            <a:avLst/>
            <a:gdLst/>
            <a:ahLst/>
            <a:cxnLst/>
            <a:rect l="l" t="t" r="r" b="b"/>
            <a:pathLst>
              <a:path w="43452" h="75323">
                <a:moveTo>
                  <a:pt x="0" y="0"/>
                </a:moveTo>
                <a:lnTo>
                  <a:pt x="0" y="4252"/>
                </a:lnTo>
                <a:lnTo>
                  <a:pt x="3869" y="4555"/>
                </a:lnTo>
                <a:lnTo>
                  <a:pt x="7738" y="5770"/>
                </a:lnTo>
                <a:lnTo>
                  <a:pt x="11309" y="7289"/>
                </a:lnTo>
                <a:lnTo>
                  <a:pt x="14880" y="9719"/>
                </a:lnTo>
                <a:lnTo>
                  <a:pt x="18154" y="12452"/>
                </a:lnTo>
                <a:lnTo>
                  <a:pt x="21428" y="16097"/>
                </a:lnTo>
                <a:lnTo>
                  <a:pt x="24404" y="20045"/>
                </a:lnTo>
                <a:lnTo>
                  <a:pt x="27380" y="24601"/>
                </a:lnTo>
                <a:lnTo>
                  <a:pt x="30059" y="29765"/>
                </a:lnTo>
                <a:lnTo>
                  <a:pt x="32440" y="35232"/>
                </a:lnTo>
                <a:lnTo>
                  <a:pt x="34226" y="41002"/>
                </a:lnTo>
                <a:lnTo>
                  <a:pt x="36011" y="47381"/>
                </a:lnTo>
                <a:lnTo>
                  <a:pt x="37499" y="53759"/>
                </a:lnTo>
                <a:lnTo>
                  <a:pt x="38392" y="60745"/>
                </a:lnTo>
                <a:lnTo>
                  <a:pt x="38987" y="67730"/>
                </a:lnTo>
                <a:lnTo>
                  <a:pt x="39285" y="75323"/>
                </a:lnTo>
                <a:lnTo>
                  <a:pt x="43452" y="75323"/>
                </a:lnTo>
                <a:lnTo>
                  <a:pt x="43154" y="67730"/>
                </a:lnTo>
                <a:lnTo>
                  <a:pt x="42559" y="60137"/>
                </a:lnTo>
                <a:lnTo>
                  <a:pt x="41666" y="53151"/>
                </a:lnTo>
                <a:lnTo>
                  <a:pt x="40178" y="46166"/>
                </a:lnTo>
                <a:lnTo>
                  <a:pt x="38392" y="39788"/>
                </a:lnTo>
                <a:lnTo>
                  <a:pt x="36011" y="33409"/>
                </a:lnTo>
                <a:lnTo>
                  <a:pt x="33630" y="27942"/>
                </a:lnTo>
                <a:lnTo>
                  <a:pt x="30952" y="22779"/>
                </a:lnTo>
                <a:lnTo>
                  <a:pt x="27976" y="17616"/>
                </a:lnTo>
                <a:lnTo>
                  <a:pt x="24404" y="13060"/>
                </a:lnTo>
                <a:lnTo>
                  <a:pt x="21130" y="9415"/>
                </a:lnTo>
                <a:lnTo>
                  <a:pt x="17261" y="6074"/>
                </a:lnTo>
                <a:lnTo>
                  <a:pt x="13095" y="3644"/>
                </a:lnTo>
                <a:lnTo>
                  <a:pt x="8928" y="1518"/>
                </a:lnTo>
                <a:lnTo>
                  <a:pt x="4464" y="303"/>
                </a:lnTo>
                <a:lnTo>
                  <a:pt x="0" y="0"/>
                </a:lnTo>
                <a:close/>
              </a:path>
            </a:pathLst>
          </a:custGeom>
          <a:solidFill>
            <a:srgbClr val="000000"/>
          </a:solidFill>
        </p:spPr>
        <p:txBody>
          <a:bodyPr wrap="square" lIns="0" tIns="0" rIns="0" bIns="0" rtlCol="0">
            <a:noAutofit/>
          </a:bodyPr>
          <a:lstStyle/>
          <a:p>
            <a:endParaRPr/>
          </a:p>
        </p:txBody>
      </p:sp>
      <p:sp>
        <p:nvSpPr>
          <p:cNvPr id="344" name="object 344"/>
          <p:cNvSpPr/>
          <p:nvPr/>
        </p:nvSpPr>
        <p:spPr>
          <a:xfrm>
            <a:off x="10205160" y="1284627"/>
            <a:ext cx="43452" cy="75323"/>
          </a:xfrm>
          <a:custGeom>
            <a:avLst/>
            <a:gdLst/>
            <a:ahLst/>
            <a:cxnLst/>
            <a:rect l="l" t="t" r="r" b="b"/>
            <a:pathLst>
              <a:path w="43452" h="75323">
                <a:moveTo>
                  <a:pt x="4464" y="75020"/>
                </a:moveTo>
                <a:lnTo>
                  <a:pt x="8928" y="73805"/>
                </a:lnTo>
                <a:lnTo>
                  <a:pt x="13095" y="71679"/>
                </a:lnTo>
                <a:lnTo>
                  <a:pt x="17261" y="69249"/>
                </a:lnTo>
                <a:lnTo>
                  <a:pt x="21130" y="65908"/>
                </a:lnTo>
                <a:lnTo>
                  <a:pt x="24404" y="62263"/>
                </a:lnTo>
                <a:lnTo>
                  <a:pt x="27976" y="57707"/>
                </a:lnTo>
                <a:lnTo>
                  <a:pt x="30952" y="52544"/>
                </a:lnTo>
                <a:lnTo>
                  <a:pt x="33630" y="47381"/>
                </a:lnTo>
                <a:lnTo>
                  <a:pt x="36011" y="41914"/>
                </a:lnTo>
                <a:lnTo>
                  <a:pt x="38392" y="35535"/>
                </a:lnTo>
                <a:lnTo>
                  <a:pt x="40178" y="29157"/>
                </a:lnTo>
                <a:lnTo>
                  <a:pt x="41666" y="22171"/>
                </a:lnTo>
                <a:lnTo>
                  <a:pt x="42559" y="15186"/>
                </a:lnTo>
                <a:lnTo>
                  <a:pt x="43154" y="7593"/>
                </a:lnTo>
                <a:lnTo>
                  <a:pt x="43452" y="0"/>
                </a:lnTo>
                <a:lnTo>
                  <a:pt x="39285" y="0"/>
                </a:lnTo>
                <a:lnTo>
                  <a:pt x="38987" y="7593"/>
                </a:lnTo>
                <a:lnTo>
                  <a:pt x="38392" y="14578"/>
                </a:lnTo>
                <a:lnTo>
                  <a:pt x="37499" y="21564"/>
                </a:lnTo>
                <a:lnTo>
                  <a:pt x="36011" y="27942"/>
                </a:lnTo>
                <a:lnTo>
                  <a:pt x="34226" y="34320"/>
                </a:lnTo>
                <a:lnTo>
                  <a:pt x="32440" y="40091"/>
                </a:lnTo>
                <a:lnTo>
                  <a:pt x="30059" y="45558"/>
                </a:lnTo>
                <a:lnTo>
                  <a:pt x="27380" y="50722"/>
                </a:lnTo>
                <a:lnTo>
                  <a:pt x="24404" y="55278"/>
                </a:lnTo>
                <a:lnTo>
                  <a:pt x="21428" y="59226"/>
                </a:lnTo>
                <a:lnTo>
                  <a:pt x="18154" y="62871"/>
                </a:lnTo>
                <a:lnTo>
                  <a:pt x="14880" y="65604"/>
                </a:lnTo>
                <a:lnTo>
                  <a:pt x="11309" y="68034"/>
                </a:lnTo>
                <a:lnTo>
                  <a:pt x="7738" y="69553"/>
                </a:lnTo>
                <a:lnTo>
                  <a:pt x="3869" y="70768"/>
                </a:lnTo>
                <a:lnTo>
                  <a:pt x="0" y="71071"/>
                </a:lnTo>
                <a:lnTo>
                  <a:pt x="0" y="75323"/>
                </a:lnTo>
                <a:lnTo>
                  <a:pt x="4464" y="75020"/>
                </a:lnTo>
                <a:close/>
              </a:path>
            </a:pathLst>
          </a:custGeom>
          <a:solidFill>
            <a:srgbClr val="000000"/>
          </a:solidFill>
        </p:spPr>
        <p:txBody>
          <a:bodyPr wrap="square" lIns="0" tIns="0" rIns="0" bIns="0" rtlCol="0">
            <a:noAutofit/>
          </a:bodyPr>
          <a:lstStyle/>
          <a:p>
            <a:endParaRPr/>
          </a:p>
        </p:txBody>
      </p:sp>
      <p:sp>
        <p:nvSpPr>
          <p:cNvPr id="345" name="object 345"/>
          <p:cNvSpPr/>
          <p:nvPr/>
        </p:nvSpPr>
        <p:spPr>
          <a:xfrm>
            <a:off x="10161707" y="1284627"/>
            <a:ext cx="43452" cy="75323"/>
          </a:xfrm>
          <a:custGeom>
            <a:avLst/>
            <a:gdLst/>
            <a:ahLst/>
            <a:cxnLst/>
            <a:rect l="l" t="t" r="r" b="b"/>
            <a:pathLst>
              <a:path w="43452" h="75323">
                <a:moveTo>
                  <a:pt x="4166" y="0"/>
                </a:moveTo>
                <a:lnTo>
                  <a:pt x="0" y="0"/>
                </a:lnTo>
                <a:lnTo>
                  <a:pt x="297" y="7593"/>
                </a:lnTo>
                <a:lnTo>
                  <a:pt x="892" y="15186"/>
                </a:lnTo>
                <a:lnTo>
                  <a:pt x="1785" y="22171"/>
                </a:lnTo>
                <a:lnTo>
                  <a:pt x="3273" y="29157"/>
                </a:lnTo>
                <a:lnTo>
                  <a:pt x="5059" y="35535"/>
                </a:lnTo>
                <a:lnTo>
                  <a:pt x="7440" y="41914"/>
                </a:lnTo>
                <a:lnTo>
                  <a:pt x="9821" y="47381"/>
                </a:lnTo>
                <a:lnTo>
                  <a:pt x="12499" y="52544"/>
                </a:lnTo>
                <a:lnTo>
                  <a:pt x="15178" y="57707"/>
                </a:lnTo>
                <a:lnTo>
                  <a:pt x="18749" y="62263"/>
                </a:lnTo>
                <a:lnTo>
                  <a:pt x="22321" y="65908"/>
                </a:lnTo>
                <a:lnTo>
                  <a:pt x="26190" y="69249"/>
                </a:lnTo>
                <a:lnTo>
                  <a:pt x="30357" y="71679"/>
                </a:lnTo>
                <a:lnTo>
                  <a:pt x="34523" y="73805"/>
                </a:lnTo>
                <a:lnTo>
                  <a:pt x="38987" y="75020"/>
                </a:lnTo>
                <a:lnTo>
                  <a:pt x="43452" y="75323"/>
                </a:lnTo>
                <a:lnTo>
                  <a:pt x="43452" y="71071"/>
                </a:lnTo>
                <a:lnTo>
                  <a:pt x="39583" y="70768"/>
                </a:lnTo>
                <a:lnTo>
                  <a:pt x="35714" y="69553"/>
                </a:lnTo>
                <a:lnTo>
                  <a:pt x="32142" y="68034"/>
                </a:lnTo>
                <a:lnTo>
                  <a:pt x="28571" y="65604"/>
                </a:lnTo>
                <a:lnTo>
                  <a:pt x="25297" y="62871"/>
                </a:lnTo>
                <a:lnTo>
                  <a:pt x="21726" y="59226"/>
                </a:lnTo>
                <a:lnTo>
                  <a:pt x="18749" y="55278"/>
                </a:lnTo>
                <a:lnTo>
                  <a:pt x="16071" y="50722"/>
                </a:lnTo>
                <a:lnTo>
                  <a:pt x="13392" y="45558"/>
                </a:lnTo>
                <a:lnTo>
                  <a:pt x="11011" y="40091"/>
                </a:lnTo>
                <a:lnTo>
                  <a:pt x="9226" y="34320"/>
                </a:lnTo>
                <a:lnTo>
                  <a:pt x="7440" y="27942"/>
                </a:lnTo>
                <a:lnTo>
                  <a:pt x="5952" y="21564"/>
                </a:lnTo>
                <a:lnTo>
                  <a:pt x="5059" y="14578"/>
                </a:lnTo>
                <a:lnTo>
                  <a:pt x="4464" y="7593"/>
                </a:lnTo>
                <a:lnTo>
                  <a:pt x="4166" y="0"/>
                </a:lnTo>
                <a:close/>
              </a:path>
            </a:pathLst>
          </a:custGeom>
          <a:solidFill>
            <a:srgbClr val="000000"/>
          </a:solidFill>
        </p:spPr>
        <p:txBody>
          <a:bodyPr wrap="square" lIns="0" tIns="0" rIns="0" bIns="0" rtlCol="0">
            <a:noAutofit/>
          </a:bodyPr>
          <a:lstStyle/>
          <a:p>
            <a:endParaRPr/>
          </a:p>
        </p:txBody>
      </p:sp>
      <p:sp>
        <p:nvSpPr>
          <p:cNvPr id="346" name="object 346"/>
          <p:cNvSpPr/>
          <p:nvPr/>
        </p:nvSpPr>
        <p:spPr>
          <a:xfrm>
            <a:off x="10161707" y="1209303"/>
            <a:ext cx="43452" cy="75323"/>
          </a:xfrm>
          <a:custGeom>
            <a:avLst/>
            <a:gdLst/>
            <a:ahLst/>
            <a:cxnLst/>
            <a:rect l="l" t="t" r="r" b="b"/>
            <a:pathLst>
              <a:path w="43452" h="75323">
                <a:moveTo>
                  <a:pt x="5059" y="39788"/>
                </a:moveTo>
                <a:lnTo>
                  <a:pt x="3273" y="46166"/>
                </a:lnTo>
                <a:lnTo>
                  <a:pt x="1785" y="53151"/>
                </a:lnTo>
                <a:lnTo>
                  <a:pt x="892" y="60137"/>
                </a:lnTo>
                <a:lnTo>
                  <a:pt x="297" y="67730"/>
                </a:lnTo>
                <a:lnTo>
                  <a:pt x="0" y="75323"/>
                </a:lnTo>
                <a:lnTo>
                  <a:pt x="4166" y="75323"/>
                </a:lnTo>
                <a:lnTo>
                  <a:pt x="4464" y="67730"/>
                </a:lnTo>
                <a:lnTo>
                  <a:pt x="5059" y="60745"/>
                </a:lnTo>
                <a:lnTo>
                  <a:pt x="5952" y="53759"/>
                </a:lnTo>
                <a:lnTo>
                  <a:pt x="7440" y="47381"/>
                </a:lnTo>
                <a:lnTo>
                  <a:pt x="9226" y="41002"/>
                </a:lnTo>
                <a:lnTo>
                  <a:pt x="11011" y="35232"/>
                </a:lnTo>
                <a:lnTo>
                  <a:pt x="13392" y="29765"/>
                </a:lnTo>
                <a:lnTo>
                  <a:pt x="16071" y="24601"/>
                </a:lnTo>
                <a:lnTo>
                  <a:pt x="18749" y="20045"/>
                </a:lnTo>
                <a:lnTo>
                  <a:pt x="21726" y="16097"/>
                </a:lnTo>
                <a:lnTo>
                  <a:pt x="25297" y="12452"/>
                </a:lnTo>
                <a:lnTo>
                  <a:pt x="28571" y="9719"/>
                </a:lnTo>
                <a:lnTo>
                  <a:pt x="32142" y="7289"/>
                </a:lnTo>
                <a:lnTo>
                  <a:pt x="35714" y="5770"/>
                </a:lnTo>
                <a:lnTo>
                  <a:pt x="39583" y="4555"/>
                </a:lnTo>
                <a:lnTo>
                  <a:pt x="43452" y="4252"/>
                </a:lnTo>
                <a:lnTo>
                  <a:pt x="43452" y="0"/>
                </a:lnTo>
                <a:lnTo>
                  <a:pt x="38987" y="303"/>
                </a:lnTo>
                <a:lnTo>
                  <a:pt x="34523" y="1518"/>
                </a:lnTo>
                <a:lnTo>
                  <a:pt x="30357" y="3644"/>
                </a:lnTo>
                <a:lnTo>
                  <a:pt x="26190" y="6074"/>
                </a:lnTo>
                <a:lnTo>
                  <a:pt x="22321" y="9415"/>
                </a:lnTo>
                <a:lnTo>
                  <a:pt x="18749" y="13060"/>
                </a:lnTo>
                <a:lnTo>
                  <a:pt x="15178" y="17616"/>
                </a:lnTo>
                <a:lnTo>
                  <a:pt x="12499" y="22779"/>
                </a:lnTo>
                <a:lnTo>
                  <a:pt x="9821" y="27942"/>
                </a:lnTo>
                <a:lnTo>
                  <a:pt x="7440" y="33409"/>
                </a:lnTo>
                <a:lnTo>
                  <a:pt x="5059" y="39788"/>
                </a:lnTo>
                <a:close/>
              </a:path>
            </a:pathLst>
          </a:custGeom>
          <a:solidFill>
            <a:srgbClr val="000000"/>
          </a:solidFill>
        </p:spPr>
        <p:txBody>
          <a:bodyPr wrap="square" lIns="0" tIns="0" rIns="0" bIns="0" rtlCol="0">
            <a:noAutofit/>
          </a:bodyPr>
          <a:lstStyle/>
          <a:p>
            <a:endParaRPr/>
          </a:p>
        </p:txBody>
      </p:sp>
      <p:sp>
        <p:nvSpPr>
          <p:cNvPr id="347" name="object 347"/>
          <p:cNvSpPr/>
          <p:nvPr/>
        </p:nvSpPr>
        <p:spPr>
          <a:xfrm>
            <a:off x="10205457" y="1352357"/>
            <a:ext cx="27976" cy="5163"/>
          </a:xfrm>
          <a:custGeom>
            <a:avLst/>
            <a:gdLst/>
            <a:ahLst/>
            <a:cxnLst/>
            <a:rect l="l" t="t" r="r" b="b"/>
            <a:pathLst>
              <a:path w="27976" h="5163">
                <a:moveTo>
                  <a:pt x="27976" y="5163"/>
                </a:moveTo>
                <a:lnTo>
                  <a:pt x="13392" y="0"/>
                </a:lnTo>
                <a:lnTo>
                  <a:pt x="0" y="5163"/>
                </a:lnTo>
                <a:lnTo>
                  <a:pt x="27976" y="5163"/>
                </a:lnTo>
                <a:close/>
              </a:path>
            </a:pathLst>
          </a:custGeom>
          <a:solidFill>
            <a:srgbClr val="000000"/>
          </a:solidFill>
        </p:spPr>
        <p:txBody>
          <a:bodyPr wrap="square" lIns="0" tIns="0" rIns="0" bIns="0" rtlCol="0">
            <a:noAutofit/>
          </a:bodyPr>
          <a:lstStyle/>
          <a:p>
            <a:endParaRPr/>
          </a:p>
        </p:txBody>
      </p:sp>
      <p:sp>
        <p:nvSpPr>
          <p:cNvPr id="348" name="object 348"/>
          <p:cNvSpPr/>
          <p:nvPr/>
        </p:nvSpPr>
        <p:spPr>
          <a:xfrm>
            <a:off x="10204862" y="1211429"/>
            <a:ext cx="27380" cy="5163"/>
          </a:xfrm>
          <a:custGeom>
            <a:avLst/>
            <a:gdLst/>
            <a:ahLst/>
            <a:cxnLst/>
            <a:rect l="l" t="t" r="r" b="b"/>
            <a:pathLst>
              <a:path w="27380" h="5163">
                <a:moveTo>
                  <a:pt x="27380" y="0"/>
                </a:moveTo>
                <a:lnTo>
                  <a:pt x="0" y="0"/>
                </a:lnTo>
                <a:lnTo>
                  <a:pt x="13988" y="5163"/>
                </a:lnTo>
                <a:lnTo>
                  <a:pt x="27380" y="0"/>
                </a:lnTo>
                <a:close/>
              </a:path>
            </a:pathLst>
          </a:custGeom>
          <a:solidFill>
            <a:srgbClr val="000000"/>
          </a:solidFill>
        </p:spPr>
        <p:txBody>
          <a:bodyPr wrap="square" lIns="0" tIns="0" rIns="0" bIns="0" rtlCol="0">
            <a:noAutofit/>
          </a:bodyPr>
          <a:lstStyle/>
          <a:p>
            <a:endParaRPr/>
          </a:p>
        </p:txBody>
      </p:sp>
      <p:sp>
        <p:nvSpPr>
          <p:cNvPr id="349" name="object 349"/>
          <p:cNvSpPr/>
          <p:nvPr/>
        </p:nvSpPr>
        <p:spPr>
          <a:xfrm>
            <a:off x="10204862" y="1209910"/>
            <a:ext cx="28868" cy="3037"/>
          </a:xfrm>
          <a:custGeom>
            <a:avLst/>
            <a:gdLst/>
            <a:ahLst/>
            <a:cxnLst/>
            <a:rect l="l" t="t" r="r" b="b"/>
            <a:pathLst>
              <a:path w="28868" h="3037">
                <a:moveTo>
                  <a:pt x="26785" y="0"/>
                </a:moveTo>
                <a:lnTo>
                  <a:pt x="0" y="0"/>
                </a:lnTo>
                <a:lnTo>
                  <a:pt x="0" y="3037"/>
                </a:lnTo>
                <a:lnTo>
                  <a:pt x="27380" y="3037"/>
                </a:lnTo>
                <a:lnTo>
                  <a:pt x="27906" y="2679"/>
                </a:lnTo>
                <a:lnTo>
                  <a:pt x="28273" y="2429"/>
                </a:lnTo>
                <a:lnTo>
                  <a:pt x="28868" y="1518"/>
                </a:lnTo>
                <a:lnTo>
                  <a:pt x="28273" y="607"/>
                </a:lnTo>
                <a:lnTo>
                  <a:pt x="27380" y="0"/>
                </a:lnTo>
                <a:lnTo>
                  <a:pt x="26785" y="0"/>
                </a:lnTo>
                <a:close/>
              </a:path>
            </a:pathLst>
          </a:custGeom>
          <a:solidFill>
            <a:srgbClr val="000000"/>
          </a:solidFill>
        </p:spPr>
        <p:txBody>
          <a:bodyPr wrap="square" lIns="0" tIns="0" rIns="0" bIns="0" rtlCol="0">
            <a:noAutofit/>
          </a:bodyPr>
          <a:lstStyle/>
          <a:p>
            <a:endParaRPr/>
          </a:p>
        </p:txBody>
      </p:sp>
      <p:sp>
        <p:nvSpPr>
          <p:cNvPr id="350" name="object 350"/>
          <p:cNvSpPr/>
          <p:nvPr/>
        </p:nvSpPr>
        <p:spPr>
          <a:xfrm>
            <a:off x="10217363" y="1209909"/>
            <a:ext cx="14285" cy="8200"/>
          </a:xfrm>
          <a:custGeom>
            <a:avLst/>
            <a:gdLst/>
            <a:ahLst/>
            <a:cxnLst/>
            <a:rect l="l" t="t" r="r" b="b"/>
            <a:pathLst>
              <a:path w="14285" h="8200">
                <a:moveTo>
                  <a:pt x="892" y="5163"/>
                </a:moveTo>
                <a:lnTo>
                  <a:pt x="0" y="6074"/>
                </a:lnTo>
                <a:lnTo>
                  <a:pt x="297" y="6985"/>
                </a:lnTo>
                <a:lnTo>
                  <a:pt x="892" y="8200"/>
                </a:lnTo>
                <a:lnTo>
                  <a:pt x="2083" y="8200"/>
                </a:lnTo>
                <a:lnTo>
                  <a:pt x="2083" y="5163"/>
                </a:lnTo>
                <a:lnTo>
                  <a:pt x="14285" y="0"/>
                </a:lnTo>
                <a:lnTo>
                  <a:pt x="892" y="5163"/>
                </a:lnTo>
                <a:close/>
              </a:path>
            </a:pathLst>
          </a:custGeom>
          <a:solidFill>
            <a:srgbClr val="000000"/>
          </a:solidFill>
        </p:spPr>
        <p:txBody>
          <a:bodyPr wrap="square" lIns="0" tIns="0" rIns="0" bIns="0" rtlCol="0">
            <a:noAutofit/>
          </a:bodyPr>
          <a:lstStyle/>
          <a:p>
            <a:endParaRPr/>
          </a:p>
        </p:txBody>
      </p:sp>
      <p:sp>
        <p:nvSpPr>
          <p:cNvPr id="351" name="object 351"/>
          <p:cNvSpPr/>
          <p:nvPr/>
        </p:nvSpPr>
        <p:spPr>
          <a:xfrm>
            <a:off x="10219445" y="1209909"/>
            <a:ext cx="13392" cy="8200"/>
          </a:xfrm>
          <a:custGeom>
            <a:avLst/>
            <a:gdLst/>
            <a:ahLst/>
            <a:cxnLst/>
            <a:rect l="l" t="t" r="r" b="b"/>
            <a:pathLst>
              <a:path w="13392" h="8200">
                <a:moveTo>
                  <a:pt x="0" y="5163"/>
                </a:moveTo>
                <a:lnTo>
                  <a:pt x="0" y="8200"/>
                </a:lnTo>
                <a:lnTo>
                  <a:pt x="13392" y="3037"/>
                </a:lnTo>
                <a:lnTo>
                  <a:pt x="12202" y="0"/>
                </a:lnTo>
                <a:lnTo>
                  <a:pt x="0" y="5163"/>
                </a:lnTo>
                <a:close/>
              </a:path>
            </a:pathLst>
          </a:custGeom>
          <a:solidFill>
            <a:srgbClr val="000000"/>
          </a:solidFill>
        </p:spPr>
        <p:txBody>
          <a:bodyPr wrap="square" lIns="0" tIns="0" rIns="0" bIns="0" rtlCol="0">
            <a:noAutofit/>
          </a:bodyPr>
          <a:lstStyle/>
          <a:p>
            <a:endParaRPr/>
          </a:p>
        </p:txBody>
      </p:sp>
      <p:sp>
        <p:nvSpPr>
          <p:cNvPr id="352" name="object 352"/>
          <p:cNvSpPr/>
          <p:nvPr/>
        </p:nvSpPr>
        <p:spPr>
          <a:xfrm>
            <a:off x="10203374" y="1209909"/>
            <a:ext cx="14880" cy="8200"/>
          </a:xfrm>
          <a:custGeom>
            <a:avLst/>
            <a:gdLst/>
            <a:ahLst/>
            <a:cxnLst/>
            <a:rect l="l" t="t" r="r" b="b"/>
            <a:pathLst>
              <a:path w="14880" h="8200">
                <a:moveTo>
                  <a:pt x="892" y="3037"/>
                </a:moveTo>
                <a:lnTo>
                  <a:pt x="14880" y="8200"/>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353" name="object 353"/>
          <p:cNvSpPr/>
          <p:nvPr/>
        </p:nvSpPr>
        <p:spPr>
          <a:xfrm>
            <a:off x="10204863" y="1209909"/>
            <a:ext cx="14583" cy="8200"/>
          </a:xfrm>
          <a:custGeom>
            <a:avLst/>
            <a:gdLst/>
            <a:ahLst/>
            <a:cxnLst/>
            <a:rect l="l" t="t" r="r" b="b"/>
            <a:pathLst>
              <a:path w="14583" h="8200">
                <a:moveTo>
                  <a:pt x="595" y="0"/>
                </a:moveTo>
                <a:lnTo>
                  <a:pt x="0" y="0"/>
                </a:lnTo>
                <a:lnTo>
                  <a:pt x="0" y="3037"/>
                </a:lnTo>
                <a:lnTo>
                  <a:pt x="13392" y="8200"/>
                </a:lnTo>
                <a:lnTo>
                  <a:pt x="14583" y="5163"/>
                </a:lnTo>
                <a:lnTo>
                  <a:pt x="595" y="0"/>
                </a:lnTo>
                <a:close/>
              </a:path>
            </a:pathLst>
          </a:custGeom>
          <a:solidFill>
            <a:srgbClr val="000000"/>
          </a:solidFill>
        </p:spPr>
        <p:txBody>
          <a:bodyPr wrap="square" lIns="0" tIns="0" rIns="0" bIns="0" rtlCol="0">
            <a:noAutofit/>
          </a:bodyPr>
          <a:lstStyle/>
          <a:p>
            <a:endParaRPr/>
          </a:p>
        </p:txBody>
      </p:sp>
      <p:sp>
        <p:nvSpPr>
          <p:cNvPr id="354" name="object 354"/>
          <p:cNvSpPr/>
          <p:nvPr/>
        </p:nvSpPr>
        <p:spPr>
          <a:xfrm>
            <a:off x="10205457" y="1356002"/>
            <a:ext cx="29464" cy="3037"/>
          </a:xfrm>
          <a:custGeom>
            <a:avLst/>
            <a:gdLst/>
            <a:ahLst/>
            <a:cxnLst/>
            <a:rect l="l" t="t" r="r" b="b"/>
            <a:pathLst>
              <a:path w="29464" h="3037">
                <a:moveTo>
                  <a:pt x="29464" y="1518"/>
                </a:moveTo>
                <a:lnTo>
                  <a:pt x="28868" y="607"/>
                </a:lnTo>
                <a:lnTo>
                  <a:pt x="28501" y="357"/>
                </a:lnTo>
                <a:lnTo>
                  <a:pt x="27976" y="0"/>
                </a:lnTo>
                <a:lnTo>
                  <a:pt x="0" y="0"/>
                </a:lnTo>
                <a:lnTo>
                  <a:pt x="0" y="3037"/>
                </a:lnTo>
                <a:lnTo>
                  <a:pt x="27976" y="3037"/>
                </a:lnTo>
                <a:lnTo>
                  <a:pt x="28868" y="2429"/>
                </a:lnTo>
                <a:lnTo>
                  <a:pt x="29464" y="1518"/>
                </a:lnTo>
                <a:close/>
              </a:path>
            </a:pathLst>
          </a:custGeom>
          <a:solidFill>
            <a:srgbClr val="000000"/>
          </a:solidFill>
        </p:spPr>
        <p:txBody>
          <a:bodyPr wrap="square" lIns="0" tIns="0" rIns="0" bIns="0" rtlCol="0">
            <a:noAutofit/>
          </a:bodyPr>
          <a:lstStyle/>
          <a:p>
            <a:endParaRPr/>
          </a:p>
        </p:txBody>
      </p:sp>
      <p:sp>
        <p:nvSpPr>
          <p:cNvPr id="355" name="object 355"/>
          <p:cNvSpPr/>
          <p:nvPr/>
        </p:nvSpPr>
        <p:spPr>
          <a:xfrm>
            <a:off x="10218256" y="1353876"/>
            <a:ext cx="14583" cy="5163"/>
          </a:xfrm>
          <a:custGeom>
            <a:avLst/>
            <a:gdLst/>
            <a:ahLst/>
            <a:cxnLst/>
            <a:rect l="l" t="t" r="r" b="b"/>
            <a:pathLst>
              <a:path w="14583" h="5163">
                <a:moveTo>
                  <a:pt x="14583" y="5163"/>
                </a:moveTo>
                <a:lnTo>
                  <a:pt x="1190" y="0"/>
                </a:lnTo>
                <a:lnTo>
                  <a:pt x="0" y="0"/>
                </a:lnTo>
                <a:lnTo>
                  <a:pt x="14583" y="5163"/>
                </a:lnTo>
                <a:close/>
              </a:path>
            </a:pathLst>
          </a:custGeom>
          <a:solidFill>
            <a:srgbClr val="000000"/>
          </a:solidFill>
        </p:spPr>
        <p:txBody>
          <a:bodyPr wrap="square" lIns="0" tIns="0" rIns="0" bIns="0" rtlCol="0">
            <a:noAutofit/>
          </a:bodyPr>
          <a:lstStyle/>
          <a:p>
            <a:endParaRPr/>
          </a:p>
        </p:txBody>
      </p:sp>
      <p:sp>
        <p:nvSpPr>
          <p:cNvPr id="356" name="object 356"/>
          <p:cNvSpPr/>
          <p:nvPr/>
        </p:nvSpPr>
        <p:spPr>
          <a:xfrm>
            <a:off x="10217362" y="1350838"/>
            <a:ext cx="16666" cy="8200"/>
          </a:xfrm>
          <a:custGeom>
            <a:avLst/>
            <a:gdLst/>
            <a:ahLst/>
            <a:cxnLst/>
            <a:rect l="l" t="t" r="r" b="b"/>
            <a:pathLst>
              <a:path w="16666" h="8200">
                <a:moveTo>
                  <a:pt x="297" y="911"/>
                </a:moveTo>
                <a:lnTo>
                  <a:pt x="0" y="2126"/>
                </a:lnTo>
                <a:lnTo>
                  <a:pt x="892" y="3037"/>
                </a:lnTo>
                <a:lnTo>
                  <a:pt x="2083" y="3037"/>
                </a:lnTo>
                <a:lnTo>
                  <a:pt x="15476" y="8200"/>
                </a:lnTo>
                <a:lnTo>
                  <a:pt x="16666" y="5163"/>
                </a:lnTo>
                <a:lnTo>
                  <a:pt x="2083" y="0"/>
                </a:lnTo>
                <a:lnTo>
                  <a:pt x="892" y="0"/>
                </a:lnTo>
                <a:lnTo>
                  <a:pt x="297" y="911"/>
                </a:lnTo>
                <a:close/>
              </a:path>
            </a:pathLst>
          </a:custGeom>
          <a:solidFill>
            <a:srgbClr val="000000"/>
          </a:solidFill>
        </p:spPr>
        <p:txBody>
          <a:bodyPr wrap="square" lIns="0" tIns="0" rIns="0" bIns="0" rtlCol="0">
            <a:noAutofit/>
          </a:bodyPr>
          <a:lstStyle/>
          <a:p>
            <a:endParaRPr/>
          </a:p>
        </p:txBody>
      </p:sp>
      <p:sp>
        <p:nvSpPr>
          <p:cNvPr id="357" name="object 357"/>
          <p:cNvSpPr/>
          <p:nvPr/>
        </p:nvSpPr>
        <p:spPr>
          <a:xfrm>
            <a:off x="10204862" y="1350839"/>
            <a:ext cx="13392" cy="5163"/>
          </a:xfrm>
          <a:custGeom>
            <a:avLst/>
            <a:gdLst/>
            <a:ahLst/>
            <a:cxnLst/>
            <a:rect l="l" t="t" r="r" b="b"/>
            <a:pathLst>
              <a:path w="13392" h="5163">
                <a:moveTo>
                  <a:pt x="0" y="5163"/>
                </a:moveTo>
                <a:lnTo>
                  <a:pt x="595" y="5163"/>
                </a:lnTo>
                <a:lnTo>
                  <a:pt x="13392" y="0"/>
                </a:lnTo>
                <a:lnTo>
                  <a:pt x="0" y="5163"/>
                </a:lnTo>
                <a:close/>
              </a:path>
            </a:pathLst>
          </a:custGeom>
          <a:solidFill>
            <a:srgbClr val="000000"/>
          </a:solidFill>
        </p:spPr>
        <p:txBody>
          <a:bodyPr wrap="square" lIns="0" tIns="0" rIns="0" bIns="0" rtlCol="0">
            <a:noAutofit/>
          </a:bodyPr>
          <a:lstStyle/>
          <a:p>
            <a:endParaRPr/>
          </a:p>
        </p:txBody>
      </p:sp>
      <p:sp>
        <p:nvSpPr>
          <p:cNvPr id="358" name="object 358"/>
          <p:cNvSpPr/>
          <p:nvPr/>
        </p:nvSpPr>
        <p:spPr>
          <a:xfrm>
            <a:off x="10203969" y="1350838"/>
            <a:ext cx="15476" cy="8200"/>
          </a:xfrm>
          <a:custGeom>
            <a:avLst/>
            <a:gdLst/>
            <a:ahLst/>
            <a:cxnLst/>
            <a:rect l="l" t="t" r="r" b="b"/>
            <a:pathLst>
              <a:path w="15476" h="8200">
                <a:moveTo>
                  <a:pt x="297" y="6985"/>
                </a:moveTo>
                <a:lnTo>
                  <a:pt x="892" y="8200"/>
                </a:lnTo>
                <a:lnTo>
                  <a:pt x="2083" y="8200"/>
                </a:lnTo>
                <a:lnTo>
                  <a:pt x="15476" y="3037"/>
                </a:lnTo>
                <a:lnTo>
                  <a:pt x="14285" y="0"/>
                </a:lnTo>
                <a:lnTo>
                  <a:pt x="1488" y="5163"/>
                </a:lnTo>
                <a:lnTo>
                  <a:pt x="892" y="5163"/>
                </a:lnTo>
                <a:lnTo>
                  <a:pt x="0" y="6074"/>
                </a:lnTo>
                <a:lnTo>
                  <a:pt x="297" y="6985"/>
                </a:lnTo>
                <a:close/>
              </a:path>
            </a:pathLst>
          </a:custGeom>
          <a:solidFill>
            <a:srgbClr val="000000"/>
          </a:solidFill>
        </p:spPr>
        <p:txBody>
          <a:bodyPr wrap="square" lIns="0" tIns="0" rIns="0" bIns="0" rtlCol="0">
            <a:noAutofit/>
          </a:bodyPr>
          <a:lstStyle/>
          <a:p>
            <a:endParaRPr/>
          </a:p>
        </p:txBody>
      </p:sp>
      <p:sp>
        <p:nvSpPr>
          <p:cNvPr id="359" name="object 359"/>
          <p:cNvSpPr/>
          <p:nvPr/>
        </p:nvSpPr>
        <p:spPr>
          <a:xfrm>
            <a:off x="10190875" y="1211429"/>
            <a:ext cx="82737" cy="146395"/>
          </a:xfrm>
          <a:custGeom>
            <a:avLst/>
            <a:gdLst/>
            <a:ahLst/>
            <a:cxnLst/>
            <a:rect l="l" t="t" r="r" b="b"/>
            <a:pathLst>
              <a:path w="82737" h="146395">
                <a:moveTo>
                  <a:pt x="41368" y="0"/>
                </a:moveTo>
                <a:lnTo>
                  <a:pt x="37202" y="303"/>
                </a:lnTo>
                <a:lnTo>
                  <a:pt x="33035" y="1518"/>
                </a:lnTo>
                <a:lnTo>
                  <a:pt x="25297" y="5770"/>
                </a:lnTo>
                <a:lnTo>
                  <a:pt x="18154" y="12452"/>
                </a:lnTo>
                <a:lnTo>
                  <a:pt x="14880" y="16704"/>
                </a:lnTo>
                <a:lnTo>
                  <a:pt x="12202" y="21564"/>
                </a:lnTo>
                <a:lnTo>
                  <a:pt x="9523" y="26727"/>
                </a:lnTo>
                <a:lnTo>
                  <a:pt x="7142" y="32194"/>
                </a:lnTo>
                <a:lnTo>
                  <a:pt x="5059" y="38269"/>
                </a:lnTo>
                <a:lnTo>
                  <a:pt x="3273" y="44647"/>
                </a:lnTo>
                <a:lnTo>
                  <a:pt x="1785" y="51329"/>
                </a:lnTo>
                <a:lnTo>
                  <a:pt x="892" y="58315"/>
                </a:lnTo>
                <a:lnTo>
                  <a:pt x="297" y="65604"/>
                </a:lnTo>
                <a:lnTo>
                  <a:pt x="0" y="73197"/>
                </a:lnTo>
                <a:lnTo>
                  <a:pt x="297" y="80791"/>
                </a:lnTo>
                <a:lnTo>
                  <a:pt x="892" y="88080"/>
                </a:lnTo>
                <a:lnTo>
                  <a:pt x="1785" y="95066"/>
                </a:lnTo>
                <a:lnTo>
                  <a:pt x="3273" y="101748"/>
                </a:lnTo>
                <a:lnTo>
                  <a:pt x="5059" y="108126"/>
                </a:lnTo>
                <a:lnTo>
                  <a:pt x="7142" y="114200"/>
                </a:lnTo>
                <a:lnTo>
                  <a:pt x="9523" y="119667"/>
                </a:lnTo>
                <a:lnTo>
                  <a:pt x="12202" y="124831"/>
                </a:lnTo>
                <a:lnTo>
                  <a:pt x="14880" y="129690"/>
                </a:lnTo>
                <a:lnTo>
                  <a:pt x="18154" y="133942"/>
                </a:lnTo>
                <a:lnTo>
                  <a:pt x="21726" y="137587"/>
                </a:lnTo>
                <a:lnTo>
                  <a:pt x="29166" y="143054"/>
                </a:lnTo>
                <a:lnTo>
                  <a:pt x="37202" y="146092"/>
                </a:lnTo>
                <a:lnTo>
                  <a:pt x="41368" y="146395"/>
                </a:lnTo>
                <a:lnTo>
                  <a:pt x="45535" y="146092"/>
                </a:lnTo>
                <a:lnTo>
                  <a:pt x="53571" y="143054"/>
                </a:lnTo>
                <a:lnTo>
                  <a:pt x="61011" y="137587"/>
                </a:lnTo>
                <a:lnTo>
                  <a:pt x="64285" y="133942"/>
                </a:lnTo>
                <a:lnTo>
                  <a:pt x="67559" y="129690"/>
                </a:lnTo>
                <a:lnTo>
                  <a:pt x="70535" y="124831"/>
                </a:lnTo>
                <a:lnTo>
                  <a:pt x="73214" y="119667"/>
                </a:lnTo>
                <a:lnTo>
                  <a:pt x="75595" y="114200"/>
                </a:lnTo>
                <a:lnTo>
                  <a:pt x="77678" y="108126"/>
                </a:lnTo>
                <a:lnTo>
                  <a:pt x="79464" y="101748"/>
                </a:lnTo>
                <a:lnTo>
                  <a:pt x="80952" y="95066"/>
                </a:lnTo>
                <a:lnTo>
                  <a:pt x="81844" y="88080"/>
                </a:lnTo>
                <a:lnTo>
                  <a:pt x="82440" y="80791"/>
                </a:lnTo>
                <a:lnTo>
                  <a:pt x="82737" y="73197"/>
                </a:lnTo>
                <a:lnTo>
                  <a:pt x="82440" y="65604"/>
                </a:lnTo>
                <a:lnTo>
                  <a:pt x="81844" y="58315"/>
                </a:lnTo>
                <a:lnTo>
                  <a:pt x="80952" y="51329"/>
                </a:lnTo>
                <a:lnTo>
                  <a:pt x="79464" y="44647"/>
                </a:lnTo>
                <a:lnTo>
                  <a:pt x="77678" y="38269"/>
                </a:lnTo>
                <a:lnTo>
                  <a:pt x="75595" y="32194"/>
                </a:lnTo>
                <a:lnTo>
                  <a:pt x="73214" y="26727"/>
                </a:lnTo>
                <a:lnTo>
                  <a:pt x="70535" y="21564"/>
                </a:lnTo>
                <a:lnTo>
                  <a:pt x="67559" y="16704"/>
                </a:lnTo>
                <a:lnTo>
                  <a:pt x="64285" y="12452"/>
                </a:lnTo>
                <a:lnTo>
                  <a:pt x="61011" y="8808"/>
                </a:lnTo>
                <a:lnTo>
                  <a:pt x="53571" y="3340"/>
                </a:lnTo>
                <a:lnTo>
                  <a:pt x="45535" y="303"/>
                </a:lnTo>
                <a:lnTo>
                  <a:pt x="41368" y="0"/>
                </a:lnTo>
                <a:close/>
              </a:path>
            </a:pathLst>
          </a:custGeom>
          <a:solidFill>
            <a:srgbClr val="000000"/>
          </a:solidFill>
        </p:spPr>
        <p:txBody>
          <a:bodyPr wrap="square" lIns="0" tIns="0" rIns="0" bIns="0" rtlCol="0">
            <a:noAutofit/>
          </a:bodyPr>
          <a:lstStyle/>
          <a:p>
            <a:endParaRPr/>
          </a:p>
        </p:txBody>
      </p:sp>
      <p:sp>
        <p:nvSpPr>
          <p:cNvPr id="360" name="object 360"/>
          <p:cNvSpPr/>
          <p:nvPr/>
        </p:nvSpPr>
        <p:spPr>
          <a:xfrm>
            <a:off x="10232243" y="1209303"/>
            <a:ext cx="43452" cy="75323"/>
          </a:xfrm>
          <a:custGeom>
            <a:avLst/>
            <a:gdLst/>
            <a:ahLst/>
            <a:cxnLst/>
            <a:rect l="l" t="t" r="r" b="b"/>
            <a:pathLst>
              <a:path w="43452" h="75323">
                <a:moveTo>
                  <a:pt x="0" y="0"/>
                </a:moveTo>
                <a:lnTo>
                  <a:pt x="0" y="4252"/>
                </a:lnTo>
                <a:lnTo>
                  <a:pt x="3869" y="4555"/>
                </a:lnTo>
                <a:lnTo>
                  <a:pt x="7738" y="5770"/>
                </a:lnTo>
                <a:lnTo>
                  <a:pt x="11309" y="7289"/>
                </a:lnTo>
                <a:lnTo>
                  <a:pt x="14880" y="9719"/>
                </a:lnTo>
                <a:lnTo>
                  <a:pt x="18154" y="12452"/>
                </a:lnTo>
                <a:lnTo>
                  <a:pt x="21428" y="16097"/>
                </a:lnTo>
                <a:lnTo>
                  <a:pt x="24404" y="20045"/>
                </a:lnTo>
                <a:lnTo>
                  <a:pt x="27380" y="24601"/>
                </a:lnTo>
                <a:lnTo>
                  <a:pt x="30059" y="29765"/>
                </a:lnTo>
                <a:lnTo>
                  <a:pt x="32440" y="35232"/>
                </a:lnTo>
                <a:lnTo>
                  <a:pt x="34226" y="41002"/>
                </a:lnTo>
                <a:lnTo>
                  <a:pt x="36011" y="47381"/>
                </a:lnTo>
                <a:lnTo>
                  <a:pt x="37499" y="53759"/>
                </a:lnTo>
                <a:lnTo>
                  <a:pt x="38392" y="60745"/>
                </a:lnTo>
                <a:lnTo>
                  <a:pt x="38987" y="67730"/>
                </a:lnTo>
                <a:lnTo>
                  <a:pt x="39285" y="75323"/>
                </a:lnTo>
                <a:lnTo>
                  <a:pt x="43452" y="75323"/>
                </a:lnTo>
                <a:lnTo>
                  <a:pt x="43154" y="67730"/>
                </a:lnTo>
                <a:lnTo>
                  <a:pt x="42559" y="60137"/>
                </a:lnTo>
                <a:lnTo>
                  <a:pt x="41666" y="53151"/>
                </a:lnTo>
                <a:lnTo>
                  <a:pt x="40178" y="46166"/>
                </a:lnTo>
                <a:lnTo>
                  <a:pt x="38392" y="39788"/>
                </a:lnTo>
                <a:lnTo>
                  <a:pt x="36011" y="33409"/>
                </a:lnTo>
                <a:lnTo>
                  <a:pt x="33630" y="27942"/>
                </a:lnTo>
                <a:lnTo>
                  <a:pt x="30952" y="22779"/>
                </a:lnTo>
                <a:lnTo>
                  <a:pt x="27976" y="17616"/>
                </a:lnTo>
                <a:lnTo>
                  <a:pt x="24404" y="13060"/>
                </a:lnTo>
                <a:lnTo>
                  <a:pt x="21130" y="9415"/>
                </a:lnTo>
                <a:lnTo>
                  <a:pt x="17261" y="6074"/>
                </a:lnTo>
                <a:lnTo>
                  <a:pt x="13095" y="3644"/>
                </a:lnTo>
                <a:lnTo>
                  <a:pt x="8928" y="1518"/>
                </a:lnTo>
                <a:lnTo>
                  <a:pt x="4464" y="303"/>
                </a:lnTo>
                <a:lnTo>
                  <a:pt x="0" y="0"/>
                </a:lnTo>
                <a:close/>
              </a:path>
            </a:pathLst>
          </a:custGeom>
          <a:solidFill>
            <a:srgbClr val="000000"/>
          </a:solidFill>
        </p:spPr>
        <p:txBody>
          <a:bodyPr wrap="square" lIns="0" tIns="0" rIns="0" bIns="0" rtlCol="0">
            <a:noAutofit/>
          </a:bodyPr>
          <a:lstStyle/>
          <a:p>
            <a:endParaRPr/>
          </a:p>
        </p:txBody>
      </p:sp>
      <p:sp>
        <p:nvSpPr>
          <p:cNvPr id="361" name="object 361"/>
          <p:cNvSpPr/>
          <p:nvPr/>
        </p:nvSpPr>
        <p:spPr>
          <a:xfrm>
            <a:off x="10232243" y="1284627"/>
            <a:ext cx="43452" cy="75323"/>
          </a:xfrm>
          <a:custGeom>
            <a:avLst/>
            <a:gdLst/>
            <a:ahLst/>
            <a:cxnLst/>
            <a:rect l="l" t="t" r="r" b="b"/>
            <a:pathLst>
              <a:path w="43452" h="75323">
                <a:moveTo>
                  <a:pt x="4464" y="75020"/>
                </a:moveTo>
                <a:lnTo>
                  <a:pt x="8928" y="73805"/>
                </a:lnTo>
                <a:lnTo>
                  <a:pt x="13095" y="71679"/>
                </a:lnTo>
                <a:lnTo>
                  <a:pt x="17261" y="69249"/>
                </a:lnTo>
                <a:lnTo>
                  <a:pt x="21130" y="65908"/>
                </a:lnTo>
                <a:lnTo>
                  <a:pt x="24404" y="62263"/>
                </a:lnTo>
                <a:lnTo>
                  <a:pt x="27976" y="57707"/>
                </a:lnTo>
                <a:lnTo>
                  <a:pt x="30952" y="52544"/>
                </a:lnTo>
                <a:lnTo>
                  <a:pt x="33630" y="47381"/>
                </a:lnTo>
                <a:lnTo>
                  <a:pt x="36011" y="41914"/>
                </a:lnTo>
                <a:lnTo>
                  <a:pt x="38392" y="35535"/>
                </a:lnTo>
                <a:lnTo>
                  <a:pt x="40178" y="29157"/>
                </a:lnTo>
                <a:lnTo>
                  <a:pt x="41666" y="22171"/>
                </a:lnTo>
                <a:lnTo>
                  <a:pt x="42559" y="15186"/>
                </a:lnTo>
                <a:lnTo>
                  <a:pt x="43154" y="7593"/>
                </a:lnTo>
                <a:lnTo>
                  <a:pt x="43452" y="0"/>
                </a:lnTo>
                <a:lnTo>
                  <a:pt x="39285" y="0"/>
                </a:lnTo>
                <a:lnTo>
                  <a:pt x="38987" y="7593"/>
                </a:lnTo>
                <a:lnTo>
                  <a:pt x="38392" y="14578"/>
                </a:lnTo>
                <a:lnTo>
                  <a:pt x="37499" y="21564"/>
                </a:lnTo>
                <a:lnTo>
                  <a:pt x="36011" y="27942"/>
                </a:lnTo>
                <a:lnTo>
                  <a:pt x="34226" y="34320"/>
                </a:lnTo>
                <a:lnTo>
                  <a:pt x="32440" y="40091"/>
                </a:lnTo>
                <a:lnTo>
                  <a:pt x="30059" y="45558"/>
                </a:lnTo>
                <a:lnTo>
                  <a:pt x="27380" y="50722"/>
                </a:lnTo>
                <a:lnTo>
                  <a:pt x="24404" y="55278"/>
                </a:lnTo>
                <a:lnTo>
                  <a:pt x="21428" y="59226"/>
                </a:lnTo>
                <a:lnTo>
                  <a:pt x="18154" y="62871"/>
                </a:lnTo>
                <a:lnTo>
                  <a:pt x="14880" y="65604"/>
                </a:lnTo>
                <a:lnTo>
                  <a:pt x="11309" y="68034"/>
                </a:lnTo>
                <a:lnTo>
                  <a:pt x="7738" y="69553"/>
                </a:lnTo>
                <a:lnTo>
                  <a:pt x="3869" y="70768"/>
                </a:lnTo>
                <a:lnTo>
                  <a:pt x="0" y="71071"/>
                </a:lnTo>
                <a:lnTo>
                  <a:pt x="0" y="75323"/>
                </a:lnTo>
                <a:lnTo>
                  <a:pt x="4464" y="75020"/>
                </a:lnTo>
                <a:close/>
              </a:path>
            </a:pathLst>
          </a:custGeom>
          <a:solidFill>
            <a:srgbClr val="000000"/>
          </a:solidFill>
        </p:spPr>
        <p:txBody>
          <a:bodyPr wrap="square" lIns="0" tIns="0" rIns="0" bIns="0" rtlCol="0">
            <a:noAutofit/>
          </a:bodyPr>
          <a:lstStyle/>
          <a:p>
            <a:endParaRPr/>
          </a:p>
        </p:txBody>
      </p:sp>
      <p:sp>
        <p:nvSpPr>
          <p:cNvPr id="362" name="object 362"/>
          <p:cNvSpPr/>
          <p:nvPr/>
        </p:nvSpPr>
        <p:spPr>
          <a:xfrm>
            <a:off x="10188791" y="1284627"/>
            <a:ext cx="43452" cy="75323"/>
          </a:xfrm>
          <a:custGeom>
            <a:avLst/>
            <a:gdLst/>
            <a:ahLst/>
            <a:cxnLst/>
            <a:rect l="l" t="t" r="r" b="b"/>
            <a:pathLst>
              <a:path w="43452" h="75323">
                <a:moveTo>
                  <a:pt x="4166" y="0"/>
                </a:moveTo>
                <a:lnTo>
                  <a:pt x="0" y="0"/>
                </a:lnTo>
                <a:lnTo>
                  <a:pt x="297" y="7593"/>
                </a:lnTo>
                <a:lnTo>
                  <a:pt x="892" y="15186"/>
                </a:lnTo>
                <a:lnTo>
                  <a:pt x="1785" y="22171"/>
                </a:lnTo>
                <a:lnTo>
                  <a:pt x="3273" y="29157"/>
                </a:lnTo>
                <a:lnTo>
                  <a:pt x="5059" y="35535"/>
                </a:lnTo>
                <a:lnTo>
                  <a:pt x="7440" y="41914"/>
                </a:lnTo>
                <a:lnTo>
                  <a:pt x="9821" y="47381"/>
                </a:lnTo>
                <a:lnTo>
                  <a:pt x="12499" y="52544"/>
                </a:lnTo>
                <a:lnTo>
                  <a:pt x="15178" y="57707"/>
                </a:lnTo>
                <a:lnTo>
                  <a:pt x="18749" y="62263"/>
                </a:lnTo>
                <a:lnTo>
                  <a:pt x="22321" y="65908"/>
                </a:lnTo>
                <a:lnTo>
                  <a:pt x="26190" y="69249"/>
                </a:lnTo>
                <a:lnTo>
                  <a:pt x="30357" y="71679"/>
                </a:lnTo>
                <a:lnTo>
                  <a:pt x="34523" y="73805"/>
                </a:lnTo>
                <a:lnTo>
                  <a:pt x="38987" y="75020"/>
                </a:lnTo>
                <a:lnTo>
                  <a:pt x="43452" y="75323"/>
                </a:lnTo>
                <a:lnTo>
                  <a:pt x="43452" y="71071"/>
                </a:lnTo>
                <a:lnTo>
                  <a:pt x="39583" y="70768"/>
                </a:lnTo>
                <a:lnTo>
                  <a:pt x="35714" y="69553"/>
                </a:lnTo>
                <a:lnTo>
                  <a:pt x="32142" y="68034"/>
                </a:lnTo>
                <a:lnTo>
                  <a:pt x="28571" y="65604"/>
                </a:lnTo>
                <a:lnTo>
                  <a:pt x="25297" y="62871"/>
                </a:lnTo>
                <a:lnTo>
                  <a:pt x="21726" y="59226"/>
                </a:lnTo>
                <a:lnTo>
                  <a:pt x="18749" y="55278"/>
                </a:lnTo>
                <a:lnTo>
                  <a:pt x="16071" y="50722"/>
                </a:lnTo>
                <a:lnTo>
                  <a:pt x="13392" y="45558"/>
                </a:lnTo>
                <a:lnTo>
                  <a:pt x="11011" y="40091"/>
                </a:lnTo>
                <a:lnTo>
                  <a:pt x="9226" y="34320"/>
                </a:lnTo>
                <a:lnTo>
                  <a:pt x="7440" y="27942"/>
                </a:lnTo>
                <a:lnTo>
                  <a:pt x="5952" y="21564"/>
                </a:lnTo>
                <a:lnTo>
                  <a:pt x="5059" y="14578"/>
                </a:lnTo>
                <a:lnTo>
                  <a:pt x="4464" y="7593"/>
                </a:lnTo>
                <a:lnTo>
                  <a:pt x="4166" y="0"/>
                </a:lnTo>
                <a:close/>
              </a:path>
            </a:pathLst>
          </a:custGeom>
          <a:solidFill>
            <a:srgbClr val="000000"/>
          </a:solidFill>
        </p:spPr>
        <p:txBody>
          <a:bodyPr wrap="square" lIns="0" tIns="0" rIns="0" bIns="0" rtlCol="0">
            <a:noAutofit/>
          </a:bodyPr>
          <a:lstStyle/>
          <a:p>
            <a:endParaRPr/>
          </a:p>
        </p:txBody>
      </p:sp>
      <p:sp>
        <p:nvSpPr>
          <p:cNvPr id="363" name="object 363"/>
          <p:cNvSpPr/>
          <p:nvPr/>
        </p:nvSpPr>
        <p:spPr>
          <a:xfrm>
            <a:off x="10188791" y="1209303"/>
            <a:ext cx="43452" cy="75323"/>
          </a:xfrm>
          <a:custGeom>
            <a:avLst/>
            <a:gdLst/>
            <a:ahLst/>
            <a:cxnLst/>
            <a:rect l="l" t="t" r="r" b="b"/>
            <a:pathLst>
              <a:path w="43452" h="75323">
                <a:moveTo>
                  <a:pt x="5059" y="39788"/>
                </a:moveTo>
                <a:lnTo>
                  <a:pt x="3273" y="46166"/>
                </a:lnTo>
                <a:lnTo>
                  <a:pt x="1785" y="53151"/>
                </a:lnTo>
                <a:lnTo>
                  <a:pt x="892" y="60137"/>
                </a:lnTo>
                <a:lnTo>
                  <a:pt x="297" y="67730"/>
                </a:lnTo>
                <a:lnTo>
                  <a:pt x="0" y="75323"/>
                </a:lnTo>
                <a:lnTo>
                  <a:pt x="4166" y="75323"/>
                </a:lnTo>
                <a:lnTo>
                  <a:pt x="4464" y="67730"/>
                </a:lnTo>
                <a:lnTo>
                  <a:pt x="5059" y="60745"/>
                </a:lnTo>
                <a:lnTo>
                  <a:pt x="5952" y="53759"/>
                </a:lnTo>
                <a:lnTo>
                  <a:pt x="7440" y="47381"/>
                </a:lnTo>
                <a:lnTo>
                  <a:pt x="9226" y="41002"/>
                </a:lnTo>
                <a:lnTo>
                  <a:pt x="11011" y="35232"/>
                </a:lnTo>
                <a:lnTo>
                  <a:pt x="13392" y="29765"/>
                </a:lnTo>
                <a:lnTo>
                  <a:pt x="16071" y="24601"/>
                </a:lnTo>
                <a:lnTo>
                  <a:pt x="18749" y="20045"/>
                </a:lnTo>
                <a:lnTo>
                  <a:pt x="21726" y="16097"/>
                </a:lnTo>
                <a:lnTo>
                  <a:pt x="25297" y="12452"/>
                </a:lnTo>
                <a:lnTo>
                  <a:pt x="28571" y="9719"/>
                </a:lnTo>
                <a:lnTo>
                  <a:pt x="32142" y="7289"/>
                </a:lnTo>
                <a:lnTo>
                  <a:pt x="35714" y="5770"/>
                </a:lnTo>
                <a:lnTo>
                  <a:pt x="39583" y="4555"/>
                </a:lnTo>
                <a:lnTo>
                  <a:pt x="43452" y="4252"/>
                </a:lnTo>
                <a:lnTo>
                  <a:pt x="43452" y="0"/>
                </a:lnTo>
                <a:lnTo>
                  <a:pt x="38987" y="303"/>
                </a:lnTo>
                <a:lnTo>
                  <a:pt x="34523" y="1518"/>
                </a:lnTo>
                <a:lnTo>
                  <a:pt x="30357" y="3644"/>
                </a:lnTo>
                <a:lnTo>
                  <a:pt x="26190" y="6074"/>
                </a:lnTo>
                <a:lnTo>
                  <a:pt x="22321" y="9415"/>
                </a:lnTo>
                <a:lnTo>
                  <a:pt x="18749" y="13060"/>
                </a:lnTo>
                <a:lnTo>
                  <a:pt x="15178" y="17616"/>
                </a:lnTo>
                <a:lnTo>
                  <a:pt x="12499" y="22779"/>
                </a:lnTo>
                <a:lnTo>
                  <a:pt x="9821" y="27942"/>
                </a:lnTo>
                <a:lnTo>
                  <a:pt x="7440" y="33409"/>
                </a:lnTo>
                <a:lnTo>
                  <a:pt x="5059" y="39788"/>
                </a:lnTo>
                <a:close/>
              </a:path>
            </a:pathLst>
          </a:custGeom>
          <a:solidFill>
            <a:srgbClr val="000000"/>
          </a:solidFill>
        </p:spPr>
        <p:txBody>
          <a:bodyPr wrap="square" lIns="0" tIns="0" rIns="0" bIns="0" rtlCol="0">
            <a:noAutofit/>
          </a:bodyPr>
          <a:lstStyle/>
          <a:p>
            <a:endParaRPr/>
          </a:p>
        </p:txBody>
      </p:sp>
      <p:sp>
        <p:nvSpPr>
          <p:cNvPr id="364" name="object 364"/>
          <p:cNvSpPr/>
          <p:nvPr/>
        </p:nvSpPr>
        <p:spPr>
          <a:xfrm>
            <a:off x="10212006" y="1239979"/>
            <a:ext cx="50297" cy="88991"/>
          </a:xfrm>
          <a:custGeom>
            <a:avLst/>
            <a:gdLst/>
            <a:ahLst/>
            <a:cxnLst/>
            <a:rect l="l" t="t" r="r" b="b"/>
            <a:pathLst>
              <a:path w="50297" h="88991">
                <a:moveTo>
                  <a:pt x="24999" y="0"/>
                </a:moveTo>
                <a:lnTo>
                  <a:pt x="19940" y="911"/>
                </a:lnTo>
                <a:lnTo>
                  <a:pt x="15178" y="3644"/>
                </a:lnTo>
                <a:lnTo>
                  <a:pt x="11011" y="7593"/>
                </a:lnTo>
                <a:lnTo>
                  <a:pt x="7440" y="13060"/>
                </a:lnTo>
                <a:lnTo>
                  <a:pt x="4166" y="19742"/>
                </a:lnTo>
                <a:lnTo>
                  <a:pt x="2083" y="27335"/>
                </a:lnTo>
                <a:lnTo>
                  <a:pt x="595" y="35535"/>
                </a:lnTo>
                <a:lnTo>
                  <a:pt x="0" y="44647"/>
                </a:lnTo>
                <a:lnTo>
                  <a:pt x="595" y="53759"/>
                </a:lnTo>
                <a:lnTo>
                  <a:pt x="2083" y="61960"/>
                </a:lnTo>
                <a:lnTo>
                  <a:pt x="4166" y="69553"/>
                </a:lnTo>
                <a:lnTo>
                  <a:pt x="7440" y="75931"/>
                </a:lnTo>
                <a:lnTo>
                  <a:pt x="11011" y="81398"/>
                </a:lnTo>
                <a:lnTo>
                  <a:pt x="15178" y="85650"/>
                </a:lnTo>
                <a:lnTo>
                  <a:pt x="19940" y="88080"/>
                </a:lnTo>
                <a:lnTo>
                  <a:pt x="24999" y="88991"/>
                </a:lnTo>
                <a:lnTo>
                  <a:pt x="30059" y="88080"/>
                </a:lnTo>
                <a:lnTo>
                  <a:pt x="34821" y="85650"/>
                </a:lnTo>
                <a:lnTo>
                  <a:pt x="39285" y="81398"/>
                </a:lnTo>
                <a:lnTo>
                  <a:pt x="42857" y="75931"/>
                </a:lnTo>
                <a:lnTo>
                  <a:pt x="45833" y="69553"/>
                </a:lnTo>
                <a:lnTo>
                  <a:pt x="48214" y="61960"/>
                </a:lnTo>
                <a:lnTo>
                  <a:pt x="49702" y="53759"/>
                </a:lnTo>
                <a:lnTo>
                  <a:pt x="50297" y="44647"/>
                </a:lnTo>
                <a:lnTo>
                  <a:pt x="49702" y="35535"/>
                </a:lnTo>
                <a:lnTo>
                  <a:pt x="48214" y="27335"/>
                </a:lnTo>
                <a:lnTo>
                  <a:pt x="45833" y="19742"/>
                </a:lnTo>
                <a:lnTo>
                  <a:pt x="42857" y="13060"/>
                </a:lnTo>
                <a:lnTo>
                  <a:pt x="39285" y="7593"/>
                </a:lnTo>
                <a:lnTo>
                  <a:pt x="34821" y="3644"/>
                </a:lnTo>
                <a:lnTo>
                  <a:pt x="30059" y="911"/>
                </a:lnTo>
                <a:lnTo>
                  <a:pt x="24999" y="0"/>
                </a:lnTo>
                <a:close/>
              </a:path>
            </a:pathLst>
          </a:custGeom>
          <a:solidFill>
            <a:srgbClr val="E4E4E4"/>
          </a:solidFill>
        </p:spPr>
        <p:txBody>
          <a:bodyPr wrap="square" lIns="0" tIns="0" rIns="0" bIns="0" rtlCol="0">
            <a:noAutofit/>
          </a:bodyPr>
          <a:lstStyle/>
          <a:p>
            <a:endParaRPr/>
          </a:p>
        </p:txBody>
      </p:sp>
      <p:sp>
        <p:nvSpPr>
          <p:cNvPr id="365" name="object 365"/>
          <p:cNvSpPr/>
          <p:nvPr/>
        </p:nvSpPr>
        <p:spPr>
          <a:xfrm>
            <a:off x="10237005" y="1237853"/>
            <a:ext cx="27380" cy="46773"/>
          </a:xfrm>
          <a:custGeom>
            <a:avLst/>
            <a:gdLst/>
            <a:ahLst/>
            <a:cxnLst/>
            <a:rect l="l" t="t" r="r" b="b"/>
            <a:pathLst>
              <a:path w="27380" h="46773">
                <a:moveTo>
                  <a:pt x="16071" y="16097"/>
                </a:moveTo>
                <a:lnTo>
                  <a:pt x="18749" y="22475"/>
                </a:lnTo>
                <a:lnTo>
                  <a:pt x="21130" y="30068"/>
                </a:lnTo>
                <a:lnTo>
                  <a:pt x="22618" y="37965"/>
                </a:lnTo>
                <a:lnTo>
                  <a:pt x="23214" y="46773"/>
                </a:lnTo>
                <a:lnTo>
                  <a:pt x="27380" y="46773"/>
                </a:lnTo>
                <a:lnTo>
                  <a:pt x="26785" y="37358"/>
                </a:lnTo>
                <a:lnTo>
                  <a:pt x="25297" y="28853"/>
                </a:lnTo>
                <a:lnTo>
                  <a:pt x="22916" y="21260"/>
                </a:lnTo>
                <a:lnTo>
                  <a:pt x="19642" y="14275"/>
                </a:lnTo>
                <a:lnTo>
                  <a:pt x="15773" y="8200"/>
                </a:lnTo>
                <a:lnTo>
                  <a:pt x="11011" y="3948"/>
                </a:lnTo>
                <a:lnTo>
                  <a:pt x="5654" y="911"/>
                </a:lnTo>
                <a:lnTo>
                  <a:pt x="0" y="0"/>
                </a:lnTo>
                <a:lnTo>
                  <a:pt x="0" y="4252"/>
                </a:lnTo>
                <a:lnTo>
                  <a:pt x="4464" y="5163"/>
                </a:lnTo>
                <a:lnTo>
                  <a:pt x="8630" y="7593"/>
                </a:lnTo>
                <a:lnTo>
                  <a:pt x="12797" y="11237"/>
                </a:lnTo>
                <a:lnTo>
                  <a:pt x="16071" y="16097"/>
                </a:lnTo>
                <a:close/>
              </a:path>
            </a:pathLst>
          </a:custGeom>
          <a:solidFill>
            <a:srgbClr val="000000"/>
          </a:solidFill>
        </p:spPr>
        <p:txBody>
          <a:bodyPr wrap="square" lIns="0" tIns="0" rIns="0" bIns="0" rtlCol="0">
            <a:noAutofit/>
          </a:bodyPr>
          <a:lstStyle/>
          <a:p>
            <a:endParaRPr/>
          </a:p>
        </p:txBody>
      </p:sp>
      <p:sp>
        <p:nvSpPr>
          <p:cNvPr id="366" name="object 366"/>
          <p:cNvSpPr/>
          <p:nvPr/>
        </p:nvSpPr>
        <p:spPr>
          <a:xfrm>
            <a:off x="10237005" y="1284626"/>
            <a:ext cx="27380" cy="46470"/>
          </a:xfrm>
          <a:custGeom>
            <a:avLst/>
            <a:gdLst/>
            <a:ahLst/>
            <a:cxnLst/>
            <a:rect l="l" t="t" r="r" b="b"/>
            <a:pathLst>
              <a:path w="27380" h="46470">
                <a:moveTo>
                  <a:pt x="4464" y="41306"/>
                </a:moveTo>
                <a:lnTo>
                  <a:pt x="0" y="42217"/>
                </a:lnTo>
                <a:lnTo>
                  <a:pt x="0" y="46470"/>
                </a:lnTo>
                <a:lnTo>
                  <a:pt x="5654" y="45558"/>
                </a:lnTo>
                <a:lnTo>
                  <a:pt x="11011" y="42825"/>
                </a:lnTo>
                <a:lnTo>
                  <a:pt x="15773" y="38269"/>
                </a:lnTo>
                <a:lnTo>
                  <a:pt x="19642" y="32194"/>
                </a:lnTo>
                <a:lnTo>
                  <a:pt x="22916" y="25816"/>
                </a:lnTo>
                <a:lnTo>
                  <a:pt x="25297" y="17919"/>
                </a:lnTo>
                <a:lnTo>
                  <a:pt x="26785" y="9415"/>
                </a:lnTo>
                <a:lnTo>
                  <a:pt x="27380" y="0"/>
                </a:lnTo>
                <a:lnTo>
                  <a:pt x="23214" y="0"/>
                </a:lnTo>
                <a:lnTo>
                  <a:pt x="22618" y="8808"/>
                </a:lnTo>
                <a:lnTo>
                  <a:pt x="21130" y="16704"/>
                </a:lnTo>
                <a:lnTo>
                  <a:pt x="18749" y="23994"/>
                </a:lnTo>
                <a:lnTo>
                  <a:pt x="16071" y="30372"/>
                </a:lnTo>
                <a:lnTo>
                  <a:pt x="12797" y="35232"/>
                </a:lnTo>
                <a:lnTo>
                  <a:pt x="8630" y="39180"/>
                </a:lnTo>
                <a:lnTo>
                  <a:pt x="4464" y="41306"/>
                </a:lnTo>
                <a:close/>
              </a:path>
            </a:pathLst>
          </a:custGeom>
          <a:solidFill>
            <a:srgbClr val="000000"/>
          </a:solidFill>
        </p:spPr>
        <p:txBody>
          <a:bodyPr wrap="square" lIns="0" tIns="0" rIns="0" bIns="0" rtlCol="0">
            <a:noAutofit/>
          </a:bodyPr>
          <a:lstStyle/>
          <a:p>
            <a:endParaRPr/>
          </a:p>
        </p:txBody>
      </p:sp>
      <p:sp>
        <p:nvSpPr>
          <p:cNvPr id="367" name="object 367"/>
          <p:cNvSpPr/>
          <p:nvPr/>
        </p:nvSpPr>
        <p:spPr>
          <a:xfrm>
            <a:off x="10209922" y="1284626"/>
            <a:ext cx="27083" cy="46470"/>
          </a:xfrm>
          <a:custGeom>
            <a:avLst/>
            <a:gdLst/>
            <a:ahLst/>
            <a:cxnLst/>
            <a:rect l="l" t="t" r="r" b="b"/>
            <a:pathLst>
              <a:path w="27083" h="46470">
                <a:moveTo>
                  <a:pt x="595" y="9415"/>
                </a:moveTo>
                <a:lnTo>
                  <a:pt x="2083" y="17919"/>
                </a:lnTo>
                <a:lnTo>
                  <a:pt x="4166" y="25816"/>
                </a:lnTo>
                <a:lnTo>
                  <a:pt x="7738" y="32498"/>
                </a:lnTo>
                <a:lnTo>
                  <a:pt x="11607" y="37965"/>
                </a:lnTo>
                <a:lnTo>
                  <a:pt x="16071" y="42825"/>
                </a:lnTo>
                <a:lnTo>
                  <a:pt x="21428" y="45558"/>
                </a:lnTo>
                <a:lnTo>
                  <a:pt x="27083" y="46470"/>
                </a:lnTo>
                <a:lnTo>
                  <a:pt x="27083" y="42217"/>
                </a:lnTo>
                <a:lnTo>
                  <a:pt x="22618" y="41306"/>
                </a:lnTo>
                <a:lnTo>
                  <a:pt x="18452" y="39180"/>
                </a:lnTo>
                <a:lnTo>
                  <a:pt x="14583" y="35535"/>
                </a:lnTo>
                <a:lnTo>
                  <a:pt x="11309" y="30068"/>
                </a:lnTo>
                <a:lnTo>
                  <a:pt x="8333" y="23994"/>
                </a:lnTo>
                <a:lnTo>
                  <a:pt x="6249" y="16704"/>
                </a:lnTo>
                <a:lnTo>
                  <a:pt x="4761" y="8808"/>
                </a:lnTo>
                <a:lnTo>
                  <a:pt x="4166" y="0"/>
                </a:lnTo>
                <a:lnTo>
                  <a:pt x="0" y="0"/>
                </a:lnTo>
                <a:lnTo>
                  <a:pt x="595" y="9415"/>
                </a:lnTo>
                <a:close/>
              </a:path>
            </a:pathLst>
          </a:custGeom>
          <a:solidFill>
            <a:srgbClr val="000000"/>
          </a:solidFill>
        </p:spPr>
        <p:txBody>
          <a:bodyPr wrap="square" lIns="0" tIns="0" rIns="0" bIns="0" rtlCol="0">
            <a:noAutofit/>
          </a:bodyPr>
          <a:lstStyle/>
          <a:p>
            <a:endParaRPr/>
          </a:p>
        </p:txBody>
      </p:sp>
      <p:sp>
        <p:nvSpPr>
          <p:cNvPr id="368" name="object 368"/>
          <p:cNvSpPr/>
          <p:nvPr/>
        </p:nvSpPr>
        <p:spPr>
          <a:xfrm>
            <a:off x="10209922" y="1237853"/>
            <a:ext cx="27083" cy="46773"/>
          </a:xfrm>
          <a:custGeom>
            <a:avLst/>
            <a:gdLst/>
            <a:ahLst/>
            <a:cxnLst/>
            <a:rect l="l" t="t" r="r" b="b"/>
            <a:pathLst>
              <a:path w="27083" h="46773">
                <a:moveTo>
                  <a:pt x="4166" y="46773"/>
                </a:moveTo>
                <a:lnTo>
                  <a:pt x="4761" y="37965"/>
                </a:lnTo>
                <a:lnTo>
                  <a:pt x="6249" y="30068"/>
                </a:lnTo>
                <a:lnTo>
                  <a:pt x="8333" y="22475"/>
                </a:lnTo>
                <a:lnTo>
                  <a:pt x="11309" y="16097"/>
                </a:lnTo>
                <a:lnTo>
                  <a:pt x="14583" y="10934"/>
                </a:lnTo>
                <a:lnTo>
                  <a:pt x="18452" y="7593"/>
                </a:lnTo>
                <a:lnTo>
                  <a:pt x="22618" y="5163"/>
                </a:lnTo>
                <a:lnTo>
                  <a:pt x="27083" y="4252"/>
                </a:lnTo>
                <a:lnTo>
                  <a:pt x="27083" y="0"/>
                </a:lnTo>
                <a:lnTo>
                  <a:pt x="21428" y="911"/>
                </a:lnTo>
                <a:lnTo>
                  <a:pt x="16071" y="3948"/>
                </a:lnTo>
                <a:lnTo>
                  <a:pt x="11607" y="8504"/>
                </a:lnTo>
                <a:lnTo>
                  <a:pt x="7738" y="14275"/>
                </a:lnTo>
                <a:lnTo>
                  <a:pt x="4166" y="21260"/>
                </a:lnTo>
                <a:lnTo>
                  <a:pt x="2083" y="28853"/>
                </a:lnTo>
                <a:lnTo>
                  <a:pt x="595" y="37358"/>
                </a:lnTo>
                <a:lnTo>
                  <a:pt x="0" y="46773"/>
                </a:lnTo>
                <a:lnTo>
                  <a:pt x="4166" y="46773"/>
                </a:lnTo>
                <a:close/>
              </a:path>
            </a:pathLst>
          </a:custGeom>
          <a:solidFill>
            <a:srgbClr val="000000"/>
          </a:solidFill>
        </p:spPr>
        <p:txBody>
          <a:bodyPr wrap="square" lIns="0" tIns="0" rIns="0" bIns="0" rtlCol="0">
            <a:noAutofit/>
          </a:bodyPr>
          <a:lstStyle/>
          <a:p>
            <a:endParaRPr/>
          </a:p>
        </p:txBody>
      </p:sp>
      <p:sp>
        <p:nvSpPr>
          <p:cNvPr id="369" name="object 369"/>
          <p:cNvSpPr/>
          <p:nvPr/>
        </p:nvSpPr>
        <p:spPr>
          <a:xfrm>
            <a:off x="10212005" y="1243016"/>
            <a:ext cx="46726" cy="82917"/>
          </a:xfrm>
          <a:custGeom>
            <a:avLst/>
            <a:gdLst/>
            <a:ahLst/>
            <a:cxnLst/>
            <a:rect l="l" t="t" r="r" b="b"/>
            <a:pathLst>
              <a:path w="46726" h="82917">
                <a:moveTo>
                  <a:pt x="23214" y="0"/>
                </a:moveTo>
                <a:lnTo>
                  <a:pt x="18452" y="911"/>
                </a:lnTo>
                <a:lnTo>
                  <a:pt x="14285" y="3340"/>
                </a:lnTo>
                <a:lnTo>
                  <a:pt x="10119" y="6985"/>
                </a:lnTo>
                <a:lnTo>
                  <a:pt x="6845" y="12149"/>
                </a:lnTo>
                <a:lnTo>
                  <a:pt x="3869" y="18223"/>
                </a:lnTo>
                <a:lnTo>
                  <a:pt x="1785" y="25209"/>
                </a:lnTo>
                <a:lnTo>
                  <a:pt x="595" y="33106"/>
                </a:lnTo>
                <a:lnTo>
                  <a:pt x="0" y="41306"/>
                </a:lnTo>
                <a:lnTo>
                  <a:pt x="595" y="49810"/>
                </a:lnTo>
                <a:lnTo>
                  <a:pt x="1785" y="57404"/>
                </a:lnTo>
                <a:lnTo>
                  <a:pt x="3869" y="64693"/>
                </a:lnTo>
                <a:lnTo>
                  <a:pt x="6845" y="70768"/>
                </a:lnTo>
                <a:lnTo>
                  <a:pt x="10119" y="75931"/>
                </a:lnTo>
                <a:lnTo>
                  <a:pt x="14285" y="79576"/>
                </a:lnTo>
                <a:lnTo>
                  <a:pt x="18452" y="82005"/>
                </a:lnTo>
                <a:lnTo>
                  <a:pt x="23214" y="82917"/>
                </a:lnTo>
                <a:lnTo>
                  <a:pt x="27976" y="82005"/>
                </a:lnTo>
                <a:lnTo>
                  <a:pt x="32440" y="79576"/>
                </a:lnTo>
                <a:lnTo>
                  <a:pt x="36309" y="75931"/>
                </a:lnTo>
                <a:lnTo>
                  <a:pt x="39880" y="70768"/>
                </a:lnTo>
                <a:lnTo>
                  <a:pt x="42857" y="64693"/>
                </a:lnTo>
                <a:lnTo>
                  <a:pt x="44940" y="57404"/>
                </a:lnTo>
                <a:lnTo>
                  <a:pt x="46130" y="49810"/>
                </a:lnTo>
                <a:lnTo>
                  <a:pt x="46726" y="41306"/>
                </a:lnTo>
                <a:lnTo>
                  <a:pt x="46130" y="33106"/>
                </a:lnTo>
                <a:lnTo>
                  <a:pt x="44940" y="25209"/>
                </a:lnTo>
                <a:lnTo>
                  <a:pt x="42857" y="18223"/>
                </a:lnTo>
                <a:lnTo>
                  <a:pt x="39880" y="12149"/>
                </a:lnTo>
                <a:lnTo>
                  <a:pt x="36309" y="6985"/>
                </a:lnTo>
                <a:lnTo>
                  <a:pt x="32440" y="3340"/>
                </a:lnTo>
                <a:lnTo>
                  <a:pt x="27976" y="911"/>
                </a:lnTo>
                <a:lnTo>
                  <a:pt x="23214" y="0"/>
                </a:lnTo>
                <a:close/>
              </a:path>
            </a:pathLst>
          </a:custGeom>
          <a:solidFill>
            <a:srgbClr val="666666"/>
          </a:solidFill>
        </p:spPr>
        <p:txBody>
          <a:bodyPr wrap="square" lIns="0" tIns="0" rIns="0" bIns="0" rtlCol="0">
            <a:noAutofit/>
          </a:bodyPr>
          <a:lstStyle/>
          <a:p>
            <a:endParaRPr/>
          </a:p>
        </p:txBody>
      </p:sp>
      <p:sp>
        <p:nvSpPr>
          <p:cNvPr id="370" name="object 370"/>
          <p:cNvSpPr/>
          <p:nvPr/>
        </p:nvSpPr>
        <p:spPr>
          <a:xfrm>
            <a:off x="10209922" y="1240889"/>
            <a:ext cx="25297" cy="43432"/>
          </a:xfrm>
          <a:custGeom>
            <a:avLst/>
            <a:gdLst/>
            <a:ahLst/>
            <a:cxnLst/>
            <a:rect l="l" t="t" r="r" b="b"/>
            <a:pathLst>
              <a:path w="25297" h="43432">
                <a:moveTo>
                  <a:pt x="4166" y="43432"/>
                </a:moveTo>
                <a:lnTo>
                  <a:pt x="4761" y="35535"/>
                </a:lnTo>
                <a:lnTo>
                  <a:pt x="5952" y="27942"/>
                </a:lnTo>
                <a:lnTo>
                  <a:pt x="8035" y="21260"/>
                </a:lnTo>
                <a:lnTo>
                  <a:pt x="10714" y="15186"/>
                </a:lnTo>
                <a:lnTo>
                  <a:pt x="13690" y="10630"/>
                </a:lnTo>
                <a:lnTo>
                  <a:pt x="17559" y="7289"/>
                </a:lnTo>
                <a:lnTo>
                  <a:pt x="21130" y="5163"/>
                </a:lnTo>
                <a:lnTo>
                  <a:pt x="25297" y="4252"/>
                </a:lnTo>
                <a:lnTo>
                  <a:pt x="25297" y="0"/>
                </a:lnTo>
                <a:lnTo>
                  <a:pt x="19940" y="911"/>
                </a:lnTo>
                <a:lnTo>
                  <a:pt x="15178" y="3644"/>
                </a:lnTo>
                <a:lnTo>
                  <a:pt x="10714" y="7593"/>
                </a:lnTo>
                <a:lnTo>
                  <a:pt x="7142" y="13363"/>
                </a:lnTo>
                <a:lnTo>
                  <a:pt x="3869" y="19438"/>
                </a:lnTo>
                <a:lnTo>
                  <a:pt x="1785" y="26727"/>
                </a:lnTo>
                <a:lnTo>
                  <a:pt x="595" y="34928"/>
                </a:lnTo>
                <a:lnTo>
                  <a:pt x="0" y="43432"/>
                </a:lnTo>
                <a:lnTo>
                  <a:pt x="4166" y="43432"/>
                </a:lnTo>
                <a:close/>
              </a:path>
            </a:pathLst>
          </a:custGeom>
          <a:solidFill>
            <a:srgbClr val="FFFFFF"/>
          </a:solidFill>
        </p:spPr>
        <p:txBody>
          <a:bodyPr wrap="square" lIns="0" tIns="0" rIns="0" bIns="0" rtlCol="0">
            <a:noAutofit/>
          </a:bodyPr>
          <a:lstStyle/>
          <a:p>
            <a:endParaRPr/>
          </a:p>
        </p:txBody>
      </p:sp>
      <p:sp>
        <p:nvSpPr>
          <p:cNvPr id="371" name="object 371"/>
          <p:cNvSpPr/>
          <p:nvPr/>
        </p:nvSpPr>
        <p:spPr>
          <a:xfrm>
            <a:off x="10209922" y="1284322"/>
            <a:ext cx="25297" cy="43736"/>
          </a:xfrm>
          <a:custGeom>
            <a:avLst/>
            <a:gdLst/>
            <a:ahLst/>
            <a:cxnLst/>
            <a:rect l="l" t="t" r="r" b="b"/>
            <a:pathLst>
              <a:path w="25297" h="43736">
                <a:moveTo>
                  <a:pt x="595" y="8808"/>
                </a:moveTo>
                <a:lnTo>
                  <a:pt x="1785" y="16704"/>
                </a:lnTo>
                <a:lnTo>
                  <a:pt x="3869" y="24298"/>
                </a:lnTo>
                <a:lnTo>
                  <a:pt x="7142" y="30372"/>
                </a:lnTo>
                <a:lnTo>
                  <a:pt x="10714" y="36143"/>
                </a:lnTo>
                <a:lnTo>
                  <a:pt x="15178" y="40091"/>
                </a:lnTo>
                <a:lnTo>
                  <a:pt x="19940" y="42825"/>
                </a:lnTo>
                <a:lnTo>
                  <a:pt x="25297" y="43736"/>
                </a:lnTo>
                <a:lnTo>
                  <a:pt x="25297" y="39484"/>
                </a:lnTo>
                <a:lnTo>
                  <a:pt x="21130" y="38573"/>
                </a:lnTo>
                <a:lnTo>
                  <a:pt x="17559" y="36447"/>
                </a:lnTo>
                <a:lnTo>
                  <a:pt x="13690" y="33106"/>
                </a:lnTo>
                <a:lnTo>
                  <a:pt x="10714" y="28550"/>
                </a:lnTo>
                <a:lnTo>
                  <a:pt x="8035" y="22475"/>
                </a:lnTo>
                <a:lnTo>
                  <a:pt x="5952" y="15490"/>
                </a:lnTo>
                <a:lnTo>
                  <a:pt x="4761" y="8200"/>
                </a:lnTo>
                <a:lnTo>
                  <a:pt x="4166" y="0"/>
                </a:lnTo>
                <a:lnTo>
                  <a:pt x="0" y="0"/>
                </a:lnTo>
                <a:lnTo>
                  <a:pt x="595" y="8808"/>
                </a:lnTo>
                <a:close/>
              </a:path>
            </a:pathLst>
          </a:custGeom>
          <a:solidFill>
            <a:srgbClr val="FFFFFF"/>
          </a:solidFill>
        </p:spPr>
        <p:txBody>
          <a:bodyPr wrap="square" lIns="0" tIns="0" rIns="0" bIns="0" rtlCol="0">
            <a:noAutofit/>
          </a:bodyPr>
          <a:lstStyle/>
          <a:p>
            <a:endParaRPr/>
          </a:p>
        </p:txBody>
      </p:sp>
      <p:sp>
        <p:nvSpPr>
          <p:cNvPr id="372" name="object 372"/>
          <p:cNvSpPr/>
          <p:nvPr/>
        </p:nvSpPr>
        <p:spPr>
          <a:xfrm>
            <a:off x="10235220" y="1284322"/>
            <a:ext cx="25595" cy="43736"/>
          </a:xfrm>
          <a:custGeom>
            <a:avLst/>
            <a:gdLst/>
            <a:ahLst/>
            <a:cxnLst/>
            <a:rect l="l" t="t" r="r" b="b"/>
            <a:pathLst>
              <a:path w="25595" h="43736">
                <a:moveTo>
                  <a:pt x="18452" y="30676"/>
                </a:moveTo>
                <a:lnTo>
                  <a:pt x="21726" y="24298"/>
                </a:lnTo>
                <a:lnTo>
                  <a:pt x="23809" y="16704"/>
                </a:lnTo>
                <a:lnTo>
                  <a:pt x="24999" y="8808"/>
                </a:lnTo>
                <a:lnTo>
                  <a:pt x="25595" y="0"/>
                </a:lnTo>
                <a:lnTo>
                  <a:pt x="21428" y="0"/>
                </a:lnTo>
                <a:lnTo>
                  <a:pt x="20833" y="8200"/>
                </a:lnTo>
                <a:lnTo>
                  <a:pt x="19642" y="15490"/>
                </a:lnTo>
                <a:lnTo>
                  <a:pt x="17559" y="22475"/>
                </a:lnTo>
                <a:lnTo>
                  <a:pt x="14880" y="28246"/>
                </a:lnTo>
                <a:lnTo>
                  <a:pt x="11607" y="33106"/>
                </a:lnTo>
                <a:lnTo>
                  <a:pt x="8035" y="36447"/>
                </a:lnTo>
                <a:lnTo>
                  <a:pt x="4166" y="38573"/>
                </a:lnTo>
                <a:lnTo>
                  <a:pt x="0" y="39484"/>
                </a:lnTo>
                <a:lnTo>
                  <a:pt x="0" y="43736"/>
                </a:lnTo>
                <a:lnTo>
                  <a:pt x="5357" y="42825"/>
                </a:lnTo>
                <a:lnTo>
                  <a:pt x="10416" y="40091"/>
                </a:lnTo>
                <a:lnTo>
                  <a:pt x="14583" y="36143"/>
                </a:lnTo>
                <a:lnTo>
                  <a:pt x="18452" y="30676"/>
                </a:lnTo>
                <a:close/>
              </a:path>
            </a:pathLst>
          </a:custGeom>
          <a:solidFill>
            <a:srgbClr val="FFFFFF"/>
          </a:solidFill>
        </p:spPr>
        <p:txBody>
          <a:bodyPr wrap="square" lIns="0" tIns="0" rIns="0" bIns="0" rtlCol="0">
            <a:noAutofit/>
          </a:bodyPr>
          <a:lstStyle/>
          <a:p>
            <a:endParaRPr/>
          </a:p>
        </p:txBody>
      </p:sp>
      <p:sp>
        <p:nvSpPr>
          <p:cNvPr id="373" name="object 373"/>
          <p:cNvSpPr/>
          <p:nvPr/>
        </p:nvSpPr>
        <p:spPr>
          <a:xfrm>
            <a:off x="10235220" y="1240889"/>
            <a:ext cx="25595" cy="43432"/>
          </a:xfrm>
          <a:custGeom>
            <a:avLst/>
            <a:gdLst/>
            <a:ahLst/>
            <a:cxnLst/>
            <a:rect l="l" t="t" r="r" b="b"/>
            <a:pathLst>
              <a:path w="25595" h="43432">
                <a:moveTo>
                  <a:pt x="0" y="0"/>
                </a:moveTo>
                <a:lnTo>
                  <a:pt x="0" y="4252"/>
                </a:lnTo>
                <a:lnTo>
                  <a:pt x="4166" y="5163"/>
                </a:lnTo>
                <a:lnTo>
                  <a:pt x="8035" y="7289"/>
                </a:lnTo>
                <a:lnTo>
                  <a:pt x="11607" y="10630"/>
                </a:lnTo>
                <a:lnTo>
                  <a:pt x="14880" y="15490"/>
                </a:lnTo>
                <a:lnTo>
                  <a:pt x="17559" y="21260"/>
                </a:lnTo>
                <a:lnTo>
                  <a:pt x="19642" y="27942"/>
                </a:lnTo>
                <a:lnTo>
                  <a:pt x="20833" y="35535"/>
                </a:lnTo>
                <a:lnTo>
                  <a:pt x="21428" y="43432"/>
                </a:lnTo>
                <a:lnTo>
                  <a:pt x="25595" y="43432"/>
                </a:lnTo>
                <a:lnTo>
                  <a:pt x="24999" y="34928"/>
                </a:lnTo>
                <a:lnTo>
                  <a:pt x="23809" y="26727"/>
                </a:lnTo>
                <a:lnTo>
                  <a:pt x="21726" y="19438"/>
                </a:lnTo>
                <a:lnTo>
                  <a:pt x="18452" y="13060"/>
                </a:lnTo>
                <a:lnTo>
                  <a:pt x="14583" y="7593"/>
                </a:lnTo>
                <a:lnTo>
                  <a:pt x="10416" y="3644"/>
                </a:lnTo>
                <a:lnTo>
                  <a:pt x="5357" y="911"/>
                </a:lnTo>
                <a:lnTo>
                  <a:pt x="0" y="0"/>
                </a:lnTo>
                <a:close/>
              </a:path>
            </a:pathLst>
          </a:custGeom>
          <a:solidFill>
            <a:srgbClr val="FFFFFF"/>
          </a:solidFill>
        </p:spPr>
        <p:txBody>
          <a:bodyPr wrap="square" lIns="0" tIns="0" rIns="0" bIns="0" rtlCol="0">
            <a:noAutofit/>
          </a:bodyPr>
          <a:lstStyle/>
          <a:p>
            <a:endParaRPr/>
          </a:p>
        </p:txBody>
      </p:sp>
      <p:sp>
        <p:nvSpPr>
          <p:cNvPr id="374" name="object 374"/>
          <p:cNvSpPr/>
          <p:nvPr/>
        </p:nvSpPr>
        <p:spPr>
          <a:xfrm>
            <a:off x="10212006" y="1246661"/>
            <a:ext cx="42857" cy="75931"/>
          </a:xfrm>
          <a:custGeom>
            <a:avLst/>
            <a:gdLst/>
            <a:ahLst/>
            <a:cxnLst/>
            <a:rect l="l" t="t" r="r" b="b"/>
            <a:pathLst>
              <a:path w="42857" h="75931">
                <a:moveTo>
                  <a:pt x="21428" y="0"/>
                </a:moveTo>
                <a:lnTo>
                  <a:pt x="16964" y="911"/>
                </a:lnTo>
                <a:lnTo>
                  <a:pt x="13095" y="3037"/>
                </a:lnTo>
                <a:lnTo>
                  <a:pt x="9523" y="6378"/>
                </a:lnTo>
                <a:lnTo>
                  <a:pt x="6249" y="11237"/>
                </a:lnTo>
                <a:lnTo>
                  <a:pt x="3571" y="16704"/>
                </a:lnTo>
                <a:lnTo>
                  <a:pt x="1785" y="23083"/>
                </a:lnTo>
                <a:lnTo>
                  <a:pt x="297" y="30372"/>
                </a:lnTo>
                <a:lnTo>
                  <a:pt x="0" y="37965"/>
                </a:lnTo>
                <a:lnTo>
                  <a:pt x="297" y="45558"/>
                </a:lnTo>
                <a:lnTo>
                  <a:pt x="1785" y="52848"/>
                </a:lnTo>
                <a:lnTo>
                  <a:pt x="3571" y="59226"/>
                </a:lnTo>
                <a:lnTo>
                  <a:pt x="6249" y="64693"/>
                </a:lnTo>
                <a:lnTo>
                  <a:pt x="9523" y="69553"/>
                </a:lnTo>
                <a:lnTo>
                  <a:pt x="13095" y="72894"/>
                </a:lnTo>
                <a:lnTo>
                  <a:pt x="16964" y="75020"/>
                </a:lnTo>
                <a:lnTo>
                  <a:pt x="21428" y="75931"/>
                </a:lnTo>
                <a:lnTo>
                  <a:pt x="25892" y="75020"/>
                </a:lnTo>
                <a:lnTo>
                  <a:pt x="29761" y="72894"/>
                </a:lnTo>
                <a:lnTo>
                  <a:pt x="33333" y="69553"/>
                </a:lnTo>
                <a:lnTo>
                  <a:pt x="36607" y="64693"/>
                </a:lnTo>
                <a:lnTo>
                  <a:pt x="39285" y="59226"/>
                </a:lnTo>
                <a:lnTo>
                  <a:pt x="41071" y="52848"/>
                </a:lnTo>
                <a:lnTo>
                  <a:pt x="42559" y="45558"/>
                </a:lnTo>
                <a:lnTo>
                  <a:pt x="42857" y="37965"/>
                </a:lnTo>
                <a:lnTo>
                  <a:pt x="42559" y="30372"/>
                </a:lnTo>
                <a:lnTo>
                  <a:pt x="41071" y="23083"/>
                </a:lnTo>
                <a:lnTo>
                  <a:pt x="39285" y="16704"/>
                </a:lnTo>
                <a:lnTo>
                  <a:pt x="36607" y="11237"/>
                </a:lnTo>
                <a:lnTo>
                  <a:pt x="33333" y="6378"/>
                </a:lnTo>
                <a:lnTo>
                  <a:pt x="29761" y="3037"/>
                </a:lnTo>
                <a:lnTo>
                  <a:pt x="25892" y="911"/>
                </a:lnTo>
                <a:lnTo>
                  <a:pt x="21428" y="0"/>
                </a:lnTo>
                <a:close/>
              </a:path>
            </a:pathLst>
          </a:custGeom>
          <a:solidFill>
            <a:srgbClr val="B1B1B1"/>
          </a:solidFill>
        </p:spPr>
        <p:txBody>
          <a:bodyPr wrap="square" lIns="0" tIns="0" rIns="0" bIns="0" rtlCol="0">
            <a:noAutofit/>
          </a:bodyPr>
          <a:lstStyle/>
          <a:p>
            <a:endParaRPr/>
          </a:p>
        </p:txBody>
      </p:sp>
      <p:sp>
        <p:nvSpPr>
          <p:cNvPr id="375" name="object 375"/>
          <p:cNvSpPr/>
          <p:nvPr/>
        </p:nvSpPr>
        <p:spPr>
          <a:xfrm>
            <a:off x="10233434" y="1244535"/>
            <a:ext cx="23511" cy="40091"/>
          </a:xfrm>
          <a:custGeom>
            <a:avLst/>
            <a:gdLst/>
            <a:ahLst/>
            <a:cxnLst/>
            <a:rect l="l" t="t" r="r" b="b"/>
            <a:pathLst>
              <a:path w="23511" h="40091">
                <a:moveTo>
                  <a:pt x="0" y="0"/>
                </a:moveTo>
                <a:lnTo>
                  <a:pt x="0" y="4252"/>
                </a:lnTo>
                <a:lnTo>
                  <a:pt x="3869" y="5163"/>
                </a:lnTo>
                <a:lnTo>
                  <a:pt x="7142" y="6985"/>
                </a:lnTo>
                <a:lnTo>
                  <a:pt x="10416" y="10022"/>
                </a:lnTo>
                <a:lnTo>
                  <a:pt x="13392" y="14578"/>
                </a:lnTo>
                <a:lnTo>
                  <a:pt x="15773" y="19438"/>
                </a:lnTo>
                <a:lnTo>
                  <a:pt x="17559" y="25816"/>
                </a:lnTo>
                <a:lnTo>
                  <a:pt x="19047" y="32802"/>
                </a:lnTo>
                <a:lnTo>
                  <a:pt x="19345" y="40091"/>
                </a:lnTo>
                <a:lnTo>
                  <a:pt x="23511" y="40091"/>
                </a:lnTo>
                <a:lnTo>
                  <a:pt x="23214" y="32194"/>
                </a:lnTo>
                <a:lnTo>
                  <a:pt x="21726" y="24601"/>
                </a:lnTo>
                <a:lnTo>
                  <a:pt x="19940" y="18223"/>
                </a:lnTo>
                <a:lnTo>
                  <a:pt x="16964" y="12149"/>
                </a:lnTo>
                <a:lnTo>
                  <a:pt x="13392" y="6985"/>
                </a:lnTo>
                <a:lnTo>
                  <a:pt x="9523" y="3340"/>
                </a:lnTo>
                <a:lnTo>
                  <a:pt x="5059" y="911"/>
                </a:lnTo>
                <a:lnTo>
                  <a:pt x="0" y="0"/>
                </a:lnTo>
                <a:close/>
              </a:path>
            </a:pathLst>
          </a:custGeom>
          <a:solidFill>
            <a:srgbClr val="000000"/>
          </a:solidFill>
        </p:spPr>
        <p:txBody>
          <a:bodyPr wrap="square" lIns="0" tIns="0" rIns="0" bIns="0" rtlCol="0">
            <a:noAutofit/>
          </a:bodyPr>
          <a:lstStyle/>
          <a:p>
            <a:endParaRPr/>
          </a:p>
        </p:txBody>
      </p:sp>
      <p:sp>
        <p:nvSpPr>
          <p:cNvPr id="376" name="object 376"/>
          <p:cNvSpPr/>
          <p:nvPr/>
        </p:nvSpPr>
        <p:spPr>
          <a:xfrm>
            <a:off x="10233434" y="1284627"/>
            <a:ext cx="23511" cy="40091"/>
          </a:xfrm>
          <a:custGeom>
            <a:avLst/>
            <a:gdLst/>
            <a:ahLst/>
            <a:cxnLst/>
            <a:rect l="l" t="t" r="r" b="b"/>
            <a:pathLst>
              <a:path w="23511" h="40091">
                <a:moveTo>
                  <a:pt x="16964" y="27942"/>
                </a:moveTo>
                <a:lnTo>
                  <a:pt x="19940" y="21868"/>
                </a:lnTo>
                <a:lnTo>
                  <a:pt x="21726" y="15490"/>
                </a:lnTo>
                <a:lnTo>
                  <a:pt x="23214" y="7896"/>
                </a:lnTo>
                <a:lnTo>
                  <a:pt x="23511" y="0"/>
                </a:lnTo>
                <a:lnTo>
                  <a:pt x="19345" y="0"/>
                </a:lnTo>
                <a:lnTo>
                  <a:pt x="19047" y="7289"/>
                </a:lnTo>
                <a:lnTo>
                  <a:pt x="17559" y="14275"/>
                </a:lnTo>
                <a:lnTo>
                  <a:pt x="15773" y="20653"/>
                </a:lnTo>
                <a:lnTo>
                  <a:pt x="13392" y="25512"/>
                </a:lnTo>
                <a:lnTo>
                  <a:pt x="10416" y="30068"/>
                </a:lnTo>
                <a:lnTo>
                  <a:pt x="7142" y="33106"/>
                </a:lnTo>
                <a:lnTo>
                  <a:pt x="3869" y="34928"/>
                </a:lnTo>
                <a:lnTo>
                  <a:pt x="0" y="35839"/>
                </a:lnTo>
                <a:lnTo>
                  <a:pt x="0" y="40091"/>
                </a:lnTo>
                <a:lnTo>
                  <a:pt x="5059" y="39180"/>
                </a:lnTo>
                <a:lnTo>
                  <a:pt x="9523" y="36750"/>
                </a:lnTo>
                <a:lnTo>
                  <a:pt x="13392" y="33106"/>
                </a:lnTo>
                <a:lnTo>
                  <a:pt x="16964" y="27942"/>
                </a:lnTo>
                <a:close/>
              </a:path>
            </a:pathLst>
          </a:custGeom>
          <a:solidFill>
            <a:srgbClr val="000000"/>
          </a:solidFill>
        </p:spPr>
        <p:txBody>
          <a:bodyPr wrap="square" lIns="0" tIns="0" rIns="0" bIns="0" rtlCol="0">
            <a:noAutofit/>
          </a:bodyPr>
          <a:lstStyle/>
          <a:p>
            <a:endParaRPr/>
          </a:p>
        </p:txBody>
      </p:sp>
      <p:sp>
        <p:nvSpPr>
          <p:cNvPr id="377" name="object 377"/>
          <p:cNvSpPr/>
          <p:nvPr/>
        </p:nvSpPr>
        <p:spPr>
          <a:xfrm>
            <a:off x="10209922" y="1284627"/>
            <a:ext cx="23511" cy="40091"/>
          </a:xfrm>
          <a:custGeom>
            <a:avLst/>
            <a:gdLst/>
            <a:ahLst/>
            <a:cxnLst/>
            <a:rect l="l" t="t" r="r" b="b"/>
            <a:pathLst>
              <a:path w="23511" h="40091">
                <a:moveTo>
                  <a:pt x="297" y="7896"/>
                </a:moveTo>
                <a:lnTo>
                  <a:pt x="1785" y="15490"/>
                </a:lnTo>
                <a:lnTo>
                  <a:pt x="3571" y="21868"/>
                </a:lnTo>
                <a:lnTo>
                  <a:pt x="6547" y="27942"/>
                </a:lnTo>
                <a:lnTo>
                  <a:pt x="10119" y="33106"/>
                </a:lnTo>
                <a:lnTo>
                  <a:pt x="13988" y="36750"/>
                </a:lnTo>
                <a:lnTo>
                  <a:pt x="18452" y="39180"/>
                </a:lnTo>
                <a:lnTo>
                  <a:pt x="23511" y="40091"/>
                </a:lnTo>
                <a:lnTo>
                  <a:pt x="23511" y="35839"/>
                </a:lnTo>
                <a:lnTo>
                  <a:pt x="19642" y="34928"/>
                </a:lnTo>
                <a:lnTo>
                  <a:pt x="16368" y="33106"/>
                </a:lnTo>
                <a:lnTo>
                  <a:pt x="13095" y="30068"/>
                </a:lnTo>
                <a:lnTo>
                  <a:pt x="10119" y="25512"/>
                </a:lnTo>
                <a:lnTo>
                  <a:pt x="7738" y="20653"/>
                </a:lnTo>
                <a:lnTo>
                  <a:pt x="5952" y="14275"/>
                </a:lnTo>
                <a:lnTo>
                  <a:pt x="4464" y="7289"/>
                </a:lnTo>
                <a:lnTo>
                  <a:pt x="4166" y="0"/>
                </a:lnTo>
                <a:lnTo>
                  <a:pt x="0" y="0"/>
                </a:lnTo>
                <a:lnTo>
                  <a:pt x="297" y="7896"/>
                </a:lnTo>
                <a:close/>
              </a:path>
            </a:pathLst>
          </a:custGeom>
          <a:solidFill>
            <a:srgbClr val="000000"/>
          </a:solidFill>
        </p:spPr>
        <p:txBody>
          <a:bodyPr wrap="square" lIns="0" tIns="0" rIns="0" bIns="0" rtlCol="0">
            <a:noAutofit/>
          </a:bodyPr>
          <a:lstStyle/>
          <a:p>
            <a:endParaRPr/>
          </a:p>
        </p:txBody>
      </p:sp>
      <p:sp>
        <p:nvSpPr>
          <p:cNvPr id="378" name="object 378"/>
          <p:cNvSpPr/>
          <p:nvPr/>
        </p:nvSpPr>
        <p:spPr>
          <a:xfrm>
            <a:off x="10209922" y="1244535"/>
            <a:ext cx="23511" cy="40091"/>
          </a:xfrm>
          <a:custGeom>
            <a:avLst/>
            <a:gdLst/>
            <a:ahLst/>
            <a:cxnLst/>
            <a:rect l="l" t="t" r="r" b="b"/>
            <a:pathLst>
              <a:path w="23511" h="40091">
                <a:moveTo>
                  <a:pt x="4166" y="40091"/>
                </a:moveTo>
                <a:lnTo>
                  <a:pt x="4464" y="32802"/>
                </a:lnTo>
                <a:lnTo>
                  <a:pt x="5952" y="25816"/>
                </a:lnTo>
                <a:lnTo>
                  <a:pt x="7738" y="19438"/>
                </a:lnTo>
                <a:lnTo>
                  <a:pt x="10119" y="14578"/>
                </a:lnTo>
                <a:lnTo>
                  <a:pt x="13095" y="10022"/>
                </a:lnTo>
                <a:lnTo>
                  <a:pt x="16368" y="6985"/>
                </a:lnTo>
                <a:lnTo>
                  <a:pt x="19642" y="5163"/>
                </a:lnTo>
                <a:lnTo>
                  <a:pt x="23511" y="4252"/>
                </a:lnTo>
                <a:lnTo>
                  <a:pt x="23511" y="0"/>
                </a:lnTo>
                <a:lnTo>
                  <a:pt x="18452" y="911"/>
                </a:lnTo>
                <a:lnTo>
                  <a:pt x="13988" y="3340"/>
                </a:lnTo>
                <a:lnTo>
                  <a:pt x="10119" y="6985"/>
                </a:lnTo>
                <a:lnTo>
                  <a:pt x="6547" y="12149"/>
                </a:lnTo>
                <a:lnTo>
                  <a:pt x="3571" y="18223"/>
                </a:lnTo>
                <a:lnTo>
                  <a:pt x="1785" y="24601"/>
                </a:lnTo>
                <a:lnTo>
                  <a:pt x="297" y="32194"/>
                </a:lnTo>
                <a:lnTo>
                  <a:pt x="0" y="40091"/>
                </a:lnTo>
                <a:lnTo>
                  <a:pt x="4166" y="40091"/>
                </a:lnTo>
                <a:close/>
              </a:path>
            </a:pathLst>
          </a:custGeom>
          <a:solidFill>
            <a:srgbClr val="000000"/>
          </a:solidFill>
        </p:spPr>
        <p:txBody>
          <a:bodyPr wrap="square" lIns="0" tIns="0" rIns="0" bIns="0" rtlCol="0">
            <a:noAutofit/>
          </a:bodyPr>
          <a:lstStyle/>
          <a:p>
            <a:endParaRPr/>
          </a:p>
        </p:txBody>
      </p:sp>
      <p:sp>
        <p:nvSpPr>
          <p:cNvPr id="379" name="object 379"/>
          <p:cNvSpPr/>
          <p:nvPr/>
        </p:nvSpPr>
        <p:spPr>
          <a:xfrm>
            <a:off x="10212302" y="1253343"/>
            <a:ext cx="21726" cy="62567"/>
          </a:xfrm>
          <a:custGeom>
            <a:avLst/>
            <a:gdLst/>
            <a:ahLst/>
            <a:cxnLst/>
            <a:rect l="l" t="t" r="r" b="b"/>
            <a:pathLst>
              <a:path w="21726" h="62567">
                <a:moveTo>
                  <a:pt x="8928" y="62567"/>
                </a:moveTo>
                <a:lnTo>
                  <a:pt x="12202" y="59833"/>
                </a:lnTo>
                <a:lnTo>
                  <a:pt x="15178" y="56189"/>
                </a:lnTo>
                <a:lnTo>
                  <a:pt x="17261" y="52240"/>
                </a:lnTo>
                <a:lnTo>
                  <a:pt x="19047" y="47988"/>
                </a:lnTo>
                <a:lnTo>
                  <a:pt x="20535" y="43432"/>
                </a:lnTo>
                <a:lnTo>
                  <a:pt x="21130" y="38573"/>
                </a:lnTo>
                <a:lnTo>
                  <a:pt x="21726" y="33713"/>
                </a:lnTo>
                <a:lnTo>
                  <a:pt x="21726" y="28853"/>
                </a:lnTo>
                <a:lnTo>
                  <a:pt x="21130" y="23994"/>
                </a:lnTo>
                <a:lnTo>
                  <a:pt x="20238" y="19438"/>
                </a:lnTo>
                <a:lnTo>
                  <a:pt x="19345" y="14882"/>
                </a:lnTo>
                <a:lnTo>
                  <a:pt x="17857" y="10934"/>
                </a:lnTo>
                <a:lnTo>
                  <a:pt x="16071" y="7289"/>
                </a:lnTo>
                <a:lnTo>
                  <a:pt x="13988" y="4252"/>
                </a:lnTo>
                <a:lnTo>
                  <a:pt x="11607" y="1822"/>
                </a:lnTo>
                <a:lnTo>
                  <a:pt x="9226" y="0"/>
                </a:lnTo>
                <a:lnTo>
                  <a:pt x="7142" y="2429"/>
                </a:lnTo>
                <a:lnTo>
                  <a:pt x="5357" y="5467"/>
                </a:lnTo>
                <a:lnTo>
                  <a:pt x="3869" y="8808"/>
                </a:lnTo>
                <a:lnTo>
                  <a:pt x="2678" y="12149"/>
                </a:lnTo>
                <a:lnTo>
                  <a:pt x="1488" y="16097"/>
                </a:lnTo>
                <a:lnTo>
                  <a:pt x="595" y="20349"/>
                </a:lnTo>
                <a:lnTo>
                  <a:pt x="297" y="24601"/>
                </a:lnTo>
                <a:lnTo>
                  <a:pt x="0" y="29157"/>
                </a:lnTo>
                <a:lnTo>
                  <a:pt x="0" y="33713"/>
                </a:lnTo>
                <a:lnTo>
                  <a:pt x="297" y="38269"/>
                </a:lnTo>
                <a:lnTo>
                  <a:pt x="892" y="42521"/>
                </a:lnTo>
                <a:lnTo>
                  <a:pt x="1785" y="47077"/>
                </a:lnTo>
                <a:lnTo>
                  <a:pt x="2976" y="51329"/>
                </a:lnTo>
                <a:lnTo>
                  <a:pt x="4761" y="55278"/>
                </a:lnTo>
                <a:lnTo>
                  <a:pt x="6547" y="59226"/>
                </a:lnTo>
                <a:lnTo>
                  <a:pt x="8928" y="62567"/>
                </a:lnTo>
                <a:close/>
              </a:path>
            </a:pathLst>
          </a:custGeom>
          <a:solidFill>
            <a:srgbClr val="000000"/>
          </a:solidFill>
        </p:spPr>
        <p:txBody>
          <a:bodyPr wrap="square" lIns="0" tIns="0" rIns="0" bIns="0" rtlCol="0">
            <a:noAutofit/>
          </a:bodyPr>
          <a:lstStyle/>
          <a:p>
            <a:endParaRPr/>
          </a:p>
        </p:txBody>
      </p:sp>
      <p:sp>
        <p:nvSpPr>
          <p:cNvPr id="380" name="object 380"/>
          <p:cNvSpPr/>
          <p:nvPr/>
        </p:nvSpPr>
        <p:spPr>
          <a:xfrm>
            <a:off x="10220338" y="1252329"/>
            <a:ext cx="15178" cy="64794"/>
          </a:xfrm>
          <a:custGeom>
            <a:avLst/>
            <a:gdLst/>
            <a:ahLst/>
            <a:cxnLst/>
            <a:rect l="l" t="t" r="r" b="b"/>
            <a:pathLst>
              <a:path w="15178" h="64794">
                <a:moveTo>
                  <a:pt x="0" y="62365"/>
                </a:moveTo>
                <a:lnTo>
                  <a:pt x="1785" y="64794"/>
                </a:lnTo>
                <a:lnTo>
                  <a:pt x="5357" y="62061"/>
                </a:lnTo>
                <a:lnTo>
                  <a:pt x="8333" y="58112"/>
                </a:lnTo>
                <a:lnTo>
                  <a:pt x="10416" y="53860"/>
                </a:lnTo>
                <a:lnTo>
                  <a:pt x="12499" y="49608"/>
                </a:lnTo>
                <a:lnTo>
                  <a:pt x="13988" y="44748"/>
                </a:lnTo>
                <a:lnTo>
                  <a:pt x="14583" y="39889"/>
                </a:lnTo>
                <a:lnTo>
                  <a:pt x="15178" y="34725"/>
                </a:lnTo>
                <a:lnTo>
                  <a:pt x="15178" y="29866"/>
                </a:lnTo>
                <a:lnTo>
                  <a:pt x="14583" y="24703"/>
                </a:lnTo>
                <a:lnTo>
                  <a:pt x="13690" y="20147"/>
                </a:lnTo>
                <a:lnTo>
                  <a:pt x="12797" y="15591"/>
                </a:lnTo>
                <a:lnTo>
                  <a:pt x="11309" y="11339"/>
                </a:lnTo>
                <a:lnTo>
                  <a:pt x="9226" y="7390"/>
                </a:lnTo>
                <a:lnTo>
                  <a:pt x="7142" y="4353"/>
                </a:lnTo>
                <a:lnTo>
                  <a:pt x="4464" y="1619"/>
                </a:lnTo>
                <a:lnTo>
                  <a:pt x="2380" y="1923"/>
                </a:lnTo>
                <a:lnTo>
                  <a:pt x="595" y="0"/>
                </a:lnTo>
                <a:lnTo>
                  <a:pt x="0" y="404"/>
                </a:lnTo>
                <a:lnTo>
                  <a:pt x="0" y="1619"/>
                </a:lnTo>
                <a:lnTo>
                  <a:pt x="595" y="2227"/>
                </a:lnTo>
                <a:lnTo>
                  <a:pt x="2678" y="4049"/>
                </a:lnTo>
                <a:lnTo>
                  <a:pt x="4761" y="6175"/>
                </a:lnTo>
                <a:lnTo>
                  <a:pt x="6845" y="9213"/>
                </a:lnTo>
                <a:lnTo>
                  <a:pt x="8333" y="12554"/>
                </a:lnTo>
                <a:lnTo>
                  <a:pt x="9821" y="16198"/>
                </a:lnTo>
                <a:lnTo>
                  <a:pt x="10714" y="20754"/>
                </a:lnTo>
                <a:lnTo>
                  <a:pt x="11607" y="25310"/>
                </a:lnTo>
                <a:lnTo>
                  <a:pt x="12202" y="29866"/>
                </a:lnTo>
                <a:lnTo>
                  <a:pt x="12202" y="34725"/>
                </a:lnTo>
                <a:lnTo>
                  <a:pt x="11607" y="39281"/>
                </a:lnTo>
                <a:lnTo>
                  <a:pt x="11011" y="44141"/>
                </a:lnTo>
                <a:lnTo>
                  <a:pt x="9523" y="48393"/>
                </a:lnTo>
                <a:lnTo>
                  <a:pt x="8035" y="52645"/>
                </a:lnTo>
                <a:lnTo>
                  <a:pt x="5952" y="56290"/>
                </a:lnTo>
                <a:lnTo>
                  <a:pt x="2976" y="59631"/>
                </a:lnTo>
                <a:lnTo>
                  <a:pt x="0" y="62365"/>
                </a:lnTo>
                <a:close/>
              </a:path>
            </a:pathLst>
          </a:custGeom>
          <a:solidFill>
            <a:srgbClr val="000000"/>
          </a:solidFill>
        </p:spPr>
        <p:txBody>
          <a:bodyPr wrap="square" lIns="0" tIns="0" rIns="0" bIns="0" rtlCol="0">
            <a:noAutofit/>
          </a:bodyPr>
          <a:lstStyle/>
          <a:p>
            <a:endParaRPr/>
          </a:p>
        </p:txBody>
      </p:sp>
      <p:sp>
        <p:nvSpPr>
          <p:cNvPr id="381" name="object 381"/>
          <p:cNvSpPr/>
          <p:nvPr/>
        </p:nvSpPr>
        <p:spPr>
          <a:xfrm>
            <a:off x="10220933" y="1252127"/>
            <a:ext cx="3868" cy="2126"/>
          </a:xfrm>
          <a:custGeom>
            <a:avLst/>
            <a:gdLst/>
            <a:ahLst/>
            <a:cxnLst/>
            <a:rect l="l" t="t" r="r" b="b"/>
            <a:pathLst>
              <a:path w="3868" h="2126">
                <a:moveTo>
                  <a:pt x="1190" y="0"/>
                </a:moveTo>
                <a:lnTo>
                  <a:pt x="297" y="0"/>
                </a:lnTo>
                <a:lnTo>
                  <a:pt x="0" y="202"/>
                </a:lnTo>
                <a:lnTo>
                  <a:pt x="1785" y="2126"/>
                </a:lnTo>
                <a:lnTo>
                  <a:pt x="3868" y="1822"/>
                </a:lnTo>
                <a:lnTo>
                  <a:pt x="1190" y="0"/>
                </a:lnTo>
                <a:close/>
              </a:path>
            </a:pathLst>
          </a:custGeom>
          <a:solidFill>
            <a:srgbClr val="000000"/>
          </a:solidFill>
        </p:spPr>
        <p:txBody>
          <a:bodyPr wrap="square" lIns="0" tIns="0" rIns="0" bIns="0" rtlCol="0">
            <a:noAutofit/>
          </a:bodyPr>
          <a:lstStyle/>
          <a:p>
            <a:endParaRPr/>
          </a:p>
        </p:txBody>
      </p:sp>
      <p:sp>
        <p:nvSpPr>
          <p:cNvPr id="382" name="object 382"/>
          <p:cNvSpPr/>
          <p:nvPr/>
        </p:nvSpPr>
        <p:spPr>
          <a:xfrm>
            <a:off x="10210814" y="1252432"/>
            <a:ext cx="11904" cy="64997"/>
          </a:xfrm>
          <a:custGeom>
            <a:avLst/>
            <a:gdLst/>
            <a:ahLst/>
            <a:cxnLst/>
            <a:rect l="l" t="t" r="r" b="b"/>
            <a:pathLst>
              <a:path w="11904" h="64997">
                <a:moveTo>
                  <a:pt x="2976" y="34624"/>
                </a:moveTo>
                <a:lnTo>
                  <a:pt x="2976" y="30068"/>
                </a:lnTo>
                <a:lnTo>
                  <a:pt x="3273" y="25512"/>
                </a:lnTo>
                <a:lnTo>
                  <a:pt x="3571" y="21564"/>
                </a:lnTo>
                <a:lnTo>
                  <a:pt x="4464" y="17312"/>
                </a:lnTo>
                <a:lnTo>
                  <a:pt x="5654" y="13667"/>
                </a:lnTo>
                <a:lnTo>
                  <a:pt x="6845" y="10326"/>
                </a:lnTo>
                <a:lnTo>
                  <a:pt x="8035" y="6985"/>
                </a:lnTo>
                <a:lnTo>
                  <a:pt x="9821" y="4252"/>
                </a:lnTo>
                <a:lnTo>
                  <a:pt x="11904" y="1822"/>
                </a:lnTo>
                <a:lnTo>
                  <a:pt x="9523" y="0"/>
                </a:lnTo>
                <a:lnTo>
                  <a:pt x="7440" y="2429"/>
                </a:lnTo>
                <a:lnTo>
                  <a:pt x="5654" y="5770"/>
                </a:lnTo>
                <a:lnTo>
                  <a:pt x="3869" y="9111"/>
                </a:lnTo>
                <a:lnTo>
                  <a:pt x="2678" y="12452"/>
                </a:lnTo>
                <a:lnTo>
                  <a:pt x="1488" y="16704"/>
                </a:lnTo>
                <a:lnTo>
                  <a:pt x="595" y="20957"/>
                </a:lnTo>
                <a:lnTo>
                  <a:pt x="297" y="25512"/>
                </a:lnTo>
                <a:lnTo>
                  <a:pt x="0" y="30068"/>
                </a:lnTo>
                <a:lnTo>
                  <a:pt x="0" y="34624"/>
                </a:lnTo>
                <a:lnTo>
                  <a:pt x="297" y="39484"/>
                </a:lnTo>
                <a:lnTo>
                  <a:pt x="892" y="43736"/>
                </a:lnTo>
                <a:lnTo>
                  <a:pt x="1785" y="48292"/>
                </a:lnTo>
                <a:lnTo>
                  <a:pt x="2976" y="52848"/>
                </a:lnTo>
                <a:lnTo>
                  <a:pt x="4761" y="56796"/>
                </a:lnTo>
                <a:lnTo>
                  <a:pt x="6845" y="61048"/>
                </a:lnTo>
                <a:lnTo>
                  <a:pt x="9226" y="64389"/>
                </a:lnTo>
                <a:lnTo>
                  <a:pt x="10416" y="64997"/>
                </a:lnTo>
                <a:lnTo>
                  <a:pt x="11309" y="64693"/>
                </a:lnTo>
                <a:lnTo>
                  <a:pt x="9523" y="62263"/>
                </a:lnTo>
                <a:lnTo>
                  <a:pt x="9226" y="59226"/>
                </a:lnTo>
                <a:lnTo>
                  <a:pt x="7738" y="55581"/>
                </a:lnTo>
                <a:lnTo>
                  <a:pt x="5952" y="51633"/>
                </a:lnTo>
                <a:lnTo>
                  <a:pt x="4761" y="47684"/>
                </a:lnTo>
                <a:lnTo>
                  <a:pt x="3869" y="43129"/>
                </a:lnTo>
                <a:lnTo>
                  <a:pt x="3273" y="38876"/>
                </a:lnTo>
                <a:lnTo>
                  <a:pt x="2976" y="34624"/>
                </a:lnTo>
                <a:close/>
              </a:path>
            </a:pathLst>
          </a:custGeom>
          <a:solidFill>
            <a:srgbClr val="000000"/>
          </a:solidFill>
        </p:spPr>
        <p:txBody>
          <a:bodyPr wrap="square" lIns="0" tIns="0" rIns="0" bIns="0" rtlCol="0">
            <a:noAutofit/>
          </a:bodyPr>
          <a:lstStyle/>
          <a:p>
            <a:endParaRPr/>
          </a:p>
        </p:txBody>
      </p:sp>
      <p:sp>
        <p:nvSpPr>
          <p:cNvPr id="383" name="object 383"/>
          <p:cNvSpPr/>
          <p:nvPr/>
        </p:nvSpPr>
        <p:spPr>
          <a:xfrm>
            <a:off x="10220040" y="1311658"/>
            <a:ext cx="2678" cy="5467"/>
          </a:xfrm>
          <a:custGeom>
            <a:avLst/>
            <a:gdLst/>
            <a:ahLst/>
            <a:cxnLst/>
            <a:rect l="l" t="t" r="r" b="b"/>
            <a:pathLst>
              <a:path w="2678" h="5467">
                <a:moveTo>
                  <a:pt x="2380" y="3340"/>
                </a:moveTo>
                <a:lnTo>
                  <a:pt x="0" y="0"/>
                </a:lnTo>
                <a:lnTo>
                  <a:pt x="297" y="3037"/>
                </a:lnTo>
                <a:lnTo>
                  <a:pt x="2083" y="5467"/>
                </a:lnTo>
                <a:lnTo>
                  <a:pt x="2678" y="4555"/>
                </a:lnTo>
                <a:lnTo>
                  <a:pt x="2380" y="3340"/>
                </a:lnTo>
                <a:close/>
              </a:path>
            </a:pathLst>
          </a:custGeom>
          <a:solidFill>
            <a:srgbClr val="000000"/>
          </a:solidFill>
        </p:spPr>
        <p:txBody>
          <a:bodyPr wrap="square" lIns="0" tIns="0" rIns="0" bIns="0" rtlCol="0">
            <a:noAutofit/>
          </a:bodyPr>
          <a:lstStyle/>
          <a:p>
            <a:endParaRPr/>
          </a:p>
        </p:txBody>
      </p:sp>
      <p:sp>
        <p:nvSpPr>
          <p:cNvPr id="384" name="object 384"/>
          <p:cNvSpPr/>
          <p:nvPr/>
        </p:nvSpPr>
        <p:spPr>
          <a:xfrm>
            <a:off x="10212601" y="1275210"/>
            <a:ext cx="14583" cy="17616"/>
          </a:xfrm>
          <a:custGeom>
            <a:avLst/>
            <a:gdLst/>
            <a:ahLst/>
            <a:cxnLst/>
            <a:rect l="l" t="t" r="r" b="b"/>
            <a:pathLst>
              <a:path w="14583" h="17616">
                <a:moveTo>
                  <a:pt x="14583" y="0"/>
                </a:moveTo>
                <a:lnTo>
                  <a:pt x="595" y="0"/>
                </a:lnTo>
                <a:lnTo>
                  <a:pt x="297" y="2126"/>
                </a:lnTo>
                <a:lnTo>
                  <a:pt x="0" y="4555"/>
                </a:lnTo>
                <a:lnTo>
                  <a:pt x="0" y="13363"/>
                </a:lnTo>
                <a:lnTo>
                  <a:pt x="297" y="15490"/>
                </a:lnTo>
                <a:lnTo>
                  <a:pt x="595" y="17616"/>
                </a:lnTo>
                <a:lnTo>
                  <a:pt x="14583" y="17616"/>
                </a:lnTo>
                <a:lnTo>
                  <a:pt x="14583" y="0"/>
                </a:lnTo>
                <a:close/>
              </a:path>
            </a:pathLst>
          </a:custGeom>
          <a:solidFill>
            <a:srgbClr val="404040"/>
          </a:solidFill>
        </p:spPr>
        <p:txBody>
          <a:bodyPr wrap="square" lIns="0" tIns="0" rIns="0" bIns="0" rtlCol="0">
            <a:noAutofit/>
          </a:bodyPr>
          <a:lstStyle/>
          <a:p>
            <a:endParaRPr/>
          </a:p>
        </p:txBody>
      </p:sp>
      <p:sp>
        <p:nvSpPr>
          <p:cNvPr id="385" name="object 385"/>
          <p:cNvSpPr/>
          <p:nvPr/>
        </p:nvSpPr>
        <p:spPr>
          <a:xfrm>
            <a:off x="10212005" y="1273692"/>
            <a:ext cx="15178" cy="3037"/>
          </a:xfrm>
          <a:custGeom>
            <a:avLst/>
            <a:gdLst/>
            <a:ahLst/>
            <a:cxnLst/>
            <a:rect l="l" t="t" r="r" b="b"/>
            <a:pathLst>
              <a:path w="15178" h="3037">
                <a:moveTo>
                  <a:pt x="243" y="773"/>
                </a:moveTo>
                <a:lnTo>
                  <a:pt x="0" y="1518"/>
                </a:lnTo>
                <a:lnTo>
                  <a:pt x="297" y="2429"/>
                </a:lnTo>
                <a:lnTo>
                  <a:pt x="1190" y="3037"/>
                </a:lnTo>
                <a:lnTo>
                  <a:pt x="15178" y="3037"/>
                </a:lnTo>
                <a:lnTo>
                  <a:pt x="15178" y="0"/>
                </a:lnTo>
                <a:lnTo>
                  <a:pt x="2678" y="1822"/>
                </a:lnTo>
                <a:lnTo>
                  <a:pt x="1190" y="0"/>
                </a:lnTo>
                <a:lnTo>
                  <a:pt x="297" y="607"/>
                </a:lnTo>
                <a:lnTo>
                  <a:pt x="243" y="773"/>
                </a:lnTo>
                <a:close/>
              </a:path>
            </a:pathLst>
          </a:custGeom>
          <a:solidFill>
            <a:srgbClr val="000000"/>
          </a:solidFill>
        </p:spPr>
        <p:txBody>
          <a:bodyPr wrap="square" lIns="0" tIns="0" rIns="0" bIns="0" rtlCol="0">
            <a:noAutofit/>
          </a:bodyPr>
          <a:lstStyle/>
          <a:p>
            <a:endParaRPr/>
          </a:p>
        </p:txBody>
      </p:sp>
      <p:sp>
        <p:nvSpPr>
          <p:cNvPr id="386" name="object 386"/>
          <p:cNvSpPr/>
          <p:nvPr/>
        </p:nvSpPr>
        <p:spPr>
          <a:xfrm>
            <a:off x="10213195" y="1273691"/>
            <a:ext cx="13988" cy="1822"/>
          </a:xfrm>
          <a:custGeom>
            <a:avLst/>
            <a:gdLst/>
            <a:ahLst/>
            <a:cxnLst/>
            <a:rect l="l" t="t" r="r" b="b"/>
            <a:pathLst>
              <a:path w="13988" h="1822">
                <a:moveTo>
                  <a:pt x="0" y="0"/>
                </a:moveTo>
                <a:lnTo>
                  <a:pt x="1488" y="1822"/>
                </a:lnTo>
                <a:lnTo>
                  <a:pt x="13988" y="0"/>
                </a:lnTo>
                <a:lnTo>
                  <a:pt x="0" y="0"/>
                </a:lnTo>
                <a:close/>
              </a:path>
            </a:pathLst>
          </a:custGeom>
          <a:solidFill>
            <a:srgbClr val="000000"/>
          </a:solidFill>
        </p:spPr>
        <p:txBody>
          <a:bodyPr wrap="square" lIns="0" tIns="0" rIns="0" bIns="0" rtlCol="0">
            <a:noAutofit/>
          </a:bodyPr>
          <a:lstStyle/>
          <a:p>
            <a:endParaRPr/>
          </a:p>
        </p:txBody>
      </p:sp>
      <p:sp>
        <p:nvSpPr>
          <p:cNvPr id="387" name="object 387"/>
          <p:cNvSpPr/>
          <p:nvPr/>
        </p:nvSpPr>
        <p:spPr>
          <a:xfrm>
            <a:off x="10211113" y="1274906"/>
            <a:ext cx="3571" cy="19134"/>
          </a:xfrm>
          <a:custGeom>
            <a:avLst/>
            <a:gdLst/>
            <a:ahLst/>
            <a:cxnLst/>
            <a:rect l="l" t="t" r="r" b="b"/>
            <a:pathLst>
              <a:path w="3571" h="19134">
                <a:moveTo>
                  <a:pt x="297" y="16097"/>
                </a:moveTo>
                <a:lnTo>
                  <a:pt x="595" y="18223"/>
                </a:lnTo>
                <a:lnTo>
                  <a:pt x="1190" y="19134"/>
                </a:lnTo>
                <a:lnTo>
                  <a:pt x="2380" y="19134"/>
                </a:lnTo>
                <a:lnTo>
                  <a:pt x="3273" y="18830"/>
                </a:lnTo>
                <a:lnTo>
                  <a:pt x="3571" y="17616"/>
                </a:lnTo>
                <a:lnTo>
                  <a:pt x="3273" y="15490"/>
                </a:lnTo>
                <a:lnTo>
                  <a:pt x="2976" y="13667"/>
                </a:lnTo>
                <a:lnTo>
                  <a:pt x="2083" y="16401"/>
                </a:lnTo>
                <a:lnTo>
                  <a:pt x="2976" y="4859"/>
                </a:lnTo>
                <a:lnTo>
                  <a:pt x="3273" y="2733"/>
                </a:lnTo>
                <a:lnTo>
                  <a:pt x="3571" y="607"/>
                </a:lnTo>
                <a:lnTo>
                  <a:pt x="595" y="0"/>
                </a:lnTo>
                <a:lnTo>
                  <a:pt x="297" y="2126"/>
                </a:lnTo>
                <a:lnTo>
                  <a:pt x="0" y="4859"/>
                </a:lnTo>
                <a:lnTo>
                  <a:pt x="0" y="13667"/>
                </a:lnTo>
                <a:lnTo>
                  <a:pt x="297" y="16097"/>
                </a:lnTo>
                <a:close/>
              </a:path>
            </a:pathLst>
          </a:custGeom>
          <a:solidFill>
            <a:srgbClr val="000000"/>
          </a:solidFill>
        </p:spPr>
        <p:txBody>
          <a:bodyPr wrap="square" lIns="0" tIns="0" rIns="0" bIns="0" rtlCol="0">
            <a:noAutofit/>
          </a:bodyPr>
          <a:lstStyle/>
          <a:p>
            <a:endParaRPr/>
          </a:p>
        </p:txBody>
      </p:sp>
      <p:sp>
        <p:nvSpPr>
          <p:cNvPr id="388" name="object 388"/>
          <p:cNvSpPr/>
          <p:nvPr/>
        </p:nvSpPr>
        <p:spPr>
          <a:xfrm>
            <a:off x="10213195" y="1279767"/>
            <a:ext cx="892" cy="11541"/>
          </a:xfrm>
          <a:custGeom>
            <a:avLst/>
            <a:gdLst/>
            <a:ahLst/>
            <a:cxnLst/>
            <a:rect l="l" t="t" r="r" b="b"/>
            <a:pathLst>
              <a:path w="892" h="11541">
                <a:moveTo>
                  <a:pt x="892" y="0"/>
                </a:moveTo>
                <a:lnTo>
                  <a:pt x="0" y="11541"/>
                </a:lnTo>
                <a:lnTo>
                  <a:pt x="892" y="8808"/>
                </a:lnTo>
                <a:lnTo>
                  <a:pt x="892" y="0"/>
                </a:lnTo>
                <a:close/>
              </a:path>
            </a:pathLst>
          </a:custGeom>
          <a:solidFill>
            <a:srgbClr val="000000"/>
          </a:solidFill>
        </p:spPr>
        <p:txBody>
          <a:bodyPr wrap="square" lIns="0" tIns="0" rIns="0" bIns="0" rtlCol="0">
            <a:noAutofit/>
          </a:bodyPr>
          <a:lstStyle/>
          <a:p>
            <a:endParaRPr/>
          </a:p>
        </p:txBody>
      </p:sp>
      <p:sp>
        <p:nvSpPr>
          <p:cNvPr id="389" name="object 389"/>
          <p:cNvSpPr/>
          <p:nvPr/>
        </p:nvSpPr>
        <p:spPr>
          <a:xfrm>
            <a:off x="10213195" y="1291309"/>
            <a:ext cx="15476" cy="3037"/>
          </a:xfrm>
          <a:custGeom>
            <a:avLst/>
            <a:gdLst/>
            <a:ahLst/>
            <a:cxnLst/>
            <a:rect l="l" t="t" r="r" b="b"/>
            <a:pathLst>
              <a:path w="15476" h="3037">
                <a:moveTo>
                  <a:pt x="14880" y="2429"/>
                </a:moveTo>
                <a:lnTo>
                  <a:pt x="15476" y="1518"/>
                </a:lnTo>
                <a:lnTo>
                  <a:pt x="14880" y="607"/>
                </a:lnTo>
                <a:lnTo>
                  <a:pt x="13988" y="0"/>
                </a:lnTo>
                <a:lnTo>
                  <a:pt x="0" y="0"/>
                </a:lnTo>
                <a:lnTo>
                  <a:pt x="0" y="3037"/>
                </a:lnTo>
                <a:lnTo>
                  <a:pt x="13988" y="3037"/>
                </a:lnTo>
                <a:lnTo>
                  <a:pt x="12499" y="1518"/>
                </a:lnTo>
                <a:lnTo>
                  <a:pt x="13988" y="3037"/>
                </a:lnTo>
                <a:lnTo>
                  <a:pt x="14880" y="2429"/>
                </a:lnTo>
                <a:close/>
              </a:path>
            </a:pathLst>
          </a:custGeom>
          <a:solidFill>
            <a:srgbClr val="000000"/>
          </a:solidFill>
        </p:spPr>
        <p:txBody>
          <a:bodyPr wrap="square" lIns="0" tIns="0" rIns="0" bIns="0" rtlCol="0">
            <a:noAutofit/>
          </a:bodyPr>
          <a:lstStyle/>
          <a:p>
            <a:endParaRPr/>
          </a:p>
        </p:txBody>
      </p:sp>
      <p:sp>
        <p:nvSpPr>
          <p:cNvPr id="390" name="object 390"/>
          <p:cNvSpPr/>
          <p:nvPr/>
        </p:nvSpPr>
        <p:spPr>
          <a:xfrm>
            <a:off x="10226290" y="1273692"/>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391" name="object 391"/>
          <p:cNvSpPr/>
          <p:nvPr/>
        </p:nvSpPr>
        <p:spPr>
          <a:xfrm>
            <a:off x="10225695" y="1273691"/>
            <a:ext cx="2976" cy="19134"/>
          </a:xfrm>
          <a:custGeom>
            <a:avLst/>
            <a:gdLst/>
            <a:ahLst/>
            <a:cxnLst/>
            <a:rect l="l" t="t" r="r" b="b"/>
            <a:pathLst>
              <a:path w="2976" h="19134">
                <a:moveTo>
                  <a:pt x="595" y="607"/>
                </a:moveTo>
                <a:lnTo>
                  <a:pt x="0" y="1518"/>
                </a:lnTo>
                <a:lnTo>
                  <a:pt x="0" y="19134"/>
                </a:lnTo>
                <a:lnTo>
                  <a:pt x="2976" y="19134"/>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392" name="object 392"/>
          <p:cNvSpPr/>
          <p:nvPr/>
        </p:nvSpPr>
        <p:spPr>
          <a:xfrm>
            <a:off x="10222422" y="1275211"/>
            <a:ext cx="10119" cy="17919"/>
          </a:xfrm>
          <a:custGeom>
            <a:avLst/>
            <a:gdLst/>
            <a:ahLst/>
            <a:cxnLst/>
            <a:rect l="l" t="t" r="r" b="b"/>
            <a:pathLst>
              <a:path w="10119" h="17919">
                <a:moveTo>
                  <a:pt x="5059" y="0"/>
                </a:moveTo>
                <a:lnTo>
                  <a:pt x="4166" y="303"/>
                </a:lnTo>
                <a:lnTo>
                  <a:pt x="3273" y="607"/>
                </a:lnTo>
                <a:lnTo>
                  <a:pt x="2380" y="1518"/>
                </a:lnTo>
                <a:lnTo>
                  <a:pt x="1488" y="2733"/>
                </a:lnTo>
                <a:lnTo>
                  <a:pt x="892" y="3948"/>
                </a:lnTo>
                <a:lnTo>
                  <a:pt x="297" y="5467"/>
                </a:lnTo>
                <a:lnTo>
                  <a:pt x="0" y="7289"/>
                </a:lnTo>
                <a:lnTo>
                  <a:pt x="0" y="9111"/>
                </a:lnTo>
                <a:lnTo>
                  <a:pt x="297" y="12452"/>
                </a:lnTo>
                <a:lnTo>
                  <a:pt x="1488" y="15186"/>
                </a:lnTo>
                <a:lnTo>
                  <a:pt x="3273" y="17312"/>
                </a:lnTo>
                <a:lnTo>
                  <a:pt x="5059" y="17919"/>
                </a:lnTo>
                <a:lnTo>
                  <a:pt x="6845" y="17312"/>
                </a:lnTo>
                <a:lnTo>
                  <a:pt x="8630" y="15186"/>
                </a:lnTo>
                <a:lnTo>
                  <a:pt x="9821" y="12452"/>
                </a:lnTo>
                <a:lnTo>
                  <a:pt x="10119" y="9111"/>
                </a:lnTo>
                <a:lnTo>
                  <a:pt x="10119" y="7289"/>
                </a:lnTo>
                <a:lnTo>
                  <a:pt x="9821" y="5467"/>
                </a:lnTo>
                <a:lnTo>
                  <a:pt x="9226" y="3948"/>
                </a:lnTo>
                <a:lnTo>
                  <a:pt x="8630" y="2733"/>
                </a:lnTo>
                <a:lnTo>
                  <a:pt x="7738" y="1518"/>
                </a:lnTo>
                <a:lnTo>
                  <a:pt x="6845" y="607"/>
                </a:lnTo>
                <a:lnTo>
                  <a:pt x="5952" y="303"/>
                </a:lnTo>
                <a:lnTo>
                  <a:pt x="5059" y="0"/>
                </a:lnTo>
                <a:close/>
              </a:path>
            </a:pathLst>
          </a:custGeom>
          <a:solidFill>
            <a:srgbClr val="000000"/>
          </a:solidFill>
        </p:spPr>
        <p:txBody>
          <a:bodyPr wrap="square" lIns="0" tIns="0" rIns="0" bIns="0" rtlCol="0">
            <a:noAutofit/>
          </a:bodyPr>
          <a:lstStyle/>
          <a:p>
            <a:endParaRPr/>
          </a:p>
        </p:txBody>
      </p:sp>
      <p:sp>
        <p:nvSpPr>
          <p:cNvPr id="393" name="object 393"/>
          <p:cNvSpPr/>
          <p:nvPr/>
        </p:nvSpPr>
        <p:spPr>
          <a:xfrm>
            <a:off x="10227481" y="1273085"/>
            <a:ext cx="7142" cy="11237"/>
          </a:xfrm>
          <a:custGeom>
            <a:avLst/>
            <a:gdLst/>
            <a:ahLst/>
            <a:cxnLst/>
            <a:rect l="l" t="t" r="r" b="b"/>
            <a:pathLst>
              <a:path w="7142" h="11237">
                <a:moveTo>
                  <a:pt x="297" y="4555"/>
                </a:moveTo>
                <a:lnTo>
                  <a:pt x="595" y="4555"/>
                </a:lnTo>
                <a:lnTo>
                  <a:pt x="1190" y="5163"/>
                </a:lnTo>
                <a:lnTo>
                  <a:pt x="1785" y="6074"/>
                </a:lnTo>
                <a:lnTo>
                  <a:pt x="2380" y="6985"/>
                </a:lnTo>
                <a:lnTo>
                  <a:pt x="2678" y="8200"/>
                </a:lnTo>
                <a:lnTo>
                  <a:pt x="2976" y="9719"/>
                </a:lnTo>
                <a:lnTo>
                  <a:pt x="2976" y="11237"/>
                </a:lnTo>
                <a:lnTo>
                  <a:pt x="7142" y="11237"/>
                </a:lnTo>
                <a:lnTo>
                  <a:pt x="7142" y="9111"/>
                </a:lnTo>
                <a:lnTo>
                  <a:pt x="6845" y="6985"/>
                </a:lnTo>
                <a:lnTo>
                  <a:pt x="5952" y="5163"/>
                </a:lnTo>
                <a:lnTo>
                  <a:pt x="5357" y="3644"/>
                </a:lnTo>
                <a:lnTo>
                  <a:pt x="4166" y="2126"/>
                </a:lnTo>
                <a:lnTo>
                  <a:pt x="2976" y="911"/>
                </a:lnTo>
                <a:lnTo>
                  <a:pt x="1488" y="303"/>
                </a:lnTo>
                <a:lnTo>
                  <a:pt x="0" y="0"/>
                </a:lnTo>
                <a:lnTo>
                  <a:pt x="0" y="4252"/>
                </a:lnTo>
                <a:lnTo>
                  <a:pt x="297" y="4555"/>
                </a:lnTo>
                <a:close/>
              </a:path>
            </a:pathLst>
          </a:custGeom>
          <a:solidFill>
            <a:srgbClr val="000000"/>
          </a:solidFill>
        </p:spPr>
        <p:txBody>
          <a:bodyPr wrap="square" lIns="0" tIns="0" rIns="0" bIns="0" rtlCol="0">
            <a:noAutofit/>
          </a:bodyPr>
          <a:lstStyle/>
          <a:p>
            <a:endParaRPr/>
          </a:p>
        </p:txBody>
      </p:sp>
      <p:sp>
        <p:nvSpPr>
          <p:cNvPr id="394" name="object 394"/>
          <p:cNvSpPr/>
          <p:nvPr/>
        </p:nvSpPr>
        <p:spPr>
          <a:xfrm>
            <a:off x="10227481" y="1284322"/>
            <a:ext cx="7142" cy="10934"/>
          </a:xfrm>
          <a:custGeom>
            <a:avLst/>
            <a:gdLst/>
            <a:ahLst/>
            <a:cxnLst/>
            <a:rect l="l" t="t" r="r" b="b"/>
            <a:pathLst>
              <a:path w="7142" h="10934">
                <a:moveTo>
                  <a:pt x="6845" y="3948"/>
                </a:moveTo>
                <a:lnTo>
                  <a:pt x="7142" y="0"/>
                </a:lnTo>
                <a:lnTo>
                  <a:pt x="2976" y="0"/>
                </a:lnTo>
                <a:lnTo>
                  <a:pt x="2678" y="2733"/>
                </a:lnTo>
                <a:lnTo>
                  <a:pt x="1785" y="4859"/>
                </a:lnTo>
                <a:lnTo>
                  <a:pt x="595" y="6378"/>
                </a:lnTo>
                <a:lnTo>
                  <a:pt x="0" y="6681"/>
                </a:lnTo>
                <a:lnTo>
                  <a:pt x="0" y="10934"/>
                </a:lnTo>
                <a:lnTo>
                  <a:pt x="2976" y="10022"/>
                </a:lnTo>
                <a:lnTo>
                  <a:pt x="5357" y="7289"/>
                </a:lnTo>
                <a:lnTo>
                  <a:pt x="6845" y="3948"/>
                </a:lnTo>
                <a:close/>
              </a:path>
            </a:pathLst>
          </a:custGeom>
          <a:solidFill>
            <a:srgbClr val="000000"/>
          </a:solidFill>
        </p:spPr>
        <p:txBody>
          <a:bodyPr wrap="square" lIns="0" tIns="0" rIns="0" bIns="0" rtlCol="0">
            <a:noAutofit/>
          </a:bodyPr>
          <a:lstStyle/>
          <a:p>
            <a:endParaRPr/>
          </a:p>
        </p:txBody>
      </p:sp>
      <p:sp>
        <p:nvSpPr>
          <p:cNvPr id="395" name="object 395"/>
          <p:cNvSpPr/>
          <p:nvPr/>
        </p:nvSpPr>
        <p:spPr>
          <a:xfrm>
            <a:off x="10220338" y="1284322"/>
            <a:ext cx="7142" cy="10934"/>
          </a:xfrm>
          <a:custGeom>
            <a:avLst/>
            <a:gdLst/>
            <a:ahLst/>
            <a:cxnLst/>
            <a:rect l="l" t="t" r="r" b="b"/>
            <a:pathLst>
              <a:path w="7142" h="10934">
                <a:moveTo>
                  <a:pt x="7142" y="10934"/>
                </a:moveTo>
                <a:lnTo>
                  <a:pt x="7142" y="6681"/>
                </a:lnTo>
                <a:lnTo>
                  <a:pt x="6547" y="6378"/>
                </a:lnTo>
                <a:lnTo>
                  <a:pt x="5357" y="4859"/>
                </a:lnTo>
                <a:lnTo>
                  <a:pt x="4464" y="2733"/>
                </a:lnTo>
                <a:lnTo>
                  <a:pt x="4166" y="0"/>
                </a:lnTo>
                <a:lnTo>
                  <a:pt x="0" y="0"/>
                </a:lnTo>
                <a:lnTo>
                  <a:pt x="297" y="3948"/>
                </a:lnTo>
                <a:lnTo>
                  <a:pt x="1785" y="7289"/>
                </a:lnTo>
                <a:lnTo>
                  <a:pt x="4166" y="10022"/>
                </a:lnTo>
                <a:lnTo>
                  <a:pt x="7142" y="10934"/>
                </a:lnTo>
                <a:close/>
              </a:path>
            </a:pathLst>
          </a:custGeom>
          <a:solidFill>
            <a:srgbClr val="000000"/>
          </a:solidFill>
        </p:spPr>
        <p:txBody>
          <a:bodyPr wrap="square" lIns="0" tIns="0" rIns="0" bIns="0" rtlCol="0">
            <a:noAutofit/>
          </a:bodyPr>
          <a:lstStyle/>
          <a:p>
            <a:endParaRPr/>
          </a:p>
        </p:txBody>
      </p:sp>
      <p:sp>
        <p:nvSpPr>
          <p:cNvPr id="396" name="object 396"/>
          <p:cNvSpPr/>
          <p:nvPr/>
        </p:nvSpPr>
        <p:spPr>
          <a:xfrm>
            <a:off x="10220338" y="1273085"/>
            <a:ext cx="7142" cy="11237"/>
          </a:xfrm>
          <a:custGeom>
            <a:avLst/>
            <a:gdLst/>
            <a:ahLst/>
            <a:cxnLst/>
            <a:rect l="l" t="t" r="r" b="b"/>
            <a:pathLst>
              <a:path w="7142" h="11237">
                <a:moveTo>
                  <a:pt x="4166" y="911"/>
                </a:moveTo>
                <a:lnTo>
                  <a:pt x="2976" y="2126"/>
                </a:lnTo>
                <a:lnTo>
                  <a:pt x="1785" y="3644"/>
                </a:lnTo>
                <a:lnTo>
                  <a:pt x="1190" y="5163"/>
                </a:lnTo>
                <a:lnTo>
                  <a:pt x="297" y="6985"/>
                </a:lnTo>
                <a:lnTo>
                  <a:pt x="0" y="9111"/>
                </a:lnTo>
                <a:lnTo>
                  <a:pt x="0" y="11237"/>
                </a:lnTo>
                <a:lnTo>
                  <a:pt x="4166" y="11237"/>
                </a:lnTo>
                <a:lnTo>
                  <a:pt x="4166" y="9719"/>
                </a:lnTo>
                <a:lnTo>
                  <a:pt x="4464" y="8200"/>
                </a:lnTo>
                <a:lnTo>
                  <a:pt x="4761" y="6985"/>
                </a:lnTo>
                <a:lnTo>
                  <a:pt x="5357" y="6074"/>
                </a:lnTo>
                <a:lnTo>
                  <a:pt x="5952" y="5163"/>
                </a:lnTo>
                <a:lnTo>
                  <a:pt x="6547" y="4555"/>
                </a:lnTo>
                <a:lnTo>
                  <a:pt x="6845" y="4555"/>
                </a:lnTo>
                <a:lnTo>
                  <a:pt x="7142" y="4252"/>
                </a:lnTo>
                <a:lnTo>
                  <a:pt x="7142" y="0"/>
                </a:lnTo>
                <a:lnTo>
                  <a:pt x="5654" y="303"/>
                </a:lnTo>
                <a:lnTo>
                  <a:pt x="4166" y="911"/>
                </a:lnTo>
                <a:close/>
              </a:path>
            </a:pathLst>
          </a:custGeom>
          <a:solidFill>
            <a:srgbClr val="000000"/>
          </a:solidFill>
        </p:spPr>
        <p:txBody>
          <a:bodyPr wrap="square" lIns="0" tIns="0" rIns="0" bIns="0" rtlCol="0">
            <a:noAutofit/>
          </a:bodyPr>
          <a:lstStyle/>
          <a:p>
            <a:endParaRPr/>
          </a:p>
        </p:txBody>
      </p:sp>
      <p:sp>
        <p:nvSpPr>
          <p:cNvPr id="397" name="object 397"/>
          <p:cNvSpPr/>
          <p:nvPr/>
        </p:nvSpPr>
        <p:spPr>
          <a:xfrm>
            <a:off x="10222720" y="1275818"/>
            <a:ext cx="9523" cy="6378"/>
          </a:xfrm>
          <a:custGeom>
            <a:avLst/>
            <a:gdLst/>
            <a:ahLst/>
            <a:cxnLst/>
            <a:rect l="l" t="t" r="r" b="b"/>
            <a:pathLst>
              <a:path w="9523" h="6378">
                <a:moveTo>
                  <a:pt x="892" y="3948"/>
                </a:moveTo>
                <a:lnTo>
                  <a:pt x="0" y="6378"/>
                </a:lnTo>
                <a:lnTo>
                  <a:pt x="1190" y="3948"/>
                </a:lnTo>
                <a:lnTo>
                  <a:pt x="2380" y="2429"/>
                </a:lnTo>
                <a:lnTo>
                  <a:pt x="3571" y="1518"/>
                </a:lnTo>
                <a:lnTo>
                  <a:pt x="4761" y="1214"/>
                </a:lnTo>
                <a:lnTo>
                  <a:pt x="6249" y="1822"/>
                </a:lnTo>
                <a:lnTo>
                  <a:pt x="7440" y="2733"/>
                </a:lnTo>
                <a:lnTo>
                  <a:pt x="8630" y="4252"/>
                </a:lnTo>
                <a:lnTo>
                  <a:pt x="9523" y="6378"/>
                </a:lnTo>
                <a:lnTo>
                  <a:pt x="8630" y="3340"/>
                </a:lnTo>
                <a:lnTo>
                  <a:pt x="7142" y="1214"/>
                </a:lnTo>
                <a:lnTo>
                  <a:pt x="5952" y="303"/>
                </a:lnTo>
                <a:lnTo>
                  <a:pt x="4464" y="0"/>
                </a:lnTo>
                <a:lnTo>
                  <a:pt x="3273" y="607"/>
                </a:lnTo>
                <a:lnTo>
                  <a:pt x="1785" y="1822"/>
                </a:lnTo>
                <a:lnTo>
                  <a:pt x="892" y="3948"/>
                </a:lnTo>
                <a:close/>
              </a:path>
            </a:pathLst>
          </a:custGeom>
          <a:solidFill>
            <a:srgbClr val="FFFFFF"/>
          </a:solidFill>
        </p:spPr>
        <p:txBody>
          <a:bodyPr wrap="square" lIns="0" tIns="0" rIns="0" bIns="0" rtlCol="0">
            <a:noAutofit/>
          </a:bodyPr>
          <a:lstStyle/>
          <a:p>
            <a:endParaRPr/>
          </a:p>
        </p:txBody>
      </p:sp>
      <p:sp>
        <p:nvSpPr>
          <p:cNvPr id="398" name="object 398"/>
          <p:cNvSpPr/>
          <p:nvPr/>
        </p:nvSpPr>
        <p:spPr>
          <a:xfrm>
            <a:off x="10230458" y="1278248"/>
            <a:ext cx="3869" cy="4859"/>
          </a:xfrm>
          <a:custGeom>
            <a:avLst/>
            <a:gdLst/>
            <a:ahLst/>
            <a:cxnLst/>
            <a:rect l="l" t="t" r="r" b="b"/>
            <a:pathLst>
              <a:path w="3869" h="4859">
                <a:moveTo>
                  <a:pt x="3571" y="3037"/>
                </a:moveTo>
                <a:lnTo>
                  <a:pt x="0" y="4859"/>
                </a:lnTo>
                <a:lnTo>
                  <a:pt x="3869" y="3340"/>
                </a:lnTo>
                <a:lnTo>
                  <a:pt x="2678" y="0"/>
                </a:lnTo>
                <a:lnTo>
                  <a:pt x="3571" y="3037"/>
                </a:lnTo>
                <a:close/>
              </a:path>
            </a:pathLst>
          </a:custGeom>
          <a:solidFill>
            <a:srgbClr val="FFFFFF"/>
          </a:solidFill>
        </p:spPr>
        <p:txBody>
          <a:bodyPr wrap="square" lIns="0" tIns="0" rIns="0" bIns="0" rtlCol="0">
            <a:noAutofit/>
          </a:bodyPr>
          <a:lstStyle/>
          <a:p>
            <a:endParaRPr/>
          </a:p>
        </p:txBody>
      </p:sp>
      <p:sp>
        <p:nvSpPr>
          <p:cNvPr id="399" name="object 399"/>
          <p:cNvSpPr/>
          <p:nvPr/>
        </p:nvSpPr>
        <p:spPr>
          <a:xfrm>
            <a:off x="10220636" y="1273691"/>
            <a:ext cx="13690" cy="10630"/>
          </a:xfrm>
          <a:custGeom>
            <a:avLst/>
            <a:gdLst/>
            <a:ahLst/>
            <a:cxnLst/>
            <a:rect l="l" t="t" r="r" b="b"/>
            <a:pathLst>
              <a:path w="13690" h="10630">
                <a:moveTo>
                  <a:pt x="2083" y="2733"/>
                </a:moveTo>
                <a:lnTo>
                  <a:pt x="892" y="5163"/>
                </a:lnTo>
                <a:lnTo>
                  <a:pt x="0" y="7896"/>
                </a:lnTo>
                <a:lnTo>
                  <a:pt x="4166" y="9111"/>
                </a:lnTo>
                <a:lnTo>
                  <a:pt x="5059" y="6985"/>
                </a:lnTo>
                <a:lnTo>
                  <a:pt x="5654" y="5163"/>
                </a:lnTo>
                <a:lnTo>
                  <a:pt x="6547" y="4555"/>
                </a:lnTo>
                <a:lnTo>
                  <a:pt x="6845" y="4252"/>
                </a:lnTo>
                <a:lnTo>
                  <a:pt x="7142" y="4252"/>
                </a:lnTo>
                <a:lnTo>
                  <a:pt x="7738" y="4859"/>
                </a:lnTo>
                <a:lnTo>
                  <a:pt x="8928" y="6378"/>
                </a:lnTo>
                <a:lnTo>
                  <a:pt x="9523" y="9111"/>
                </a:lnTo>
                <a:lnTo>
                  <a:pt x="10416" y="10326"/>
                </a:lnTo>
                <a:lnTo>
                  <a:pt x="12202" y="10630"/>
                </a:lnTo>
                <a:lnTo>
                  <a:pt x="13392" y="9719"/>
                </a:lnTo>
                <a:lnTo>
                  <a:pt x="13690" y="7896"/>
                </a:lnTo>
                <a:lnTo>
                  <a:pt x="9821" y="9415"/>
                </a:lnTo>
                <a:lnTo>
                  <a:pt x="13392" y="7593"/>
                </a:lnTo>
                <a:lnTo>
                  <a:pt x="12499" y="4555"/>
                </a:lnTo>
                <a:lnTo>
                  <a:pt x="10714" y="1822"/>
                </a:lnTo>
                <a:lnTo>
                  <a:pt x="8928" y="607"/>
                </a:lnTo>
                <a:lnTo>
                  <a:pt x="6249" y="0"/>
                </a:lnTo>
                <a:lnTo>
                  <a:pt x="4166" y="911"/>
                </a:lnTo>
                <a:lnTo>
                  <a:pt x="2083" y="2733"/>
                </a:lnTo>
                <a:close/>
              </a:path>
            </a:pathLst>
          </a:custGeom>
          <a:solidFill>
            <a:srgbClr val="FFFFFF"/>
          </a:solidFill>
        </p:spPr>
        <p:txBody>
          <a:bodyPr wrap="square" lIns="0" tIns="0" rIns="0" bIns="0" rtlCol="0">
            <a:noAutofit/>
          </a:bodyPr>
          <a:lstStyle/>
          <a:p>
            <a:endParaRPr/>
          </a:p>
        </p:txBody>
      </p:sp>
      <p:sp>
        <p:nvSpPr>
          <p:cNvPr id="400" name="object 400"/>
          <p:cNvSpPr/>
          <p:nvPr/>
        </p:nvSpPr>
        <p:spPr>
          <a:xfrm>
            <a:off x="10220636" y="1274907"/>
            <a:ext cx="13392" cy="9415"/>
          </a:xfrm>
          <a:custGeom>
            <a:avLst/>
            <a:gdLst/>
            <a:ahLst/>
            <a:cxnLst/>
            <a:rect l="l" t="t" r="r" b="b"/>
            <a:pathLst>
              <a:path w="13392" h="9415">
                <a:moveTo>
                  <a:pt x="5952" y="4859"/>
                </a:moveTo>
                <a:lnTo>
                  <a:pt x="6547" y="4252"/>
                </a:lnTo>
                <a:lnTo>
                  <a:pt x="7440" y="4555"/>
                </a:lnTo>
                <a:lnTo>
                  <a:pt x="8035" y="5163"/>
                </a:lnTo>
                <a:lnTo>
                  <a:pt x="8928" y="6378"/>
                </a:lnTo>
                <a:lnTo>
                  <a:pt x="9821" y="8200"/>
                </a:lnTo>
                <a:lnTo>
                  <a:pt x="13392" y="6378"/>
                </a:lnTo>
                <a:lnTo>
                  <a:pt x="12499" y="3948"/>
                </a:lnTo>
                <a:lnTo>
                  <a:pt x="11011" y="2126"/>
                </a:lnTo>
                <a:lnTo>
                  <a:pt x="9226" y="911"/>
                </a:lnTo>
                <a:lnTo>
                  <a:pt x="7142" y="0"/>
                </a:lnTo>
                <a:lnTo>
                  <a:pt x="4761" y="607"/>
                </a:lnTo>
                <a:lnTo>
                  <a:pt x="2976" y="1822"/>
                </a:lnTo>
                <a:lnTo>
                  <a:pt x="1488" y="3644"/>
                </a:lnTo>
                <a:lnTo>
                  <a:pt x="0" y="6681"/>
                </a:lnTo>
                <a:lnTo>
                  <a:pt x="297" y="8504"/>
                </a:lnTo>
                <a:lnTo>
                  <a:pt x="1785" y="9415"/>
                </a:lnTo>
                <a:lnTo>
                  <a:pt x="3273" y="9111"/>
                </a:lnTo>
                <a:lnTo>
                  <a:pt x="4166" y="7896"/>
                </a:lnTo>
                <a:lnTo>
                  <a:pt x="5059" y="6074"/>
                </a:lnTo>
                <a:lnTo>
                  <a:pt x="5952" y="4859"/>
                </a:lnTo>
                <a:close/>
              </a:path>
            </a:pathLst>
          </a:custGeom>
          <a:solidFill>
            <a:srgbClr val="FFFFFF"/>
          </a:solidFill>
        </p:spPr>
        <p:txBody>
          <a:bodyPr wrap="square" lIns="0" tIns="0" rIns="0" bIns="0" rtlCol="0">
            <a:noAutofit/>
          </a:bodyPr>
          <a:lstStyle/>
          <a:p>
            <a:endParaRPr/>
          </a:p>
        </p:txBody>
      </p:sp>
      <p:sp>
        <p:nvSpPr>
          <p:cNvPr id="401" name="object 401"/>
          <p:cNvSpPr/>
          <p:nvPr/>
        </p:nvSpPr>
        <p:spPr>
          <a:xfrm>
            <a:off x="10026590" y="1209605"/>
            <a:ext cx="86011" cy="154292"/>
          </a:xfrm>
          <a:custGeom>
            <a:avLst/>
            <a:gdLst/>
            <a:ahLst/>
            <a:cxnLst/>
            <a:rect l="l" t="t" r="r" b="b"/>
            <a:pathLst>
              <a:path w="86011" h="154292">
                <a:moveTo>
                  <a:pt x="43154" y="0"/>
                </a:moveTo>
                <a:lnTo>
                  <a:pt x="38690" y="303"/>
                </a:lnTo>
                <a:lnTo>
                  <a:pt x="34523" y="1518"/>
                </a:lnTo>
                <a:lnTo>
                  <a:pt x="26488" y="6074"/>
                </a:lnTo>
                <a:lnTo>
                  <a:pt x="22618" y="9415"/>
                </a:lnTo>
                <a:lnTo>
                  <a:pt x="19047" y="13060"/>
                </a:lnTo>
                <a:lnTo>
                  <a:pt x="15773" y="17616"/>
                </a:lnTo>
                <a:lnTo>
                  <a:pt x="12797" y="22475"/>
                </a:lnTo>
                <a:lnTo>
                  <a:pt x="9821" y="28246"/>
                </a:lnTo>
                <a:lnTo>
                  <a:pt x="7440" y="34017"/>
                </a:lnTo>
                <a:lnTo>
                  <a:pt x="5357" y="40395"/>
                </a:lnTo>
                <a:lnTo>
                  <a:pt x="3273" y="47077"/>
                </a:lnTo>
                <a:lnTo>
                  <a:pt x="2083" y="54366"/>
                </a:lnTo>
                <a:lnTo>
                  <a:pt x="892" y="61656"/>
                </a:lnTo>
                <a:lnTo>
                  <a:pt x="297" y="69249"/>
                </a:lnTo>
                <a:lnTo>
                  <a:pt x="0" y="77146"/>
                </a:lnTo>
                <a:lnTo>
                  <a:pt x="297" y="85043"/>
                </a:lnTo>
                <a:lnTo>
                  <a:pt x="892" y="92636"/>
                </a:lnTo>
                <a:lnTo>
                  <a:pt x="2083" y="99925"/>
                </a:lnTo>
                <a:lnTo>
                  <a:pt x="3273" y="107215"/>
                </a:lnTo>
                <a:lnTo>
                  <a:pt x="5357" y="113897"/>
                </a:lnTo>
                <a:lnTo>
                  <a:pt x="7440" y="120275"/>
                </a:lnTo>
                <a:lnTo>
                  <a:pt x="9821" y="126046"/>
                </a:lnTo>
                <a:lnTo>
                  <a:pt x="12797" y="131513"/>
                </a:lnTo>
                <a:lnTo>
                  <a:pt x="15773" y="136676"/>
                </a:lnTo>
                <a:lnTo>
                  <a:pt x="19047" y="141232"/>
                </a:lnTo>
                <a:lnTo>
                  <a:pt x="22618" y="144877"/>
                </a:lnTo>
                <a:lnTo>
                  <a:pt x="26488" y="148218"/>
                </a:lnTo>
                <a:lnTo>
                  <a:pt x="34523" y="152773"/>
                </a:lnTo>
                <a:lnTo>
                  <a:pt x="43154" y="154292"/>
                </a:lnTo>
                <a:lnTo>
                  <a:pt x="47618" y="153988"/>
                </a:lnTo>
                <a:lnTo>
                  <a:pt x="55952" y="150951"/>
                </a:lnTo>
                <a:lnTo>
                  <a:pt x="63392" y="144877"/>
                </a:lnTo>
                <a:lnTo>
                  <a:pt x="66964" y="141232"/>
                </a:lnTo>
                <a:lnTo>
                  <a:pt x="70237" y="136676"/>
                </a:lnTo>
                <a:lnTo>
                  <a:pt x="73511" y="131513"/>
                </a:lnTo>
                <a:lnTo>
                  <a:pt x="76190" y="126046"/>
                </a:lnTo>
                <a:lnTo>
                  <a:pt x="78571" y="120275"/>
                </a:lnTo>
                <a:lnTo>
                  <a:pt x="80952" y="113897"/>
                </a:lnTo>
                <a:lnTo>
                  <a:pt x="82737" y="107215"/>
                </a:lnTo>
                <a:lnTo>
                  <a:pt x="83928" y="99925"/>
                </a:lnTo>
                <a:lnTo>
                  <a:pt x="85118" y="92636"/>
                </a:lnTo>
                <a:lnTo>
                  <a:pt x="85714" y="85043"/>
                </a:lnTo>
                <a:lnTo>
                  <a:pt x="86011" y="77146"/>
                </a:lnTo>
                <a:lnTo>
                  <a:pt x="85714" y="69249"/>
                </a:lnTo>
                <a:lnTo>
                  <a:pt x="85118" y="61656"/>
                </a:lnTo>
                <a:lnTo>
                  <a:pt x="83928" y="54366"/>
                </a:lnTo>
                <a:lnTo>
                  <a:pt x="82737" y="47077"/>
                </a:lnTo>
                <a:lnTo>
                  <a:pt x="80952" y="40395"/>
                </a:lnTo>
                <a:lnTo>
                  <a:pt x="78571" y="34017"/>
                </a:lnTo>
                <a:lnTo>
                  <a:pt x="76190" y="28246"/>
                </a:lnTo>
                <a:lnTo>
                  <a:pt x="73511" y="22475"/>
                </a:lnTo>
                <a:lnTo>
                  <a:pt x="70237" y="17616"/>
                </a:lnTo>
                <a:lnTo>
                  <a:pt x="66964" y="13060"/>
                </a:lnTo>
                <a:lnTo>
                  <a:pt x="63392" y="9415"/>
                </a:lnTo>
                <a:lnTo>
                  <a:pt x="59821" y="6074"/>
                </a:lnTo>
                <a:lnTo>
                  <a:pt x="55952" y="3340"/>
                </a:lnTo>
                <a:lnTo>
                  <a:pt x="51785" y="1518"/>
                </a:lnTo>
                <a:lnTo>
                  <a:pt x="47618" y="303"/>
                </a:lnTo>
                <a:lnTo>
                  <a:pt x="43154" y="0"/>
                </a:lnTo>
                <a:close/>
              </a:path>
            </a:pathLst>
          </a:custGeom>
          <a:solidFill>
            <a:srgbClr val="000000"/>
          </a:solidFill>
        </p:spPr>
        <p:txBody>
          <a:bodyPr wrap="square" lIns="0" tIns="0" rIns="0" bIns="0" rtlCol="0">
            <a:noAutofit/>
          </a:bodyPr>
          <a:lstStyle/>
          <a:p>
            <a:endParaRPr/>
          </a:p>
        </p:txBody>
      </p:sp>
      <p:sp>
        <p:nvSpPr>
          <p:cNvPr id="402" name="object 402"/>
          <p:cNvSpPr/>
          <p:nvPr/>
        </p:nvSpPr>
        <p:spPr>
          <a:xfrm>
            <a:off x="10069743" y="1207479"/>
            <a:ext cx="44940" cy="79272"/>
          </a:xfrm>
          <a:custGeom>
            <a:avLst/>
            <a:gdLst/>
            <a:ahLst/>
            <a:cxnLst/>
            <a:rect l="l" t="t" r="r" b="b"/>
            <a:pathLst>
              <a:path w="44940" h="79272">
                <a:moveTo>
                  <a:pt x="4166" y="4555"/>
                </a:moveTo>
                <a:lnTo>
                  <a:pt x="8035" y="5770"/>
                </a:lnTo>
                <a:lnTo>
                  <a:pt x="11904" y="7289"/>
                </a:lnTo>
                <a:lnTo>
                  <a:pt x="15476" y="9719"/>
                </a:lnTo>
                <a:lnTo>
                  <a:pt x="18749" y="13060"/>
                </a:lnTo>
                <a:lnTo>
                  <a:pt x="22321" y="16704"/>
                </a:lnTo>
                <a:lnTo>
                  <a:pt x="25297" y="20957"/>
                </a:lnTo>
                <a:lnTo>
                  <a:pt x="28571" y="25512"/>
                </a:lnTo>
                <a:lnTo>
                  <a:pt x="31249" y="31283"/>
                </a:lnTo>
                <a:lnTo>
                  <a:pt x="33630" y="37054"/>
                </a:lnTo>
                <a:lnTo>
                  <a:pt x="35714" y="43129"/>
                </a:lnTo>
                <a:lnTo>
                  <a:pt x="37499" y="49507"/>
                </a:lnTo>
                <a:lnTo>
                  <a:pt x="38690" y="56796"/>
                </a:lnTo>
                <a:lnTo>
                  <a:pt x="39880" y="64086"/>
                </a:lnTo>
                <a:lnTo>
                  <a:pt x="40476" y="71375"/>
                </a:lnTo>
                <a:lnTo>
                  <a:pt x="40773" y="79272"/>
                </a:lnTo>
                <a:lnTo>
                  <a:pt x="44940" y="79272"/>
                </a:lnTo>
                <a:lnTo>
                  <a:pt x="44642" y="71375"/>
                </a:lnTo>
                <a:lnTo>
                  <a:pt x="44047" y="63478"/>
                </a:lnTo>
                <a:lnTo>
                  <a:pt x="42857" y="56189"/>
                </a:lnTo>
                <a:lnTo>
                  <a:pt x="41666" y="48899"/>
                </a:lnTo>
                <a:lnTo>
                  <a:pt x="39880" y="41914"/>
                </a:lnTo>
                <a:lnTo>
                  <a:pt x="37202" y="35232"/>
                </a:lnTo>
                <a:lnTo>
                  <a:pt x="34821" y="29461"/>
                </a:lnTo>
                <a:lnTo>
                  <a:pt x="32142" y="23690"/>
                </a:lnTo>
                <a:lnTo>
                  <a:pt x="28868" y="18527"/>
                </a:lnTo>
                <a:lnTo>
                  <a:pt x="25297" y="13667"/>
                </a:lnTo>
                <a:lnTo>
                  <a:pt x="21726" y="10022"/>
                </a:lnTo>
                <a:lnTo>
                  <a:pt x="17857" y="6681"/>
                </a:lnTo>
                <a:lnTo>
                  <a:pt x="13690" y="3644"/>
                </a:lnTo>
                <a:lnTo>
                  <a:pt x="9226" y="1518"/>
                </a:lnTo>
                <a:lnTo>
                  <a:pt x="4761" y="303"/>
                </a:lnTo>
                <a:lnTo>
                  <a:pt x="0" y="0"/>
                </a:lnTo>
                <a:lnTo>
                  <a:pt x="0" y="4252"/>
                </a:lnTo>
                <a:lnTo>
                  <a:pt x="4166" y="4555"/>
                </a:lnTo>
                <a:close/>
              </a:path>
            </a:pathLst>
          </a:custGeom>
          <a:solidFill>
            <a:srgbClr val="000000"/>
          </a:solidFill>
        </p:spPr>
        <p:txBody>
          <a:bodyPr wrap="square" lIns="0" tIns="0" rIns="0" bIns="0" rtlCol="0">
            <a:noAutofit/>
          </a:bodyPr>
          <a:lstStyle/>
          <a:p>
            <a:endParaRPr/>
          </a:p>
        </p:txBody>
      </p:sp>
      <p:sp>
        <p:nvSpPr>
          <p:cNvPr id="403" name="object 403"/>
          <p:cNvSpPr/>
          <p:nvPr/>
        </p:nvSpPr>
        <p:spPr>
          <a:xfrm>
            <a:off x="10069743" y="1286752"/>
            <a:ext cx="44940" cy="79272"/>
          </a:xfrm>
          <a:custGeom>
            <a:avLst/>
            <a:gdLst/>
            <a:ahLst/>
            <a:cxnLst/>
            <a:rect l="l" t="t" r="r" b="b"/>
            <a:pathLst>
              <a:path w="44940" h="79272">
                <a:moveTo>
                  <a:pt x="4761" y="78968"/>
                </a:moveTo>
                <a:lnTo>
                  <a:pt x="9226" y="77753"/>
                </a:lnTo>
                <a:lnTo>
                  <a:pt x="13690" y="75627"/>
                </a:lnTo>
                <a:lnTo>
                  <a:pt x="17857" y="72590"/>
                </a:lnTo>
                <a:lnTo>
                  <a:pt x="21726" y="69249"/>
                </a:lnTo>
                <a:lnTo>
                  <a:pt x="25297" y="65604"/>
                </a:lnTo>
                <a:lnTo>
                  <a:pt x="28868" y="60745"/>
                </a:lnTo>
                <a:lnTo>
                  <a:pt x="32142" y="55278"/>
                </a:lnTo>
                <a:lnTo>
                  <a:pt x="34821" y="49810"/>
                </a:lnTo>
                <a:lnTo>
                  <a:pt x="37202" y="44040"/>
                </a:lnTo>
                <a:lnTo>
                  <a:pt x="39880" y="37358"/>
                </a:lnTo>
                <a:lnTo>
                  <a:pt x="41666" y="30372"/>
                </a:lnTo>
                <a:lnTo>
                  <a:pt x="42857" y="23083"/>
                </a:lnTo>
                <a:lnTo>
                  <a:pt x="44047" y="15793"/>
                </a:lnTo>
                <a:lnTo>
                  <a:pt x="44642" y="7896"/>
                </a:lnTo>
                <a:lnTo>
                  <a:pt x="44940" y="0"/>
                </a:lnTo>
                <a:lnTo>
                  <a:pt x="40773" y="0"/>
                </a:lnTo>
                <a:lnTo>
                  <a:pt x="40476" y="7896"/>
                </a:lnTo>
                <a:lnTo>
                  <a:pt x="39880" y="15186"/>
                </a:lnTo>
                <a:lnTo>
                  <a:pt x="38690" y="22475"/>
                </a:lnTo>
                <a:lnTo>
                  <a:pt x="37499" y="29765"/>
                </a:lnTo>
                <a:lnTo>
                  <a:pt x="35714" y="36143"/>
                </a:lnTo>
                <a:lnTo>
                  <a:pt x="33630" y="42217"/>
                </a:lnTo>
                <a:lnTo>
                  <a:pt x="31249" y="47988"/>
                </a:lnTo>
                <a:lnTo>
                  <a:pt x="28571" y="53455"/>
                </a:lnTo>
                <a:lnTo>
                  <a:pt x="25297" y="58315"/>
                </a:lnTo>
                <a:lnTo>
                  <a:pt x="22321" y="62567"/>
                </a:lnTo>
                <a:lnTo>
                  <a:pt x="18749" y="66212"/>
                </a:lnTo>
                <a:lnTo>
                  <a:pt x="15476" y="69553"/>
                </a:lnTo>
                <a:lnTo>
                  <a:pt x="11904" y="71982"/>
                </a:lnTo>
                <a:lnTo>
                  <a:pt x="8035" y="73501"/>
                </a:lnTo>
                <a:lnTo>
                  <a:pt x="4166" y="74716"/>
                </a:lnTo>
                <a:lnTo>
                  <a:pt x="0" y="75020"/>
                </a:lnTo>
                <a:lnTo>
                  <a:pt x="0" y="79272"/>
                </a:lnTo>
                <a:lnTo>
                  <a:pt x="4761" y="78968"/>
                </a:lnTo>
                <a:close/>
              </a:path>
            </a:pathLst>
          </a:custGeom>
          <a:solidFill>
            <a:srgbClr val="000000"/>
          </a:solidFill>
        </p:spPr>
        <p:txBody>
          <a:bodyPr wrap="square" lIns="0" tIns="0" rIns="0" bIns="0" rtlCol="0">
            <a:noAutofit/>
          </a:bodyPr>
          <a:lstStyle/>
          <a:p>
            <a:endParaRPr/>
          </a:p>
        </p:txBody>
      </p:sp>
      <p:sp>
        <p:nvSpPr>
          <p:cNvPr id="404" name="object 404"/>
          <p:cNvSpPr/>
          <p:nvPr/>
        </p:nvSpPr>
        <p:spPr>
          <a:xfrm>
            <a:off x="10024506" y="1286752"/>
            <a:ext cx="45237" cy="79272"/>
          </a:xfrm>
          <a:custGeom>
            <a:avLst/>
            <a:gdLst/>
            <a:ahLst/>
            <a:cxnLst/>
            <a:rect l="l" t="t" r="r" b="b"/>
            <a:pathLst>
              <a:path w="45237" h="79272">
                <a:moveTo>
                  <a:pt x="4166" y="0"/>
                </a:moveTo>
                <a:lnTo>
                  <a:pt x="0" y="0"/>
                </a:lnTo>
                <a:lnTo>
                  <a:pt x="297" y="7896"/>
                </a:lnTo>
                <a:lnTo>
                  <a:pt x="892" y="15793"/>
                </a:lnTo>
                <a:lnTo>
                  <a:pt x="2083" y="23083"/>
                </a:lnTo>
                <a:lnTo>
                  <a:pt x="3273" y="30676"/>
                </a:lnTo>
                <a:lnTo>
                  <a:pt x="5357" y="37358"/>
                </a:lnTo>
                <a:lnTo>
                  <a:pt x="7440" y="43736"/>
                </a:lnTo>
                <a:lnTo>
                  <a:pt x="10119" y="49810"/>
                </a:lnTo>
                <a:lnTo>
                  <a:pt x="13095" y="55278"/>
                </a:lnTo>
                <a:lnTo>
                  <a:pt x="16071" y="60745"/>
                </a:lnTo>
                <a:lnTo>
                  <a:pt x="19642" y="65604"/>
                </a:lnTo>
                <a:lnTo>
                  <a:pt x="23214" y="69249"/>
                </a:lnTo>
                <a:lnTo>
                  <a:pt x="27380" y="72894"/>
                </a:lnTo>
                <a:lnTo>
                  <a:pt x="31547" y="75627"/>
                </a:lnTo>
                <a:lnTo>
                  <a:pt x="36011" y="77753"/>
                </a:lnTo>
                <a:lnTo>
                  <a:pt x="40476" y="78968"/>
                </a:lnTo>
                <a:lnTo>
                  <a:pt x="45237" y="79272"/>
                </a:lnTo>
                <a:lnTo>
                  <a:pt x="45237" y="75020"/>
                </a:lnTo>
                <a:lnTo>
                  <a:pt x="41071" y="74716"/>
                </a:lnTo>
                <a:lnTo>
                  <a:pt x="37202" y="73501"/>
                </a:lnTo>
                <a:lnTo>
                  <a:pt x="33333" y="71982"/>
                </a:lnTo>
                <a:lnTo>
                  <a:pt x="29761" y="69249"/>
                </a:lnTo>
                <a:lnTo>
                  <a:pt x="26190" y="66212"/>
                </a:lnTo>
                <a:lnTo>
                  <a:pt x="22618" y="62567"/>
                </a:lnTo>
                <a:lnTo>
                  <a:pt x="19642" y="58315"/>
                </a:lnTo>
                <a:lnTo>
                  <a:pt x="16666" y="53455"/>
                </a:lnTo>
                <a:lnTo>
                  <a:pt x="13690" y="47988"/>
                </a:lnTo>
                <a:lnTo>
                  <a:pt x="11607" y="42521"/>
                </a:lnTo>
                <a:lnTo>
                  <a:pt x="9523" y="36143"/>
                </a:lnTo>
                <a:lnTo>
                  <a:pt x="7440" y="29461"/>
                </a:lnTo>
                <a:lnTo>
                  <a:pt x="6249" y="22475"/>
                </a:lnTo>
                <a:lnTo>
                  <a:pt x="5059" y="15186"/>
                </a:lnTo>
                <a:lnTo>
                  <a:pt x="4464" y="7896"/>
                </a:lnTo>
                <a:lnTo>
                  <a:pt x="4166" y="0"/>
                </a:lnTo>
                <a:close/>
              </a:path>
            </a:pathLst>
          </a:custGeom>
          <a:solidFill>
            <a:srgbClr val="000000"/>
          </a:solidFill>
        </p:spPr>
        <p:txBody>
          <a:bodyPr wrap="square" lIns="0" tIns="0" rIns="0" bIns="0" rtlCol="0">
            <a:noAutofit/>
          </a:bodyPr>
          <a:lstStyle/>
          <a:p>
            <a:endParaRPr/>
          </a:p>
        </p:txBody>
      </p:sp>
      <p:sp>
        <p:nvSpPr>
          <p:cNvPr id="405" name="object 405"/>
          <p:cNvSpPr/>
          <p:nvPr/>
        </p:nvSpPr>
        <p:spPr>
          <a:xfrm>
            <a:off x="10024506" y="1207479"/>
            <a:ext cx="45237" cy="79272"/>
          </a:xfrm>
          <a:custGeom>
            <a:avLst/>
            <a:gdLst/>
            <a:ahLst/>
            <a:cxnLst/>
            <a:rect l="l" t="t" r="r" b="b"/>
            <a:pathLst>
              <a:path w="45237" h="79272">
                <a:moveTo>
                  <a:pt x="5357" y="41914"/>
                </a:moveTo>
                <a:lnTo>
                  <a:pt x="3273" y="48596"/>
                </a:lnTo>
                <a:lnTo>
                  <a:pt x="2083" y="56189"/>
                </a:lnTo>
                <a:lnTo>
                  <a:pt x="892" y="63478"/>
                </a:lnTo>
                <a:lnTo>
                  <a:pt x="297" y="71375"/>
                </a:lnTo>
                <a:lnTo>
                  <a:pt x="0" y="79272"/>
                </a:lnTo>
                <a:lnTo>
                  <a:pt x="4166" y="79272"/>
                </a:lnTo>
                <a:lnTo>
                  <a:pt x="4464" y="71375"/>
                </a:lnTo>
                <a:lnTo>
                  <a:pt x="5059" y="64086"/>
                </a:lnTo>
                <a:lnTo>
                  <a:pt x="6249" y="56796"/>
                </a:lnTo>
                <a:lnTo>
                  <a:pt x="7440" y="49810"/>
                </a:lnTo>
                <a:lnTo>
                  <a:pt x="9523" y="43129"/>
                </a:lnTo>
                <a:lnTo>
                  <a:pt x="11607" y="36750"/>
                </a:lnTo>
                <a:lnTo>
                  <a:pt x="13690" y="31283"/>
                </a:lnTo>
                <a:lnTo>
                  <a:pt x="16666" y="25512"/>
                </a:lnTo>
                <a:lnTo>
                  <a:pt x="19642" y="20957"/>
                </a:lnTo>
                <a:lnTo>
                  <a:pt x="22618" y="16704"/>
                </a:lnTo>
                <a:lnTo>
                  <a:pt x="26190" y="13060"/>
                </a:lnTo>
                <a:lnTo>
                  <a:pt x="29761" y="10022"/>
                </a:lnTo>
                <a:lnTo>
                  <a:pt x="33333" y="7289"/>
                </a:lnTo>
                <a:lnTo>
                  <a:pt x="37202" y="5770"/>
                </a:lnTo>
                <a:lnTo>
                  <a:pt x="41071" y="4555"/>
                </a:lnTo>
                <a:lnTo>
                  <a:pt x="45237" y="4252"/>
                </a:lnTo>
                <a:lnTo>
                  <a:pt x="45237" y="0"/>
                </a:lnTo>
                <a:lnTo>
                  <a:pt x="40476" y="303"/>
                </a:lnTo>
                <a:lnTo>
                  <a:pt x="36011" y="1518"/>
                </a:lnTo>
                <a:lnTo>
                  <a:pt x="31547" y="3644"/>
                </a:lnTo>
                <a:lnTo>
                  <a:pt x="27380" y="6378"/>
                </a:lnTo>
                <a:lnTo>
                  <a:pt x="23214" y="10022"/>
                </a:lnTo>
                <a:lnTo>
                  <a:pt x="19642" y="13667"/>
                </a:lnTo>
                <a:lnTo>
                  <a:pt x="16071" y="18527"/>
                </a:lnTo>
                <a:lnTo>
                  <a:pt x="13095" y="23690"/>
                </a:lnTo>
                <a:lnTo>
                  <a:pt x="10119" y="29461"/>
                </a:lnTo>
                <a:lnTo>
                  <a:pt x="7440" y="35535"/>
                </a:lnTo>
                <a:lnTo>
                  <a:pt x="5357" y="41914"/>
                </a:lnTo>
                <a:close/>
              </a:path>
            </a:pathLst>
          </a:custGeom>
          <a:solidFill>
            <a:srgbClr val="000000"/>
          </a:solidFill>
        </p:spPr>
        <p:txBody>
          <a:bodyPr wrap="square" lIns="0" tIns="0" rIns="0" bIns="0" rtlCol="0">
            <a:noAutofit/>
          </a:bodyPr>
          <a:lstStyle/>
          <a:p>
            <a:endParaRPr/>
          </a:p>
        </p:txBody>
      </p:sp>
      <p:sp>
        <p:nvSpPr>
          <p:cNvPr id="406" name="object 406"/>
          <p:cNvSpPr/>
          <p:nvPr/>
        </p:nvSpPr>
        <p:spPr>
          <a:xfrm>
            <a:off x="10070041" y="1358432"/>
            <a:ext cx="29166" cy="5163"/>
          </a:xfrm>
          <a:custGeom>
            <a:avLst/>
            <a:gdLst/>
            <a:ahLst/>
            <a:cxnLst/>
            <a:rect l="l" t="t" r="r" b="b"/>
            <a:pathLst>
              <a:path w="29166" h="5163">
                <a:moveTo>
                  <a:pt x="29166" y="5163"/>
                </a:moveTo>
                <a:lnTo>
                  <a:pt x="13988" y="0"/>
                </a:lnTo>
                <a:lnTo>
                  <a:pt x="0" y="5163"/>
                </a:lnTo>
                <a:lnTo>
                  <a:pt x="29166" y="5163"/>
                </a:lnTo>
                <a:close/>
              </a:path>
            </a:pathLst>
          </a:custGeom>
          <a:solidFill>
            <a:srgbClr val="000000"/>
          </a:solidFill>
        </p:spPr>
        <p:txBody>
          <a:bodyPr wrap="square" lIns="0" tIns="0" rIns="0" bIns="0" rtlCol="0">
            <a:noAutofit/>
          </a:bodyPr>
          <a:lstStyle/>
          <a:p>
            <a:endParaRPr/>
          </a:p>
        </p:txBody>
      </p:sp>
      <p:sp>
        <p:nvSpPr>
          <p:cNvPr id="407" name="object 407"/>
          <p:cNvSpPr/>
          <p:nvPr/>
        </p:nvSpPr>
        <p:spPr>
          <a:xfrm>
            <a:off x="10069447" y="1209910"/>
            <a:ext cx="28571" cy="5467"/>
          </a:xfrm>
          <a:custGeom>
            <a:avLst/>
            <a:gdLst/>
            <a:ahLst/>
            <a:cxnLst/>
            <a:rect l="l" t="t" r="r" b="b"/>
            <a:pathLst>
              <a:path w="28571" h="5467">
                <a:moveTo>
                  <a:pt x="28571" y="0"/>
                </a:moveTo>
                <a:lnTo>
                  <a:pt x="0" y="0"/>
                </a:lnTo>
                <a:lnTo>
                  <a:pt x="14583" y="5467"/>
                </a:lnTo>
                <a:lnTo>
                  <a:pt x="28571" y="0"/>
                </a:lnTo>
                <a:close/>
              </a:path>
            </a:pathLst>
          </a:custGeom>
          <a:solidFill>
            <a:srgbClr val="000000"/>
          </a:solidFill>
        </p:spPr>
        <p:txBody>
          <a:bodyPr wrap="square" lIns="0" tIns="0" rIns="0" bIns="0" rtlCol="0">
            <a:noAutofit/>
          </a:bodyPr>
          <a:lstStyle/>
          <a:p>
            <a:endParaRPr/>
          </a:p>
        </p:txBody>
      </p:sp>
      <p:sp>
        <p:nvSpPr>
          <p:cNvPr id="408" name="object 408"/>
          <p:cNvSpPr/>
          <p:nvPr/>
        </p:nvSpPr>
        <p:spPr>
          <a:xfrm>
            <a:off x="10069447" y="1208391"/>
            <a:ext cx="30059" cy="3037"/>
          </a:xfrm>
          <a:custGeom>
            <a:avLst/>
            <a:gdLst/>
            <a:ahLst/>
            <a:cxnLst/>
            <a:rect l="l" t="t" r="r" b="b"/>
            <a:pathLst>
              <a:path w="30059" h="3037">
                <a:moveTo>
                  <a:pt x="27976" y="0"/>
                </a:moveTo>
                <a:lnTo>
                  <a:pt x="0" y="0"/>
                </a:lnTo>
                <a:lnTo>
                  <a:pt x="0" y="3037"/>
                </a:lnTo>
                <a:lnTo>
                  <a:pt x="28571" y="3037"/>
                </a:lnTo>
                <a:lnTo>
                  <a:pt x="29096" y="2679"/>
                </a:lnTo>
                <a:lnTo>
                  <a:pt x="29464" y="2429"/>
                </a:lnTo>
                <a:lnTo>
                  <a:pt x="30059" y="1518"/>
                </a:lnTo>
                <a:lnTo>
                  <a:pt x="29464" y="607"/>
                </a:lnTo>
                <a:lnTo>
                  <a:pt x="28571" y="0"/>
                </a:lnTo>
                <a:lnTo>
                  <a:pt x="27976" y="0"/>
                </a:lnTo>
                <a:close/>
              </a:path>
            </a:pathLst>
          </a:custGeom>
          <a:solidFill>
            <a:srgbClr val="000000"/>
          </a:solidFill>
        </p:spPr>
        <p:txBody>
          <a:bodyPr wrap="square" lIns="0" tIns="0" rIns="0" bIns="0" rtlCol="0">
            <a:noAutofit/>
          </a:bodyPr>
          <a:lstStyle/>
          <a:p>
            <a:endParaRPr/>
          </a:p>
        </p:txBody>
      </p:sp>
      <p:sp>
        <p:nvSpPr>
          <p:cNvPr id="409" name="object 409"/>
          <p:cNvSpPr/>
          <p:nvPr/>
        </p:nvSpPr>
        <p:spPr>
          <a:xfrm>
            <a:off x="10082541" y="1208390"/>
            <a:ext cx="14880" cy="8504"/>
          </a:xfrm>
          <a:custGeom>
            <a:avLst/>
            <a:gdLst/>
            <a:ahLst/>
            <a:cxnLst/>
            <a:rect l="l" t="t" r="r" b="b"/>
            <a:pathLst>
              <a:path w="14880" h="8504">
                <a:moveTo>
                  <a:pt x="892" y="5467"/>
                </a:moveTo>
                <a:lnTo>
                  <a:pt x="0" y="6378"/>
                </a:lnTo>
                <a:lnTo>
                  <a:pt x="297" y="7289"/>
                </a:lnTo>
                <a:lnTo>
                  <a:pt x="892" y="8504"/>
                </a:lnTo>
                <a:lnTo>
                  <a:pt x="2083" y="8504"/>
                </a:lnTo>
                <a:lnTo>
                  <a:pt x="2083" y="5467"/>
                </a:lnTo>
                <a:lnTo>
                  <a:pt x="14880" y="0"/>
                </a:lnTo>
                <a:lnTo>
                  <a:pt x="892" y="5467"/>
                </a:lnTo>
                <a:close/>
              </a:path>
            </a:pathLst>
          </a:custGeom>
          <a:solidFill>
            <a:srgbClr val="000000"/>
          </a:solidFill>
        </p:spPr>
        <p:txBody>
          <a:bodyPr wrap="square" lIns="0" tIns="0" rIns="0" bIns="0" rtlCol="0">
            <a:noAutofit/>
          </a:bodyPr>
          <a:lstStyle/>
          <a:p>
            <a:endParaRPr/>
          </a:p>
        </p:txBody>
      </p:sp>
      <p:sp>
        <p:nvSpPr>
          <p:cNvPr id="410" name="object 410"/>
          <p:cNvSpPr/>
          <p:nvPr/>
        </p:nvSpPr>
        <p:spPr>
          <a:xfrm>
            <a:off x="10084624" y="1208390"/>
            <a:ext cx="13988" cy="8504"/>
          </a:xfrm>
          <a:custGeom>
            <a:avLst/>
            <a:gdLst/>
            <a:ahLst/>
            <a:cxnLst/>
            <a:rect l="l" t="t" r="r" b="b"/>
            <a:pathLst>
              <a:path w="13988" h="8504">
                <a:moveTo>
                  <a:pt x="0" y="5467"/>
                </a:moveTo>
                <a:lnTo>
                  <a:pt x="0" y="8504"/>
                </a:lnTo>
                <a:lnTo>
                  <a:pt x="13988" y="3037"/>
                </a:lnTo>
                <a:lnTo>
                  <a:pt x="12797" y="0"/>
                </a:lnTo>
                <a:lnTo>
                  <a:pt x="0" y="5467"/>
                </a:lnTo>
                <a:close/>
              </a:path>
            </a:pathLst>
          </a:custGeom>
          <a:solidFill>
            <a:srgbClr val="000000"/>
          </a:solidFill>
        </p:spPr>
        <p:txBody>
          <a:bodyPr wrap="square" lIns="0" tIns="0" rIns="0" bIns="0" rtlCol="0">
            <a:noAutofit/>
          </a:bodyPr>
          <a:lstStyle/>
          <a:p>
            <a:endParaRPr/>
          </a:p>
        </p:txBody>
      </p:sp>
      <p:sp>
        <p:nvSpPr>
          <p:cNvPr id="411" name="object 411"/>
          <p:cNvSpPr/>
          <p:nvPr/>
        </p:nvSpPr>
        <p:spPr>
          <a:xfrm>
            <a:off x="10067958" y="1208390"/>
            <a:ext cx="15476" cy="8504"/>
          </a:xfrm>
          <a:custGeom>
            <a:avLst/>
            <a:gdLst/>
            <a:ahLst/>
            <a:cxnLst/>
            <a:rect l="l" t="t" r="r" b="b"/>
            <a:pathLst>
              <a:path w="15476" h="8504">
                <a:moveTo>
                  <a:pt x="892" y="3037"/>
                </a:moveTo>
                <a:lnTo>
                  <a:pt x="15476" y="8504"/>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412" name="object 412"/>
          <p:cNvSpPr/>
          <p:nvPr/>
        </p:nvSpPr>
        <p:spPr>
          <a:xfrm>
            <a:off x="10069446" y="1208390"/>
            <a:ext cx="15178" cy="8504"/>
          </a:xfrm>
          <a:custGeom>
            <a:avLst/>
            <a:gdLst/>
            <a:ahLst/>
            <a:cxnLst/>
            <a:rect l="l" t="t" r="r" b="b"/>
            <a:pathLst>
              <a:path w="15178" h="8504">
                <a:moveTo>
                  <a:pt x="595" y="0"/>
                </a:moveTo>
                <a:lnTo>
                  <a:pt x="0" y="0"/>
                </a:lnTo>
                <a:lnTo>
                  <a:pt x="0" y="3037"/>
                </a:lnTo>
                <a:lnTo>
                  <a:pt x="13988" y="8504"/>
                </a:lnTo>
                <a:lnTo>
                  <a:pt x="15178" y="5467"/>
                </a:lnTo>
                <a:lnTo>
                  <a:pt x="595" y="0"/>
                </a:lnTo>
                <a:close/>
              </a:path>
            </a:pathLst>
          </a:custGeom>
          <a:solidFill>
            <a:srgbClr val="000000"/>
          </a:solidFill>
        </p:spPr>
        <p:txBody>
          <a:bodyPr wrap="square" lIns="0" tIns="0" rIns="0" bIns="0" rtlCol="0">
            <a:noAutofit/>
          </a:bodyPr>
          <a:lstStyle/>
          <a:p>
            <a:endParaRPr/>
          </a:p>
        </p:txBody>
      </p:sp>
      <p:sp>
        <p:nvSpPr>
          <p:cNvPr id="413" name="object 413"/>
          <p:cNvSpPr/>
          <p:nvPr/>
        </p:nvSpPr>
        <p:spPr>
          <a:xfrm>
            <a:off x="10070041" y="1362077"/>
            <a:ext cx="30654" cy="3037"/>
          </a:xfrm>
          <a:custGeom>
            <a:avLst/>
            <a:gdLst/>
            <a:ahLst/>
            <a:cxnLst/>
            <a:rect l="l" t="t" r="r" b="b"/>
            <a:pathLst>
              <a:path w="30654" h="3037">
                <a:moveTo>
                  <a:pt x="30654" y="1518"/>
                </a:moveTo>
                <a:lnTo>
                  <a:pt x="30059" y="607"/>
                </a:lnTo>
                <a:lnTo>
                  <a:pt x="29691" y="357"/>
                </a:lnTo>
                <a:lnTo>
                  <a:pt x="29166" y="0"/>
                </a:lnTo>
                <a:lnTo>
                  <a:pt x="0" y="0"/>
                </a:lnTo>
                <a:lnTo>
                  <a:pt x="0" y="3037"/>
                </a:lnTo>
                <a:lnTo>
                  <a:pt x="29166" y="3037"/>
                </a:lnTo>
                <a:lnTo>
                  <a:pt x="30059" y="2429"/>
                </a:lnTo>
                <a:lnTo>
                  <a:pt x="30654" y="1518"/>
                </a:lnTo>
                <a:close/>
              </a:path>
            </a:pathLst>
          </a:custGeom>
          <a:solidFill>
            <a:srgbClr val="000000"/>
          </a:solidFill>
        </p:spPr>
        <p:txBody>
          <a:bodyPr wrap="square" lIns="0" tIns="0" rIns="0" bIns="0" rtlCol="0">
            <a:noAutofit/>
          </a:bodyPr>
          <a:lstStyle/>
          <a:p>
            <a:endParaRPr/>
          </a:p>
        </p:txBody>
      </p:sp>
      <p:sp>
        <p:nvSpPr>
          <p:cNvPr id="414" name="object 414"/>
          <p:cNvSpPr/>
          <p:nvPr/>
        </p:nvSpPr>
        <p:spPr>
          <a:xfrm>
            <a:off x="10083434" y="1359951"/>
            <a:ext cx="15178" cy="5163"/>
          </a:xfrm>
          <a:custGeom>
            <a:avLst/>
            <a:gdLst/>
            <a:ahLst/>
            <a:cxnLst/>
            <a:rect l="l" t="t" r="r" b="b"/>
            <a:pathLst>
              <a:path w="15178" h="5163">
                <a:moveTo>
                  <a:pt x="15178" y="5163"/>
                </a:moveTo>
                <a:lnTo>
                  <a:pt x="1190" y="0"/>
                </a:lnTo>
                <a:lnTo>
                  <a:pt x="0" y="0"/>
                </a:lnTo>
                <a:lnTo>
                  <a:pt x="15178" y="5163"/>
                </a:lnTo>
                <a:close/>
              </a:path>
            </a:pathLst>
          </a:custGeom>
          <a:solidFill>
            <a:srgbClr val="000000"/>
          </a:solidFill>
        </p:spPr>
        <p:txBody>
          <a:bodyPr wrap="square" lIns="0" tIns="0" rIns="0" bIns="0" rtlCol="0">
            <a:noAutofit/>
          </a:bodyPr>
          <a:lstStyle/>
          <a:p>
            <a:endParaRPr/>
          </a:p>
        </p:txBody>
      </p:sp>
      <p:sp>
        <p:nvSpPr>
          <p:cNvPr id="415" name="object 415"/>
          <p:cNvSpPr/>
          <p:nvPr/>
        </p:nvSpPr>
        <p:spPr>
          <a:xfrm>
            <a:off x="10082542" y="1356912"/>
            <a:ext cx="17261" cy="8200"/>
          </a:xfrm>
          <a:custGeom>
            <a:avLst/>
            <a:gdLst/>
            <a:ahLst/>
            <a:cxnLst/>
            <a:rect l="l" t="t" r="r" b="b"/>
            <a:pathLst>
              <a:path w="17261" h="8200">
                <a:moveTo>
                  <a:pt x="297" y="911"/>
                </a:moveTo>
                <a:lnTo>
                  <a:pt x="0" y="2126"/>
                </a:lnTo>
                <a:lnTo>
                  <a:pt x="892" y="3037"/>
                </a:lnTo>
                <a:lnTo>
                  <a:pt x="2083" y="3037"/>
                </a:lnTo>
                <a:lnTo>
                  <a:pt x="16071" y="8200"/>
                </a:lnTo>
                <a:lnTo>
                  <a:pt x="17261" y="5163"/>
                </a:lnTo>
                <a:lnTo>
                  <a:pt x="2083" y="0"/>
                </a:lnTo>
                <a:lnTo>
                  <a:pt x="892" y="0"/>
                </a:lnTo>
                <a:lnTo>
                  <a:pt x="297" y="911"/>
                </a:lnTo>
                <a:close/>
              </a:path>
            </a:pathLst>
          </a:custGeom>
          <a:solidFill>
            <a:srgbClr val="000000"/>
          </a:solidFill>
        </p:spPr>
        <p:txBody>
          <a:bodyPr wrap="square" lIns="0" tIns="0" rIns="0" bIns="0" rtlCol="0">
            <a:noAutofit/>
          </a:bodyPr>
          <a:lstStyle/>
          <a:p>
            <a:endParaRPr/>
          </a:p>
        </p:txBody>
      </p:sp>
      <p:sp>
        <p:nvSpPr>
          <p:cNvPr id="416" name="object 416"/>
          <p:cNvSpPr/>
          <p:nvPr/>
        </p:nvSpPr>
        <p:spPr>
          <a:xfrm>
            <a:off x="10069446" y="1356913"/>
            <a:ext cx="13988" cy="5163"/>
          </a:xfrm>
          <a:custGeom>
            <a:avLst/>
            <a:gdLst/>
            <a:ahLst/>
            <a:cxnLst/>
            <a:rect l="l" t="t" r="r" b="b"/>
            <a:pathLst>
              <a:path w="13988" h="5163">
                <a:moveTo>
                  <a:pt x="0" y="5163"/>
                </a:moveTo>
                <a:lnTo>
                  <a:pt x="595" y="5163"/>
                </a:lnTo>
                <a:lnTo>
                  <a:pt x="13988" y="0"/>
                </a:lnTo>
                <a:lnTo>
                  <a:pt x="0" y="5163"/>
                </a:lnTo>
                <a:close/>
              </a:path>
            </a:pathLst>
          </a:custGeom>
          <a:solidFill>
            <a:srgbClr val="000000"/>
          </a:solidFill>
        </p:spPr>
        <p:txBody>
          <a:bodyPr wrap="square" lIns="0" tIns="0" rIns="0" bIns="0" rtlCol="0">
            <a:noAutofit/>
          </a:bodyPr>
          <a:lstStyle/>
          <a:p>
            <a:endParaRPr/>
          </a:p>
        </p:txBody>
      </p:sp>
      <p:sp>
        <p:nvSpPr>
          <p:cNvPr id="417" name="object 417"/>
          <p:cNvSpPr/>
          <p:nvPr/>
        </p:nvSpPr>
        <p:spPr>
          <a:xfrm>
            <a:off x="10068554" y="1356912"/>
            <a:ext cx="16071" cy="8200"/>
          </a:xfrm>
          <a:custGeom>
            <a:avLst/>
            <a:gdLst/>
            <a:ahLst/>
            <a:cxnLst/>
            <a:rect l="l" t="t" r="r" b="b"/>
            <a:pathLst>
              <a:path w="16071" h="8200">
                <a:moveTo>
                  <a:pt x="297" y="6985"/>
                </a:moveTo>
                <a:lnTo>
                  <a:pt x="892" y="8200"/>
                </a:lnTo>
                <a:lnTo>
                  <a:pt x="2083" y="8200"/>
                </a:lnTo>
                <a:lnTo>
                  <a:pt x="16071" y="3037"/>
                </a:lnTo>
                <a:lnTo>
                  <a:pt x="14880" y="0"/>
                </a:lnTo>
                <a:lnTo>
                  <a:pt x="1488" y="5163"/>
                </a:lnTo>
                <a:lnTo>
                  <a:pt x="892" y="5163"/>
                </a:lnTo>
                <a:lnTo>
                  <a:pt x="0" y="6074"/>
                </a:lnTo>
                <a:lnTo>
                  <a:pt x="297" y="6985"/>
                </a:lnTo>
                <a:close/>
              </a:path>
            </a:pathLst>
          </a:custGeom>
          <a:solidFill>
            <a:srgbClr val="000000"/>
          </a:solidFill>
        </p:spPr>
        <p:txBody>
          <a:bodyPr wrap="square" lIns="0" tIns="0" rIns="0" bIns="0" rtlCol="0">
            <a:noAutofit/>
          </a:bodyPr>
          <a:lstStyle/>
          <a:p>
            <a:endParaRPr/>
          </a:p>
        </p:txBody>
      </p:sp>
      <p:sp>
        <p:nvSpPr>
          <p:cNvPr id="418" name="object 418"/>
          <p:cNvSpPr/>
          <p:nvPr/>
        </p:nvSpPr>
        <p:spPr>
          <a:xfrm>
            <a:off x="10055161" y="1209605"/>
            <a:ext cx="86011" cy="154292"/>
          </a:xfrm>
          <a:custGeom>
            <a:avLst/>
            <a:gdLst/>
            <a:ahLst/>
            <a:cxnLst/>
            <a:rect l="l" t="t" r="r" b="b"/>
            <a:pathLst>
              <a:path w="86011" h="154292">
                <a:moveTo>
                  <a:pt x="43154" y="0"/>
                </a:moveTo>
                <a:lnTo>
                  <a:pt x="38690" y="303"/>
                </a:lnTo>
                <a:lnTo>
                  <a:pt x="34523" y="1518"/>
                </a:lnTo>
                <a:lnTo>
                  <a:pt x="30357" y="3340"/>
                </a:lnTo>
                <a:lnTo>
                  <a:pt x="26488" y="6074"/>
                </a:lnTo>
                <a:lnTo>
                  <a:pt x="22618" y="9415"/>
                </a:lnTo>
                <a:lnTo>
                  <a:pt x="19047" y="13060"/>
                </a:lnTo>
                <a:lnTo>
                  <a:pt x="15773" y="17616"/>
                </a:lnTo>
                <a:lnTo>
                  <a:pt x="12797" y="22475"/>
                </a:lnTo>
                <a:lnTo>
                  <a:pt x="9821" y="28246"/>
                </a:lnTo>
                <a:lnTo>
                  <a:pt x="7440" y="34017"/>
                </a:lnTo>
                <a:lnTo>
                  <a:pt x="5357" y="40395"/>
                </a:lnTo>
                <a:lnTo>
                  <a:pt x="3273" y="47077"/>
                </a:lnTo>
                <a:lnTo>
                  <a:pt x="2083" y="54366"/>
                </a:lnTo>
                <a:lnTo>
                  <a:pt x="892" y="61656"/>
                </a:lnTo>
                <a:lnTo>
                  <a:pt x="297" y="69249"/>
                </a:lnTo>
                <a:lnTo>
                  <a:pt x="0" y="77146"/>
                </a:lnTo>
                <a:lnTo>
                  <a:pt x="297" y="85043"/>
                </a:lnTo>
                <a:lnTo>
                  <a:pt x="892" y="92636"/>
                </a:lnTo>
                <a:lnTo>
                  <a:pt x="2083" y="99925"/>
                </a:lnTo>
                <a:lnTo>
                  <a:pt x="3273" y="107215"/>
                </a:lnTo>
                <a:lnTo>
                  <a:pt x="5357" y="113897"/>
                </a:lnTo>
                <a:lnTo>
                  <a:pt x="7440" y="120275"/>
                </a:lnTo>
                <a:lnTo>
                  <a:pt x="9821" y="126046"/>
                </a:lnTo>
                <a:lnTo>
                  <a:pt x="12797" y="131513"/>
                </a:lnTo>
                <a:lnTo>
                  <a:pt x="15773" y="136676"/>
                </a:lnTo>
                <a:lnTo>
                  <a:pt x="19047" y="141232"/>
                </a:lnTo>
                <a:lnTo>
                  <a:pt x="22618" y="144877"/>
                </a:lnTo>
                <a:lnTo>
                  <a:pt x="26488" y="148218"/>
                </a:lnTo>
                <a:lnTo>
                  <a:pt x="30357" y="150951"/>
                </a:lnTo>
                <a:lnTo>
                  <a:pt x="34523" y="152773"/>
                </a:lnTo>
                <a:lnTo>
                  <a:pt x="38690" y="153988"/>
                </a:lnTo>
                <a:lnTo>
                  <a:pt x="43154" y="154292"/>
                </a:lnTo>
                <a:lnTo>
                  <a:pt x="47618" y="153988"/>
                </a:lnTo>
                <a:lnTo>
                  <a:pt x="51785" y="152773"/>
                </a:lnTo>
                <a:lnTo>
                  <a:pt x="55952" y="150951"/>
                </a:lnTo>
                <a:lnTo>
                  <a:pt x="59821" y="148218"/>
                </a:lnTo>
                <a:lnTo>
                  <a:pt x="63392" y="144877"/>
                </a:lnTo>
                <a:lnTo>
                  <a:pt x="66964" y="141232"/>
                </a:lnTo>
                <a:lnTo>
                  <a:pt x="70237" y="136676"/>
                </a:lnTo>
                <a:lnTo>
                  <a:pt x="73511" y="131513"/>
                </a:lnTo>
                <a:lnTo>
                  <a:pt x="76190" y="126046"/>
                </a:lnTo>
                <a:lnTo>
                  <a:pt x="78571" y="120275"/>
                </a:lnTo>
                <a:lnTo>
                  <a:pt x="80952" y="113897"/>
                </a:lnTo>
                <a:lnTo>
                  <a:pt x="82737" y="107215"/>
                </a:lnTo>
                <a:lnTo>
                  <a:pt x="83928" y="99925"/>
                </a:lnTo>
                <a:lnTo>
                  <a:pt x="85118" y="92636"/>
                </a:lnTo>
                <a:lnTo>
                  <a:pt x="85714" y="85043"/>
                </a:lnTo>
                <a:lnTo>
                  <a:pt x="86011" y="77146"/>
                </a:lnTo>
                <a:lnTo>
                  <a:pt x="85714" y="69249"/>
                </a:lnTo>
                <a:lnTo>
                  <a:pt x="85118" y="61656"/>
                </a:lnTo>
                <a:lnTo>
                  <a:pt x="83928" y="54366"/>
                </a:lnTo>
                <a:lnTo>
                  <a:pt x="82737" y="47077"/>
                </a:lnTo>
                <a:lnTo>
                  <a:pt x="80952" y="40395"/>
                </a:lnTo>
                <a:lnTo>
                  <a:pt x="78571" y="34017"/>
                </a:lnTo>
                <a:lnTo>
                  <a:pt x="76190" y="28246"/>
                </a:lnTo>
                <a:lnTo>
                  <a:pt x="73511" y="22475"/>
                </a:lnTo>
                <a:lnTo>
                  <a:pt x="70237" y="17616"/>
                </a:lnTo>
                <a:lnTo>
                  <a:pt x="66964" y="13060"/>
                </a:lnTo>
                <a:lnTo>
                  <a:pt x="63392" y="9415"/>
                </a:lnTo>
                <a:lnTo>
                  <a:pt x="59821" y="6074"/>
                </a:lnTo>
                <a:lnTo>
                  <a:pt x="55952" y="3340"/>
                </a:lnTo>
                <a:lnTo>
                  <a:pt x="51785" y="1518"/>
                </a:lnTo>
                <a:lnTo>
                  <a:pt x="47618" y="303"/>
                </a:lnTo>
                <a:lnTo>
                  <a:pt x="43154" y="0"/>
                </a:lnTo>
                <a:close/>
              </a:path>
            </a:pathLst>
          </a:custGeom>
          <a:solidFill>
            <a:srgbClr val="000000"/>
          </a:solidFill>
        </p:spPr>
        <p:txBody>
          <a:bodyPr wrap="square" lIns="0" tIns="0" rIns="0" bIns="0" rtlCol="0">
            <a:noAutofit/>
          </a:bodyPr>
          <a:lstStyle/>
          <a:p>
            <a:endParaRPr/>
          </a:p>
        </p:txBody>
      </p:sp>
      <p:sp>
        <p:nvSpPr>
          <p:cNvPr id="419" name="object 419"/>
          <p:cNvSpPr/>
          <p:nvPr/>
        </p:nvSpPr>
        <p:spPr>
          <a:xfrm>
            <a:off x="10098315" y="1207479"/>
            <a:ext cx="44940" cy="79272"/>
          </a:xfrm>
          <a:custGeom>
            <a:avLst/>
            <a:gdLst/>
            <a:ahLst/>
            <a:cxnLst/>
            <a:rect l="l" t="t" r="r" b="b"/>
            <a:pathLst>
              <a:path w="44940" h="79272">
                <a:moveTo>
                  <a:pt x="4166" y="4555"/>
                </a:moveTo>
                <a:lnTo>
                  <a:pt x="8035" y="5770"/>
                </a:lnTo>
                <a:lnTo>
                  <a:pt x="11904" y="7289"/>
                </a:lnTo>
                <a:lnTo>
                  <a:pt x="15476" y="9719"/>
                </a:lnTo>
                <a:lnTo>
                  <a:pt x="18749" y="13060"/>
                </a:lnTo>
                <a:lnTo>
                  <a:pt x="22321" y="16704"/>
                </a:lnTo>
                <a:lnTo>
                  <a:pt x="25297" y="20957"/>
                </a:lnTo>
                <a:lnTo>
                  <a:pt x="28571" y="25512"/>
                </a:lnTo>
                <a:lnTo>
                  <a:pt x="31249" y="31283"/>
                </a:lnTo>
                <a:lnTo>
                  <a:pt x="33630" y="37054"/>
                </a:lnTo>
                <a:lnTo>
                  <a:pt x="35714" y="43129"/>
                </a:lnTo>
                <a:lnTo>
                  <a:pt x="37499" y="49507"/>
                </a:lnTo>
                <a:lnTo>
                  <a:pt x="38690" y="56796"/>
                </a:lnTo>
                <a:lnTo>
                  <a:pt x="39880" y="64086"/>
                </a:lnTo>
                <a:lnTo>
                  <a:pt x="40476" y="71375"/>
                </a:lnTo>
                <a:lnTo>
                  <a:pt x="40773" y="79272"/>
                </a:lnTo>
                <a:lnTo>
                  <a:pt x="44940" y="79272"/>
                </a:lnTo>
                <a:lnTo>
                  <a:pt x="44642" y="71375"/>
                </a:lnTo>
                <a:lnTo>
                  <a:pt x="44047" y="63478"/>
                </a:lnTo>
                <a:lnTo>
                  <a:pt x="42857" y="56189"/>
                </a:lnTo>
                <a:lnTo>
                  <a:pt x="41666" y="48899"/>
                </a:lnTo>
                <a:lnTo>
                  <a:pt x="39880" y="41914"/>
                </a:lnTo>
                <a:lnTo>
                  <a:pt x="37202" y="35232"/>
                </a:lnTo>
                <a:lnTo>
                  <a:pt x="34821" y="29461"/>
                </a:lnTo>
                <a:lnTo>
                  <a:pt x="32142" y="23690"/>
                </a:lnTo>
                <a:lnTo>
                  <a:pt x="28868" y="18527"/>
                </a:lnTo>
                <a:lnTo>
                  <a:pt x="25297" y="13667"/>
                </a:lnTo>
                <a:lnTo>
                  <a:pt x="21726" y="10022"/>
                </a:lnTo>
                <a:lnTo>
                  <a:pt x="17857" y="6681"/>
                </a:lnTo>
                <a:lnTo>
                  <a:pt x="13690" y="3644"/>
                </a:lnTo>
                <a:lnTo>
                  <a:pt x="9226" y="1518"/>
                </a:lnTo>
                <a:lnTo>
                  <a:pt x="4761" y="303"/>
                </a:lnTo>
                <a:lnTo>
                  <a:pt x="0" y="0"/>
                </a:lnTo>
                <a:lnTo>
                  <a:pt x="0" y="4252"/>
                </a:lnTo>
                <a:lnTo>
                  <a:pt x="4166" y="4555"/>
                </a:lnTo>
                <a:close/>
              </a:path>
            </a:pathLst>
          </a:custGeom>
          <a:solidFill>
            <a:srgbClr val="000000"/>
          </a:solidFill>
        </p:spPr>
        <p:txBody>
          <a:bodyPr wrap="square" lIns="0" tIns="0" rIns="0" bIns="0" rtlCol="0">
            <a:noAutofit/>
          </a:bodyPr>
          <a:lstStyle/>
          <a:p>
            <a:endParaRPr/>
          </a:p>
        </p:txBody>
      </p:sp>
      <p:sp>
        <p:nvSpPr>
          <p:cNvPr id="420" name="object 420"/>
          <p:cNvSpPr/>
          <p:nvPr/>
        </p:nvSpPr>
        <p:spPr>
          <a:xfrm>
            <a:off x="10098315" y="1286752"/>
            <a:ext cx="44940" cy="79272"/>
          </a:xfrm>
          <a:custGeom>
            <a:avLst/>
            <a:gdLst/>
            <a:ahLst/>
            <a:cxnLst/>
            <a:rect l="l" t="t" r="r" b="b"/>
            <a:pathLst>
              <a:path w="44940" h="79272">
                <a:moveTo>
                  <a:pt x="4761" y="78968"/>
                </a:moveTo>
                <a:lnTo>
                  <a:pt x="9226" y="77753"/>
                </a:lnTo>
                <a:lnTo>
                  <a:pt x="13690" y="75627"/>
                </a:lnTo>
                <a:lnTo>
                  <a:pt x="17857" y="72590"/>
                </a:lnTo>
                <a:lnTo>
                  <a:pt x="21726" y="69249"/>
                </a:lnTo>
                <a:lnTo>
                  <a:pt x="25297" y="65604"/>
                </a:lnTo>
                <a:lnTo>
                  <a:pt x="28868" y="60745"/>
                </a:lnTo>
                <a:lnTo>
                  <a:pt x="32142" y="55278"/>
                </a:lnTo>
                <a:lnTo>
                  <a:pt x="34821" y="49810"/>
                </a:lnTo>
                <a:lnTo>
                  <a:pt x="37202" y="44040"/>
                </a:lnTo>
                <a:lnTo>
                  <a:pt x="39880" y="37358"/>
                </a:lnTo>
                <a:lnTo>
                  <a:pt x="41666" y="30372"/>
                </a:lnTo>
                <a:lnTo>
                  <a:pt x="42857" y="23083"/>
                </a:lnTo>
                <a:lnTo>
                  <a:pt x="44047" y="15793"/>
                </a:lnTo>
                <a:lnTo>
                  <a:pt x="44642" y="7896"/>
                </a:lnTo>
                <a:lnTo>
                  <a:pt x="44940" y="0"/>
                </a:lnTo>
                <a:lnTo>
                  <a:pt x="40773" y="0"/>
                </a:lnTo>
                <a:lnTo>
                  <a:pt x="40476" y="7896"/>
                </a:lnTo>
                <a:lnTo>
                  <a:pt x="39880" y="15186"/>
                </a:lnTo>
                <a:lnTo>
                  <a:pt x="38690" y="22475"/>
                </a:lnTo>
                <a:lnTo>
                  <a:pt x="37499" y="29765"/>
                </a:lnTo>
                <a:lnTo>
                  <a:pt x="35714" y="36143"/>
                </a:lnTo>
                <a:lnTo>
                  <a:pt x="33630" y="42217"/>
                </a:lnTo>
                <a:lnTo>
                  <a:pt x="31249" y="47988"/>
                </a:lnTo>
                <a:lnTo>
                  <a:pt x="28571" y="53455"/>
                </a:lnTo>
                <a:lnTo>
                  <a:pt x="25297" y="58315"/>
                </a:lnTo>
                <a:lnTo>
                  <a:pt x="22321" y="62567"/>
                </a:lnTo>
                <a:lnTo>
                  <a:pt x="18749" y="66212"/>
                </a:lnTo>
                <a:lnTo>
                  <a:pt x="15476" y="69553"/>
                </a:lnTo>
                <a:lnTo>
                  <a:pt x="11904" y="71982"/>
                </a:lnTo>
                <a:lnTo>
                  <a:pt x="8035" y="73501"/>
                </a:lnTo>
                <a:lnTo>
                  <a:pt x="4166" y="74716"/>
                </a:lnTo>
                <a:lnTo>
                  <a:pt x="0" y="75020"/>
                </a:lnTo>
                <a:lnTo>
                  <a:pt x="0" y="79272"/>
                </a:lnTo>
                <a:lnTo>
                  <a:pt x="4761" y="78968"/>
                </a:lnTo>
                <a:close/>
              </a:path>
            </a:pathLst>
          </a:custGeom>
          <a:solidFill>
            <a:srgbClr val="000000"/>
          </a:solidFill>
        </p:spPr>
        <p:txBody>
          <a:bodyPr wrap="square" lIns="0" tIns="0" rIns="0" bIns="0" rtlCol="0">
            <a:noAutofit/>
          </a:bodyPr>
          <a:lstStyle/>
          <a:p>
            <a:endParaRPr/>
          </a:p>
        </p:txBody>
      </p:sp>
      <p:sp>
        <p:nvSpPr>
          <p:cNvPr id="421" name="object 421"/>
          <p:cNvSpPr/>
          <p:nvPr/>
        </p:nvSpPr>
        <p:spPr>
          <a:xfrm>
            <a:off x="10053078" y="1286752"/>
            <a:ext cx="45237" cy="79272"/>
          </a:xfrm>
          <a:custGeom>
            <a:avLst/>
            <a:gdLst/>
            <a:ahLst/>
            <a:cxnLst/>
            <a:rect l="l" t="t" r="r" b="b"/>
            <a:pathLst>
              <a:path w="45237" h="79272">
                <a:moveTo>
                  <a:pt x="4166" y="0"/>
                </a:moveTo>
                <a:lnTo>
                  <a:pt x="0" y="0"/>
                </a:lnTo>
                <a:lnTo>
                  <a:pt x="297" y="7896"/>
                </a:lnTo>
                <a:lnTo>
                  <a:pt x="892" y="15793"/>
                </a:lnTo>
                <a:lnTo>
                  <a:pt x="2083" y="23083"/>
                </a:lnTo>
                <a:lnTo>
                  <a:pt x="3273" y="30676"/>
                </a:lnTo>
                <a:lnTo>
                  <a:pt x="5357" y="37358"/>
                </a:lnTo>
                <a:lnTo>
                  <a:pt x="7440" y="43736"/>
                </a:lnTo>
                <a:lnTo>
                  <a:pt x="10119" y="49810"/>
                </a:lnTo>
                <a:lnTo>
                  <a:pt x="13095" y="55278"/>
                </a:lnTo>
                <a:lnTo>
                  <a:pt x="16071" y="60745"/>
                </a:lnTo>
                <a:lnTo>
                  <a:pt x="19642" y="65604"/>
                </a:lnTo>
                <a:lnTo>
                  <a:pt x="23214" y="69249"/>
                </a:lnTo>
                <a:lnTo>
                  <a:pt x="27380" y="72894"/>
                </a:lnTo>
                <a:lnTo>
                  <a:pt x="31547" y="75627"/>
                </a:lnTo>
                <a:lnTo>
                  <a:pt x="36011" y="77753"/>
                </a:lnTo>
                <a:lnTo>
                  <a:pt x="40476" y="78968"/>
                </a:lnTo>
                <a:lnTo>
                  <a:pt x="45237" y="79272"/>
                </a:lnTo>
                <a:lnTo>
                  <a:pt x="45237" y="75020"/>
                </a:lnTo>
                <a:lnTo>
                  <a:pt x="41071" y="74716"/>
                </a:lnTo>
                <a:lnTo>
                  <a:pt x="37202" y="73501"/>
                </a:lnTo>
                <a:lnTo>
                  <a:pt x="33333" y="71982"/>
                </a:lnTo>
                <a:lnTo>
                  <a:pt x="29761" y="69249"/>
                </a:lnTo>
                <a:lnTo>
                  <a:pt x="26190" y="66212"/>
                </a:lnTo>
                <a:lnTo>
                  <a:pt x="22618" y="62567"/>
                </a:lnTo>
                <a:lnTo>
                  <a:pt x="19642" y="58315"/>
                </a:lnTo>
                <a:lnTo>
                  <a:pt x="16666" y="53455"/>
                </a:lnTo>
                <a:lnTo>
                  <a:pt x="13690" y="47988"/>
                </a:lnTo>
                <a:lnTo>
                  <a:pt x="11607" y="42521"/>
                </a:lnTo>
                <a:lnTo>
                  <a:pt x="9523" y="36143"/>
                </a:lnTo>
                <a:lnTo>
                  <a:pt x="7440" y="29461"/>
                </a:lnTo>
                <a:lnTo>
                  <a:pt x="6249" y="22475"/>
                </a:lnTo>
                <a:lnTo>
                  <a:pt x="5059" y="15186"/>
                </a:lnTo>
                <a:lnTo>
                  <a:pt x="4464" y="7896"/>
                </a:lnTo>
                <a:lnTo>
                  <a:pt x="4166" y="0"/>
                </a:lnTo>
                <a:close/>
              </a:path>
            </a:pathLst>
          </a:custGeom>
          <a:solidFill>
            <a:srgbClr val="000000"/>
          </a:solidFill>
        </p:spPr>
        <p:txBody>
          <a:bodyPr wrap="square" lIns="0" tIns="0" rIns="0" bIns="0" rtlCol="0">
            <a:noAutofit/>
          </a:bodyPr>
          <a:lstStyle/>
          <a:p>
            <a:endParaRPr/>
          </a:p>
        </p:txBody>
      </p:sp>
      <p:sp>
        <p:nvSpPr>
          <p:cNvPr id="422" name="object 422"/>
          <p:cNvSpPr/>
          <p:nvPr/>
        </p:nvSpPr>
        <p:spPr>
          <a:xfrm>
            <a:off x="10053078" y="1207479"/>
            <a:ext cx="45237" cy="79272"/>
          </a:xfrm>
          <a:custGeom>
            <a:avLst/>
            <a:gdLst/>
            <a:ahLst/>
            <a:cxnLst/>
            <a:rect l="l" t="t" r="r" b="b"/>
            <a:pathLst>
              <a:path w="45237" h="79272">
                <a:moveTo>
                  <a:pt x="5357" y="41914"/>
                </a:moveTo>
                <a:lnTo>
                  <a:pt x="3273" y="48596"/>
                </a:lnTo>
                <a:lnTo>
                  <a:pt x="2083" y="56189"/>
                </a:lnTo>
                <a:lnTo>
                  <a:pt x="892" y="63478"/>
                </a:lnTo>
                <a:lnTo>
                  <a:pt x="297" y="71375"/>
                </a:lnTo>
                <a:lnTo>
                  <a:pt x="0" y="79272"/>
                </a:lnTo>
                <a:lnTo>
                  <a:pt x="4166" y="79272"/>
                </a:lnTo>
                <a:lnTo>
                  <a:pt x="4464" y="71375"/>
                </a:lnTo>
                <a:lnTo>
                  <a:pt x="5059" y="64086"/>
                </a:lnTo>
                <a:lnTo>
                  <a:pt x="6249" y="56796"/>
                </a:lnTo>
                <a:lnTo>
                  <a:pt x="7440" y="49810"/>
                </a:lnTo>
                <a:lnTo>
                  <a:pt x="9523" y="43129"/>
                </a:lnTo>
                <a:lnTo>
                  <a:pt x="11607" y="36750"/>
                </a:lnTo>
                <a:lnTo>
                  <a:pt x="13690" y="31283"/>
                </a:lnTo>
                <a:lnTo>
                  <a:pt x="16666" y="25512"/>
                </a:lnTo>
                <a:lnTo>
                  <a:pt x="19642" y="20957"/>
                </a:lnTo>
                <a:lnTo>
                  <a:pt x="22618" y="16704"/>
                </a:lnTo>
                <a:lnTo>
                  <a:pt x="26190" y="13060"/>
                </a:lnTo>
                <a:lnTo>
                  <a:pt x="29761" y="10022"/>
                </a:lnTo>
                <a:lnTo>
                  <a:pt x="33333" y="7289"/>
                </a:lnTo>
                <a:lnTo>
                  <a:pt x="37202" y="5770"/>
                </a:lnTo>
                <a:lnTo>
                  <a:pt x="41071" y="4555"/>
                </a:lnTo>
                <a:lnTo>
                  <a:pt x="45237" y="4252"/>
                </a:lnTo>
                <a:lnTo>
                  <a:pt x="45237" y="0"/>
                </a:lnTo>
                <a:lnTo>
                  <a:pt x="40476" y="303"/>
                </a:lnTo>
                <a:lnTo>
                  <a:pt x="36011" y="1518"/>
                </a:lnTo>
                <a:lnTo>
                  <a:pt x="31547" y="3644"/>
                </a:lnTo>
                <a:lnTo>
                  <a:pt x="27380" y="6378"/>
                </a:lnTo>
                <a:lnTo>
                  <a:pt x="23214" y="10022"/>
                </a:lnTo>
                <a:lnTo>
                  <a:pt x="19642" y="13667"/>
                </a:lnTo>
                <a:lnTo>
                  <a:pt x="16071" y="18527"/>
                </a:lnTo>
                <a:lnTo>
                  <a:pt x="13095" y="23690"/>
                </a:lnTo>
                <a:lnTo>
                  <a:pt x="10119" y="29461"/>
                </a:lnTo>
                <a:lnTo>
                  <a:pt x="7440" y="35535"/>
                </a:lnTo>
                <a:lnTo>
                  <a:pt x="5357" y="41914"/>
                </a:lnTo>
                <a:close/>
              </a:path>
            </a:pathLst>
          </a:custGeom>
          <a:solidFill>
            <a:srgbClr val="000000"/>
          </a:solidFill>
        </p:spPr>
        <p:txBody>
          <a:bodyPr wrap="square" lIns="0" tIns="0" rIns="0" bIns="0" rtlCol="0">
            <a:noAutofit/>
          </a:bodyPr>
          <a:lstStyle/>
          <a:p>
            <a:endParaRPr/>
          </a:p>
        </p:txBody>
      </p:sp>
      <p:sp>
        <p:nvSpPr>
          <p:cNvPr id="423" name="object 423"/>
          <p:cNvSpPr/>
          <p:nvPr/>
        </p:nvSpPr>
        <p:spPr>
          <a:xfrm>
            <a:off x="10061113" y="1210517"/>
            <a:ext cx="86011" cy="154292"/>
          </a:xfrm>
          <a:custGeom>
            <a:avLst/>
            <a:gdLst/>
            <a:ahLst/>
            <a:cxnLst/>
            <a:rect l="l" t="t" r="r" b="b"/>
            <a:pathLst>
              <a:path w="86011" h="154292">
                <a:moveTo>
                  <a:pt x="43154" y="0"/>
                </a:moveTo>
                <a:lnTo>
                  <a:pt x="38690" y="303"/>
                </a:lnTo>
                <a:lnTo>
                  <a:pt x="34523" y="1518"/>
                </a:lnTo>
                <a:lnTo>
                  <a:pt x="30357" y="3340"/>
                </a:lnTo>
                <a:lnTo>
                  <a:pt x="26488" y="6074"/>
                </a:lnTo>
                <a:lnTo>
                  <a:pt x="22618" y="9415"/>
                </a:lnTo>
                <a:lnTo>
                  <a:pt x="19047" y="13060"/>
                </a:lnTo>
                <a:lnTo>
                  <a:pt x="15773" y="17616"/>
                </a:lnTo>
                <a:lnTo>
                  <a:pt x="12797" y="22475"/>
                </a:lnTo>
                <a:lnTo>
                  <a:pt x="9821" y="28246"/>
                </a:lnTo>
                <a:lnTo>
                  <a:pt x="7440" y="34017"/>
                </a:lnTo>
                <a:lnTo>
                  <a:pt x="5357" y="40395"/>
                </a:lnTo>
                <a:lnTo>
                  <a:pt x="3273" y="47077"/>
                </a:lnTo>
                <a:lnTo>
                  <a:pt x="2083" y="54366"/>
                </a:lnTo>
                <a:lnTo>
                  <a:pt x="892" y="61656"/>
                </a:lnTo>
                <a:lnTo>
                  <a:pt x="297" y="69249"/>
                </a:lnTo>
                <a:lnTo>
                  <a:pt x="0" y="77146"/>
                </a:lnTo>
                <a:lnTo>
                  <a:pt x="297" y="85043"/>
                </a:lnTo>
                <a:lnTo>
                  <a:pt x="892" y="92636"/>
                </a:lnTo>
                <a:lnTo>
                  <a:pt x="2083" y="99925"/>
                </a:lnTo>
                <a:lnTo>
                  <a:pt x="3273" y="107215"/>
                </a:lnTo>
                <a:lnTo>
                  <a:pt x="5357" y="113897"/>
                </a:lnTo>
                <a:lnTo>
                  <a:pt x="7440" y="120275"/>
                </a:lnTo>
                <a:lnTo>
                  <a:pt x="9821" y="126046"/>
                </a:lnTo>
                <a:lnTo>
                  <a:pt x="12797" y="131513"/>
                </a:lnTo>
                <a:lnTo>
                  <a:pt x="15773" y="136676"/>
                </a:lnTo>
                <a:lnTo>
                  <a:pt x="19047" y="141232"/>
                </a:lnTo>
                <a:lnTo>
                  <a:pt x="22618" y="144877"/>
                </a:lnTo>
                <a:lnTo>
                  <a:pt x="26488" y="148218"/>
                </a:lnTo>
                <a:lnTo>
                  <a:pt x="30357" y="150951"/>
                </a:lnTo>
                <a:lnTo>
                  <a:pt x="34523" y="152773"/>
                </a:lnTo>
                <a:lnTo>
                  <a:pt x="38690" y="153988"/>
                </a:lnTo>
                <a:lnTo>
                  <a:pt x="43154" y="154292"/>
                </a:lnTo>
                <a:lnTo>
                  <a:pt x="47618" y="153988"/>
                </a:lnTo>
                <a:lnTo>
                  <a:pt x="51785" y="152773"/>
                </a:lnTo>
                <a:lnTo>
                  <a:pt x="55952" y="150951"/>
                </a:lnTo>
                <a:lnTo>
                  <a:pt x="59821" y="148218"/>
                </a:lnTo>
                <a:lnTo>
                  <a:pt x="63392" y="144877"/>
                </a:lnTo>
                <a:lnTo>
                  <a:pt x="66964" y="141232"/>
                </a:lnTo>
                <a:lnTo>
                  <a:pt x="70237" y="136676"/>
                </a:lnTo>
                <a:lnTo>
                  <a:pt x="73511" y="131513"/>
                </a:lnTo>
                <a:lnTo>
                  <a:pt x="76190" y="126046"/>
                </a:lnTo>
                <a:lnTo>
                  <a:pt x="78571" y="120275"/>
                </a:lnTo>
                <a:lnTo>
                  <a:pt x="80952" y="113897"/>
                </a:lnTo>
                <a:lnTo>
                  <a:pt x="82737" y="107215"/>
                </a:lnTo>
                <a:lnTo>
                  <a:pt x="83928" y="99925"/>
                </a:lnTo>
                <a:lnTo>
                  <a:pt x="85118" y="92636"/>
                </a:lnTo>
                <a:lnTo>
                  <a:pt x="85714" y="85043"/>
                </a:lnTo>
                <a:lnTo>
                  <a:pt x="86011" y="77146"/>
                </a:lnTo>
                <a:lnTo>
                  <a:pt x="85714" y="69249"/>
                </a:lnTo>
                <a:lnTo>
                  <a:pt x="85118" y="61656"/>
                </a:lnTo>
                <a:lnTo>
                  <a:pt x="83928" y="54366"/>
                </a:lnTo>
                <a:lnTo>
                  <a:pt x="82737" y="47077"/>
                </a:lnTo>
                <a:lnTo>
                  <a:pt x="80952" y="40395"/>
                </a:lnTo>
                <a:lnTo>
                  <a:pt x="78571" y="34017"/>
                </a:lnTo>
                <a:lnTo>
                  <a:pt x="76190" y="28246"/>
                </a:lnTo>
                <a:lnTo>
                  <a:pt x="73511" y="22475"/>
                </a:lnTo>
                <a:lnTo>
                  <a:pt x="70237" y="17616"/>
                </a:lnTo>
                <a:lnTo>
                  <a:pt x="66964" y="13060"/>
                </a:lnTo>
                <a:lnTo>
                  <a:pt x="63392" y="9415"/>
                </a:lnTo>
                <a:lnTo>
                  <a:pt x="59821" y="6074"/>
                </a:lnTo>
                <a:lnTo>
                  <a:pt x="55952" y="3340"/>
                </a:lnTo>
                <a:lnTo>
                  <a:pt x="51785" y="1518"/>
                </a:lnTo>
                <a:lnTo>
                  <a:pt x="47618" y="303"/>
                </a:lnTo>
                <a:lnTo>
                  <a:pt x="43154" y="0"/>
                </a:lnTo>
                <a:close/>
              </a:path>
            </a:pathLst>
          </a:custGeom>
          <a:solidFill>
            <a:srgbClr val="000000"/>
          </a:solidFill>
        </p:spPr>
        <p:txBody>
          <a:bodyPr wrap="square" lIns="0" tIns="0" rIns="0" bIns="0" rtlCol="0">
            <a:noAutofit/>
          </a:bodyPr>
          <a:lstStyle/>
          <a:p>
            <a:endParaRPr/>
          </a:p>
        </p:txBody>
      </p:sp>
      <p:sp>
        <p:nvSpPr>
          <p:cNvPr id="424" name="object 424"/>
          <p:cNvSpPr/>
          <p:nvPr/>
        </p:nvSpPr>
        <p:spPr>
          <a:xfrm>
            <a:off x="10104267" y="1208390"/>
            <a:ext cx="44940" cy="79272"/>
          </a:xfrm>
          <a:custGeom>
            <a:avLst/>
            <a:gdLst/>
            <a:ahLst/>
            <a:cxnLst/>
            <a:rect l="l" t="t" r="r" b="b"/>
            <a:pathLst>
              <a:path w="44940" h="79272">
                <a:moveTo>
                  <a:pt x="4166" y="4555"/>
                </a:moveTo>
                <a:lnTo>
                  <a:pt x="8035" y="5770"/>
                </a:lnTo>
                <a:lnTo>
                  <a:pt x="11904" y="7289"/>
                </a:lnTo>
                <a:lnTo>
                  <a:pt x="15476" y="9719"/>
                </a:lnTo>
                <a:lnTo>
                  <a:pt x="18749" y="13060"/>
                </a:lnTo>
                <a:lnTo>
                  <a:pt x="22321" y="16704"/>
                </a:lnTo>
                <a:lnTo>
                  <a:pt x="25297" y="20957"/>
                </a:lnTo>
                <a:lnTo>
                  <a:pt x="28571" y="25512"/>
                </a:lnTo>
                <a:lnTo>
                  <a:pt x="31249" y="31283"/>
                </a:lnTo>
                <a:lnTo>
                  <a:pt x="33630" y="37054"/>
                </a:lnTo>
                <a:lnTo>
                  <a:pt x="35714" y="43129"/>
                </a:lnTo>
                <a:lnTo>
                  <a:pt x="37499" y="49507"/>
                </a:lnTo>
                <a:lnTo>
                  <a:pt x="38690" y="56796"/>
                </a:lnTo>
                <a:lnTo>
                  <a:pt x="39880" y="64086"/>
                </a:lnTo>
                <a:lnTo>
                  <a:pt x="40476" y="71375"/>
                </a:lnTo>
                <a:lnTo>
                  <a:pt x="40773" y="79272"/>
                </a:lnTo>
                <a:lnTo>
                  <a:pt x="44940" y="79272"/>
                </a:lnTo>
                <a:lnTo>
                  <a:pt x="44642" y="71375"/>
                </a:lnTo>
                <a:lnTo>
                  <a:pt x="44047" y="63478"/>
                </a:lnTo>
                <a:lnTo>
                  <a:pt x="42857" y="56189"/>
                </a:lnTo>
                <a:lnTo>
                  <a:pt x="41666" y="48899"/>
                </a:lnTo>
                <a:lnTo>
                  <a:pt x="39880" y="41914"/>
                </a:lnTo>
                <a:lnTo>
                  <a:pt x="37202" y="35232"/>
                </a:lnTo>
                <a:lnTo>
                  <a:pt x="34821" y="29461"/>
                </a:lnTo>
                <a:lnTo>
                  <a:pt x="32142" y="23690"/>
                </a:lnTo>
                <a:lnTo>
                  <a:pt x="28868" y="18527"/>
                </a:lnTo>
                <a:lnTo>
                  <a:pt x="25297" y="13667"/>
                </a:lnTo>
                <a:lnTo>
                  <a:pt x="21726" y="10022"/>
                </a:lnTo>
                <a:lnTo>
                  <a:pt x="17857" y="6681"/>
                </a:lnTo>
                <a:lnTo>
                  <a:pt x="13690" y="3644"/>
                </a:lnTo>
                <a:lnTo>
                  <a:pt x="9226" y="1518"/>
                </a:lnTo>
                <a:lnTo>
                  <a:pt x="4761" y="303"/>
                </a:lnTo>
                <a:lnTo>
                  <a:pt x="0" y="0"/>
                </a:lnTo>
                <a:lnTo>
                  <a:pt x="0" y="4252"/>
                </a:lnTo>
                <a:lnTo>
                  <a:pt x="4166" y="4555"/>
                </a:lnTo>
                <a:close/>
              </a:path>
            </a:pathLst>
          </a:custGeom>
          <a:solidFill>
            <a:srgbClr val="000000"/>
          </a:solidFill>
        </p:spPr>
        <p:txBody>
          <a:bodyPr wrap="square" lIns="0" tIns="0" rIns="0" bIns="0" rtlCol="0">
            <a:noAutofit/>
          </a:bodyPr>
          <a:lstStyle/>
          <a:p>
            <a:endParaRPr/>
          </a:p>
        </p:txBody>
      </p:sp>
      <p:sp>
        <p:nvSpPr>
          <p:cNvPr id="425" name="object 425"/>
          <p:cNvSpPr/>
          <p:nvPr/>
        </p:nvSpPr>
        <p:spPr>
          <a:xfrm>
            <a:off x="10104267" y="1287663"/>
            <a:ext cx="44940" cy="79272"/>
          </a:xfrm>
          <a:custGeom>
            <a:avLst/>
            <a:gdLst/>
            <a:ahLst/>
            <a:cxnLst/>
            <a:rect l="l" t="t" r="r" b="b"/>
            <a:pathLst>
              <a:path w="44940" h="79272">
                <a:moveTo>
                  <a:pt x="4761" y="78968"/>
                </a:moveTo>
                <a:lnTo>
                  <a:pt x="9226" y="77753"/>
                </a:lnTo>
                <a:lnTo>
                  <a:pt x="13690" y="75627"/>
                </a:lnTo>
                <a:lnTo>
                  <a:pt x="17857" y="72590"/>
                </a:lnTo>
                <a:lnTo>
                  <a:pt x="21726" y="69249"/>
                </a:lnTo>
                <a:lnTo>
                  <a:pt x="25297" y="65604"/>
                </a:lnTo>
                <a:lnTo>
                  <a:pt x="28868" y="60745"/>
                </a:lnTo>
                <a:lnTo>
                  <a:pt x="32142" y="55278"/>
                </a:lnTo>
                <a:lnTo>
                  <a:pt x="34821" y="49810"/>
                </a:lnTo>
                <a:lnTo>
                  <a:pt x="37202" y="44040"/>
                </a:lnTo>
                <a:lnTo>
                  <a:pt x="39880" y="37358"/>
                </a:lnTo>
                <a:lnTo>
                  <a:pt x="41666" y="30372"/>
                </a:lnTo>
                <a:lnTo>
                  <a:pt x="42857" y="23083"/>
                </a:lnTo>
                <a:lnTo>
                  <a:pt x="44047" y="15793"/>
                </a:lnTo>
                <a:lnTo>
                  <a:pt x="44642" y="7896"/>
                </a:lnTo>
                <a:lnTo>
                  <a:pt x="44940" y="0"/>
                </a:lnTo>
                <a:lnTo>
                  <a:pt x="40773" y="0"/>
                </a:lnTo>
                <a:lnTo>
                  <a:pt x="40476" y="7896"/>
                </a:lnTo>
                <a:lnTo>
                  <a:pt x="39880" y="15186"/>
                </a:lnTo>
                <a:lnTo>
                  <a:pt x="38690" y="22475"/>
                </a:lnTo>
                <a:lnTo>
                  <a:pt x="37499" y="29765"/>
                </a:lnTo>
                <a:lnTo>
                  <a:pt x="35714" y="36143"/>
                </a:lnTo>
                <a:lnTo>
                  <a:pt x="33630" y="42217"/>
                </a:lnTo>
                <a:lnTo>
                  <a:pt x="31249" y="47988"/>
                </a:lnTo>
                <a:lnTo>
                  <a:pt x="28571" y="53455"/>
                </a:lnTo>
                <a:lnTo>
                  <a:pt x="25297" y="58315"/>
                </a:lnTo>
                <a:lnTo>
                  <a:pt x="22321" y="62567"/>
                </a:lnTo>
                <a:lnTo>
                  <a:pt x="18749" y="66212"/>
                </a:lnTo>
                <a:lnTo>
                  <a:pt x="15476" y="69553"/>
                </a:lnTo>
                <a:lnTo>
                  <a:pt x="11904" y="71982"/>
                </a:lnTo>
                <a:lnTo>
                  <a:pt x="8035" y="73501"/>
                </a:lnTo>
                <a:lnTo>
                  <a:pt x="4166" y="74716"/>
                </a:lnTo>
                <a:lnTo>
                  <a:pt x="0" y="75020"/>
                </a:lnTo>
                <a:lnTo>
                  <a:pt x="0" y="79272"/>
                </a:lnTo>
                <a:lnTo>
                  <a:pt x="4761" y="78968"/>
                </a:lnTo>
                <a:close/>
              </a:path>
            </a:pathLst>
          </a:custGeom>
          <a:solidFill>
            <a:srgbClr val="000000"/>
          </a:solidFill>
        </p:spPr>
        <p:txBody>
          <a:bodyPr wrap="square" lIns="0" tIns="0" rIns="0" bIns="0" rtlCol="0">
            <a:noAutofit/>
          </a:bodyPr>
          <a:lstStyle/>
          <a:p>
            <a:endParaRPr/>
          </a:p>
        </p:txBody>
      </p:sp>
      <p:sp>
        <p:nvSpPr>
          <p:cNvPr id="426" name="object 426"/>
          <p:cNvSpPr/>
          <p:nvPr/>
        </p:nvSpPr>
        <p:spPr>
          <a:xfrm>
            <a:off x="10059030" y="1287663"/>
            <a:ext cx="45237" cy="79272"/>
          </a:xfrm>
          <a:custGeom>
            <a:avLst/>
            <a:gdLst/>
            <a:ahLst/>
            <a:cxnLst/>
            <a:rect l="l" t="t" r="r" b="b"/>
            <a:pathLst>
              <a:path w="45237" h="79272">
                <a:moveTo>
                  <a:pt x="4166" y="0"/>
                </a:moveTo>
                <a:lnTo>
                  <a:pt x="0" y="0"/>
                </a:lnTo>
                <a:lnTo>
                  <a:pt x="297" y="7896"/>
                </a:lnTo>
                <a:lnTo>
                  <a:pt x="892" y="15793"/>
                </a:lnTo>
                <a:lnTo>
                  <a:pt x="2083" y="23083"/>
                </a:lnTo>
                <a:lnTo>
                  <a:pt x="3273" y="30676"/>
                </a:lnTo>
                <a:lnTo>
                  <a:pt x="5357" y="37358"/>
                </a:lnTo>
                <a:lnTo>
                  <a:pt x="7440" y="43736"/>
                </a:lnTo>
                <a:lnTo>
                  <a:pt x="10119" y="49810"/>
                </a:lnTo>
                <a:lnTo>
                  <a:pt x="13095" y="55278"/>
                </a:lnTo>
                <a:lnTo>
                  <a:pt x="16071" y="60745"/>
                </a:lnTo>
                <a:lnTo>
                  <a:pt x="19642" y="65604"/>
                </a:lnTo>
                <a:lnTo>
                  <a:pt x="23214" y="69249"/>
                </a:lnTo>
                <a:lnTo>
                  <a:pt x="27380" y="72894"/>
                </a:lnTo>
                <a:lnTo>
                  <a:pt x="31547" y="75627"/>
                </a:lnTo>
                <a:lnTo>
                  <a:pt x="36011" y="77753"/>
                </a:lnTo>
                <a:lnTo>
                  <a:pt x="40476" y="78968"/>
                </a:lnTo>
                <a:lnTo>
                  <a:pt x="45237" y="79272"/>
                </a:lnTo>
                <a:lnTo>
                  <a:pt x="45237" y="75020"/>
                </a:lnTo>
                <a:lnTo>
                  <a:pt x="41071" y="74716"/>
                </a:lnTo>
                <a:lnTo>
                  <a:pt x="37202" y="73501"/>
                </a:lnTo>
                <a:lnTo>
                  <a:pt x="33333" y="71982"/>
                </a:lnTo>
                <a:lnTo>
                  <a:pt x="29761" y="69249"/>
                </a:lnTo>
                <a:lnTo>
                  <a:pt x="26190" y="66212"/>
                </a:lnTo>
                <a:lnTo>
                  <a:pt x="22618" y="62567"/>
                </a:lnTo>
                <a:lnTo>
                  <a:pt x="19642" y="58315"/>
                </a:lnTo>
                <a:lnTo>
                  <a:pt x="16666" y="53455"/>
                </a:lnTo>
                <a:lnTo>
                  <a:pt x="13690" y="47988"/>
                </a:lnTo>
                <a:lnTo>
                  <a:pt x="11607" y="42521"/>
                </a:lnTo>
                <a:lnTo>
                  <a:pt x="9523" y="36143"/>
                </a:lnTo>
                <a:lnTo>
                  <a:pt x="7440" y="29461"/>
                </a:lnTo>
                <a:lnTo>
                  <a:pt x="6249" y="22475"/>
                </a:lnTo>
                <a:lnTo>
                  <a:pt x="5059" y="15186"/>
                </a:lnTo>
                <a:lnTo>
                  <a:pt x="4464" y="7896"/>
                </a:lnTo>
                <a:lnTo>
                  <a:pt x="4166" y="0"/>
                </a:lnTo>
                <a:close/>
              </a:path>
            </a:pathLst>
          </a:custGeom>
          <a:solidFill>
            <a:srgbClr val="000000"/>
          </a:solidFill>
        </p:spPr>
        <p:txBody>
          <a:bodyPr wrap="square" lIns="0" tIns="0" rIns="0" bIns="0" rtlCol="0">
            <a:noAutofit/>
          </a:bodyPr>
          <a:lstStyle/>
          <a:p>
            <a:endParaRPr/>
          </a:p>
        </p:txBody>
      </p:sp>
      <p:sp>
        <p:nvSpPr>
          <p:cNvPr id="427" name="object 427"/>
          <p:cNvSpPr/>
          <p:nvPr/>
        </p:nvSpPr>
        <p:spPr>
          <a:xfrm>
            <a:off x="10059030" y="1208390"/>
            <a:ext cx="45237" cy="79272"/>
          </a:xfrm>
          <a:custGeom>
            <a:avLst/>
            <a:gdLst/>
            <a:ahLst/>
            <a:cxnLst/>
            <a:rect l="l" t="t" r="r" b="b"/>
            <a:pathLst>
              <a:path w="45237" h="79272">
                <a:moveTo>
                  <a:pt x="5357" y="41914"/>
                </a:moveTo>
                <a:lnTo>
                  <a:pt x="3273" y="48596"/>
                </a:lnTo>
                <a:lnTo>
                  <a:pt x="2083" y="56189"/>
                </a:lnTo>
                <a:lnTo>
                  <a:pt x="892" y="63478"/>
                </a:lnTo>
                <a:lnTo>
                  <a:pt x="297" y="71375"/>
                </a:lnTo>
                <a:lnTo>
                  <a:pt x="0" y="79272"/>
                </a:lnTo>
                <a:lnTo>
                  <a:pt x="4166" y="79272"/>
                </a:lnTo>
                <a:lnTo>
                  <a:pt x="4464" y="71375"/>
                </a:lnTo>
                <a:lnTo>
                  <a:pt x="5059" y="64086"/>
                </a:lnTo>
                <a:lnTo>
                  <a:pt x="6249" y="56796"/>
                </a:lnTo>
                <a:lnTo>
                  <a:pt x="7440" y="49810"/>
                </a:lnTo>
                <a:lnTo>
                  <a:pt x="9523" y="43129"/>
                </a:lnTo>
                <a:lnTo>
                  <a:pt x="11607" y="36750"/>
                </a:lnTo>
                <a:lnTo>
                  <a:pt x="13690" y="31283"/>
                </a:lnTo>
                <a:lnTo>
                  <a:pt x="16666" y="25512"/>
                </a:lnTo>
                <a:lnTo>
                  <a:pt x="19642" y="20957"/>
                </a:lnTo>
                <a:lnTo>
                  <a:pt x="22618" y="16704"/>
                </a:lnTo>
                <a:lnTo>
                  <a:pt x="26190" y="13060"/>
                </a:lnTo>
                <a:lnTo>
                  <a:pt x="29761" y="10022"/>
                </a:lnTo>
                <a:lnTo>
                  <a:pt x="33333" y="7289"/>
                </a:lnTo>
                <a:lnTo>
                  <a:pt x="37202" y="5770"/>
                </a:lnTo>
                <a:lnTo>
                  <a:pt x="41071" y="4555"/>
                </a:lnTo>
                <a:lnTo>
                  <a:pt x="45237" y="4252"/>
                </a:lnTo>
                <a:lnTo>
                  <a:pt x="45237" y="0"/>
                </a:lnTo>
                <a:lnTo>
                  <a:pt x="40476" y="303"/>
                </a:lnTo>
                <a:lnTo>
                  <a:pt x="36011" y="1518"/>
                </a:lnTo>
                <a:lnTo>
                  <a:pt x="31547" y="3644"/>
                </a:lnTo>
                <a:lnTo>
                  <a:pt x="27380" y="6378"/>
                </a:lnTo>
                <a:lnTo>
                  <a:pt x="23214" y="10022"/>
                </a:lnTo>
                <a:lnTo>
                  <a:pt x="19642" y="13667"/>
                </a:lnTo>
                <a:lnTo>
                  <a:pt x="16071" y="18527"/>
                </a:lnTo>
                <a:lnTo>
                  <a:pt x="13095" y="23690"/>
                </a:lnTo>
                <a:lnTo>
                  <a:pt x="10119" y="29461"/>
                </a:lnTo>
                <a:lnTo>
                  <a:pt x="7440" y="35535"/>
                </a:lnTo>
                <a:lnTo>
                  <a:pt x="5357" y="41914"/>
                </a:lnTo>
                <a:close/>
              </a:path>
            </a:pathLst>
          </a:custGeom>
          <a:solidFill>
            <a:srgbClr val="000000"/>
          </a:solidFill>
        </p:spPr>
        <p:txBody>
          <a:bodyPr wrap="square" lIns="0" tIns="0" rIns="0" bIns="0" rtlCol="0">
            <a:noAutofit/>
          </a:bodyPr>
          <a:lstStyle/>
          <a:p>
            <a:endParaRPr/>
          </a:p>
        </p:txBody>
      </p:sp>
      <p:sp>
        <p:nvSpPr>
          <p:cNvPr id="428" name="object 428"/>
          <p:cNvSpPr/>
          <p:nvPr/>
        </p:nvSpPr>
        <p:spPr>
          <a:xfrm>
            <a:off x="10104565" y="1359343"/>
            <a:ext cx="29166" cy="5163"/>
          </a:xfrm>
          <a:custGeom>
            <a:avLst/>
            <a:gdLst/>
            <a:ahLst/>
            <a:cxnLst/>
            <a:rect l="l" t="t" r="r" b="b"/>
            <a:pathLst>
              <a:path w="29166" h="5163">
                <a:moveTo>
                  <a:pt x="29166" y="5163"/>
                </a:moveTo>
                <a:lnTo>
                  <a:pt x="13988" y="0"/>
                </a:lnTo>
                <a:lnTo>
                  <a:pt x="0" y="5163"/>
                </a:lnTo>
                <a:lnTo>
                  <a:pt x="29166" y="5163"/>
                </a:lnTo>
                <a:close/>
              </a:path>
            </a:pathLst>
          </a:custGeom>
          <a:solidFill>
            <a:srgbClr val="000000"/>
          </a:solidFill>
        </p:spPr>
        <p:txBody>
          <a:bodyPr wrap="square" lIns="0" tIns="0" rIns="0" bIns="0" rtlCol="0">
            <a:noAutofit/>
          </a:bodyPr>
          <a:lstStyle/>
          <a:p>
            <a:endParaRPr/>
          </a:p>
        </p:txBody>
      </p:sp>
      <p:sp>
        <p:nvSpPr>
          <p:cNvPr id="429" name="object 429"/>
          <p:cNvSpPr/>
          <p:nvPr/>
        </p:nvSpPr>
        <p:spPr>
          <a:xfrm>
            <a:off x="10103970" y="1210821"/>
            <a:ext cx="28571" cy="5467"/>
          </a:xfrm>
          <a:custGeom>
            <a:avLst/>
            <a:gdLst/>
            <a:ahLst/>
            <a:cxnLst/>
            <a:rect l="l" t="t" r="r" b="b"/>
            <a:pathLst>
              <a:path w="28571" h="5467">
                <a:moveTo>
                  <a:pt x="28571" y="0"/>
                </a:moveTo>
                <a:lnTo>
                  <a:pt x="0" y="0"/>
                </a:lnTo>
                <a:lnTo>
                  <a:pt x="14583" y="5467"/>
                </a:lnTo>
                <a:lnTo>
                  <a:pt x="28571" y="0"/>
                </a:lnTo>
                <a:close/>
              </a:path>
            </a:pathLst>
          </a:custGeom>
          <a:solidFill>
            <a:srgbClr val="000000"/>
          </a:solidFill>
        </p:spPr>
        <p:txBody>
          <a:bodyPr wrap="square" lIns="0" tIns="0" rIns="0" bIns="0" rtlCol="0">
            <a:noAutofit/>
          </a:bodyPr>
          <a:lstStyle/>
          <a:p>
            <a:endParaRPr/>
          </a:p>
        </p:txBody>
      </p:sp>
      <p:sp>
        <p:nvSpPr>
          <p:cNvPr id="430" name="object 430"/>
          <p:cNvSpPr/>
          <p:nvPr/>
        </p:nvSpPr>
        <p:spPr>
          <a:xfrm>
            <a:off x="10103970" y="1209303"/>
            <a:ext cx="30059" cy="3037"/>
          </a:xfrm>
          <a:custGeom>
            <a:avLst/>
            <a:gdLst/>
            <a:ahLst/>
            <a:cxnLst/>
            <a:rect l="l" t="t" r="r" b="b"/>
            <a:pathLst>
              <a:path w="30059" h="3037">
                <a:moveTo>
                  <a:pt x="27976" y="0"/>
                </a:moveTo>
                <a:lnTo>
                  <a:pt x="0" y="0"/>
                </a:lnTo>
                <a:lnTo>
                  <a:pt x="0" y="3037"/>
                </a:lnTo>
                <a:lnTo>
                  <a:pt x="28571" y="3037"/>
                </a:lnTo>
                <a:lnTo>
                  <a:pt x="29096" y="2679"/>
                </a:lnTo>
                <a:lnTo>
                  <a:pt x="29464" y="2429"/>
                </a:lnTo>
                <a:lnTo>
                  <a:pt x="30059" y="1518"/>
                </a:lnTo>
                <a:lnTo>
                  <a:pt x="29464" y="607"/>
                </a:lnTo>
                <a:lnTo>
                  <a:pt x="28571" y="0"/>
                </a:lnTo>
                <a:lnTo>
                  <a:pt x="27976" y="0"/>
                </a:lnTo>
                <a:close/>
              </a:path>
            </a:pathLst>
          </a:custGeom>
          <a:solidFill>
            <a:srgbClr val="000000"/>
          </a:solidFill>
        </p:spPr>
        <p:txBody>
          <a:bodyPr wrap="square" lIns="0" tIns="0" rIns="0" bIns="0" rtlCol="0">
            <a:noAutofit/>
          </a:bodyPr>
          <a:lstStyle/>
          <a:p>
            <a:endParaRPr/>
          </a:p>
        </p:txBody>
      </p:sp>
      <p:sp>
        <p:nvSpPr>
          <p:cNvPr id="431" name="object 431"/>
          <p:cNvSpPr/>
          <p:nvPr/>
        </p:nvSpPr>
        <p:spPr>
          <a:xfrm>
            <a:off x="10117065" y="1209302"/>
            <a:ext cx="14880" cy="8504"/>
          </a:xfrm>
          <a:custGeom>
            <a:avLst/>
            <a:gdLst/>
            <a:ahLst/>
            <a:cxnLst/>
            <a:rect l="l" t="t" r="r" b="b"/>
            <a:pathLst>
              <a:path w="14880" h="8504">
                <a:moveTo>
                  <a:pt x="892" y="5467"/>
                </a:moveTo>
                <a:lnTo>
                  <a:pt x="0" y="6378"/>
                </a:lnTo>
                <a:lnTo>
                  <a:pt x="297" y="7289"/>
                </a:lnTo>
                <a:lnTo>
                  <a:pt x="892" y="8504"/>
                </a:lnTo>
                <a:lnTo>
                  <a:pt x="2083" y="8504"/>
                </a:lnTo>
                <a:lnTo>
                  <a:pt x="2083" y="5467"/>
                </a:lnTo>
                <a:lnTo>
                  <a:pt x="14880" y="0"/>
                </a:lnTo>
                <a:lnTo>
                  <a:pt x="892" y="5467"/>
                </a:lnTo>
                <a:close/>
              </a:path>
            </a:pathLst>
          </a:custGeom>
          <a:solidFill>
            <a:srgbClr val="000000"/>
          </a:solidFill>
        </p:spPr>
        <p:txBody>
          <a:bodyPr wrap="square" lIns="0" tIns="0" rIns="0" bIns="0" rtlCol="0">
            <a:noAutofit/>
          </a:bodyPr>
          <a:lstStyle/>
          <a:p>
            <a:endParaRPr/>
          </a:p>
        </p:txBody>
      </p:sp>
      <p:sp>
        <p:nvSpPr>
          <p:cNvPr id="432" name="object 432"/>
          <p:cNvSpPr/>
          <p:nvPr/>
        </p:nvSpPr>
        <p:spPr>
          <a:xfrm>
            <a:off x="10119148" y="1209302"/>
            <a:ext cx="13988" cy="8504"/>
          </a:xfrm>
          <a:custGeom>
            <a:avLst/>
            <a:gdLst/>
            <a:ahLst/>
            <a:cxnLst/>
            <a:rect l="l" t="t" r="r" b="b"/>
            <a:pathLst>
              <a:path w="13988" h="8504">
                <a:moveTo>
                  <a:pt x="0" y="5467"/>
                </a:moveTo>
                <a:lnTo>
                  <a:pt x="0" y="8504"/>
                </a:lnTo>
                <a:lnTo>
                  <a:pt x="13988" y="3037"/>
                </a:lnTo>
                <a:lnTo>
                  <a:pt x="12797" y="0"/>
                </a:lnTo>
                <a:lnTo>
                  <a:pt x="0" y="5467"/>
                </a:lnTo>
                <a:close/>
              </a:path>
            </a:pathLst>
          </a:custGeom>
          <a:solidFill>
            <a:srgbClr val="000000"/>
          </a:solidFill>
        </p:spPr>
        <p:txBody>
          <a:bodyPr wrap="square" lIns="0" tIns="0" rIns="0" bIns="0" rtlCol="0">
            <a:noAutofit/>
          </a:bodyPr>
          <a:lstStyle/>
          <a:p>
            <a:endParaRPr/>
          </a:p>
        </p:txBody>
      </p:sp>
      <p:sp>
        <p:nvSpPr>
          <p:cNvPr id="433" name="object 433"/>
          <p:cNvSpPr/>
          <p:nvPr/>
        </p:nvSpPr>
        <p:spPr>
          <a:xfrm>
            <a:off x="10102481" y="1209302"/>
            <a:ext cx="15476" cy="8504"/>
          </a:xfrm>
          <a:custGeom>
            <a:avLst/>
            <a:gdLst/>
            <a:ahLst/>
            <a:cxnLst/>
            <a:rect l="l" t="t" r="r" b="b"/>
            <a:pathLst>
              <a:path w="15476" h="8504">
                <a:moveTo>
                  <a:pt x="892" y="3037"/>
                </a:moveTo>
                <a:lnTo>
                  <a:pt x="15476" y="8504"/>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434" name="object 434"/>
          <p:cNvSpPr/>
          <p:nvPr/>
        </p:nvSpPr>
        <p:spPr>
          <a:xfrm>
            <a:off x="10103969" y="1209302"/>
            <a:ext cx="15178" cy="8504"/>
          </a:xfrm>
          <a:custGeom>
            <a:avLst/>
            <a:gdLst/>
            <a:ahLst/>
            <a:cxnLst/>
            <a:rect l="l" t="t" r="r" b="b"/>
            <a:pathLst>
              <a:path w="15178" h="8504">
                <a:moveTo>
                  <a:pt x="595" y="0"/>
                </a:moveTo>
                <a:lnTo>
                  <a:pt x="0" y="0"/>
                </a:lnTo>
                <a:lnTo>
                  <a:pt x="0" y="3037"/>
                </a:lnTo>
                <a:lnTo>
                  <a:pt x="13988" y="8504"/>
                </a:lnTo>
                <a:lnTo>
                  <a:pt x="15178" y="5467"/>
                </a:lnTo>
                <a:lnTo>
                  <a:pt x="595" y="0"/>
                </a:lnTo>
                <a:close/>
              </a:path>
            </a:pathLst>
          </a:custGeom>
          <a:solidFill>
            <a:srgbClr val="000000"/>
          </a:solidFill>
        </p:spPr>
        <p:txBody>
          <a:bodyPr wrap="square" lIns="0" tIns="0" rIns="0" bIns="0" rtlCol="0">
            <a:noAutofit/>
          </a:bodyPr>
          <a:lstStyle/>
          <a:p>
            <a:endParaRPr/>
          </a:p>
        </p:txBody>
      </p:sp>
      <p:sp>
        <p:nvSpPr>
          <p:cNvPr id="435" name="object 435"/>
          <p:cNvSpPr/>
          <p:nvPr/>
        </p:nvSpPr>
        <p:spPr>
          <a:xfrm>
            <a:off x="10104565" y="1362988"/>
            <a:ext cx="30654" cy="3037"/>
          </a:xfrm>
          <a:custGeom>
            <a:avLst/>
            <a:gdLst/>
            <a:ahLst/>
            <a:cxnLst/>
            <a:rect l="l" t="t" r="r" b="b"/>
            <a:pathLst>
              <a:path w="30654" h="3037">
                <a:moveTo>
                  <a:pt x="30654" y="1518"/>
                </a:moveTo>
                <a:lnTo>
                  <a:pt x="30059" y="607"/>
                </a:lnTo>
                <a:lnTo>
                  <a:pt x="29691" y="357"/>
                </a:lnTo>
                <a:lnTo>
                  <a:pt x="29166" y="0"/>
                </a:lnTo>
                <a:lnTo>
                  <a:pt x="0" y="0"/>
                </a:lnTo>
                <a:lnTo>
                  <a:pt x="0" y="3037"/>
                </a:lnTo>
                <a:lnTo>
                  <a:pt x="29166" y="3037"/>
                </a:lnTo>
                <a:lnTo>
                  <a:pt x="30059" y="2429"/>
                </a:lnTo>
                <a:lnTo>
                  <a:pt x="30654" y="1518"/>
                </a:lnTo>
                <a:close/>
              </a:path>
            </a:pathLst>
          </a:custGeom>
          <a:solidFill>
            <a:srgbClr val="000000"/>
          </a:solidFill>
        </p:spPr>
        <p:txBody>
          <a:bodyPr wrap="square" lIns="0" tIns="0" rIns="0" bIns="0" rtlCol="0">
            <a:noAutofit/>
          </a:bodyPr>
          <a:lstStyle/>
          <a:p>
            <a:endParaRPr/>
          </a:p>
        </p:txBody>
      </p:sp>
      <p:sp>
        <p:nvSpPr>
          <p:cNvPr id="436" name="object 436"/>
          <p:cNvSpPr/>
          <p:nvPr/>
        </p:nvSpPr>
        <p:spPr>
          <a:xfrm>
            <a:off x="10117957" y="1360862"/>
            <a:ext cx="15178" cy="5163"/>
          </a:xfrm>
          <a:custGeom>
            <a:avLst/>
            <a:gdLst/>
            <a:ahLst/>
            <a:cxnLst/>
            <a:rect l="l" t="t" r="r" b="b"/>
            <a:pathLst>
              <a:path w="15178" h="5163">
                <a:moveTo>
                  <a:pt x="15178" y="5163"/>
                </a:moveTo>
                <a:lnTo>
                  <a:pt x="1190" y="0"/>
                </a:lnTo>
                <a:lnTo>
                  <a:pt x="0" y="0"/>
                </a:lnTo>
                <a:lnTo>
                  <a:pt x="15178" y="5163"/>
                </a:lnTo>
                <a:close/>
              </a:path>
            </a:pathLst>
          </a:custGeom>
          <a:solidFill>
            <a:srgbClr val="000000"/>
          </a:solidFill>
        </p:spPr>
        <p:txBody>
          <a:bodyPr wrap="square" lIns="0" tIns="0" rIns="0" bIns="0" rtlCol="0">
            <a:noAutofit/>
          </a:bodyPr>
          <a:lstStyle/>
          <a:p>
            <a:endParaRPr/>
          </a:p>
        </p:txBody>
      </p:sp>
      <p:sp>
        <p:nvSpPr>
          <p:cNvPr id="437" name="object 437"/>
          <p:cNvSpPr/>
          <p:nvPr/>
        </p:nvSpPr>
        <p:spPr>
          <a:xfrm>
            <a:off x="10117066" y="1357823"/>
            <a:ext cx="17261" cy="8200"/>
          </a:xfrm>
          <a:custGeom>
            <a:avLst/>
            <a:gdLst/>
            <a:ahLst/>
            <a:cxnLst/>
            <a:rect l="l" t="t" r="r" b="b"/>
            <a:pathLst>
              <a:path w="17261" h="8200">
                <a:moveTo>
                  <a:pt x="297" y="911"/>
                </a:moveTo>
                <a:lnTo>
                  <a:pt x="0" y="2126"/>
                </a:lnTo>
                <a:lnTo>
                  <a:pt x="892" y="3037"/>
                </a:lnTo>
                <a:lnTo>
                  <a:pt x="2083" y="3037"/>
                </a:lnTo>
                <a:lnTo>
                  <a:pt x="16071" y="8200"/>
                </a:lnTo>
                <a:lnTo>
                  <a:pt x="17261" y="5163"/>
                </a:lnTo>
                <a:lnTo>
                  <a:pt x="2083" y="0"/>
                </a:lnTo>
                <a:lnTo>
                  <a:pt x="892" y="0"/>
                </a:lnTo>
                <a:lnTo>
                  <a:pt x="297" y="911"/>
                </a:lnTo>
                <a:close/>
              </a:path>
            </a:pathLst>
          </a:custGeom>
          <a:solidFill>
            <a:srgbClr val="000000"/>
          </a:solidFill>
        </p:spPr>
        <p:txBody>
          <a:bodyPr wrap="square" lIns="0" tIns="0" rIns="0" bIns="0" rtlCol="0">
            <a:noAutofit/>
          </a:bodyPr>
          <a:lstStyle/>
          <a:p>
            <a:endParaRPr/>
          </a:p>
        </p:txBody>
      </p:sp>
      <p:sp>
        <p:nvSpPr>
          <p:cNvPr id="438" name="object 438"/>
          <p:cNvSpPr/>
          <p:nvPr/>
        </p:nvSpPr>
        <p:spPr>
          <a:xfrm>
            <a:off x="10103969" y="1357824"/>
            <a:ext cx="13988" cy="5163"/>
          </a:xfrm>
          <a:custGeom>
            <a:avLst/>
            <a:gdLst/>
            <a:ahLst/>
            <a:cxnLst/>
            <a:rect l="l" t="t" r="r" b="b"/>
            <a:pathLst>
              <a:path w="13988" h="5163">
                <a:moveTo>
                  <a:pt x="0" y="5163"/>
                </a:moveTo>
                <a:lnTo>
                  <a:pt x="595" y="5163"/>
                </a:lnTo>
                <a:lnTo>
                  <a:pt x="13988" y="0"/>
                </a:lnTo>
                <a:lnTo>
                  <a:pt x="0" y="5163"/>
                </a:lnTo>
                <a:close/>
              </a:path>
            </a:pathLst>
          </a:custGeom>
          <a:solidFill>
            <a:srgbClr val="000000"/>
          </a:solidFill>
        </p:spPr>
        <p:txBody>
          <a:bodyPr wrap="square" lIns="0" tIns="0" rIns="0" bIns="0" rtlCol="0">
            <a:noAutofit/>
          </a:bodyPr>
          <a:lstStyle/>
          <a:p>
            <a:endParaRPr/>
          </a:p>
        </p:txBody>
      </p:sp>
      <p:sp>
        <p:nvSpPr>
          <p:cNvPr id="439" name="object 439"/>
          <p:cNvSpPr/>
          <p:nvPr/>
        </p:nvSpPr>
        <p:spPr>
          <a:xfrm>
            <a:off x="10103077" y="1357823"/>
            <a:ext cx="16071" cy="8200"/>
          </a:xfrm>
          <a:custGeom>
            <a:avLst/>
            <a:gdLst/>
            <a:ahLst/>
            <a:cxnLst/>
            <a:rect l="l" t="t" r="r" b="b"/>
            <a:pathLst>
              <a:path w="16071" h="8200">
                <a:moveTo>
                  <a:pt x="297" y="6985"/>
                </a:moveTo>
                <a:lnTo>
                  <a:pt x="892" y="8200"/>
                </a:lnTo>
                <a:lnTo>
                  <a:pt x="2083" y="8200"/>
                </a:lnTo>
                <a:lnTo>
                  <a:pt x="16071" y="3037"/>
                </a:lnTo>
                <a:lnTo>
                  <a:pt x="14880" y="0"/>
                </a:lnTo>
                <a:lnTo>
                  <a:pt x="1488" y="5163"/>
                </a:lnTo>
                <a:lnTo>
                  <a:pt x="892" y="5163"/>
                </a:lnTo>
                <a:lnTo>
                  <a:pt x="0" y="6074"/>
                </a:lnTo>
                <a:lnTo>
                  <a:pt x="297" y="6985"/>
                </a:lnTo>
                <a:close/>
              </a:path>
            </a:pathLst>
          </a:custGeom>
          <a:solidFill>
            <a:srgbClr val="000000"/>
          </a:solidFill>
        </p:spPr>
        <p:txBody>
          <a:bodyPr wrap="square" lIns="0" tIns="0" rIns="0" bIns="0" rtlCol="0">
            <a:noAutofit/>
          </a:bodyPr>
          <a:lstStyle/>
          <a:p>
            <a:endParaRPr/>
          </a:p>
        </p:txBody>
      </p:sp>
      <p:sp>
        <p:nvSpPr>
          <p:cNvPr id="440" name="object 440"/>
          <p:cNvSpPr/>
          <p:nvPr/>
        </p:nvSpPr>
        <p:spPr>
          <a:xfrm>
            <a:off x="10089387" y="1210517"/>
            <a:ext cx="86011" cy="154292"/>
          </a:xfrm>
          <a:custGeom>
            <a:avLst/>
            <a:gdLst/>
            <a:ahLst/>
            <a:cxnLst/>
            <a:rect l="l" t="t" r="r" b="b"/>
            <a:pathLst>
              <a:path w="86011" h="154292">
                <a:moveTo>
                  <a:pt x="43154" y="0"/>
                </a:moveTo>
                <a:lnTo>
                  <a:pt x="38690" y="303"/>
                </a:lnTo>
                <a:lnTo>
                  <a:pt x="34523" y="1518"/>
                </a:lnTo>
                <a:lnTo>
                  <a:pt x="30357" y="3340"/>
                </a:lnTo>
                <a:lnTo>
                  <a:pt x="26488" y="6074"/>
                </a:lnTo>
                <a:lnTo>
                  <a:pt x="22618" y="9415"/>
                </a:lnTo>
                <a:lnTo>
                  <a:pt x="19047" y="13060"/>
                </a:lnTo>
                <a:lnTo>
                  <a:pt x="15773" y="17616"/>
                </a:lnTo>
                <a:lnTo>
                  <a:pt x="12797" y="22475"/>
                </a:lnTo>
                <a:lnTo>
                  <a:pt x="9821" y="28246"/>
                </a:lnTo>
                <a:lnTo>
                  <a:pt x="7440" y="34017"/>
                </a:lnTo>
                <a:lnTo>
                  <a:pt x="5357" y="40395"/>
                </a:lnTo>
                <a:lnTo>
                  <a:pt x="3273" y="47077"/>
                </a:lnTo>
                <a:lnTo>
                  <a:pt x="2083" y="54366"/>
                </a:lnTo>
                <a:lnTo>
                  <a:pt x="892" y="61656"/>
                </a:lnTo>
                <a:lnTo>
                  <a:pt x="297" y="69249"/>
                </a:lnTo>
                <a:lnTo>
                  <a:pt x="0" y="77146"/>
                </a:lnTo>
                <a:lnTo>
                  <a:pt x="297" y="85043"/>
                </a:lnTo>
                <a:lnTo>
                  <a:pt x="892" y="92636"/>
                </a:lnTo>
                <a:lnTo>
                  <a:pt x="2083" y="99925"/>
                </a:lnTo>
                <a:lnTo>
                  <a:pt x="3273" y="107215"/>
                </a:lnTo>
                <a:lnTo>
                  <a:pt x="5357" y="113897"/>
                </a:lnTo>
                <a:lnTo>
                  <a:pt x="7440" y="120275"/>
                </a:lnTo>
                <a:lnTo>
                  <a:pt x="9821" y="126046"/>
                </a:lnTo>
                <a:lnTo>
                  <a:pt x="12797" y="131513"/>
                </a:lnTo>
                <a:lnTo>
                  <a:pt x="15773" y="136676"/>
                </a:lnTo>
                <a:lnTo>
                  <a:pt x="19047" y="141232"/>
                </a:lnTo>
                <a:lnTo>
                  <a:pt x="22618" y="144877"/>
                </a:lnTo>
                <a:lnTo>
                  <a:pt x="26488" y="148218"/>
                </a:lnTo>
                <a:lnTo>
                  <a:pt x="30357" y="150951"/>
                </a:lnTo>
                <a:lnTo>
                  <a:pt x="34523" y="152773"/>
                </a:lnTo>
                <a:lnTo>
                  <a:pt x="38690" y="153988"/>
                </a:lnTo>
                <a:lnTo>
                  <a:pt x="43154" y="154292"/>
                </a:lnTo>
                <a:lnTo>
                  <a:pt x="47618" y="153988"/>
                </a:lnTo>
                <a:lnTo>
                  <a:pt x="51785" y="152773"/>
                </a:lnTo>
                <a:lnTo>
                  <a:pt x="55952" y="150951"/>
                </a:lnTo>
                <a:lnTo>
                  <a:pt x="59821" y="148218"/>
                </a:lnTo>
                <a:lnTo>
                  <a:pt x="63392" y="144877"/>
                </a:lnTo>
                <a:lnTo>
                  <a:pt x="66964" y="141232"/>
                </a:lnTo>
                <a:lnTo>
                  <a:pt x="70237" y="136676"/>
                </a:lnTo>
                <a:lnTo>
                  <a:pt x="73511" y="131513"/>
                </a:lnTo>
                <a:lnTo>
                  <a:pt x="76190" y="126046"/>
                </a:lnTo>
                <a:lnTo>
                  <a:pt x="78571" y="120275"/>
                </a:lnTo>
                <a:lnTo>
                  <a:pt x="80952" y="113897"/>
                </a:lnTo>
                <a:lnTo>
                  <a:pt x="82737" y="107215"/>
                </a:lnTo>
                <a:lnTo>
                  <a:pt x="83928" y="99925"/>
                </a:lnTo>
                <a:lnTo>
                  <a:pt x="85118" y="92636"/>
                </a:lnTo>
                <a:lnTo>
                  <a:pt x="85714" y="85043"/>
                </a:lnTo>
                <a:lnTo>
                  <a:pt x="86011" y="77146"/>
                </a:lnTo>
                <a:lnTo>
                  <a:pt x="85714" y="69249"/>
                </a:lnTo>
                <a:lnTo>
                  <a:pt x="85118" y="61656"/>
                </a:lnTo>
                <a:lnTo>
                  <a:pt x="83928" y="54366"/>
                </a:lnTo>
                <a:lnTo>
                  <a:pt x="82737" y="47077"/>
                </a:lnTo>
                <a:lnTo>
                  <a:pt x="80952" y="40395"/>
                </a:lnTo>
                <a:lnTo>
                  <a:pt x="78571" y="34017"/>
                </a:lnTo>
                <a:lnTo>
                  <a:pt x="76190" y="28246"/>
                </a:lnTo>
                <a:lnTo>
                  <a:pt x="73511" y="22475"/>
                </a:lnTo>
                <a:lnTo>
                  <a:pt x="70237" y="17616"/>
                </a:lnTo>
                <a:lnTo>
                  <a:pt x="66964" y="13060"/>
                </a:lnTo>
                <a:lnTo>
                  <a:pt x="63392" y="9415"/>
                </a:lnTo>
                <a:lnTo>
                  <a:pt x="59821" y="6074"/>
                </a:lnTo>
                <a:lnTo>
                  <a:pt x="55952" y="3340"/>
                </a:lnTo>
                <a:lnTo>
                  <a:pt x="51785" y="1518"/>
                </a:lnTo>
                <a:lnTo>
                  <a:pt x="47618" y="303"/>
                </a:lnTo>
                <a:lnTo>
                  <a:pt x="43154" y="0"/>
                </a:lnTo>
                <a:close/>
              </a:path>
            </a:pathLst>
          </a:custGeom>
          <a:solidFill>
            <a:srgbClr val="000000"/>
          </a:solidFill>
        </p:spPr>
        <p:txBody>
          <a:bodyPr wrap="square" lIns="0" tIns="0" rIns="0" bIns="0" rtlCol="0">
            <a:noAutofit/>
          </a:bodyPr>
          <a:lstStyle/>
          <a:p>
            <a:endParaRPr/>
          </a:p>
        </p:txBody>
      </p:sp>
      <p:sp>
        <p:nvSpPr>
          <p:cNvPr id="441" name="object 441"/>
          <p:cNvSpPr/>
          <p:nvPr/>
        </p:nvSpPr>
        <p:spPr>
          <a:xfrm>
            <a:off x="10132541" y="1208390"/>
            <a:ext cx="44940" cy="79272"/>
          </a:xfrm>
          <a:custGeom>
            <a:avLst/>
            <a:gdLst/>
            <a:ahLst/>
            <a:cxnLst/>
            <a:rect l="l" t="t" r="r" b="b"/>
            <a:pathLst>
              <a:path w="44940" h="79272">
                <a:moveTo>
                  <a:pt x="4166" y="4555"/>
                </a:moveTo>
                <a:lnTo>
                  <a:pt x="8035" y="5770"/>
                </a:lnTo>
                <a:lnTo>
                  <a:pt x="11904" y="7289"/>
                </a:lnTo>
                <a:lnTo>
                  <a:pt x="15476" y="9719"/>
                </a:lnTo>
                <a:lnTo>
                  <a:pt x="18749" y="13060"/>
                </a:lnTo>
                <a:lnTo>
                  <a:pt x="22321" y="16704"/>
                </a:lnTo>
                <a:lnTo>
                  <a:pt x="25297" y="20957"/>
                </a:lnTo>
                <a:lnTo>
                  <a:pt x="28571" y="25512"/>
                </a:lnTo>
                <a:lnTo>
                  <a:pt x="31249" y="31283"/>
                </a:lnTo>
                <a:lnTo>
                  <a:pt x="33630" y="37054"/>
                </a:lnTo>
                <a:lnTo>
                  <a:pt x="35714" y="43129"/>
                </a:lnTo>
                <a:lnTo>
                  <a:pt x="37499" y="49507"/>
                </a:lnTo>
                <a:lnTo>
                  <a:pt x="38690" y="56796"/>
                </a:lnTo>
                <a:lnTo>
                  <a:pt x="39880" y="64086"/>
                </a:lnTo>
                <a:lnTo>
                  <a:pt x="40476" y="71375"/>
                </a:lnTo>
                <a:lnTo>
                  <a:pt x="40773" y="79272"/>
                </a:lnTo>
                <a:lnTo>
                  <a:pt x="44940" y="79272"/>
                </a:lnTo>
                <a:lnTo>
                  <a:pt x="44642" y="71375"/>
                </a:lnTo>
                <a:lnTo>
                  <a:pt x="44047" y="63478"/>
                </a:lnTo>
                <a:lnTo>
                  <a:pt x="42857" y="56189"/>
                </a:lnTo>
                <a:lnTo>
                  <a:pt x="41666" y="48899"/>
                </a:lnTo>
                <a:lnTo>
                  <a:pt x="39880" y="41914"/>
                </a:lnTo>
                <a:lnTo>
                  <a:pt x="37202" y="35232"/>
                </a:lnTo>
                <a:lnTo>
                  <a:pt x="34821" y="29461"/>
                </a:lnTo>
                <a:lnTo>
                  <a:pt x="32142" y="23690"/>
                </a:lnTo>
                <a:lnTo>
                  <a:pt x="28868" y="18527"/>
                </a:lnTo>
                <a:lnTo>
                  <a:pt x="25297" y="13667"/>
                </a:lnTo>
                <a:lnTo>
                  <a:pt x="21726" y="10022"/>
                </a:lnTo>
                <a:lnTo>
                  <a:pt x="17857" y="6681"/>
                </a:lnTo>
                <a:lnTo>
                  <a:pt x="13690" y="3644"/>
                </a:lnTo>
                <a:lnTo>
                  <a:pt x="9226" y="1518"/>
                </a:lnTo>
                <a:lnTo>
                  <a:pt x="4761" y="303"/>
                </a:lnTo>
                <a:lnTo>
                  <a:pt x="0" y="0"/>
                </a:lnTo>
                <a:lnTo>
                  <a:pt x="0" y="4252"/>
                </a:lnTo>
                <a:lnTo>
                  <a:pt x="4166" y="4555"/>
                </a:lnTo>
                <a:close/>
              </a:path>
            </a:pathLst>
          </a:custGeom>
          <a:solidFill>
            <a:srgbClr val="000000"/>
          </a:solidFill>
        </p:spPr>
        <p:txBody>
          <a:bodyPr wrap="square" lIns="0" tIns="0" rIns="0" bIns="0" rtlCol="0">
            <a:noAutofit/>
          </a:bodyPr>
          <a:lstStyle/>
          <a:p>
            <a:endParaRPr/>
          </a:p>
        </p:txBody>
      </p:sp>
      <p:sp>
        <p:nvSpPr>
          <p:cNvPr id="442" name="object 442"/>
          <p:cNvSpPr/>
          <p:nvPr/>
        </p:nvSpPr>
        <p:spPr>
          <a:xfrm>
            <a:off x="10132541" y="1287663"/>
            <a:ext cx="44940" cy="79272"/>
          </a:xfrm>
          <a:custGeom>
            <a:avLst/>
            <a:gdLst/>
            <a:ahLst/>
            <a:cxnLst/>
            <a:rect l="l" t="t" r="r" b="b"/>
            <a:pathLst>
              <a:path w="44940" h="79272">
                <a:moveTo>
                  <a:pt x="4761" y="78968"/>
                </a:moveTo>
                <a:lnTo>
                  <a:pt x="9226" y="77753"/>
                </a:lnTo>
                <a:lnTo>
                  <a:pt x="13690" y="75627"/>
                </a:lnTo>
                <a:lnTo>
                  <a:pt x="17857" y="72590"/>
                </a:lnTo>
                <a:lnTo>
                  <a:pt x="21726" y="69249"/>
                </a:lnTo>
                <a:lnTo>
                  <a:pt x="25297" y="65604"/>
                </a:lnTo>
                <a:lnTo>
                  <a:pt x="28868" y="60745"/>
                </a:lnTo>
                <a:lnTo>
                  <a:pt x="32142" y="55278"/>
                </a:lnTo>
                <a:lnTo>
                  <a:pt x="34821" y="49810"/>
                </a:lnTo>
                <a:lnTo>
                  <a:pt x="37202" y="44040"/>
                </a:lnTo>
                <a:lnTo>
                  <a:pt x="39880" y="37358"/>
                </a:lnTo>
                <a:lnTo>
                  <a:pt x="41666" y="30372"/>
                </a:lnTo>
                <a:lnTo>
                  <a:pt x="42857" y="23083"/>
                </a:lnTo>
                <a:lnTo>
                  <a:pt x="44047" y="15793"/>
                </a:lnTo>
                <a:lnTo>
                  <a:pt x="44642" y="7896"/>
                </a:lnTo>
                <a:lnTo>
                  <a:pt x="44940" y="0"/>
                </a:lnTo>
                <a:lnTo>
                  <a:pt x="40773" y="0"/>
                </a:lnTo>
                <a:lnTo>
                  <a:pt x="40476" y="7896"/>
                </a:lnTo>
                <a:lnTo>
                  <a:pt x="39880" y="15186"/>
                </a:lnTo>
                <a:lnTo>
                  <a:pt x="38690" y="22475"/>
                </a:lnTo>
                <a:lnTo>
                  <a:pt x="37499" y="29765"/>
                </a:lnTo>
                <a:lnTo>
                  <a:pt x="35714" y="36143"/>
                </a:lnTo>
                <a:lnTo>
                  <a:pt x="33630" y="42217"/>
                </a:lnTo>
                <a:lnTo>
                  <a:pt x="31249" y="47988"/>
                </a:lnTo>
                <a:lnTo>
                  <a:pt x="28571" y="53455"/>
                </a:lnTo>
                <a:lnTo>
                  <a:pt x="25297" y="58315"/>
                </a:lnTo>
                <a:lnTo>
                  <a:pt x="22321" y="62567"/>
                </a:lnTo>
                <a:lnTo>
                  <a:pt x="18749" y="66212"/>
                </a:lnTo>
                <a:lnTo>
                  <a:pt x="15476" y="69553"/>
                </a:lnTo>
                <a:lnTo>
                  <a:pt x="11904" y="71982"/>
                </a:lnTo>
                <a:lnTo>
                  <a:pt x="8035" y="73501"/>
                </a:lnTo>
                <a:lnTo>
                  <a:pt x="4166" y="74716"/>
                </a:lnTo>
                <a:lnTo>
                  <a:pt x="0" y="75020"/>
                </a:lnTo>
                <a:lnTo>
                  <a:pt x="0" y="79272"/>
                </a:lnTo>
                <a:lnTo>
                  <a:pt x="4761" y="78968"/>
                </a:lnTo>
                <a:close/>
              </a:path>
            </a:pathLst>
          </a:custGeom>
          <a:solidFill>
            <a:srgbClr val="000000"/>
          </a:solidFill>
        </p:spPr>
        <p:txBody>
          <a:bodyPr wrap="square" lIns="0" tIns="0" rIns="0" bIns="0" rtlCol="0">
            <a:noAutofit/>
          </a:bodyPr>
          <a:lstStyle/>
          <a:p>
            <a:endParaRPr/>
          </a:p>
        </p:txBody>
      </p:sp>
      <p:sp>
        <p:nvSpPr>
          <p:cNvPr id="443" name="object 443"/>
          <p:cNvSpPr/>
          <p:nvPr/>
        </p:nvSpPr>
        <p:spPr>
          <a:xfrm>
            <a:off x="10087304" y="1287663"/>
            <a:ext cx="45237" cy="79272"/>
          </a:xfrm>
          <a:custGeom>
            <a:avLst/>
            <a:gdLst/>
            <a:ahLst/>
            <a:cxnLst/>
            <a:rect l="l" t="t" r="r" b="b"/>
            <a:pathLst>
              <a:path w="45237" h="79272">
                <a:moveTo>
                  <a:pt x="4166" y="0"/>
                </a:moveTo>
                <a:lnTo>
                  <a:pt x="0" y="0"/>
                </a:lnTo>
                <a:lnTo>
                  <a:pt x="297" y="7896"/>
                </a:lnTo>
                <a:lnTo>
                  <a:pt x="892" y="15793"/>
                </a:lnTo>
                <a:lnTo>
                  <a:pt x="2083" y="23083"/>
                </a:lnTo>
                <a:lnTo>
                  <a:pt x="3273" y="30676"/>
                </a:lnTo>
                <a:lnTo>
                  <a:pt x="5357" y="37358"/>
                </a:lnTo>
                <a:lnTo>
                  <a:pt x="7440" y="43736"/>
                </a:lnTo>
                <a:lnTo>
                  <a:pt x="10119" y="49810"/>
                </a:lnTo>
                <a:lnTo>
                  <a:pt x="13095" y="55278"/>
                </a:lnTo>
                <a:lnTo>
                  <a:pt x="16071" y="60745"/>
                </a:lnTo>
                <a:lnTo>
                  <a:pt x="19642" y="65604"/>
                </a:lnTo>
                <a:lnTo>
                  <a:pt x="23214" y="69249"/>
                </a:lnTo>
                <a:lnTo>
                  <a:pt x="27380" y="72894"/>
                </a:lnTo>
                <a:lnTo>
                  <a:pt x="31547" y="75627"/>
                </a:lnTo>
                <a:lnTo>
                  <a:pt x="36011" y="77753"/>
                </a:lnTo>
                <a:lnTo>
                  <a:pt x="40476" y="78968"/>
                </a:lnTo>
                <a:lnTo>
                  <a:pt x="45237" y="79272"/>
                </a:lnTo>
                <a:lnTo>
                  <a:pt x="45237" y="75020"/>
                </a:lnTo>
                <a:lnTo>
                  <a:pt x="41071" y="74716"/>
                </a:lnTo>
                <a:lnTo>
                  <a:pt x="37202" y="73501"/>
                </a:lnTo>
                <a:lnTo>
                  <a:pt x="33333" y="71982"/>
                </a:lnTo>
                <a:lnTo>
                  <a:pt x="29761" y="69249"/>
                </a:lnTo>
                <a:lnTo>
                  <a:pt x="26190" y="66212"/>
                </a:lnTo>
                <a:lnTo>
                  <a:pt x="22618" y="62567"/>
                </a:lnTo>
                <a:lnTo>
                  <a:pt x="19642" y="58315"/>
                </a:lnTo>
                <a:lnTo>
                  <a:pt x="16666" y="53455"/>
                </a:lnTo>
                <a:lnTo>
                  <a:pt x="13690" y="47988"/>
                </a:lnTo>
                <a:lnTo>
                  <a:pt x="11607" y="42521"/>
                </a:lnTo>
                <a:lnTo>
                  <a:pt x="9523" y="36143"/>
                </a:lnTo>
                <a:lnTo>
                  <a:pt x="7440" y="29461"/>
                </a:lnTo>
                <a:lnTo>
                  <a:pt x="6249" y="22475"/>
                </a:lnTo>
                <a:lnTo>
                  <a:pt x="5059" y="15186"/>
                </a:lnTo>
                <a:lnTo>
                  <a:pt x="4464" y="7896"/>
                </a:lnTo>
                <a:lnTo>
                  <a:pt x="4166" y="0"/>
                </a:lnTo>
                <a:close/>
              </a:path>
            </a:pathLst>
          </a:custGeom>
          <a:solidFill>
            <a:srgbClr val="000000"/>
          </a:solidFill>
        </p:spPr>
        <p:txBody>
          <a:bodyPr wrap="square" lIns="0" tIns="0" rIns="0" bIns="0" rtlCol="0">
            <a:noAutofit/>
          </a:bodyPr>
          <a:lstStyle/>
          <a:p>
            <a:endParaRPr/>
          </a:p>
        </p:txBody>
      </p:sp>
      <p:sp>
        <p:nvSpPr>
          <p:cNvPr id="444" name="object 444"/>
          <p:cNvSpPr/>
          <p:nvPr/>
        </p:nvSpPr>
        <p:spPr>
          <a:xfrm>
            <a:off x="10087304" y="1208390"/>
            <a:ext cx="45237" cy="79272"/>
          </a:xfrm>
          <a:custGeom>
            <a:avLst/>
            <a:gdLst/>
            <a:ahLst/>
            <a:cxnLst/>
            <a:rect l="l" t="t" r="r" b="b"/>
            <a:pathLst>
              <a:path w="45237" h="79272">
                <a:moveTo>
                  <a:pt x="5357" y="41914"/>
                </a:moveTo>
                <a:lnTo>
                  <a:pt x="3273" y="48596"/>
                </a:lnTo>
                <a:lnTo>
                  <a:pt x="2083" y="56189"/>
                </a:lnTo>
                <a:lnTo>
                  <a:pt x="892" y="63478"/>
                </a:lnTo>
                <a:lnTo>
                  <a:pt x="297" y="71375"/>
                </a:lnTo>
                <a:lnTo>
                  <a:pt x="0" y="79272"/>
                </a:lnTo>
                <a:lnTo>
                  <a:pt x="4166" y="79272"/>
                </a:lnTo>
                <a:lnTo>
                  <a:pt x="4464" y="71375"/>
                </a:lnTo>
                <a:lnTo>
                  <a:pt x="5059" y="64086"/>
                </a:lnTo>
                <a:lnTo>
                  <a:pt x="6249" y="56796"/>
                </a:lnTo>
                <a:lnTo>
                  <a:pt x="7440" y="49810"/>
                </a:lnTo>
                <a:lnTo>
                  <a:pt x="9523" y="43129"/>
                </a:lnTo>
                <a:lnTo>
                  <a:pt x="11607" y="36750"/>
                </a:lnTo>
                <a:lnTo>
                  <a:pt x="13690" y="31283"/>
                </a:lnTo>
                <a:lnTo>
                  <a:pt x="16666" y="25512"/>
                </a:lnTo>
                <a:lnTo>
                  <a:pt x="19642" y="20957"/>
                </a:lnTo>
                <a:lnTo>
                  <a:pt x="22618" y="16704"/>
                </a:lnTo>
                <a:lnTo>
                  <a:pt x="26190" y="13060"/>
                </a:lnTo>
                <a:lnTo>
                  <a:pt x="29761" y="10022"/>
                </a:lnTo>
                <a:lnTo>
                  <a:pt x="33333" y="7289"/>
                </a:lnTo>
                <a:lnTo>
                  <a:pt x="37202" y="5770"/>
                </a:lnTo>
                <a:lnTo>
                  <a:pt x="41071" y="4555"/>
                </a:lnTo>
                <a:lnTo>
                  <a:pt x="45237" y="4252"/>
                </a:lnTo>
                <a:lnTo>
                  <a:pt x="45237" y="0"/>
                </a:lnTo>
                <a:lnTo>
                  <a:pt x="40476" y="303"/>
                </a:lnTo>
                <a:lnTo>
                  <a:pt x="36011" y="1518"/>
                </a:lnTo>
                <a:lnTo>
                  <a:pt x="31547" y="3644"/>
                </a:lnTo>
                <a:lnTo>
                  <a:pt x="27380" y="6378"/>
                </a:lnTo>
                <a:lnTo>
                  <a:pt x="23214" y="10022"/>
                </a:lnTo>
                <a:lnTo>
                  <a:pt x="19642" y="13667"/>
                </a:lnTo>
                <a:lnTo>
                  <a:pt x="16071" y="18527"/>
                </a:lnTo>
                <a:lnTo>
                  <a:pt x="13095" y="23690"/>
                </a:lnTo>
                <a:lnTo>
                  <a:pt x="10119" y="29461"/>
                </a:lnTo>
                <a:lnTo>
                  <a:pt x="7440" y="35535"/>
                </a:lnTo>
                <a:lnTo>
                  <a:pt x="5357" y="41914"/>
                </a:lnTo>
                <a:close/>
              </a:path>
            </a:pathLst>
          </a:custGeom>
          <a:solidFill>
            <a:srgbClr val="000000"/>
          </a:solidFill>
        </p:spPr>
        <p:txBody>
          <a:bodyPr wrap="square" lIns="0" tIns="0" rIns="0" bIns="0" rtlCol="0">
            <a:noAutofit/>
          </a:bodyPr>
          <a:lstStyle/>
          <a:p>
            <a:endParaRPr/>
          </a:p>
        </p:txBody>
      </p:sp>
      <p:sp>
        <p:nvSpPr>
          <p:cNvPr id="445" name="object 445"/>
          <p:cNvSpPr/>
          <p:nvPr/>
        </p:nvSpPr>
        <p:spPr>
          <a:xfrm>
            <a:off x="10111410" y="1240586"/>
            <a:ext cx="52380" cy="93851"/>
          </a:xfrm>
          <a:custGeom>
            <a:avLst/>
            <a:gdLst/>
            <a:ahLst/>
            <a:cxnLst/>
            <a:rect l="l" t="t" r="r" b="b"/>
            <a:pathLst>
              <a:path w="52380" h="93851">
                <a:moveTo>
                  <a:pt x="26190" y="0"/>
                </a:moveTo>
                <a:lnTo>
                  <a:pt x="20833" y="911"/>
                </a:lnTo>
                <a:lnTo>
                  <a:pt x="16071" y="3644"/>
                </a:lnTo>
                <a:lnTo>
                  <a:pt x="11607" y="7896"/>
                </a:lnTo>
                <a:lnTo>
                  <a:pt x="7738" y="13667"/>
                </a:lnTo>
                <a:lnTo>
                  <a:pt x="4464" y="20653"/>
                </a:lnTo>
                <a:lnTo>
                  <a:pt x="2083" y="28550"/>
                </a:lnTo>
                <a:lnTo>
                  <a:pt x="595" y="37661"/>
                </a:lnTo>
                <a:lnTo>
                  <a:pt x="0" y="47077"/>
                </a:lnTo>
                <a:lnTo>
                  <a:pt x="595" y="56492"/>
                </a:lnTo>
                <a:lnTo>
                  <a:pt x="2083" y="65301"/>
                </a:lnTo>
                <a:lnTo>
                  <a:pt x="4464" y="73197"/>
                </a:lnTo>
                <a:lnTo>
                  <a:pt x="7738" y="80183"/>
                </a:lnTo>
                <a:lnTo>
                  <a:pt x="11607" y="85954"/>
                </a:lnTo>
                <a:lnTo>
                  <a:pt x="16071" y="90206"/>
                </a:lnTo>
                <a:lnTo>
                  <a:pt x="20833" y="92940"/>
                </a:lnTo>
                <a:lnTo>
                  <a:pt x="26190" y="93851"/>
                </a:lnTo>
                <a:lnTo>
                  <a:pt x="31547" y="92940"/>
                </a:lnTo>
                <a:lnTo>
                  <a:pt x="36309" y="90206"/>
                </a:lnTo>
                <a:lnTo>
                  <a:pt x="40773" y="85954"/>
                </a:lnTo>
                <a:lnTo>
                  <a:pt x="44642" y="80183"/>
                </a:lnTo>
                <a:lnTo>
                  <a:pt x="47916" y="73197"/>
                </a:lnTo>
                <a:lnTo>
                  <a:pt x="50297" y="65301"/>
                </a:lnTo>
                <a:lnTo>
                  <a:pt x="51785" y="56492"/>
                </a:lnTo>
                <a:lnTo>
                  <a:pt x="52380" y="47077"/>
                </a:lnTo>
                <a:lnTo>
                  <a:pt x="51785" y="37661"/>
                </a:lnTo>
                <a:lnTo>
                  <a:pt x="50297" y="28550"/>
                </a:lnTo>
                <a:lnTo>
                  <a:pt x="47916" y="20653"/>
                </a:lnTo>
                <a:lnTo>
                  <a:pt x="44642" y="13667"/>
                </a:lnTo>
                <a:lnTo>
                  <a:pt x="40773" y="7896"/>
                </a:lnTo>
                <a:lnTo>
                  <a:pt x="36309" y="3644"/>
                </a:lnTo>
                <a:lnTo>
                  <a:pt x="31547" y="911"/>
                </a:lnTo>
                <a:lnTo>
                  <a:pt x="26190" y="0"/>
                </a:lnTo>
                <a:close/>
              </a:path>
            </a:pathLst>
          </a:custGeom>
          <a:solidFill>
            <a:srgbClr val="E4E4E4"/>
          </a:solidFill>
        </p:spPr>
        <p:txBody>
          <a:bodyPr wrap="square" lIns="0" tIns="0" rIns="0" bIns="0" rtlCol="0">
            <a:noAutofit/>
          </a:bodyPr>
          <a:lstStyle/>
          <a:p>
            <a:endParaRPr/>
          </a:p>
        </p:txBody>
      </p:sp>
      <p:sp>
        <p:nvSpPr>
          <p:cNvPr id="446" name="object 446"/>
          <p:cNvSpPr/>
          <p:nvPr/>
        </p:nvSpPr>
        <p:spPr>
          <a:xfrm>
            <a:off x="10137601" y="1238460"/>
            <a:ext cx="28273" cy="49203"/>
          </a:xfrm>
          <a:custGeom>
            <a:avLst/>
            <a:gdLst/>
            <a:ahLst/>
            <a:cxnLst/>
            <a:rect l="l" t="t" r="r" b="b"/>
            <a:pathLst>
              <a:path w="28273" h="49203">
                <a:moveTo>
                  <a:pt x="16666" y="16704"/>
                </a:moveTo>
                <a:lnTo>
                  <a:pt x="19642" y="23690"/>
                </a:lnTo>
                <a:lnTo>
                  <a:pt x="22023" y="31283"/>
                </a:lnTo>
                <a:lnTo>
                  <a:pt x="23511" y="40091"/>
                </a:lnTo>
                <a:lnTo>
                  <a:pt x="24107" y="49203"/>
                </a:lnTo>
                <a:lnTo>
                  <a:pt x="28273" y="49203"/>
                </a:lnTo>
                <a:lnTo>
                  <a:pt x="27678" y="39484"/>
                </a:lnTo>
                <a:lnTo>
                  <a:pt x="26190" y="30068"/>
                </a:lnTo>
                <a:lnTo>
                  <a:pt x="23809" y="21868"/>
                </a:lnTo>
                <a:lnTo>
                  <a:pt x="20238" y="14882"/>
                </a:lnTo>
                <a:lnTo>
                  <a:pt x="16071" y="8504"/>
                </a:lnTo>
                <a:lnTo>
                  <a:pt x="11309" y="3948"/>
                </a:lnTo>
                <a:lnTo>
                  <a:pt x="5952" y="911"/>
                </a:lnTo>
                <a:lnTo>
                  <a:pt x="0" y="0"/>
                </a:lnTo>
                <a:lnTo>
                  <a:pt x="0" y="4252"/>
                </a:lnTo>
                <a:lnTo>
                  <a:pt x="4761" y="5163"/>
                </a:lnTo>
                <a:lnTo>
                  <a:pt x="8928" y="7593"/>
                </a:lnTo>
                <a:lnTo>
                  <a:pt x="13095" y="11541"/>
                </a:lnTo>
                <a:lnTo>
                  <a:pt x="16666" y="16704"/>
                </a:lnTo>
                <a:close/>
              </a:path>
            </a:pathLst>
          </a:custGeom>
          <a:solidFill>
            <a:srgbClr val="000000"/>
          </a:solidFill>
        </p:spPr>
        <p:txBody>
          <a:bodyPr wrap="square" lIns="0" tIns="0" rIns="0" bIns="0" rtlCol="0">
            <a:noAutofit/>
          </a:bodyPr>
          <a:lstStyle/>
          <a:p>
            <a:endParaRPr/>
          </a:p>
        </p:txBody>
      </p:sp>
      <p:sp>
        <p:nvSpPr>
          <p:cNvPr id="447" name="object 447"/>
          <p:cNvSpPr/>
          <p:nvPr/>
        </p:nvSpPr>
        <p:spPr>
          <a:xfrm>
            <a:off x="10137601" y="1287664"/>
            <a:ext cx="28273" cy="48899"/>
          </a:xfrm>
          <a:custGeom>
            <a:avLst/>
            <a:gdLst/>
            <a:ahLst/>
            <a:cxnLst/>
            <a:rect l="l" t="t" r="r" b="b"/>
            <a:pathLst>
              <a:path w="28273" h="48899">
                <a:moveTo>
                  <a:pt x="4761" y="43736"/>
                </a:moveTo>
                <a:lnTo>
                  <a:pt x="0" y="44647"/>
                </a:lnTo>
                <a:lnTo>
                  <a:pt x="0" y="48899"/>
                </a:lnTo>
                <a:lnTo>
                  <a:pt x="5952" y="47988"/>
                </a:lnTo>
                <a:lnTo>
                  <a:pt x="11309" y="44951"/>
                </a:lnTo>
                <a:lnTo>
                  <a:pt x="16071" y="40395"/>
                </a:lnTo>
                <a:lnTo>
                  <a:pt x="20238" y="34017"/>
                </a:lnTo>
                <a:lnTo>
                  <a:pt x="23809" y="27031"/>
                </a:lnTo>
                <a:lnTo>
                  <a:pt x="26190" y="18830"/>
                </a:lnTo>
                <a:lnTo>
                  <a:pt x="27678" y="9719"/>
                </a:lnTo>
                <a:lnTo>
                  <a:pt x="28273" y="0"/>
                </a:lnTo>
                <a:lnTo>
                  <a:pt x="24107" y="0"/>
                </a:lnTo>
                <a:lnTo>
                  <a:pt x="23511" y="9111"/>
                </a:lnTo>
                <a:lnTo>
                  <a:pt x="22023" y="17616"/>
                </a:lnTo>
                <a:lnTo>
                  <a:pt x="19642" y="25209"/>
                </a:lnTo>
                <a:lnTo>
                  <a:pt x="16666" y="32194"/>
                </a:lnTo>
                <a:lnTo>
                  <a:pt x="13095" y="37358"/>
                </a:lnTo>
                <a:lnTo>
                  <a:pt x="8928" y="41306"/>
                </a:lnTo>
                <a:lnTo>
                  <a:pt x="4761" y="43736"/>
                </a:lnTo>
                <a:close/>
              </a:path>
            </a:pathLst>
          </a:custGeom>
          <a:solidFill>
            <a:srgbClr val="000000"/>
          </a:solidFill>
        </p:spPr>
        <p:txBody>
          <a:bodyPr wrap="square" lIns="0" tIns="0" rIns="0" bIns="0" rtlCol="0">
            <a:noAutofit/>
          </a:bodyPr>
          <a:lstStyle/>
          <a:p>
            <a:endParaRPr/>
          </a:p>
        </p:txBody>
      </p:sp>
      <p:sp>
        <p:nvSpPr>
          <p:cNvPr id="448" name="object 448"/>
          <p:cNvSpPr/>
          <p:nvPr/>
        </p:nvSpPr>
        <p:spPr>
          <a:xfrm>
            <a:off x="10109327" y="1287664"/>
            <a:ext cx="28273" cy="48899"/>
          </a:xfrm>
          <a:custGeom>
            <a:avLst/>
            <a:gdLst/>
            <a:ahLst/>
            <a:cxnLst/>
            <a:rect l="l" t="t" r="r" b="b"/>
            <a:pathLst>
              <a:path w="28273" h="48899">
                <a:moveTo>
                  <a:pt x="595" y="9719"/>
                </a:moveTo>
                <a:lnTo>
                  <a:pt x="2083" y="18830"/>
                </a:lnTo>
                <a:lnTo>
                  <a:pt x="4464" y="27031"/>
                </a:lnTo>
                <a:lnTo>
                  <a:pt x="8035" y="34017"/>
                </a:lnTo>
                <a:lnTo>
                  <a:pt x="12202" y="40395"/>
                </a:lnTo>
                <a:lnTo>
                  <a:pt x="16964" y="44951"/>
                </a:lnTo>
                <a:lnTo>
                  <a:pt x="22321" y="47988"/>
                </a:lnTo>
                <a:lnTo>
                  <a:pt x="28273" y="48899"/>
                </a:lnTo>
                <a:lnTo>
                  <a:pt x="28273" y="44647"/>
                </a:lnTo>
                <a:lnTo>
                  <a:pt x="23511" y="43736"/>
                </a:lnTo>
                <a:lnTo>
                  <a:pt x="19345" y="41306"/>
                </a:lnTo>
                <a:lnTo>
                  <a:pt x="15178" y="37358"/>
                </a:lnTo>
                <a:lnTo>
                  <a:pt x="11607" y="32194"/>
                </a:lnTo>
                <a:lnTo>
                  <a:pt x="8630" y="25209"/>
                </a:lnTo>
                <a:lnTo>
                  <a:pt x="6249" y="17616"/>
                </a:lnTo>
                <a:lnTo>
                  <a:pt x="4761" y="9111"/>
                </a:lnTo>
                <a:lnTo>
                  <a:pt x="4166" y="0"/>
                </a:lnTo>
                <a:lnTo>
                  <a:pt x="0" y="0"/>
                </a:lnTo>
                <a:lnTo>
                  <a:pt x="595" y="9719"/>
                </a:lnTo>
                <a:close/>
              </a:path>
            </a:pathLst>
          </a:custGeom>
          <a:solidFill>
            <a:srgbClr val="000000"/>
          </a:solidFill>
        </p:spPr>
        <p:txBody>
          <a:bodyPr wrap="square" lIns="0" tIns="0" rIns="0" bIns="0" rtlCol="0">
            <a:noAutofit/>
          </a:bodyPr>
          <a:lstStyle/>
          <a:p>
            <a:endParaRPr/>
          </a:p>
        </p:txBody>
      </p:sp>
      <p:sp>
        <p:nvSpPr>
          <p:cNvPr id="449" name="object 449"/>
          <p:cNvSpPr/>
          <p:nvPr/>
        </p:nvSpPr>
        <p:spPr>
          <a:xfrm>
            <a:off x="10109327" y="1238460"/>
            <a:ext cx="28273" cy="49203"/>
          </a:xfrm>
          <a:custGeom>
            <a:avLst/>
            <a:gdLst/>
            <a:ahLst/>
            <a:cxnLst/>
            <a:rect l="l" t="t" r="r" b="b"/>
            <a:pathLst>
              <a:path w="28273" h="49203">
                <a:moveTo>
                  <a:pt x="4166" y="49203"/>
                </a:moveTo>
                <a:lnTo>
                  <a:pt x="4761" y="40091"/>
                </a:lnTo>
                <a:lnTo>
                  <a:pt x="6249" y="31283"/>
                </a:lnTo>
                <a:lnTo>
                  <a:pt x="8630" y="23690"/>
                </a:lnTo>
                <a:lnTo>
                  <a:pt x="11607" y="16704"/>
                </a:lnTo>
                <a:lnTo>
                  <a:pt x="15178" y="11541"/>
                </a:lnTo>
                <a:lnTo>
                  <a:pt x="19345" y="7593"/>
                </a:lnTo>
                <a:lnTo>
                  <a:pt x="23511" y="5163"/>
                </a:lnTo>
                <a:lnTo>
                  <a:pt x="28273" y="4252"/>
                </a:lnTo>
                <a:lnTo>
                  <a:pt x="28273" y="0"/>
                </a:lnTo>
                <a:lnTo>
                  <a:pt x="22321" y="911"/>
                </a:lnTo>
                <a:lnTo>
                  <a:pt x="16964" y="3948"/>
                </a:lnTo>
                <a:lnTo>
                  <a:pt x="12202" y="8504"/>
                </a:lnTo>
                <a:lnTo>
                  <a:pt x="8035" y="14882"/>
                </a:lnTo>
                <a:lnTo>
                  <a:pt x="4464" y="21868"/>
                </a:lnTo>
                <a:lnTo>
                  <a:pt x="2083" y="30068"/>
                </a:lnTo>
                <a:lnTo>
                  <a:pt x="595" y="39484"/>
                </a:lnTo>
                <a:lnTo>
                  <a:pt x="0" y="49203"/>
                </a:lnTo>
                <a:lnTo>
                  <a:pt x="4166" y="49203"/>
                </a:lnTo>
                <a:close/>
              </a:path>
            </a:pathLst>
          </a:custGeom>
          <a:solidFill>
            <a:srgbClr val="000000"/>
          </a:solidFill>
        </p:spPr>
        <p:txBody>
          <a:bodyPr wrap="square" lIns="0" tIns="0" rIns="0" bIns="0" rtlCol="0">
            <a:noAutofit/>
          </a:bodyPr>
          <a:lstStyle/>
          <a:p>
            <a:endParaRPr/>
          </a:p>
        </p:txBody>
      </p:sp>
      <p:sp>
        <p:nvSpPr>
          <p:cNvPr id="450" name="object 450"/>
          <p:cNvSpPr/>
          <p:nvPr/>
        </p:nvSpPr>
        <p:spPr>
          <a:xfrm>
            <a:off x="10111113" y="1243926"/>
            <a:ext cx="48809" cy="87472"/>
          </a:xfrm>
          <a:custGeom>
            <a:avLst/>
            <a:gdLst/>
            <a:ahLst/>
            <a:cxnLst/>
            <a:rect l="l" t="t" r="r" b="b"/>
            <a:pathLst>
              <a:path w="48809" h="87472">
                <a:moveTo>
                  <a:pt x="24404" y="0"/>
                </a:moveTo>
                <a:lnTo>
                  <a:pt x="19642" y="911"/>
                </a:lnTo>
                <a:lnTo>
                  <a:pt x="14880" y="3340"/>
                </a:lnTo>
                <a:lnTo>
                  <a:pt x="10714" y="7593"/>
                </a:lnTo>
                <a:lnTo>
                  <a:pt x="7142" y="12756"/>
                </a:lnTo>
                <a:lnTo>
                  <a:pt x="4166" y="19438"/>
                </a:lnTo>
                <a:lnTo>
                  <a:pt x="1785" y="26727"/>
                </a:lnTo>
                <a:lnTo>
                  <a:pt x="595" y="34928"/>
                </a:lnTo>
                <a:lnTo>
                  <a:pt x="0" y="43736"/>
                </a:lnTo>
                <a:lnTo>
                  <a:pt x="595" y="52544"/>
                </a:lnTo>
                <a:lnTo>
                  <a:pt x="1785" y="60745"/>
                </a:lnTo>
                <a:lnTo>
                  <a:pt x="4166" y="68034"/>
                </a:lnTo>
                <a:lnTo>
                  <a:pt x="7142" y="74716"/>
                </a:lnTo>
                <a:lnTo>
                  <a:pt x="10714" y="79879"/>
                </a:lnTo>
                <a:lnTo>
                  <a:pt x="14880" y="84131"/>
                </a:lnTo>
                <a:lnTo>
                  <a:pt x="19642" y="86561"/>
                </a:lnTo>
                <a:lnTo>
                  <a:pt x="24404" y="87472"/>
                </a:lnTo>
                <a:lnTo>
                  <a:pt x="29166" y="86561"/>
                </a:lnTo>
                <a:lnTo>
                  <a:pt x="33928" y="84131"/>
                </a:lnTo>
                <a:lnTo>
                  <a:pt x="38095" y="79879"/>
                </a:lnTo>
                <a:lnTo>
                  <a:pt x="41666" y="74716"/>
                </a:lnTo>
                <a:lnTo>
                  <a:pt x="44642" y="68034"/>
                </a:lnTo>
                <a:lnTo>
                  <a:pt x="47023" y="60745"/>
                </a:lnTo>
                <a:lnTo>
                  <a:pt x="48214" y="52544"/>
                </a:lnTo>
                <a:lnTo>
                  <a:pt x="48809" y="43736"/>
                </a:lnTo>
                <a:lnTo>
                  <a:pt x="48214" y="34928"/>
                </a:lnTo>
                <a:lnTo>
                  <a:pt x="47023" y="26727"/>
                </a:lnTo>
                <a:lnTo>
                  <a:pt x="44642" y="19438"/>
                </a:lnTo>
                <a:lnTo>
                  <a:pt x="41666" y="12756"/>
                </a:lnTo>
                <a:lnTo>
                  <a:pt x="38095" y="7593"/>
                </a:lnTo>
                <a:lnTo>
                  <a:pt x="33928" y="3340"/>
                </a:lnTo>
                <a:lnTo>
                  <a:pt x="29166" y="911"/>
                </a:lnTo>
                <a:lnTo>
                  <a:pt x="24404" y="0"/>
                </a:lnTo>
                <a:close/>
              </a:path>
            </a:pathLst>
          </a:custGeom>
          <a:solidFill>
            <a:srgbClr val="666666"/>
          </a:solidFill>
        </p:spPr>
        <p:txBody>
          <a:bodyPr wrap="square" lIns="0" tIns="0" rIns="0" bIns="0" rtlCol="0">
            <a:noAutofit/>
          </a:bodyPr>
          <a:lstStyle/>
          <a:p>
            <a:endParaRPr/>
          </a:p>
        </p:txBody>
      </p:sp>
      <p:sp>
        <p:nvSpPr>
          <p:cNvPr id="451" name="object 451"/>
          <p:cNvSpPr/>
          <p:nvPr/>
        </p:nvSpPr>
        <p:spPr>
          <a:xfrm>
            <a:off x="10109029" y="1241800"/>
            <a:ext cx="26488" cy="45862"/>
          </a:xfrm>
          <a:custGeom>
            <a:avLst/>
            <a:gdLst/>
            <a:ahLst/>
            <a:cxnLst/>
            <a:rect l="l" t="t" r="r" b="b"/>
            <a:pathLst>
              <a:path w="26488" h="45862">
                <a:moveTo>
                  <a:pt x="4166" y="45862"/>
                </a:moveTo>
                <a:lnTo>
                  <a:pt x="4761" y="37358"/>
                </a:lnTo>
                <a:lnTo>
                  <a:pt x="5952" y="29461"/>
                </a:lnTo>
                <a:lnTo>
                  <a:pt x="8333" y="22475"/>
                </a:lnTo>
                <a:lnTo>
                  <a:pt x="11011" y="15793"/>
                </a:lnTo>
                <a:lnTo>
                  <a:pt x="14285" y="10934"/>
                </a:lnTo>
                <a:lnTo>
                  <a:pt x="18154" y="7289"/>
                </a:lnTo>
                <a:lnTo>
                  <a:pt x="22321" y="5163"/>
                </a:lnTo>
                <a:lnTo>
                  <a:pt x="26488" y="4252"/>
                </a:lnTo>
                <a:lnTo>
                  <a:pt x="26488" y="0"/>
                </a:lnTo>
                <a:lnTo>
                  <a:pt x="21130" y="911"/>
                </a:lnTo>
                <a:lnTo>
                  <a:pt x="15773" y="3644"/>
                </a:lnTo>
                <a:lnTo>
                  <a:pt x="11309" y="8504"/>
                </a:lnTo>
                <a:lnTo>
                  <a:pt x="7440" y="13971"/>
                </a:lnTo>
                <a:lnTo>
                  <a:pt x="4166" y="20653"/>
                </a:lnTo>
                <a:lnTo>
                  <a:pt x="1785" y="28246"/>
                </a:lnTo>
                <a:lnTo>
                  <a:pt x="595" y="36750"/>
                </a:lnTo>
                <a:lnTo>
                  <a:pt x="0" y="45862"/>
                </a:lnTo>
                <a:lnTo>
                  <a:pt x="4166" y="45862"/>
                </a:lnTo>
                <a:close/>
              </a:path>
            </a:pathLst>
          </a:custGeom>
          <a:solidFill>
            <a:srgbClr val="FFFFFF"/>
          </a:solidFill>
        </p:spPr>
        <p:txBody>
          <a:bodyPr wrap="square" lIns="0" tIns="0" rIns="0" bIns="0" rtlCol="0">
            <a:noAutofit/>
          </a:bodyPr>
          <a:lstStyle/>
          <a:p>
            <a:endParaRPr/>
          </a:p>
        </p:txBody>
      </p:sp>
      <p:sp>
        <p:nvSpPr>
          <p:cNvPr id="452" name="object 452"/>
          <p:cNvSpPr/>
          <p:nvPr/>
        </p:nvSpPr>
        <p:spPr>
          <a:xfrm>
            <a:off x="10109029" y="1287663"/>
            <a:ext cx="26488" cy="45862"/>
          </a:xfrm>
          <a:custGeom>
            <a:avLst/>
            <a:gdLst/>
            <a:ahLst/>
            <a:cxnLst/>
            <a:rect l="l" t="t" r="r" b="b"/>
            <a:pathLst>
              <a:path w="26488" h="45862">
                <a:moveTo>
                  <a:pt x="595" y="9111"/>
                </a:moveTo>
                <a:lnTo>
                  <a:pt x="1785" y="17616"/>
                </a:lnTo>
                <a:lnTo>
                  <a:pt x="4166" y="25209"/>
                </a:lnTo>
                <a:lnTo>
                  <a:pt x="7440" y="31891"/>
                </a:lnTo>
                <a:lnTo>
                  <a:pt x="11309" y="37358"/>
                </a:lnTo>
                <a:lnTo>
                  <a:pt x="15773" y="42217"/>
                </a:lnTo>
                <a:lnTo>
                  <a:pt x="21130" y="44951"/>
                </a:lnTo>
                <a:lnTo>
                  <a:pt x="26488" y="45862"/>
                </a:lnTo>
                <a:lnTo>
                  <a:pt x="26488" y="41610"/>
                </a:lnTo>
                <a:lnTo>
                  <a:pt x="22321" y="40699"/>
                </a:lnTo>
                <a:lnTo>
                  <a:pt x="18154" y="38573"/>
                </a:lnTo>
                <a:lnTo>
                  <a:pt x="14285" y="34928"/>
                </a:lnTo>
                <a:lnTo>
                  <a:pt x="11011" y="30068"/>
                </a:lnTo>
                <a:lnTo>
                  <a:pt x="8333" y="23386"/>
                </a:lnTo>
                <a:lnTo>
                  <a:pt x="5952" y="16401"/>
                </a:lnTo>
                <a:lnTo>
                  <a:pt x="4761" y="8504"/>
                </a:lnTo>
                <a:lnTo>
                  <a:pt x="4166" y="0"/>
                </a:lnTo>
                <a:lnTo>
                  <a:pt x="0" y="0"/>
                </a:lnTo>
                <a:lnTo>
                  <a:pt x="595" y="9111"/>
                </a:lnTo>
                <a:close/>
              </a:path>
            </a:pathLst>
          </a:custGeom>
          <a:solidFill>
            <a:srgbClr val="FFFFFF"/>
          </a:solidFill>
        </p:spPr>
        <p:txBody>
          <a:bodyPr wrap="square" lIns="0" tIns="0" rIns="0" bIns="0" rtlCol="0">
            <a:noAutofit/>
          </a:bodyPr>
          <a:lstStyle/>
          <a:p>
            <a:endParaRPr/>
          </a:p>
        </p:txBody>
      </p:sp>
      <p:sp>
        <p:nvSpPr>
          <p:cNvPr id="453" name="object 453"/>
          <p:cNvSpPr/>
          <p:nvPr/>
        </p:nvSpPr>
        <p:spPr>
          <a:xfrm>
            <a:off x="10135517" y="1287663"/>
            <a:ext cx="26488" cy="45862"/>
          </a:xfrm>
          <a:custGeom>
            <a:avLst/>
            <a:gdLst/>
            <a:ahLst/>
            <a:cxnLst/>
            <a:rect l="l" t="t" r="r" b="b"/>
            <a:pathLst>
              <a:path w="26488" h="45862">
                <a:moveTo>
                  <a:pt x="4166" y="40699"/>
                </a:moveTo>
                <a:lnTo>
                  <a:pt x="0" y="41610"/>
                </a:lnTo>
                <a:lnTo>
                  <a:pt x="0" y="45862"/>
                </a:lnTo>
                <a:lnTo>
                  <a:pt x="5357" y="44951"/>
                </a:lnTo>
                <a:lnTo>
                  <a:pt x="10714" y="42217"/>
                </a:lnTo>
                <a:lnTo>
                  <a:pt x="15178" y="37358"/>
                </a:lnTo>
                <a:lnTo>
                  <a:pt x="19047" y="31891"/>
                </a:lnTo>
                <a:lnTo>
                  <a:pt x="22321" y="25209"/>
                </a:lnTo>
                <a:lnTo>
                  <a:pt x="24702" y="17616"/>
                </a:lnTo>
                <a:lnTo>
                  <a:pt x="25892" y="9111"/>
                </a:lnTo>
                <a:lnTo>
                  <a:pt x="26488" y="0"/>
                </a:lnTo>
                <a:lnTo>
                  <a:pt x="22321" y="0"/>
                </a:lnTo>
                <a:lnTo>
                  <a:pt x="21726" y="8504"/>
                </a:lnTo>
                <a:lnTo>
                  <a:pt x="20535" y="16401"/>
                </a:lnTo>
                <a:lnTo>
                  <a:pt x="18154" y="23386"/>
                </a:lnTo>
                <a:lnTo>
                  <a:pt x="15476" y="30068"/>
                </a:lnTo>
                <a:lnTo>
                  <a:pt x="12202" y="34928"/>
                </a:lnTo>
                <a:lnTo>
                  <a:pt x="8333" y="38573"/>
                </a:lnTo>
                <a:lnTo>
                  <a:pt x="4166" y="40699"/>
                </a:lnTo>
                <a:close/>
              </a:path>
            </a:pathLst>
          </a:custGeom>
          <a:solidFill>
            <a:srgbClr val="FFFFFF"/>
          </a:solidFill>
        </p:spPr>
        <p:txBody>
          <a:bodyPr wrap="square" lIns="0" tIns="0" rIns="0" bIns="0" rtlCol="0">
            <a:noAutofit/>
          </a:bodyPr>
          <a:lstStyle/>
          <a:p>
            <a:endParaRPr/>
          </a:p>
        </p:txBody>
      </p:sp>
      <p:sp>
        <p:nvSpPr>
          <p:cNvPr id="454" name="object 454"/>
          <p:cNvSpPr/>
          <p:nvPr/>
        </p:nvSpPr>
        <p:spPr>
          <a:xfrm>
            <a:off x="10135517" y="1241800"/>
            <a:ext cx="26488" cy="45862"/>
          </a:xfrm>
          <a:custGeom>
            <a:avLst/>
            <a:gdLst/>
            <a:ahLst/>
            <a:cxnLst/>
            <a:rect l="l" t="t" r="r" b="b"/>
            <a:pathLst>
              <a:path w="26488" h="45862">
                <a:moveTo>
                  <a:pt x="0" y="0"/>
                </a:moveTo>
                <a:lnTo>
                  <a:pt x="0" y="4252"/>
                </a:lnTo>
                <a:lnTo>
                  <a:pt x="4166" y="5163"/>
                </a:lnTo>
                <a:lnTo>
                  <a:pt x="8333" y="7289"/>
                </a:lnTo>
                <a:lnTo>
                  <a:pt x="12202" y="10934"/>
                </a:lnTo>
                <a:lnTo>
                  <a:pt x="15476" y="15793"/>
                </a:lnTo>
                <a:lnTo>
                  <a:pt x="18154" y="22475"/>
                </a:lnTo>
                <a:lnTo>
                  <a:pt x="20535" y="29461"/>
                </a:lnTo>
                <a:lnTo>
                  <a:pt x="21726" y="37358"/>
                </a:lnTo>
                <a:lnTo>
                  <a:pt x="22321" y="45862"/>
                </a:lnTo>
                <a:lnTo>
                  <a:pt x="26488" y="45862"/>
                </a:lnTo>
                <a:lnTo>
                  <a:pt x="25892" y="36750"/>
                </a:lnTo>
                <a:lnTo>
                  <a:pt x="24702" y="28246"/>
                </a:lnTo>
                <a:lnTo>
                  <a:pt x="22321" y="20653"/>
                </a:lnTo>
                <a:lnTo>
                  <a:pt x="19047" y="13971"/>
                </a:lnTo>
                <a:lnTo>
                  <a:pt x="15178" y="8504"/>
                </a:lnTo>
                <a:lnTo>
                  <a:pt x="10714" y="3644"/>
                </a:lnTo>
                <a:lnTo>
                  <a:pt x="5357" y="911"/>
                </a:lnTo>
                <a:lnTo>
                  <a:pt x="0" y="0"/>
                </a:lnTo>
                <a:close/>
              </a:path>
            </a:pathLst>
          </a:custGeom>
          <a:solidFill>
            <a:srgbClr val="FFFFFF"/>
          </a:solidFill>
        </p:spPr>
        <p:txBody>
          <a:bodyPr wrap="square" lIns="0" tIns="0" rIns="0" bIns="0" rtlCol="0">
            <a:noAutofit/>
          </a:bodyPr>
          <a:lstStyle/>
          <a:p>
            <a:endParaRPr/>
          </a:p>
        </p:txBody>
      </p:sp>
      <p:sp>
        <p:nvSpPr>
          <p:cNvPr id="455" name="object 455"/>
          <p:cNvSpPr/>
          <p:nvPr/>
        </p:nvSpPr>
        <p:spPr>
          <a:xfrm>
            <a:off x="10111410" y="1247572"/>
            <a:ext cx="44642" cy="79879"/>
          </a:xfrm>
          <a:custGeom>
            <a:avLst/>
            <a:gdLst/>
            <a:ahLst/>
            <a:cxnLst/>
            <a:rect l="l" t="t" r="r" b="b"/>
            <a:pathLst>
              <a:path w="44642" h="79879">
                <a:moveTo>
                  <a:pt x="22321" y="0"/>
                </a:moveTo>
                <a:lnTo>
                  <a:pt x="17857" y="911"/>
                </a:lnTo>
                <a:lnTo>
                  <a:pt x="13690" y="3037"/>
                </a:lnTo>
                <a:lnTo>
                  <a:pt x="9821" y="6985"/>
                </a:lnTo>
                <a:lnTo>
                  <a:pt x="6547" y="11845"/>
                </a:lnTo>
                <a:lnTo>
                  <a:pt x="3869" y="17616"/>
                </a:lnTo>
                <a:lnTo>
                  <a:pt x="1785" y="24601"/>
                </a:lnTo>
                <a:lnTo>
                  <a:pt x="595" y="31891"/>
                </a:lnTo>
                <a:lnTo>
                  <a:pt x="0" y="40091"/>
                </a:lnTo>
                <a:lnTo>
                  <a:pt x="595" y="47988"/>
                </a:lnTo>
                <a:lnTo>
                  <a:pt x="1785" y="55581"/>
                </a:lnTo>
                <a:lnTo>
                  <a:pt x="3869" y="62263"/>
                </a:lnTo>
                <a:lnTo>
                  <a:pt x="6547" y="68034"/>
                </a:lnTo>
                <a:lnTo>
                  <a:pt x="9821" y="73197"/>
                </a:lnTo>
                <a:lnTo>
                  <a:pt x="13690" y="76842"/>
                </a:lnTo>
                <a:lnTo>
                  <a:pt x="17857" y="78968"/>
                </a:lnTo>
                <a:lnTo>
                  <a:pt x="22321" y="79879"/>
                </a:lnTo>
                <a:lnTo>
                  <a:pt x="26785" y="78968"/>
                </a:lnTo>
                <a:lnTo>
                  <a:pt x="30952" y="76842"/>
                </a:lnTo>
                <a:lnTo>
                  <a:pt x="34821" y="73197"/>
                </a:lnTo>
                <a:lnTo>
                  <a:pt x="38095" y="68034"/>
                </a:lnTo>
                <a:lnTo>
                  <a:pt x="40773" y="62263"/>
                </a:lnTo>
                <a:lnTo>
                  <a:pt x="42857" y="55581"/>
                </a:lnTo>
                <a:lnTo>
                  <a:pt x="44047" y="47988"/>
                </a:lnTo>
                <a:lnTo>
                  <a:pt x="44642" y="40091"/>
                </a:lnTo>
                <a:lnTo>
                  <a:pt x="44047" y="31891"/>
                </a:lnTo>
                <a:lnTo>
                  <a:pt x="42857" y="24601"/>
                </a:lnTo>
                <a:lnTo>
                  <a:pt x="40773" y="17616"/>
                </a:lnTo>
                <a:lnTo>
                  <a:pt x="38095" y="11845"/>
                </a:lnTo>
                <a:lnTo>
                  <a:pt x="34821" y="6985"/>
                </a:lnTo>
                <a:lnTo>
                  <a:pt x="30952" y="3037"/>
                </a:lnTo>
                <a:lnTo>
                  <a:pt x="26785" y="911"/>
                </a:lnTo>
                <a:lnTo>
                  <a:pt x="22321" y="0"/>
                </a:lnTo>
                <a:close/>
              </a:path>
            </a:pathLst>
          </a:custGeom>
          <a:solidFill>
            <a:srgbClr val="999999"/>
          </a:solidFill>
        </p:spPr>
        <p:txBody>
          <a:bodyPr wrap="square" lIns="0" tIns="0" rIns="0" bIns="0" rtlCol="0">
            <a:noAutofit/>
          </a:bodyPr>
          <a:lstStyle/>
          <a:p>
            <a:endParaRPr/>
          </a:p>
        </p:txBody>
      </p:sp>
      <p:sp>
        <p:nvSpPr>
          <p:cNvPr id="456" name="object 456"/>
          <p:cNvSpPr/>
          <p:nvPr/>
        </p:nvSpPr>
        <p:spPr>
          <a:xfrm>
            <a:off x="10133731" y="1245446"/>
            <a:ext cx="24404" cy="42217"/>
          </a:xfrm>
          <a:custGeom>
            <a:avLst/>
            <a:gdLst/>
            <a:ahLst/>
            <a:cxnLst/>
            <a:rect l="l" t="t" r="r" b="b"/>
            <a:pathLst>
              <a:path w="24404" h="42217">
                <a:moveTo>
                  <a:pt x="0" y="0"/>
                </a:moveTo>
                <a:lnTo>
                  <a:pt x="0" y="4252"/>
                </a:lnTo>
                <a:lnTo>
                  <a:pt x="3869" y="5163"/>
                </a:lnTo>
                <a:lnTo>
                  <a:pt x="7440" y="6985"/>
                </a:lnTo>
                <a:lnTo>
                  <a:pt x="11011" y="10326"/>
                </a:lnTo>
                <a:lnTo>
                  <a:pt x="13988" y="14882"/>
                </a:lnTo>
                <a:lnTo>
                  <a:pt x="16368" y="20349"/>
                </a:lnTo>
                <a:lnTo>
                  <a:pt x="18452" y="27335"/>
                </a:lnTo>
                <a:lnTo>
                  <a:pt x="19642" y="34320"/>
                </a:lnTo>
                <a:lnTo>
                  <a:pt x="20238" y="42217"/>
                </a:lnTo>
                <a:lnTo>
                  <a:pt x="24404" y="42217"/>
                </a:lnTo>
                <a:lnTo>
                  <a:pt x="23809" y="33713"/>
                </a:lnTo>
                <a:lnTo>
                  <a:pt x="22618" y="26120"/>
                </a:lnTo>
                <a:lnTo>
                  <a:pt x="20535" y="19134"/>
                </a:lnTo>
                <a:lnTo>
                  <a:pt x="17559" y="13060"/>
                </a:lnTo>
                <a:lnTo>
                  <a:pt x="13988" y="7896"/>
                </a:lnTo>
                <a:lnTo>
                  <a:pt x="9821" y="3340"/>
                </a:lnTo>
                <a:lnTo>
                  <a:pt x="5059" y="911"/>
                </a:lnTo>
                <a:lnTo>
                  <a:pt x="0" y="0"/>
                </a:lnTo>
                <a:close/>
              </a:path>
            </a:pathLst>
          </a:custGeom>
          <a:solidFill>
            <a:srgbClr val="000000"/>
          </a:solidFill>
        </p:spPr>
        <p:txBody>
          <a:bodyPr wrap="square" lIns="0" tIns="0" rIns="0" bIns="0" rtlCol="0">
            <a:noAutofit/>
          </a:bodyPr>
          <a:lstStyle/>
          <a:p>
            <a:endParaRPr/>
          </a:p>
        </p:txBody>
      </p:sp>
      <p:sp>
        <p:nvSpPr>
          <p:cNvPr id="457" name="object 457"/>
          <p:cNvSpPr/>
          <p:nvPr/>
        </p:nvSpPr>
        <p:spPr>
          <a:xfrm>
            <a:off x="10133731" y="1287663"/>
            <a:ext cx="24404" cy="41914"/>
          </a:xfrm>
          <a:custGeom>
            <a:avLst/>
            <a:gdLst/>
            <a:ahLst/>
            <a:cxnLst/>
            <a:rect l="l" t="t" r="r" b="b"/>
            <a:pathLst>
              <a:path w="24404" h="41914">
                <a:moveTo>
                  <a:pt x="17559" y="28853"/>
                </a:moveTo>
                <a:lnTo>
                  <a:pt x="20535" y="23083"/>
                </a:lnTo>
                <a:lnTo>
                  <a:pt x="22618" y="16097"/>
                </a:lnTo>
                <a:lnTo>
                  <a:pt x="23809" y="8200"/>
                </a:lnTo>
                <a:lnTo>
                  <a:pt x="24404" y="0"/>
                </a:lnTo>
                <a:lnTo>
                  <a:pt x="20238" y="0"/>
                </a:lnTo>
                <a:lnTo>
                  <a:pt x="19642" y="7593"/>
                </a:lnTo>
                <a:lnTo>
                  <a:pt x="18452" y="14882"/>
                </a:lnTo>
                <a:lnTo>
                  <a:pt x="16368" y="21260"/>
                </a:lnTo>
                <a:lnTo>
                  <a:pt x="13988" y="27031"/>
                </a:lnTo>
                <a:lnTo>
                  <a:pt x="11011" y="31891"/>
                </a:lnTo>
                <a:lnTo>
                  <a:pt x="7440" y="34928"/>
                </a:lnTo>
                <a:lnTo>
                  <a:pt x="3869" y="36750"/>
                </a:lnTo>
                <a:lnTo>
                  <a:pt x="0" y="37661"/>
                </a:lnTo>
                <a:lnTo>
                  <a:pt x="0" y="41914"/>
                </a:lnTo>
                <a:lnTo>
                  <a:pt x="5059" y="41002"/>
                </a:lnTo>
                <a:lnTo>
                  <a:pt x="9821" y="38573"/>
                </a:lnTo>
                <a:lnTo>
                  <a:pt x="13988" y="34320"/>
                </a:lnTo>
                <a:lnTo>
                  <a:pt x="17559" y="28853"/>
                </a:lnTo>
                <a:close/>
              </a:path>
            </a:pathLst>
          </a:custGeom>
          <a:solidFill>
            <a:srgbClr val="000000"/>
          </a:solidFill>
        </p:spPr>
        <p:txBody>
          <a:bodyPr wrap="square" lIns="0" tIns="0" rIns="0" bIns="0" rtlCol="0">
            <a:noAutofit/>
          </a:bodyPr>
          <a:lstStyle/>
          <a:p>
            <a:endParaRPr/>
          </a:p>
        </p:txBody>
      </p:sp>
      <p:sp>
        <p:nvSpPr>
          <p:cNvPr id="458" name="object 458"/>
          <p:cNvSpPr/>
          <p:nvPr/>
        </p:nvSpPr>
        <p:spPr>
          <a:xfrm>
            <a:off x="10109326" y="1287663"/>
            <a:ext cx="24404" cy="41914"/>
          </a:xfrm>
          <a:custGeom>
            <a:avLst/>
            <a:gdLst/>
            <a:ahLst/>
            <a:cxnLst/>
            <a:rect l="l" t="t" r="r" b="b"/>
            <a:pathLst>
              <a:path w="24404" h="41914">
                <a:moveTo>
                  <a:pt x="595" y="8200"/>
                </a:moveTo>
                <a:lnTo>
                  <a:pt x="1785" y="16097"/>
                </a:lnTo>
                <a:lnTo>
                  <a:pt x="3869" y="23083"/>
                </a:lnTo>
                <a:lnTo>
                  <a:pt x="6845" y="28853"/>
                </a:lnTo>
                <a:lnTo>
                  <a:pt x="10416" y="34320"/>
                </a:lnTo>
                <a:lnTo>
                  <a:pt x="14583" y="38573"/>
                </a:lnTo>
                <a:lnTo>
                  <a:pt x="19345" y="41002"/>
                </a:lnTo>
                <a:lnTo>
                  <a:pt x="24404" y="41914"/>
                </a:lnTo>
                <a:lnTo>
                  <a:pt x="24404" y="37661"/>
                </a:lnTo>
                <a:lnTo>
                  <a:pt x="20535" y="36750"/>
                </a:lnTo>
                <a:lnTo>
                  <a:pt x="16964" y="34928"/>
                </a:lnTo>
                <a:lnTo>
                  <a:pt x="13392" y="31891"/>
                </a:lnTo>
                <a:lnTo>
                  <a:pt x="10416" y="27031"/>
                </a:lnTo>
                <a:lnTo>
                  <a:pt x="8035" y="21260"/>
                </a:lnTo>
                <a:lnTo>
                  <a:pt x="5952" y="14882"/>
                </a:lnTo>
                <a:lnTo>
                  <a:pt x="4761" y="7593"/>
                </a:lnTo>
                <a:lnTo>
                  <a:pt x="4166" y="0"/>
                </a:lnTo>
                <a:lnTo>
                  <a:pt x="0" y="0"/>
                </a:lnTo>
                <a:lnTo>
                  <a:pt x="595" y="8200"/>
                </a:lnTo>
                <a:close/>
              </a:path>
            </a:pathLst>
          </a:custGeom>
          <a:solidFill>
            <a:srgbClr val="000000"/>
          </a:solidFill>
        </p:spPr>
        <p:txBody>
          <a:bodyPr wrap="square" lIns="0" tIns="0" rIns="0" bIns="0" rtlCol="0">
            <a:noAutofit/>
          </a:bodyPr>
          <a:lstStyle/>
          <a:p>
            <a:endParaRPr/>
          </a:p>
        </p:txBody>
      </p:sp>
      <p:sp>
        <p:nvSpPr>
          <p:cNvPr id="459" name="object 459"/>
          <p:cNvSpPr/>
          <p:nvPr/>
        </p:nvSpPr>
        <p:spPr>
          <a:xfrm>
            <a:off x="10109326" y="1245446"/>
            <a:ext cx="24404" cy="42217"/>
          </a:xfrm>
          <a:custGeom>
            <a:avLst/>
            <a:gdLst/>
            <a:ahLst/>
            <a:cxnLst/>
            <a:rect l="l" t="t" r="r" b="b"/>
            <a:pathLst>
              <a:path w="24404" h="42217">
                <a:moveTo>
                  <a:pt x="4166" y="42217"/>
                </a:moveTo>
                <a:lnTo>
                  <a:pt x="4761" y="34320"/>
                </a:lnTo>
                <a:lnTo>
                  <a:pt x="5952" y="27335"/>
                </a:lnTo>
                <a:lnTo>
                  <a:pt x="8035" y="20349"/>
                </a:lnTo>
                <a:lnTo>
                  <a:pt x="10416" y="14882"/>
                </a:lnTo>
                <a:lnTo>
                  <a:pt x="13392" y="10326"/>
                </a:lnTo>
                <a:lnTo>
                  <a:pt x="16964" y="6985"/>
                </a:lnTo>
                <a:lnTo>
                  <a:pt x="20535" y="5163"/>
                </a:lnTo>
                <a:lnTo>
                  <a:pt x="24404" y="4252"/>
                </a:lnTo>
                <a:lnTo>
                  <a:pt x="24404" y="0"/>
                </a:lnTo>
                <a:lnTo>
                  <a:pt x="19345" y="911"/>
                </a:lnTo>
                <a:lnTo>
                  <a:pt x="14583" y="3340"/>
                </a:lnTo>
                <a:lnTo>
                  <a:pt x="10416" y="7896"/>
                </a:lnTo>
                <a:lnTo>
                  <a:pt x="6845" y="13060"/>
                </a:lnTo>
                <a:lnTo>
                  <a:pt x="3869" y="19134"/>
                </a:lnTo>
                <a:lnTo>
                  <a:pt x="1785" y="26120"/>
                </a:lnTo>
                <a:lnTo>
                  <a:pt x="595" y="33713"/>
                </a:lnTo>
                <a:lnTo>
                  <a:pt x="0" y="42217"/>
                </a:lnTo>
                <a:lnTo>
                  <a:pt x="4166" y="42217"/>
                </a:lnTo>
                <a:close/>
              </a:path>
            </a:pathLst>
          </a:custGeom>
          <a:solidFill>
            <a:srgbClr val="000000"/>
          </a:solidFill>
        </p:spPr>
        <p:txBody>
          <a:bodyPr wrap="square" lIns="0" tIns="0" rIns="0" bIns="0" rtlCol="0">
            <a:noAutofit/>
          </a:bodyPr>
          <a:lstStyle/>
          <a:p>
            <a:endParaRPr/>
          </a:p>
        </p:txBody>
      </p:sp>
      <p:sp>
        <p:nvSpPr>
          <p:cNvPr id="460" name="object 460"/>
          <p:cNvSpPr/>
          <p:nvPr/>
        </p:nvSpPr>
        <p:spPr>
          <a:xfrm>
            <a:off x="10111410" y="1254557"/>
            <a:ext cx="22618" cy="65908"/>
          </a:xfrm>
          <a:custGeom>
            <a:avLst/>
            <a:gdLst/>
            <a:ahLst/>
            <a:cxnLst/>
            <a:rect l="l" t="t" r="r" b="b"/>
            <a:pathLst>
              <a:path w="22618" h="65908">
                <a:moveTo>
                  <a:pt x="9523" y="65908"/>
                </a:moveTo>
                <a:lnTo>
                  <a:pt x="13095" y="62871"/>
                </a:lnTo>
                <a:lnTo>
                  <a:pt x="16071" y="59226"/>
                </a:lnTo>
                <a:lnTo>
                  <a:pt x="18452" y="54974"/>
                </a:lnTo>
                <a:lnTo>
                  <a:pt x="20238" y="50418"/>
                </a:lnTo>
                <a:lnTo>
                  <a:pt x="21428" y="45862"/>
                </a:lnTo>
                <a:lnTo>
                  <a:pt x="22321" y="40699"/>
                </a:lnTo>
                <a:lnTo>
                  <a:pt x="22618" y="35535"/>
                </a:lnTo>
                <a:lnTo>
                  <a:pt x="22618" y="30372"/>
                </a:lnTo>
                <a:lnTo>
                  <a:pt x="22321" y="25512"/>
                </a:lnTo>
                <a:lnTo>
                  <a:pt x="21428" y="20349"/>
                </a:lnTo>
                <a:lnTo>
                  <a:pt x="20238" y="15793"/>
                </a:lnTo>
                <a:lnTo>
                  <a:pt x="18749" y="11541"/>
                </a:lnTo>
                <a:lnTo>
                  <a:pt x="16964" y="7896"/>
                </a:lnTo>
                <a:lnTo>
                  <a:pt x="14880" y="4555"/>
                </a:lnTo>
                <a:lnTo>
                  <a:pt x="12499" y="1822"/>
                </a:lnTo>
                <a:lnTo>
                  <a:pt x="9821" y="0"/>
                </a:lnTo>
                <a:lnTo>
                  <a:pt x="7738" y="2733"/>
                </a:lnTo>
                <a:lnTo>
                  <a:pt x="5952" y="5770"/>
                </a:lnTo>
                <a:lnTo>
                  <a:pt x="4166" y="9111"/>
                </a:lnTo>
                <a:lnTo>
                  <a:pt x="2976" y="13060"/>
                </a:lnTo>
                <a:lnTo>
                  <a:pt x="1785" y="17008"/>
                </a:lnTo>
                <a:lnTo>
                  <a:pt x="892" y="21564"/>
                </a:lnTo>
                <a:lnTo>
                  <a:pt x="297" y="26120"/>
                </a:lnTo>
                <a:lnTo>
                  <a:pt x="0" y="30676"/>
                </a:lnTo>
                <a:lnTo>
                  <a:pt x="0" y="35535"/>
                </a:lnTo>
                <a:lnTo>
                  <a:pt x="595" y="40091"/>
                </a:lnTo>
                <a:lnTo>
                  <a:pt x="1190" y="44951"/>
                </a:lnTo>
                <a:lnTo>
                  <a:pt x="2083" y="49507"/>
                </a:lnTo>
                <a:lnTo>
                  <a:pt x="3571" y="54063"/>
                </a:lnTo>
                <a:lnTo>
                  <a:pt x="5059" y="58315"/>
                </a:lnTo>
                <a:lnTo>
                  <a:pt x="7142" y="62263"/>
                </a:lnTo>
                <a:lnTo>
                  <a:pt x="9523" y="65908"/>
                </a:lnTo>
                <a:close/>
              </a:path>
            </a:pathLst>
          </a:custGeom>
          <a:solidFill>
            <a:srgbClr val="000000"/>
          </a:solidFill>
        </p:spPr>
        <p:txBody>
          <a:bodyPr wrap="square" lIns="0" tIns="0" rIns="0" bIns="0" rtlCol="0">
            <a:noAutofit/>
          </a:bodyPr>
          <a:lstStyle/>
          <a:p>
            <a:endParaRPr/>
          </a:p>
        </p:txBody>
      </p:sp>
      <p:sp>
        <p:nvSpPr>
          <p:cNvPr id="461" name="object 461"/>
          <p:cNvSpPr/>
          <p:nvPr/>
        </p:nvSpPr>
        <p:spPr>
          <a:xfrm>
            <a:off x="10120041" y="1253545"/>
            <a:ext cx="15476" cy="68135"/>
          </a:xfrm>
          <a:custGeom>
            <a:avLst/>
            <a:gdLst/>
            <a:ahLst/>
            <a:cxnLst/>
            <a:rect l="l" t="t" r="r" b="b"/>
            <a:pathLst>
              <a:path w="15476" h="68135">
                <a:moveTo>
                  <a:pt x="0" y="65705"/>
                </a:moveTo>
                <a:lnTo>
                  <a:pt x="1785" y="68135"/>
                </a:lnTo>
                <a:lnTo>
                  <a:pt x="5654" y="65098"/>
                </a:lnTo>
                <a:lnTo>
                  <a:pt x="8630" y="61150"/>
                </a:lnTo>
                <a:lnTo>
                  <a:pt x="11011" y="56594"/>
                </a:lnTo>
                <a:lnTo>
                  <a:pt x="13095" y="52038"/>
                </a:lnTo>
                <a:lnTo>
                  <a:pt x="14285" y="47178"/>
                </a:lnTo>
                <a:lnTo>
                  <a:pt x="15178" y="42015"/>
                </a:lnTo>
                <a:lnTo>
                  <a:pt x="15476" y="36548"/>
                </a:lnTo>
                <a:lnTo>
                  <a:pt x="15476" y="31384"/>
                </a:lnTo>
                <a:lnTo>
                  <a:pt x="15178" y="26221"/>
                </a:lnTo>
                <a:lnTo>
                  <a:pt x="14285" y="21058"/>
                </a:lnTo>
                <a:lnTo>
                  <a:pt x="13095" y="16502"/>
                </a:lnTo>
                <a:lnTo>
                  <a:pt x="11607" y="11946"/>
                </a:lnTo>
                <a:lnTo>
                  <a:pt x="9523" y="8301"/>
                </a:lnTo>
                <a:lnTo>
                  <a:pt x="7440" y="4657"/>
                </a:lnTo>
                <a:lnTo>
                  <a:pt x="4761" y="1619"/>
                </a:lnTo>
                <a:lnTo>
                  <a:pt x="2380" y="1923"/>
                </a:lnTo>
                <a:lnTo>
                  <a:pt x="595" y="0"/>
                </a:lnTo>
                <a:lnTo>
                  <a:pt x="0" y="404"/>
                </a:lnTo>
                <a:lnTo>
                  <a:pt x="0" y="1619"/>
                </a:lnTo>
                <a:lnTo>
                  <a:pt x="595" y="2227"/>
                </a:lnTo>
                <a:lnTo>
                  <a:pt x="2976" y="4049"/>
                </a:lnTo>
                <a:lnTo>
                  <a:pt x="5059" y="6479"/>
                </a:lnTo>
                <a:lnTo>
                  <a:pt x="7142" y="9516"/>
                </a:lnTo>
                <a:lnTo>
                  <a:pt x="8630" y="13161"/>
                </a:lnTo>
                <a:lnTo>
                  <a:pt x="10119" y="17109"/>
                </a:lnTo>
                <a:lnTo>
                  <a:pt x="11309" y="21665"/>
                </a:lnTo>
                <a:lnTo>
                  <a:pt x="12202" y="26829"/>
                </a:lnTo>
                <a:lnTo>
                  <a:pt x="12499" y="31384"/>
                </a:lnTo>
                <a:lnTo>
                  <a:pt x="12499" y="36548"/>
                </a:lnTo>
                <a:lnTo>
                  <a:pt x="12202" y="41407"/>
                </a:lnTo>
                <a:lnTo>
                  <a:pt x="11309" y="46571"/>
                </a:lnTo>
                <a:lnTo>
                  <a:pt x="10119" y="50823"/>
                </a:lnTo>
                <a:lnTo>
                  <a:pt x="8630" y="55379"/>
                </a:lnTo>
                <a:lnTo>
                  <a:pt x="6249" y="59327"/>
                </a:lnTo>
                <a:lnTo>
                  <a:pt x="3273" y="62668"/>
                </a:lnTo>
                <a:lnTo>
                  <a:pt x="0" y="65705"/>
                </a:lnTo>
                <a:close/>
              </a:path>
            </a:pathLst>
          </a:custGeom>
          <a:solidFill>
            <a:srgbClr val="000000"/>
          </a:solidFill>
        </p:spPr>
        <p:txBody>
          <a:bodyPr wrap="square" lIns="0" tIns="0" rIns="0" bIns="0" rtlCol="0">
            <a:noAutofit/>
          </a:bodyPr>
          <a:lstStyle/>
          <a:p>
            <a:endParaRPr/>
          </a:p>
        </p:txBody>
      </p:sp>
      <p:sp>
        <p:nvSpPr>
          <p:cNvPr id="462" name="object 462"/>
          <p:cNvSpPr/>
          <p:nvPr/>
        </p:nvSpPr>
        <p:spPr>
          <a:xfrm>
            <a:off x="10120636" y="1253342"/>
            <a:ext cx="4166" cy="2126"/>
          </a:xfrm>
          <a:custGeom>
            <a:avLst/>
            <a:gdLst/>
            <a:ahLst/>
            <a:cxnLst/>
            <a:rect l="l" t="t" r="r" b="b"/>
            <a:pathLst>
              <a:path w="4166" h="2126">
                <a:moveTo>
                  <a:pt x="1190" y="0"/>
                </a:moveTo>
                <a:lnTo>
                  <a:pt x="297" y="0"/>
                </a:lnTo>
                <a:lnTo>
                  <a:pt x="0" y="202"/>
                </a:lnTo>
                <a:lnTo>
                  <a:pt x="1785" y="2126"/>
                </a:lnTo>
                <a:lnTo>
                  <a:pt x="4166" y="1822"/>
                </a:lnTo>
                <a:lnTo>
                  <a:pt x="1190" y="0"/>
                </a:lnTo>
                <a:close/>
              </a:path>
            </a:pathLst>
          </a:custGeom>
          <a:solidFill>
            <a:srgbClr val="000000"/>
          </a:solidFill>
        </p:spPr>
        <p:txBody>
          <a:bodyPr wrap="square" lIns="0" tIns="0" rIns="0" bIns="0" rtlCol="0">
            <a:noAutofit/>
          </a:bodyPr>
          <a:lstStyle/>
          <a:p>
            <a:endParaRPr/>
          </a:p>
        </p:txBody>
      </p:sp>
      <p:sp>
        <p:nvSpPr>
          <p:cNvPr id="463" name="object 463"/>
          <p:cNvSpPr/>
          <p:nvPr/>
        </p:nvSpPr>
        <p:spPr>
          <a:xfrm>
            <a:off x="10109923" y="1253646"/>
            <a:ext cx="12499" cy="68338"/>
          </a:xfrm>
          <a:custGeom>
            <a:avLst/>
            <a:gdLst/>
            <a:ahLst/>
            <a:cxnLst/>
            <a:rect l="l" t="t" r="r" b="b"/>
            <a:pathLst>
              <a:path w="12499" h="68338">
                <a:moveTo>
                  <a:pt x="9821" y="67730"/>
                </a:moveTo>
                <a:lnTo>
                  <a:pt x="11011" y="68338"/>
                </a:lnTo>
                <a:lnTo>
                  <a:pt x="11904" y="68034"/>
                </a:lnTo>
                <a:lnTo>
                  <a:pt x="10119" y="65604"/>
                </a:lnTo>
                <a:lnTo>
                  <a:pt x="9821" y="62263"/>
                </a:lnTo>
                <a:lnTo>
                  <a:pt x="8035" y="58619"/>
                </a:lnTo>
                <a:lnTo>
                  <a:pt x="6547" y="54366"/>
                </a:lnTo>
                <a:lnTo>
                  <a:pt x="5059" y="50114"/>
                </a:lnTo>
                <a:lnTo>
                  <a:pt x="4166" y="45558"/>
                </a:lnTo>
                <a:lnTo>
                  <a:pt x="3571" y="40699"/>
                </a:lnTo>
                <a:lnTo>
                  <a:pt x="2976" y="36447"/>
                </a:lnTo>
                <a:lnTo>
                  <a:pt x="2976" y="31587"/>
                </a:lnTo>
                <a:lnTo>
                  <a:pt x="3273" y="27031"/>
                </a:lnTo>
                <a:lnTo>
                  <a:pt x="3869" y="22779"/>
                </a:lnTo>
                <a:lnTo>
                  <a:pt x="4761" y="18223"/>
                </a:lnTo>
                <a:lnTo>
                  <a:pt x="5952" y="14275"/>
                </a:lnTo>
                <a:lnTo>
                  <a:pt x="7142" y="10630"/>
                </a:lnTo>
                <a:lnTo>
                  <a:pt x="8630" y="7289"/>
                </a:lnTo>
                <a:lnTo>
                  <a:pt x="10416" y="4555"/>
                </a:lnTo>
                <a:lnTo>
                  <a:pt x="12499" y="1822"/>
                </a:lnTo>
                <a:lnTo>
                  <a:pt x="10119" y="0"/>
                </a:lnTo>
                <a:lnTo>
                  <a:pt x="8035" y="2733"/>
                </a:lnTo>
                <a:lnTo>
                  <a:pt x="6249" y="6074"/>
                </a:lnTo>
                <a:lnTo>
                  <a:pt x="4166" y="9415"/>
                </a:lnTo>
                <a:lnTo>
                  <a:pt x="2976" y="13667"/>
                </a:lnTo>
                <a:lnTo>
                  <a:pt x="1785" y="17616"/>
                </a:lnTo>
                <a:lnTo>
                  <a:pt x="892" y="22171"/>
                </a:lnTo>
                <a:lnTo>
                  <a:pt x="297" y="27031"/>
                </a:lnTo>
                <a:lnTo>
                  <a:pt x="0" y="31587"/>
                </a:lnTo>
                <a:lnTo>
                  <a:pt x="0" y="36447"/>
                </a:lnTo>
                <a:lnTo>
                  <a:pt x="595" y="41306"/>
                </a:lnTo>
                <a:lnTo>
                  <a:pt x="1190" y="46166"/>
                </a:lnTo>
                <a:lnTo>
                  <a:pt x="2083" y="50722"/>
                </a:lnTo>
                <a:lnTo>
                  <a:pt x="3571" y="55581"/>
                </a:lnTo>
                <a:lnTo>
                  <a:pt x="5059" y="59833"/>
                </a:lnTo>
                <a:lnTo>
                  <a:pt x="7440" y="64086"/>
                </a:lnTo>
                <a:lnTo>
                  <a:pt x="9821" y="67730"/>
                </a:lnTo>
                <a:close/>
              </a:path>
            </a:pathLst>
          </a:custGeom>
          <a:solidFill>
            <a:srgbClr val="000000"/>
          </a:solidFill>
        </p:spPr>
        <p:txBody>
          <a:bodyPr wrap="square" lIns="0" tIns="0" rIns="0" bIns="0" rtlCol="0">
            <a:noAutofit/>
          </a:bodyPr>
          <a:lstStyle/>
          <a:p>
            <a:endParaRPr/>
          </a:p>
        </p:txBody>
      </p:sp>
      <p:sp>
        <p:nvSpPr>
          <p:cNvPr id="464" name="object 464"/>
          <p:cNvSpPr/>
          <p:nvPr/>
        </p:nvSpPr>
        <p:spPr>
          <a:xfrm>
            <a:off x="10119743" y="1315909"/>
            <a:ext cx="2678" cy="5770"/>
          </a:xfrm>
          <a:custGeom>
            <a:avLst/>
            <a:gdLst/>
            <a:ahLst/>
            <a:cxnLst/>
            <a:rect l="l" t="t" r="r" b="b"/>
            <a:pathLst>
              <a:path w="2678" h="5770">
                <a:moveTo>
                  <a:pt x="2380" y="3644"/>
                </a:moveTo>
                <a:lnTo>
                  <a:pt x="0" y="0"/>
                </a:lnTo>
                <a:lnTo>
                  <a:pt x="297" y="3340"/>
                </a:lnTo>
                <a:lnTo>
                  <a:pt x="2083" y="5770"/>
                </a:lnTo>
                <a:lnTo>
                  <a:pt x="2678" y="4859"/>
                </a:lnTo>
                <a:lnTo>
                  <a:pt x="2380" y="3644"/>
                </a:lnTo>
                <a:close/>
              </a:path>
            </a:pathLst>
          </a:custGeom>
          <a:solidFill>
            <a:srgbClr val="000000"/>
          </a:solidFill>
        </p:spPr>
        <p:txBody>
          <a:bodyPr wrap="square" lIns="0" tIns="0" rIns="0" bIns="0" rtlCol="0">
            <a:noAutofit/>
          </a:bodyPr>
          <a:lstStyle/>
          <a:p>
            <a:endParaRPr/>
          </a:p>
        </p:txBody>
      </p:sp>
      <p:sp>
        <p:nvSpPr>
          <p:cNvPr id="465" name="object 465"/>
          <p:cNvSpPr/>
          <p:nvPr/>
        </p:nvSpPr>
        <p:spPr>
          <a:xfrm>
            <a:off x="10112005" y="1277640"/>
            <a:ext cx="15178" cy="18830"/>
          </a:xfrm>
          <a:custGeom>
            <a:avLst/>
            <a:gdLst/>
            <a:ahLst/>
            <a:cxnLst/>
            <a:rect l="l" t="t" r="r" b="b"/>
            <a:pathLst>
              <a:path w="15178" h="18830">
                <a:moveTo>
                  <a:pt x="15178" y="0"/>
                </a:moveTo>
                <a:lnTo>
                  <a:pt x="595" y="0"/>
                </a:lnTo>
                <a:lnTo>
                  <a:pt x="297" y="2429"/>
                </a:lnTo>
                <a:lnTo>
                  <a:pt x="0" y="4859"/>
                </a:lnTo>
                <a:lnTo>
                  <a:pt x="0" y="14275"/>
                </a:lnTo>
                <a:lnTo>
                  <a:pt x="297" y="16401"/>
                </a:lnTo>
                <a:lnTo>
                  <a:pt x="595" y="18830"/>
                </a:lnTo>
                <a:lnTo>
                  <a:pt x="15178" y="18830"/>
                </a:lnTo>
                <a:lnTo>
                  <a:pt x="15178" y="0"/>
                </a:lnTo>
                <a:close/>
              </a:path>
            </a:pathLst>
          </a:custGeom>
          <a:solidFill>
            <a:srgbClr val="404040"/>
          </a:solidFill>
        </p:spPr>
        <p:txBody>
          <a:bodyPr wrap="square" lIns="0" tIns="0" rIns="0" bIns="0" rtlCol="0">
            <a:noAutofit/>
          </a:bodyPr>
          <a:lstStyle/>
          <a:p>
            <a:endParaRPr/>
          </a:p>
        </p:txBody>
      </p:sp>
      <p:sp>
        <p:nvSpPr>
          <p:cNvPr id="466" name="object 466"/>
          <p:cNvSpPr/>
          <p:nvPr/>
        </p:nvSpPr>
        <p:spPr>
          <a:xfrm>
            <a:off x="10111411" y="1276122"/>
            <a:ext cx="15773" cy="3037"/>
          </a:xfrm>
          <a:custGeom>
            <a:avLst/>
            <a:gdLst/>
            <a:ahLst/>
            <a:cxnLst/>
            <a:rect l="l" t="t" r="r" b="b"/>
            <a:pathLst>
              <a:path w="15773" h="3037">
                <a:moveTo>
                  <a:pt x="243" y="773"/>
                </a:moveTo>
                <a:lnTo>
                  <a:pt x="0" y="1518"/>
                </a:lnTo>
                <a:lnTo>
                  <a:pt x="297" y="2429"/>
                </a:lnTo>
                <a:lnTo>
                  <a:pt x="1190" y="3037"/>
                </a:lnTo>
                <a:lnTo>
                  <a:pt x="15773" y="3037"/>
                </a:lnTo>
                <a:lnTo>
                  <a:pt x="15773" y="0"/>
                </a:lnTo>
                <a:lnTo>
                  <a:pt x="2678" y="1822"/>
                </a:lnTo>
                <a:lnTo>
                  <a:pt x="1190" y="0"/>
                </a:lnTo>
                <a:lnTo>
                  <a:pt x="297" y="607"/>
                </a:lnTo>
                <a:lnTo>
                  <a:pt x="243" y="773"/>
                </a:lnTo>
                <a:close/>
              </a:path>
            </a:pathLst>
          </a:custGeom>
          <a:solidFill>
            <a:srgbClr val="000000"/>
          </a:solidFill>
        </p:spPr>
        <p:txBody>
          <a:bodyPr wrap="square" lIns="0" tIns="0" rIns="0" bIns="0" rtlCol="0">
            <a:noAutofit/>
          </a:bodyPr>
          <a:lstStyle/>
          <a:p>
            <a:endParaRPr/>
          </a:p>
        </p:txBody>
      </p:sp>
      <p:sp>
        <p:nvSpPr>
          <p:cNvPr id="467" name="object 467"/>
          <p:cNvSpPr/>
          <p:nvPr/>
        </p:nvSpPr>
        <p:spPr>
          <a:xfrm>
            <a:off x="10112601" y="1276121"/>
            <a:ext cx="14583" cy="1822"/>
          </a:xfrm>
          <a:custGeom>
            <a:avLst/>
            <a:gdLst/>
            <a:ahLst/>
            <a:cxnLst/>
            <a:rect l="l" t="t" r="r" b="b"/>
            <a:pathLst>
              <a:path w="14583" h="1822">
                <a:moveTo>
                  <a:pt x="0" y="0"/>
                </a:moveTo>
                <a:lnTo>
                  <a:pt x="1488" y="1822"/>
                </a:lnTo>
                <a:lnTo>
                  <a:pt x="14583" y="0"/>
                </a:lnTo>
                <a:lnTo>
                  <a:pt x="0" y="0"/>
                </a:lnTo>
                <a:close/>
              </a:path>
            </a:pathLst>
          </a:custGeom>
          <a:solidFill>
            <a:srgbClr val="000000"/>
          </a:solidFill>
        </p:spPr>
        <p:txBody>
          <a:bodyPr wrap="square" lIns="0" tIns="0" rIns="0" bIns="0" rtlCol="0">
            <a:noAutofit/>
          </a:bodyPr>
          <a:lstStyle/>
          <a:p>
            <a:endParaRPr/>
          </a:p>
        </p:txBody>
      </p:sp>
      <p:sp>
        <p:nvSpPr>
          <p:cNvPr id="468" name="object 468"/>
          <p:cNvSpPr/>
          <p:nvPr/>
        </p:nvSpPr>
        <p:spPr>
          <a:xfrm>
            <a:off x="10110518" y="1277337"/>
            <a:ext cx="3571" cy="20349"/>
          </a:xfrm>
          <a:custGeom>
            <a:avLst/>
            <a:gdLst/>
            <a:ahLst/>
            <a:cxnLst/>
            <a:rect l="l" t="t" r="r" b="b"/>
            <a:pathLst>
              <a:path w="3571" h="20349">
                <a:moveTo>
                  <a:pt x="297" y="17008"/>
                </a:moveTo>
                <a:lnTo>
                  <a:pt x="595" y="19438"/>
                </a:lnTo>
                <a:lnTo>
                  <a:pt x="1190" y="20349"/>
                </a:lnTo>
                <a:lnTo>
                  <a:pt x="2380" y="20349"/>
                </a:lnTo>
                <a:lnTo>
                  <a:pt x="3273" y="20045"/>
                </a:lnTo>
                <a:lnTo>
                  <a:pt x="3571" y="18830"/>
                </a:lnTo>
                <a:lnTo>
                  <a:pt x="3273" y="16401"/>
                </a:lnTo>
                <a:lnTo>
                  <a:pt x="2976" y="14578"/>
                </a:lnTo>
                <a:lnTo>
                  <a:pt x="2083" y="17616"/>
                </a:lnTo>
                <a:lnTo>
                  <a:pt x="2976" y="5163"/>
                </a:lnTo>
                <a:lnTo>
                  <a:pt x="3273" y="3037"/>
                </a:lnTo>
                <a:lnTo>
                  <a:pt x="3571" y="607"/>
                </a:lnTo>
                <a:lnTo>
                  <a:pt x="595" y="0"/>
                </a:lnTo>
                <a:lnTo>
                  <a:pt x="297" y="2429"/>
                </a:lnTo>
                <a:lnTo>
                  <a:pt x="0" y="5163"/>
                </a:lnTo>
                <a:lnTo>
                  <a:pt x="0" y="14578"/>
                </a:lnTo>
                <a:lnTo>
                  <a:pt x="297" y="17008"/>
                </a:lnTo>
                <a:close/>
              </a:path>
            </a:pathLst>
          </a:custGeom>
          <a:solidFill>
            <a:srgbClr val="000000"/>
          </a:solidFill>
        </p:spPr>
        <p:txBody>
          <a:bodyPr wrap="square" lIns="0" tIns="0" rIns="0" bIns="0" rtlCol="0">
            <a:noAutofit/>
          </a:bodyPr>
          <a:lstStyle/>
          <a:p>
            <a:endParaRPr/>
          </a:p>
        </p:txBody>
      </p:sp>
      <p:sp>
        <p:nvSpPr>
          <p:cNvPr id="469" name="object 469"/>
          <p:cNvSpPr/>
          <p:nvPr/>
        </p:nvSpPr>
        <p:spPr>
          <a:xfrm>
            <a:off x="10112600" y="1282499"/>
            <a:ext cx="892" cy="12452"/>
          </a:xfrm>
          <a:custGeom>
            <a:avLst/>
            <a:gdLst/>
            <a:ahLst/>
            <a:cxnLst/>
            <a:rect l="l" t="t" r="r" b="b"/>
            <a:pathLst>
              <a:path w="892" h="12452">
                <a:moveTo>
                  <a:pt x="892" y="0"/>
                </a:moveTo>
                <a:lnTo>
                  <a:pt x="0" y="12452"/>
                </a:lnTo>
                <a:lnTo>
                  <a:pt x="892" y="9415"/>
                </a:lnTo>
                <a:lnTo>
                  <a:pt x="892" y="0"/>
                </a:lnTo>
                <a:close/>
              </a:path>
            </a:pathLst>
          </a:custGeom>
          <a:solidFill>
            <a:srgbClr val="000000"/>
          </a:solidFill>
        </p:spPr>
        <p:txBody>
          <a:bodyPr wrap="square" lIns="0" tIns="0" rIns="0" bIns="0" rtlCol="0">
            <a:noAutofit/>
          </a:bodyPr>
          <a:lstStyle/>
          <a:p>
            <a:endParaRPr/>
          </a:p>
        </p:txBody>
      </p:sp>
      <p:sp>
        <p:nvSpPr>
          <p:cNvPr id="470" name="object 470"/>
          <p:cNvSpPr/>
          <p:nvPr/>
        </p:nvSpPr>
        <p:spPr>
          <a:xfrm>
            <a:off x="10112601" y="1294953"/>
            <a:ext cx="16071" cy="3037"/>
          </a:xfrm>
          <a:custGeom>
            <a:avLst/>
            <a:gdLst/>
            <a:ahLst/>
            <a:cxnLst/>
            <a:rect l="l" t="t" r="r" b="b"/>
            <a:pathLst>
              <a:path w="16071" h="3037">
                <a:moveTo>
                  <a:pt x="15476" y="2429"/>
                </a:moveTo>
                <a:lnTo>
                  <a:pt x="16071" y="1518"/>
                </a:lnTo>
                <a:lnTo>
                  <a:pt x="15476" y="607"/>
                </a:lnTo>
                <a:lnTo>
                  <a:pt x="14583" y="0"/>
                </a:lnTo>
                <a:lnTo>
                  <a:pt x="0" y="0"/>
                </a:lnTo>
                <a:lnTo>
                  <a:pt x="0" y="3037"/>
                </a:lnTo>
                <a:lnTo>
                  <a:pt x="14583" y="3037"/>
                </a:lnTo>
                <a:lnTo>
                  <a:pt x="13095" y="1518"/>
                </a:lnTo>
                <a:lnTo>
                  <a:pt x="14583" y="3037"/>
                </a:lnTo>
                <a:lnTo>
                  <a:pt x="15476" y="2429"/>
                </a:lnTo>
                <a:close/>
              </a:path>
            </a:pathLst>
          </a:custGeom>
          <a:solidFill>
            <a:srgbClr val="000000"/>
          </a:solidFill>
        </p:spPr>
        <p:txBody>
          <a:bodyPr wrap="square" lIns="0" tIns="0" rIns="0" bIns="0" rtlCol="0">
            <a:noAutofit/>
          </a:bodyPr>
          <a:lstStyle/>
          <a:p>
            <a:endParaRPr/>
          </a:p>
        </p:txBody>
      </p:sp>
      <p:sp>
        <p:nvSpPr>
          <p:cNvPr id="471" name="object 471"/>
          <p:cNvSpPr/>
          <p:nvPr/>
        </p:nvSpPr>
        <p:spPr>
          <a:xfrm>
            <a:off x="10126291" y="1276122"/>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472" name="object 472"/>
          <p:cNvSpPr/>
          <p:nvPr/>
        </p:nvSpPr>
        <p:spPr>
          <a:xfrm>
            <a:off x="10125695" y="1276122"/>
            <a:ext cx="2976" cy="20349"/>
          </a:xfrm>
          <a:custGeom>
            <a:avLst/>
            <a:gdLst/>
            <a:ahLst/>
            <a:cxnLst/>
            <a:rect l="l" t="t" r="r" b="b"/>
            <a:pathLst>
              <a:path w="2976" h="20349">
                <a:moveTo>
                  <a:pt x="595" y="607"/>
                </a:moveTo>
                <a:lnTo>
                  <a:pt x="0" y="1518"/>
                </a:lnTo>
                <a:lnTo>
                  <a:pt x="0" y="20349"/>
                </a:lnTo>
                <a:lnTo>
                  <a:pt x="2976" y="20349"/>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473" name="object 473"/>
          <p:cNvSpPr/>
          <p:nvPr/>
        </p:nvSpPr>
        <p:spPr>
          <a:xfrm>
            <a:off x="10122124" y="1277640"/>
            <a:ext cx="10714" cy="19134"/>
          </a:xfrm>
          <a:custGeom>
            <a:avLst/>
            <a:gdLst/>
            <a:ahLst/>
            <a:cxnLst/>
            <a:rect l="l" t="t" r="r" b="b"/>
            <a:pathLst>
              <a:path w="10714" h="19134">
                <a:moveTo>
                  <a:pt x="5357" y="0"/>
                </a:moveTo>
                <a:lnTo>
                  <a:pt x="4166" y="303"/>
                </a:lnTo>
                <a:lnTo>
                  <a:pt x="3273" y="607"/>
                </a:lnTo>
                <a:lnTo>
                  <a:pt x="2380" y="1518"/>
                </a:lnTo>
                <a:lnTo>
                  <a:pt x="1488" y="2733"/>
                </a:lnTo>
                <a:lnTo>
                  <a:pt x="892" y="4252"/>
                </a:lnTo>
                <a:lnTo>
                  <a:pt x="297" y="5770"/>
                </a:lnTo>
                <a:lnTo>
                  <a:pt x="0" y="7593"/>
                </a:lnTo>
                <a:lnTo>
                  <a:pt x="0" y="11237"/>
                </a:lnTo>
                <a:lnTo>
                  <a:pt x="297" y="13060"/>
                </a:lnTo>
                <a:lnTo>
                  <a:pt x="892" y="14882"/>
                </a:lnTo>
                <a:lnTo>
                  <a:pt x="1488" y="16097"/>
                </a:lnTo>
                <a:lnTo>
                  <a:pt x="2380" y="17312"/>
                </a:lnTo>
                <a:lnTo>
                  <a:pt x="3273" y="18223"/>
                </a:lnTo>
                <a:lnTo>
                  <a:pt x="4166" y="18830"/>
                </a:lnTo>
                <a:lnTo>
                  <a:pt x="5357" y="19134"/>
                </a:lnTo>
                <a:lnTo>
                  <a:pt x="6547" y="18830"/>
                </a:lnTo>
                <a:lnTo>
                  <a:pt x="7440" y="18223"/>
                </a:lnTo>
                <a:lnTo>
                  <a:pt x="8333" y="17312"/>
                </a:lnTo>
                <a:lnTo>
                  <a:pt x="9226" y="16097"/>
                </a:lnTo>
                <a:lnTo>
                  <a:pt x="9821" y="14882"/>
                </a:lnTo>
                <a:lnTo>
                  <a:pt x="10416" y="13060"/>
                </a:lnTo>
                <a:lnTo>
                  <a:pt x="10714" y="11237"/>
                </a:lnTo>
                <a:lnTo>
                  <a:pt x="10714" y="7593"/>
                </a:lnTo>
                <a:lnTo>
                  <a:pt x="10416" y="5770"/>
                </a:lnTo>
                <a:lnTo>
                  <a:pt x="9821" y="4252"/>
                </a:lnTo>
                <a:lnTo>
                  <a:pt x="9226" y="2733"/>
                </a:lnTo>
                <a:lnTo>
                  <a:pt x="8333" y="1518"/>
                </a:lnTo>
                <a:lnTo>
                  <a:pt x="7440" y="607"/>
                </a:lnTo>
                <a:lnTo>
                  <a:pt x="6547" y="303"/>
                </a:lnTo>
                <a:lnTo>
                  <a:pt x="5357" y="0"/>
                </a:lnTo>
                <a:close/>
              </a:path>
            </a:pathLst>
          </a:custGeom>
          <a:solidFill>
            <a:srgbClr val="000000"/>
          </a:solidFill>
        </p:spPr>
        <p:txBody>
          <a:bodyPr wrap="square" lIns="0" tIns="0" rIns="0" bIns="0" rtlCol="0">
            <a:noAutofit/>
          </a:bodyPr>
          <a:lstStyle/>
          <a:p>
            <a:endParaRPr/>
          </a:p>
        </p:txBody>
      </p:sp>
      <p:sp>
        <p:nvSpPr>
          <p:cNvPr id="474" name="object 474"/>
          <p:cNvSpPr/>
          <p:nvPr/>
        </p:nvSpPr>
        <p:spPr>
          <a:xfrm>
            <a:off x="10127481" y="1275515"/>
            <a:ext cx="7440" cy="11541"/>
          </a:xfrm>
          <a:custGeom>
            <a:avLst/>
            <a:gdLst/>
            <a:ahLst/>
            <a:cxnLst/>
            <a:rect l="l" t="t" r="r" b="b"/>
            <a:pathLst>
              <a:path w="7440" h="11541">
                <a:moveTo>
                  <a:pt x="595" y="4555"/>
                </a:moveTo>
                <a:lnTo>
                  <a:pt x="892" y="4555"/>
                </a:lnTo>
                <a:lnTo>
                  <a:pt x="1488" y="5163"/>
                </a:lnTo>
                <a:lnTo>
                  <a:pt x="2083" y="5770"/>
                </a:lnTo>
                <a:lnTo>
                  <a:pt x="2380" y="7289"/>
                </a:lnTo>
                <a:lnTo>
                  <a:pt x="2976" y="8504"/>
                </a:lnTo>
                <a:lnTo>
                  <a:pt x="3273" y="10022"/>
                </a:lnTo>
                <a:lnTo>
                  <a:pt x="3273" y="11541"/>
                </a:lnTo>
                <a:lnTo>
                  <a:pt x="7440" y="11541"/>
                </a:lnTo>
                <a:lnTo>
                  <a:pt x="7440" y="9415"/>
                </a:lnTo>
                <a:lnTo>
                  <a:pt x="7142" y="7289"/>
                </a:lnTo>
                <a:lnTo>
                  <a:pt x="6547" y="5467"/>
                </a:lnTo>
                <a:lnTo>
                  <a:pt x="5654" y="3948"/>
                </a:lnTo>
                <a:lnTo>
                  <a:pt x="4464" y="2126"/>
                </a:lnTo>
                <a:lnTo>
                  <a:pt x="3273" y="911"/>
                </a:lnTo>
                <a:lnTo>
                  <a:pt x="1785" y="303"/>
                </a:lnTo>
                <a:lnTo>
                  <a:pt x="0" y="0"/>
                </a:lnTo>
                <a:lnTo>
                  <a:pt x="0" y="4252"/>
                </a:lnTo>
                <a:lnTo>
                  <a:pt x="595" y="4555"/>
                </a:lnTo>
                <a:close/>
              </a:path>
            </a:pathLst>
          </a:custGeom>
          <a:solidFill>
            <a:srgbClr val="000000"/>
          </a:solidFill>
        </p:spPr>
        <p:txBody>
          <a:bodyPr wrap="square" lIns="0" tIns="0" rIns="0" bIns="0" rtlCol="0">
            <a:noAutofit/>
          </a:bodyPr>
          <a:lstStyle/>
          <a:p>
            <a:endParaRPr/>
          </a:p>
        </p:txBody>
      </p:sp>
      <p:sp>
        <p:nvSpPr>
          <p:cNvPr id="475" name="object 475"/>
          <p:cNvSpPr/>
          <p:nvPr/>
        </p:nvSpPr>
        <p:spPr>
          <a:xfrm>
            <a:off x="10127481" y="1287056"/>
            <a:ext cx="7440" cy="11845"/>
          </a:xfrm>
          <a:custGeom>
            <a:avLst/>
            <a:gdLst/>
            <a:ahLst/>
            <a:cxnLst/>
            <a:rect l="l" t="t" r="r" b="b"/>
            <a:pathLst>
              <a:path w="7440" h="11845">
                <a:moveTo>
                  <a:pt x="2976" y="3037"/>
                </a:moveTo>
                <a:lnTo>
                  <a:pt x="2380" y="4555"/>
                </a:lnTo>
                <a:lnTo>
                  <a:pt x="2083" y="5467"/>
                </a:lnTo>
                <a:lnTo>
                  <a:pt x="1488" y="6378"/>
                </a:lnTo>
                <a:lnTo>
                  <a:pt x="892" y="7289"/>
                </a:lnTo>
                <a:lnTo>
                  <a:pt x="297" y="7593"/>
                </a:lnTo>
                <a:lnTo>
                  <a:pt x="0" y="7593"/>
                </a:lnTo>
                <a:lnTo>
                  <a:pt x="0" y="11845"/>
                </a:lnTo>
                <a:lnTo>
                  <a:pt x="2083" y="11237"/>
                </a:lnTo>
                <a:lnTo>
                  <a:pt x="3273" y="10326"/>
                </a:lnTo>
                <a:lnTo>
                  <a:pt x="4464" y="9415"/>
                </a:lnTo>
                <a:lnTo>
                  <a:pt x="5654" y="7896"/>
                </a:lnTo>
                <a:lnTo>
                  <a:pt x="6547" y="6378"/>
                </a:lnTo>
                <a:lnTo>
                  <a:pt x="7142" y="4252"/>
                </a:lnTo>
                <a:lnTo>
                  <a:pt x="7440" y="2126"/>
                </a:lnTo>
                <a:lnTo>
                  <a:pt x="7440" y="0"/>
                </a:lnTo>
                <a:lnTo>
                  <a:pt x="3273" y="0"/>
                </a:lnTo>
                <a:lnTo>
                  <a:pt x="3273" y="1518"/>
                </a:lnTo>
                <a:lnTo>
                  <a:pt x="2976" y="3037"/>
                </a:lnTo>
                <a:close/>
              </a:path>
            </a:pathLst>
          </a:custGeom>
          <a:solidFill>
            <a:srgbClr val="000000"/>
          </a:solidFill>
        </p:spPr>
        <p:txBody>
          <a:bodyPr wrap="square" lIns="0" tIns="0" rIns="0" bIns="0" rtlCol="0">
            <a:noAutofit/>
          </a:bodyPr>
          <a:lstStyle/>
          <a:p>
            <a:endParaRPr/>
          </a:p>
        </p:txBody>
      </p:sp>
      <p:sp>
        <p:nvSpPr>
          <p:cNvPr id="476" name="object 476"/>
          <p:cNvSpPr/>
          <p:nvPr/>
        </p:nvSpPr>
        <p:spPr>
          <a:xfrm>
            <a:off x="10120041" y="1287056"/>
            <a:ext cx="7440" cy="11845"/>
          </a:xfrm>
          <a:custGeom>
            <a:avLst/>
            <a:gdLst/>
            <a:ahLst/>
            <a:cxnLst/>
            <a:rect l="l" t="t" r="r" b="b"/>
            <a:pathLst>
              <a:path w="7440" h="11845">
                <a:moveTo>
                  <a:pt x="7440" y="11845"/>
                </a:moveTo>
                <a:lnTo>
                  <a:pt x="7440" y="7593"/>
                </a:lnTo>
                <a:lnTo>
                  <a:pt x="7142" y="7593"/>
                </a:lnTo>
                <a:lnTo>
                  <a:pt x="6547" y="7289"/>
                </a:lnTo>
                <a:lnTo>
                  <a:pt x="5952" y="6378"/>
                </a:lnTo>
                <a:lnTo>
                  <a:pt x="5357" y="5467"/>
                </a:lnTo>
                <a:lnTo>
                  <a:pt x="5059" y="4555"/>
                </a:lnTo>
                <a:lnTo>
                  <a:pt x="4464" y="3037"/>
                </a:lnTo>
                <a:lnTo>
                  <a:pt x="4166" y="1518"/>
                </a:lnTo>
                <a:lnTo>
                  <a:pt x="4166" y="0"/>
                </a:lnTo>
                <a:lnTo>
                  <a:pt x="0" y="0"/>
                </a:lnTo>
                <a:lnTo>
                  <a:pt x="0" y="2126"/>
                </a:lnTo>
                <a:lnTo>
                  <a:pt x="297" y="4252"/>
                </a:lnTo>
                <a:lnTo>
                  <a:pt x="892" y="6378"/>
                </a:lnTo>
                <a:lnTo>
                  <a:pt x="1785" y="7896"/>
                </a:lnTo>
                <a:lnTo>
                  <a:pt x="2976" y="9415"/>
                </a:lnTo>
                <a:lnTo>
                  <a:pt x="4166" y="10326"/>
                </a:lnTo>
                <a:lnTo>
                  <a:pt x="5357" y="11237"/>
                </a:lnTo>
                <a:lnTo>
                  <a:pt x="7440" y="11845"/>
                </a:lnTo>
                <a:close/>
              </a:path>
            </a:pathLst>
          </a:custGeom>
          <a:solidFill>
            <a:srgbClr val="000000"/>
          </a:solidFill>
        </p:spPr>
        <p:txBody>
          <a:bodyPr wrap="square" lIns="0" tIns="0" rIns="0" bIns="0" rtlCol="0">
            <a:noAutofit/>
          </a:bodyPr>
          <a:lstStyle/>
          <a:p>
            <a:endParaRPr/>
          </a:p>
        </p:txBody>
      </p:sp>
      <p:sp>
        <p:nvSpPr>
          <p:cNvPr id="477" name="object 477"/>
          <p:cNvSpPr/>
          <p:nvPr/>
        </p:nvSpPr>
        <p:spPr>
          <a:xfrm>
            <a:off x="10120041" y="1275515"/>
            <a:ext cx="7440" cy="11541"/>
          </a:xfrm>
          <a:custGeom>
            <a:avLst/>
            <a:gdLst/>
            <a:ahLst/>
            <a:cxnLst/>
            <a:rect l="l" t="t" r="r" b="b"/>
            <a:pathLst>
              <a:path w="7440" h="11541">
                <a:moveTo>
                  <a:pt x="4166" y="911"/>
                </a:moveTo>
                <a:lnTo>
                  <a:pt x="2976" y="2126"/>
                </a:lnTo>
                <a:lnTo>
                  <a:pt x="1785" y="3948"/>
                </a:lnTo>
                <a:lnTo>
                  <a:pt x="892" y="5467"/>
                </a:lnTo>
                <a:lnTo>
                  <a:pt x="297" y="7289"/>
                </a:lnTo>
                <a:lnTo>
                  <a:pt x="0" y="9415"/>
                </a:lnTo>
                <a:lnTo>
                  <a:pt x="0" y="11541"/>
                </a:lnTo>
                <a:lnTo>
                  <a:pt x="4166" y="11541"/>
                </a:lnTo>
                <a:lnTo>
                  <a:pt x="4166" y="10022"/>
                </a:lnTo>
                <a:lnTo>
                  <a:pt x="4464" y="8504"/>
                </a:lnTo>
                <a:lnTo>
                  <a:pt x="5059" y="7289"/>
                </a:lnTo>
                <a:lnTo>
                  <a:pt x="5357" y="5770"/>
                </a:lnTo>
                <a:lnTo>
                  <a:pt x="5952" y="5163"/>
                </a:lnTo>
                <a:lnTo>
                  <a:pt x="6547" y="4555"/>
                </a:lnTo>
                <a:lnTo>
                  <a:pt x="6845" y="4555"/>
                </a:lnTo>
                <a:lnTo>
                  <a:pt x="7440" y="4252"/>
                </a:lnTo>
                <a:lnTo>
                  <a:pt x="7440" y="0"/>
                </a:lnTo>
                <a:lnTo>
                  <a:pt x="5654" y="303"/>
                </a:lnTo>
                <a:lnTo>
                  <a:pt x="4166" y="911"/>
                </a:lnTo>
                <a:close/>
              </a:path>
            </a:pathLst>
          </a:custGeom>
          <a:solidFill>
            <a:srgbClr val="000000"/>
          </a:solidFill>
        </p:spPr>
        <p:txBody>
          <a:bodyPr wrap="square" lIns="0" tIns="0" rIns="0" bIns="0" rtlCol="0">
            <a:noAutofit/>
          </a:bodyPr>
          <a:lstStyle/>
          <a:p>
            <a:endParaRPr/>
          </a:p>
        </p:txBody>
      </p:sp>
      <p:sp>
        <p:nvSpPr>
          <p:cNvPr id="478" name="object 478"/>
          <p:cNvSpPr/>
          <p:nvPr/>
        </p:nvSpPr>
        <p:spPr>
          <a:xfrm>
            <a:off x="10122423" y="1278552"/>
            <a:ext cx="9821" cy="6681"/>
          </a:xfrm>
          <a:custGeom>
            <a:avLst/>
            <a:gdLst/>
            <a:ahLst/>
            <a:cxnLst/>
            <a:rect l="l" t="t" r="r" b="b"/>
            <a:pathLst>
              <a:path w="9821" h="6681">
                <a:moveTo>
                  <a:pt x="5059" y="1214"/>
                </a:moveTo>
                <a:lnTo>
                  <a:pt x="6249" y="1518"/>
                </a:lnTo>
                <a:lnTo>
                  <a:pt x="7738" y="2733"/>
                </a:lnTo>
                <a:lnTo>
                  <a:pt x="8928" y="4555"/>
                </a:lnTo>
                <a:lnTo>
                  <a:pt x="9821" y="6681"/>
                </a:lnTo>
                <a:lnTo>
                  <a:pt x="8928" y="3340"/>
                </a:lnTo>
                <a:lnTo>
                  <a:pt x="7440" y="1214"/>
                </a:lnTo>
                <a:lnTo>
                  <a:pt x="6249" y="303"/>
                </a:lnTo>
                <a:lnTo>
                  <a:pt x="4761" y="0"/>
                </a:lnTo>
                <a:lnTo>
                  <a:pt x="3273" y="607"/>
                </a:lnTo>
                <a:lnTo>
                  <a:pt x="2083" y="1822"/>
                </a:lnTo>
                <a:lnTo>
                  <a:pt x="892" y="3948"/>
                </a:lnTo>
                <a:lnTo>
                  <a:pt x="0" y="6681"/>
                </a:lnTo>
                <a:lnTo>
                  <a:pt x="1190" y="4252"/>
                </a:lnTo>
                <a:lnTo>
                  <a:pt x="2380" y="2429"/>
                </a:lnTo>
                <a:lnTo>
                  <a:pt x="3571" y="1518"/>
                </a:lnTo>
                <a:lnTo>
                  <a:pt x="5059" y="1214"/>
                </a:lnTo>
                <a:close/>
              </a:path>
            </a:pathLst>
          </a:custGeom>
          <a:solidFill>
            <a:srgbClr val="FFFFFF"/>
          </a:solidFill>
        </p:spPr>
        <p:txBody>
          <a:bodyPr wrap="square" lIns="0" tIns="0" rIns="0" bIns="0" rtlCol="0">
            <a:noAutofit/>
          </a:bodyPr>
          <a:lstStyle/>
          <a:p>
            <a:endParaRPr/>
          </a:p>
        </p:txBody>
      </p:sp>
      <p:sp>
        <p:nvSpPr>
          <p:cNvPr id="479" name="object 479"/>
          <p:cNvSpPr/>
          <p:nvPr/>
        </p:nvSpPr>
        <p:spPr>
          <a:xfrm>
            <a:off x="10120338" y="1276425"/>
            <a:ext cx="13988" cy="10934"/>
          </a:xfrm>
          <a:custGeom>
            <a:avLst/>
            <a:gdLst/>
            <a:ahLst/>
            <a:cxnLst/>
            <a:rect l="l" t="t" r="r" b="b"/>
            <a:pathLst>
              <a:path w="13988" h="10934">
                <a:moveTo>
                  <a:pt x="6547" y="0"/>
                </a:moveTo>
                <a:lnTo>
                  <a:pt x="4166" y="911"/>
                </a:lnTo>
                <a:lnTo>
                  <a:pt x="2380" y="2733"/>
                </a:lnTo>
                <a:lnTo>
                  <a:pt x="1190" y="5163"/>
                </a:lnTo>
                <a:lnTo>
                  <a:pt x="0" y="8200"/>
                </a:lnTo>
                <a:lnTo>
                  <a:pt x="4166" y="9415"/>
                </a:lnTo>
                <a:lnTo>
                  <a:pt x="4761" y="6985"/>
                </a:lnTo>
                <a:lnTo>
                  <a:pt x="5952" y="5163"/>
                </a:lnTo>
                <a:lnTo>
                  <a:pt x="6547" y="4555"/>
                </a:lnTo>
                <a:lnTo>
                  <a:pt x="7142" y="4252"/>
                </a:lnTo>
                <a:lnTo>
                  <a:pt x="7440" y="4252"/>
                </a:lnTo>
                <a:lnTo>
                  <a:pt x="8035" y="4859"/>
                </a:lnTo>
                <a:lnTo>
                  <a:pt x="9226" y="6378"/>
                </a:lnTo>
                <a:lnTo>
                  <a:pt x="9821" y="9415"/>
                </a:lnTo>
                <a:lnTo>
                  <a:pt x="10714" y="10630"/>
                </a:lnTo>
                <a:lnTo>
                  <a:pt x="12499" y="10934"/>
                </a:lnTo>
                <a:lnTo>
                  <a:pt x="13690" y="10022"/>
                </a:lnTo>
                <a:lnTo>
                  <a:pt x="13988" y="8200"/>
                </a:lnTo>
                <a:lnTo>
                  <a:pt x="12797" y="4555"/>
                </a:lnTo>
                <a:lnTo>
                  <a:pt x="11011" y="1822"/>
                </a:lnTo>
                <a:lnTo>
                  <a:pt x="9226" y="607"/>
                </a:lnTo>
                <a:lnTo>
                  <a:pt x="6547" y="0"/>
                </a:lnTo>
                <a:close/>
              </a:path>
            </a:pathLst>
          </a:custGeom>
          <a:solidFill>
            <a:srgbClr val="FFFFFF"/>
          </a:solidFill>
        </p:spPr>
        <p:txBody>
          <a:bodyPr wrap="square" lIns="0" tIns="0" rIns="0" bIns="0" rtlCol="0">
            <a:noAutofit/>
          </a:bodyPr>
          <a:lstStyle/>
          <a:p>
            <a:endParaRPr/>
          </a:p>
        </p:txBody>
      </p:sp>
      <p:sp>
        <p:nvSpPr>
          <p:cNvPr id="480" name="object 480"/>
          <p:cNvSpPr/>
          <p:nvPr/>
        </p:nvSpPr>
        <p:spPr>
          <a:xfrm>
            <a:off x="10120338" y="1277641"/>
            <a:ext cx="13988" cy="9719"/>
          </a:xfrm>
          <a:custGeom>
            <a:avLst/>
            <a:gdLst/>
            <a:ahLst/>
            <a:cxnLst/>
            <a:rect l="l" t="t" r="r" b="b"/>
            <a:pathLst>
              <a:path w="13988" h="9719">
                <a:moveTo>
                  <a:pt x="2976" y="1822"/>
                </a:moveTo>
                <a:lnTo>
                  <a:pt x="1488" y="4252"/>
                </a:lnTo>
                <a:lnTo>
                  <a:pt x="0" y="6985"/>
                </a:lnTo>
                <a:lnTo>
                  <a:pt x="297" y="8808"/>
                </a:lnTo>
                <a:lnTo>
                  <a:pt x="1785" y="9719"/>
                </a:lnTo>
                <a:lnTo>
                  <a:pt x="3273" y="9415"/>
                </a:lnTo>
                <a:lnTo>
                  <a:pt x="4166" y="8200"/>
                </a:lnTo>
                <a:lnTo>
                  <a:pt x="5059" y="6074"/>
                </a:lnTo>
                <a:lnTo>
                  <a:pt x="5952" y="4859"/>
                </a:lnTo>
                <a:lnTo>
                  <a:pt x="6547" y="4252"/>
                </a:lnTo>
                <a:lnTo>
                  <a:pt x="7440" y="4252"/>
                </a:lnTo>
                <a:lnTo>
                  <a:pt x="8333" y="5163"/>
                </a:lnTo>
                <a:lnTo>
                  <a:pt x="9226" y="6378"/>
                </a:lnTo>
                <a:lnTo>
                  <a:pt x="9821" y="8200"/>
                </a:lnTo>
                <a:lnTo>
                  <a:pt x="13988" y="6985"/>
                </a:lnTo>
                <a:lnTo>
                  <a:pt x="12797" y="4555"/>
                </a:lnTo>
                <a:lnTo>
                  <a:pt x="11309" y="2126"/>
                </a:lnTo>
                <a:lnTo>
                  <a:pt x="9226" y="607"/>
                </a:lnTo>
                <a:lnTo>
                  <a:pt x="7142" y="0"/>
                </a:lnTo>
                <a:lnTo>
                  <a:pt x="4761" y="607"/>
                </a:lnTo>
                <a:lnTo>
                  <a:pt x="2976" y="1822"/>
                </a:lnTo>
                <a:close/>
              </a:path>
            </a:pathLst>
          </a:custGeom>
          <a:solidFill>
            <a:srgbClr val="FFFFFF"/>
          </a:solidFill>
        </p:spPr>
        <p:txBody>
          <a:bodyPr wrap="square" lIns="0" tIns="0" rIns="0" bIns="0" rtlCol="0">
            <a:noAutofit/>
          </a:bodyPr>
          <a:lstStyle/>
          <a:p>
            <a:endParaRPr/>
          </a:p>
        </p:txBody>
      </p:sp>
      <p:sp>
        <p:nvSpPr>
          <p:cNvPr id="481" name="object 481"/>
          <p:cNvSpPr/>
          <p:nvPr/>
        </p:nvSpPr>
        <p:spPr>
          <a:xfrm>
            <a:off x="8714094" y="385598"/>
            <a:ext cx="1568447" cy="880804"/>
          </a:xfrm>
          <a:custGeom>
            <a:avLst/>
            <a:gdLst/>
            <a:ahLst/>
            <a:cxnLst/>
            <a:rect l="l" t="t" r="r" b="b"/>
            <a:pathLst>
              <a:path w="1568447" h="880804">
                <a:moveTo>
                  <a:pt x="869640" y="757795"/>
                </a:moveTo>
                <a:lnTo>
                  <a:pt x="869640" y="837675"/>
                </a:lnTo>
                <a:lnTo>
                  <a:pt x="914878" y="880804"/>
                </a:lnTo>
                <a:lnTo>
                  <a:pt x="1372317" y="850127"/>
                </a:lnTo>
                <a:lnTo>
                  <a:pt x="1404460" y="820666"/>
                </a:lnTo>
                <a:lnTo>
                  <a:pt x="1568447" y="814288"/>
                </a:lnTo>
                <a:lnTo>
                  <a:pt x="1568447" y="362040"/>
                </a:lnTo>
                <a:lnTo>
                  <a:pt x="1568150" y="356573"/>
                </a:lnTo>
                <a:lnTo>
                  <a:pt x="512796" y="3644"/>
                </a:lnTo>
                <a:lnTo>
                  <a:pt x="500891" y="1214"/>
                </a:lnTo>
                <a:lnTo>
                  <a:pt x="497022" y="607"/>
                </a:lnTo>
                <a:lnTo>
                  <a:pt x="493153" y="303"/>
                </a:lnTo>
                <a:lnTo>
                  <a:pt x="489581" y="0"/>
                </a:lnTo>
                <a:lnTo>
                  <a:pt x="481843" y="0"/>
                </a:lnTo>
                <a:lnTo>
                  <a:pt x="477974" y="303"/>
                </a:lnTo>
                <a:lnTo>
                  <a:pt x="474105" y="303"/>
                </a:lnTo>
                <a:lnTo>
                  <a:pt x="470236" y="911"/>
                </a:lnTo>
                <a:lnTo>
                  <a:pt x="466367" y="1214"/>
                </a:lnTo>
                <a:lnTo>
                  <a:pt x="462498" y="1822"/>
                </a:lnTo>
                <a:lnTo>
                  <a:pt x="458331" y="2429"/>
                </a:lnTo>
                <a:lnTo>
                  <a:pt x="454165" y="3037"/>
                </a:lnTo>
                <a:lnTo>
                  <a:pt x="449998" y="3644"/>
                </a:lnTo>
                <a:lnTo>
                  <a:pt x="40178" y="75323"/>
                </a:lnTo>
                <a:lnTo>
                  <a:pt x="35416" y="76538"/>
                </a:lnTo>
                <a:lnTo>
                  <a:pt x="31249" y="78361"/>
                </a:lnTo>
                <a:lnTo>
                  <a:pt x="27083" y="80183"/>
                </a:lnTo>
                <a:lnTo>
                  <a:pt x="8035" y="99621"/>
                </a:lnTo>
                <a:lnTo>
                  <a:pt x="595" y="124831"/>
                </a:lnTo>
                <a:lnTo>
                  <a:pt x="0" y="136980"/>
                </a:lnTo>
                <a:lnTo>
                  <a:pt x="0" y="757491"/>
                </a:lnTo>
                <a:lnTo>
                  <a:pt x="869640" y="757795"/>
                </a:lnTo>
                <a:close/>
              </a:path>
            </a:pathLst>
          </a:custGeom>
          <a:solidFill>
            <a:srgbClr val="FFFFFF"/>
          </a:solidFill>
        </p:spPr>
        <p:txBody>
          <a:bodyPr wrap="square" lIns="0" tIns="0" rIns="0" bIns="0" rtlCol="0">
            <a:noAutofit/>
          </a:bodyPr>
          <a:lstStyle/>
          <a:p>
            <a:endParaRPr/>
          </a:p>
        </p:txBody>
      </p:sp>
      <p:sp>
        <p:nvSpPr>
          <p:cNvPr id="482" name="object 482"/>
          <p:cNvSpPr/>
          <p:nvPr/>
        </p:nvSpPr>
        <p:spPr>
          <a:xfrm>
            <a:off x="8712604" y="459403"/>
            <a:ext cx="43154" cy="63174"/>
          </a:xfrm>
          <a:custGeom>
            <a:avLst/>
            <a:gdLst/>
            <a:ahLst/>
            <a:cxnLst/>
            <a:rect l="l" t="t" r="r" b="b"/>
            <a:pathLst>
              <a:path w="43154" h="63174">
                <a:moveTo>
                  <a:pt x="4166" y="34320"/>
                </a:moveTo>
                <a:lnTo>
                  <a:pt x="2678" y="39484"/>
                </a:lnTo>
                <a:lnTo>
                  <a:pt x="1488" y="44951"/>
                </a:lnTo>
                <a:lnTo>
                  <a:pt x="595" y="50722"/>
                </a:lnTo>
                <a:lnTo>
                  <a:pt x="297" y="56796"/>
                </a:lnTo>
                <a:lnTo>
                  <a:pt x="0" y="63174"/>
                </a:lnTo>
                <a:lnTo>
                  <a:pt x="2976" y="63174"/>
                </a:lnTo>
                <a:lnTo>
                  <a:pt x="3273" y="56796"/>
                </a:lnTo>
                <a:lnTo>
                  <a:pt x="3571" y="51329"/>
                </a:lnTo>
                <a:lnTo>
                  <a:pt x="4464" y="45558"/>
                </a:lnTo>
                <a:lnTo>
                  <a:pt x="5654" y="40091"/>
                </a:lnTo>
                <a:lnTo>
                  <a:pt x="7142" y="35535"/>
                </a:lnTo>
                <a:lnTo>
                  <a:pt x="8928" y="30676"/>
                </a:lnTo>
                <a:lnTo>
                  <a:pt x="10714" y="26424"/>
                </a:lnTo>
                <a:lnTo>
                  <a:pt x="13392" y="22475"/>
                </a:lnTo>
                <a:lnTo>
                  <a:pt x="16071" y="18830"/>
                </a:lnTo>
                <a:lnTo>
                  <a:pt x="19047" y="15793"/>
                </a:lnTo>
                <a:lnTo>
                  <a:pt x="22023" y="12756"/>
                </a:lnTo>
                <a:lnTo>
                  <a:pt x="25595" y="10022"/>
                </a:lnTo>
                <a:lnTo>
                  <a:pt x="29166" y="7593"/>
                </a:lnTo>
                <a:lnTo>
                  <a:pt x="33333" y="6074"/>
                </a:lnTo>
                <a:lnTo>
                  <a:pt x="37499" y="4252"/>
                </a:lnTo>
                <a:lnTo>
                  <a:pt x="41964" y="3037"/>
                </a:lnTo>
                <a:lnTo>
                  <a:pt x="42857" y="2429"/>
                </a:lnTo>
                <a:lnTo>
                  <a:pt x="43154" y="1214"/>
                </a:lnTo>
                <a:lnTo>
                  <a:pt x="42559" y="303"/>
                </a:lnTo>
                <a:lnTo>
                  <a:pt x="41368" y="0"/>
                </a:lnTo>
                <a:lnTo>
                  <a:pt x="36309" y="1214"/>
                </a:lnTo>
                <a:lnTo>
                  <a:pt x="32142" y="3037"/>
                </a:lnTo>
                <a:lnTo>
                  <a:pt x="27976" y="5163"/>
                </a:lnTo>
                <a:lnTo>
                  <a:pt x="23809" y="7593"/>
                </a:lnTo>
                <a:lnTo>
                  <a:pt x="20238" y="10326"/>
                </a:lnTo>
                <a:lnTo>
                  <a:pt x="16666" y="13363"/>
                </a:lnTo>
                <a:lnTo>
                  <a:pt x="13690" y="17008"/>
                </a:lnTo>
                <a:lnTo>
                  <a:pt x="11011" y="20653"/>
                </a:lnTo>
                <a:lnTo>
                  <a:pt x="8333" y="25209"/>
                </a:lnTo>
                <a:lnTo>
                  <a:pt x="5952" y="29461"/>
                </a:lnTo>
                <a:lnTo>
                  <a:pt x="4166" y="34320"/>
                </a:lnTo>
                <a:close/>
              </a:path>
            </a:pathLst>
          </a:custGeom>
          <a:solidFill>
            <a:srgbClr val="000000"/>
          </a:solidFill>
        </p:spPr>
        <p:txBody>
          <a:bodyPr wrap="square" lIns="0" tIns="0" rIns="0" bIns="0" rtlCol="0">
            <a:noAutofit/>
          </a:bodyPr>
          <a:lstStyle/>
          <a:p>
            <a:endParaRPr/>
          </a:p>
        </p:txBody>
      </p:sp>
      <p:sp>
        <p:nvSpPr>
          <p:cNvPr id="483" name="object 483"/>
          <p:cNvSpPr/>
          <p:nvPr/>
        </p:nvSpPr>
        <p:spPr>
          <a:xfrm>
            <a:off x="8753974" y="387724"/>
            <a:ext cx="411605" cy="74716"/>
          </a:xfrm>
          <a:custGeom>
            <a:avLst/>
            <a:gdLst/>
            <a:ahLst/>
            <a:cxnLst/>
            <a:rect l="l" t="t" r="r" b="b"/>
            <a:pathLst>
              <a:path w="411605" h="74716">
                <a:moveTo>
                  <a:pt x="409820" y="0"/>
                </a:moveTo>
                <a:lnTo>
                  <a:pt x="0" y="71679"/>
                </a:lnTo>
                <a:lnTo>
                  <a:pt x="595" y="74716"/>
                </a:lnTo>
                <a:lnTo>
                  <a:pt x="410415" y="3037"/>
                </a:lnTo>
                <a:lnTo>
                  <a:pt x="411308" y="2429"/>
                </a:lnTo>
                <a:lnTo>
                  <a:pt x="411605" y="1214"/>
                </a:lnTo>
                <a:lnTo>
                  <a:pt x="411010" y="303"/>
                </a:lnTo>
                <a:lnTo>
                  <a:pt x="409820" y="0"/>
                </a:lnTo>
                <a:close/>
              </a:path>
            </a:pathLst>
          </a:custGeom>
          <a:solidFill>
            <a:srgbClr val="000000"/>
          </a:solidFill>
        </p:spPr>
        <p:txBody>
          <a:bodyPr wrap="square" lIns="0" tIns="0" rIns="0" bIns="0" rtlCol="0">
            <a:noAutofit/>
          </a:bodyPr>
          <a:lstStyle/>
          <a:p>
            <a:endParaRPr/>
          </a:p>
        </p:txBody>
      </p:sp>
      <p:sp>
        <p:nvSpPr>
          <p:cNvPr id="484" name="object 484"/>
          <p:cNvSpPr/>
          <p:nvPr/>
        </p:nvSpPr>
        <p:spPr>
          <a:xfrm>
            <a:off x="9163795" y="384080"/>
            <a:ext cx="64583" cy="6681"/>
          </a:xfrm>
          <a:custGeom>
            <a:avLst/>
            <a:gdLst/>
            <a:ahLst/>
            <a:cxnLst/>
            <a:rect l="l" t="t" r="r" b="b"/>
            <a:pathLst>
              <a:path w="64583" h="6681">
                <a:moveTo>
                  <a:pt x="20833" y="3948"/>
                </a:moveTo>
                <a:lnTo>
                  <a:pt x="24404" y="3340"/>
                </a:lnTo>
                <a:lnTo>
                  <a:pt x="28273" y="3340"/>
                </a:lnTo>
                <a:lnTo>
                  <a:pt x="32142" y="3037"/>
                </a:lnTo>
                <a:lnTo>
                  <a:pt x="39880" y="3037"/>
                </a:lnTo>
                <a:lnTo>
                  <a:pt x="43452" y="3340"/>
                </a:lnTo>
                <a:lnTo>
                  <a:pt x="47023" y="3644"/>
                </a:lnTo>
                <a:lnTo>
                  <a:pt x="50892" y="4252"/>
                </a:lnTo>
                <a:lnTo>
                  <a:pt x="54761" y="4859"/>
                </a:lnTo>
                <a:lnTo>
                  <a:pt x="58928" y="5770"/>
                </a:lnTo>
                <a:lnTo>
                  <a:pt x="62797" y="6681"/>
                </a:lnTo>
                <a:lnTo>
                  <a:pt x="63987" y="6378"/>
                </a:lnTo>
                <a:lnTo>
                  <a:pt x="64583" y="5467"/>
                </a:lnTo>
                <a:lnTo>
                  <a:pt x="64285" y="4252"/>
                </a:lnTo>
                <a:lnTo>
                  <a:pt x="63392" y="3644"/>
                </a:lnTo>
                <a:lnTo>
                  <a:pt x="59523" y="2733"/>
                </a:lnTo>
                <a:lnTo>
                  <a:pt x="55356" y="1822"/>
                </a:lnTo>
                <a:lnTo>
                  <a:pt x="51487" y="1214"/>
                </a:lnTo>
                <a:lnTo>
                  <a:pt x="47618" y="607"/>
                </a:lnTo>
                <a:lnTo>
                  <a:pt x="43452" y="303"/>
                </a:lnTo>
                <a:lnTo>
                  <a:pt x="39880" y="0"/>
                </a:lnTo>
                <a:lnTo>
                  <a:pt x="32142" y="0"/>
                </a:lnTo>
                <a:lnTo>
                  <a:pt x="28273" y="303"/>
                </a:lnTo>
                <a:lnTo>
                  <a:pt x="24404" y="303"/>
                </a:lnTo>
                <a:lnTo>
                  <a:pt x="20238" y="911"/>
                </a:lnTo>
                <a:lnTo>
                  <a:pt x="16368" y="1214"/>
                </a:lnTo>
                <a:lnTo>
                  <a:pt x="12499" y="1822"/>
                </a:lnTo>
                <a:lnTo>
                  <a:pt x="8333" y="2429"/>
                </a:lnTo>
                <a:lnTo>
                  <a:pt x="4166" y="3037"/>
                </a:lnTo>
                <a:lnTo>
                  <a:pt x="0" y="3644"/>
                </a:lnTo>
                <a:lnTo>
                  <a:pt x="595" y="6681"/>
                </a:lnTo>
                <a:lnTo>
                  <a:pt x="4761" y="6074"/>
                </a:lnTo>
                <a:lnTo>
                  <a:pt x="8928" y="5467"/>
                </a:lnTo>
                <a:lnTo>
                  <a:pt x="13095" y="4859"/>
                </a:lnTo>
                <a:lnTo>
                  <a:pt x="16964" y="4252"/>
                </a:lnTo>
                <a:lnTo>
                  <a:pt x="20833" y="3948"/>
                </a:lnTo>
                <a:close/>
              </a:path>
            </a:pathLst>
          </a:custGeom>
          <a:solidFill>
            <a:srgbClr val="000000"/>
          </a:solidFill>
        </p:spPr>
        <p:txBody>
          <a:bodyPr wrap="square" lIns="0" tIns="0" rIns="0" bIns="0" rtlCol="0">
            <a:noAutofit/>
          </a:bodyPr>
          <a:lstStyle/>
          <a:p>
            <a:endParaRPr/>
          </a:p>
        </p:txBody>
      </p:sp>
      <p:sp>
        <p:nvSpPr>
          <p:cNvPr id="485" name="object 485"/>
          <p:cNvSpPr/>
          <p:nvPr/>
        </p:nvSpPr>
        <p:spPr>
          <a:xfrm>
            <a:off x="9226591" y="387725"/>
            <a:ext cx="1042258" cy="336527"/>
          </a:xfrm>
          <a:custGeom>
            <a:avLst/>
            <a:gdLst/>
            <a:ahLst/>
            <a:cxnLst/>
            <a:rect l="l" t="t" r="r" b="b"/>
            <a:pathLst>
              <a:path w="1042258" h="336527">
                <a:moveTo>
                  <a:pt x="1042258" y="335313"/>
                </a:moveTo>
                <a:lnTo>
                  <a:pt x="1041961" y="334098"/>
                </a:lnTo>
                <a:lnTo>
                  <a:pt x="1041068" y="333490"/>
                </a:lnTo>
                <a:lnTo>
                  <a:pt x="595" y="0"/>
                </a:lnTo>
                <a:lnTo>
                  <a:pt x="0" y="3037"/>
                </a:lnTo>
                <a:lnTo>
                  <a:pt x="1040473" y="336527"/>
                </a:lnTo>
                <a:lnTo>
                  <a:pt x="1041663" y="336224"/>
                </a:lnTo>
                <a:lnTo>
                  <a:pt x="1042258" y="335313"/>
                </a:lnTo>
                <a:close/>
              </a:path>
            </a:pathLst>
          </a:custGeom>
          <a:solidFill>
            <a:srgbClr val="000000"/>
          </a:solidFill>
        </p:spPr>
        <p:txBody>
          <a:bodyPr wrap="square" lIns="0" tIns="0" rIns="0" bIns="0" rtlCol="0">
            <a:noAutofit/>
          </a:bodyPr>
          <a:lstStyle/>
          <a:p>
            <a:endParaRPr/>
          </a:p>
        </p:txBody>
      </p:sp>
      <p:sp>
        <p:nvSpPr>
          <p:cNvPr id="486" name="object 486"/>
          <p:cNvSpPr/>
          <p:nvPr/>
        </p:nvSpPr>
        <p:spPr>
          <a:xfrm>
            <a:off x="10266767" y="721216"/>
            <a:ext cx="17261" cy="33409"/>
          </a:xfrm>
          <a:custGeom>
            <a:avLst/>
            <a:gdLst/>
            <a:ahLst/>
            <a:cxnLst/>
            <a:rect l="l" t="t" r="r" b="b"/>
            <a:pathLst>
              <a:path w="17261" h="33409">
                <a:moveTo>
                  <a:pt x="1190" y="0"/>
                </a:moveTo>
                <a:lnTo>
                  <a:pt x="0" y="3037"/>
                </a:lnTo>
                <a:lnTo>
                  <a:pt x="4464" y="4859"/>
                </a:lnTo>
                <a:lnTo>
                  <a:pt x="7738" y="7289"/>
                </a:lnTo>
                <a:lnTo>
                  <a:pt x="10119" y="10022"/>
                </a:lnTo>
                <a:lnTo>
                  <a:pt x="11904" y="13060"/>
                </a:lnTo>
                <a:lnTo>
                  <a:pt x="13095" y="16704"/>
                </a:lnTo>
                <a:lnTo>
                  <a:pt x="13988" y="21260"/>
                </a:lnTo>
                <a:lnTo>
                  <a:pt x="14285" y="26424"/>
                </a:lnTo>
                <a:lnTo>
                  <a:pt x="14285" y="32194"/>
                </a:lnTo>
                <a:lnTo>
                  <a:pt x="14880" y="33106"/>
                </a:lnTo>
                <a:lnTo>
                  <a:pt x="15773" y="33409"/>
                </a:lnTo>
                <a:lnTo>
                  <a:pt x="16666" y="33106"/>
                </a:lnTo>
                <a:lnTo>
                  <a:pt x="17261" y="32194"/>
                </a:lnTo>
                <a:lnTo>
                  <a:pt x="17261" y="26424"/>
                </a:lnTo>
                <a:lnTo>
                  <a:pt x="16964" y="20653"/>
                </a:lnTo>
                <a:lnTo>
                  <a:pt x="16071" y="16097"/>
                </a:lnTo>
                <a:lnTo>
                  <a:pt x="14880" y="11845"/>
                </a:lnTo>
                <a:lnTo>
                  <a:pt x="12499" y="8200"/>
                </a:lnTo>
                <a:lnTo>
                  <a:pt x="9523" y="4859"/>
                </a:lnTo>
                <a:lnTo>
                  <a:pt x="5654" y="2429"/>
                </a:lnTo>
                <a:lnTo>
                  <a:pt x="1190" y="0"/>
                </a:lnTo>
                <a:close/>
              </a:path>
            </a:pathLst>
          </a:custGeom>
          <a:solidFill>
            <a:srgbClr val="000000"/>
          </a:solidFill>
        </p:spPr>
        <p:txBody>
          <a:bodyPr wrap="square" lIns="0" tIns="0" rIns="0" bIns="0" rtlCol="0">
            <a:noAutofit/>
          </a:bodyPr>
          <a:lstStyle/>
          <a:p>
            <a:endParaRPr/>
          </a:p>
        </p:txBody>
      </p:sp>
      <p:sp>
        <p:nvSpPr>
          <p:cNvPr id="487" name="object 487"/>
          <p:cNvSpPr/>
          <p:nvPr/>
        </p:nvSpPr>
        <p:spPr>
          <a:xfrm>
            <a:off x="10281052" y="1198368"/>
            <a:ext cx="1934" cy="2733"/>
          </a:xfrm>
          <a:custGeom>
            <a:avLst/>
            <a:gdLst/>
            <a:ahLst/>
            <a:cxnLst/>
            <a:rect l="l" t="t" r="r" b="b"/>
            <a:pathLst>
              <a:path w="1934" h="2733">
                <a:moveTo>
                  <a:pt x="1488" y="0"/>
                </a:moveTo>
                <a:lnTo>
                  <a:pt x="0" y="1518"/>
                </a:lnTo>
                <a:lnTo>
                  <a:pt x="595" y="2429"/>
                </a:lnTo>
                <a:lnTo>
                  <a:pt x="1488" y="2733"/>
                </a:lnTo>
                <a:lnTo>
                  <a:pt x="1934" y="2581"/>
                </a:lnTo>
                <a:lnTo>
                  <a:pt x="1488" y="0"/>
                </a:lnTo>
                <a:close/>
              </a:path>
            </a:pathLst>
          </a:custGeom>
          <a:solidFill>
            <a:srgbClr val="000000"/>
          </a:solidFill>
        </p:spPr>
        <p:txBody>
          <a:bodyPr wrap="square" lIns="0" tIns="0" rIns="0" bIns="0" rtlCol="0">
            <a:noAutofit/>
          </a:bodyPr>
          <a:lstStyle/>
          <a:p>
            <a:endParaRPr/>
          </a:p>
        </p:txBody>
      </p:sp>
      <p:sp>
        <p:nvSpPr>
          <p:cNvPr id="488" name="object 488"/>
          <p:cNvSpPr/>
          <p:nvPr/>
        </p:nvSpPr>
        <p:spPr>
          <a:xfrm>
            <a:off x="10117362" y="1198368"/>
            <a:ext cx="165178" cy="9415"/>
          </a:xfrm>
          <a:custGeom>
            <a:avLst/>
            <a:gdLst/>
            <a:ahLst/>
            <a:cxnLst/>
            <a:rect l="l" t="t" r="r" b="b"/>
            <a:pathLst>
              <a:path w="165178" h="9415">
                <a:moveTo>
                  <a:pt x="0" y="7896"/>
                </a:moveTo>
                <a:lnTo>
                  <a:pt x="297" y="8808"/>
                </a:lnTo>
                <a:lnTo>
                  <a:pt x="1190" y="9415"/>
                </a:lnTo>
                <a:lnTo>
                  <a:pt x="2083" y="9111"/>
                </a:lnTo>
                <a:lnTo>
                  <a:pt x="165178" y="3037"/>
                </a:lnTo>
                <a:lnTo>
                  <a:pt x="165178" y="0"/>
                </a:lnTo>
                <a:lnTo>
                  <a:pt x="1190" y="6378"/>
                </a:lnTo>
                <a:lnTo>
                  <a:pt x="297" y="6985"/>
                </a:lnTo>
                <a:lnTo>
                  <a:pt x="0" y="7896"/>
                </a:lnTo>
                <a:close/>
              </a:path>
            </a:pathLst>
          </a:custGeom>
          <a:solidFill>
            <a:srgbClr val="000000"/>
          </a:solidFill>
        </p:spPr>
        <p:txBody>
          <a:bodyPr wrap="square" lIns="0" tIns="0" rIns="0" bIns="0" rtlCol="0">
            <a:noAutofit/>
          </a:bodyPr>
          <a:lstStyle/>
          <a:p>
            <a:endParaRPr/>
          </a:p>
        </p:txBody>
      </p:sp>
      <p:sp>
        <p:nvSpPr>
          <p:cNvPr id="489" name="object 489"/>
          <p:cNvSpPr/>
          <p:nvPr/>
        </p:nvSpPr>
        <p:spPr>
          <a:xfrm>
            <a:off x="10118554" y="1201405"/>
            <a:ext cx="163987" cy="6378"/>
          </a:xfrm>
          <a:custGeom>
            <a:avLst/>
            <a:gdLst/>
            <a:ahLst/>
            <a:cxnLst/>
            <a:rect l="l" t="t" r="r" b="b"/>
            <a:pathLst>
              <a:path w="163987" h="6378">
                <a:moveTo>
                  <a:pt x="163987" y="0"/>
                </a:moveTo>
                <a:lnTo>
                  <a:pt x="892" y="6074"/>
                </a:lnTo>
                <a:lnTo>
                  <a:pt x="0" y="6378"/>
                </a:lnTo>
                <a:lnTo>
                  <a:pt x="163987" y="0"/>
                </a:lnTo>
                <a:close/>
              </a:path>
            </a:pathLst>
          </a:custGeom>
          <a:solidFill>
            <a:srgbClr val="000000"/>
          </a:solidFill>
        </p:spPr>
        <p:txBody>
          <a:bodyPr wrap="square" lIns="0" tIns="0" rIns="0" bIns="0" rtlCol="0">
            <a:noAutofit/>
          </a:bodyPr>
          <a:lstStyle/>
          <a:p>
            <a:endParaRPr/>
          </a:p>
        </p:txBody>
      </p:sp>
      <p:sp>
        <p:nvSpPr>
          <p:cNvPr id="490" name="object 490"/>
          <p:cNvSpPr/>
          <p:nvPr/>
        </p:nvSpPr>
        <p:spPr>
          <a:xfrm>
            <a:off x="10084923" y="1205049"/>
            <a:ext cx="34523" cy="32194"/>
          </a:xfrm>
          <a:custGeom>
            <a:avLst/>
            <a:gdLst/>
            <a:ahLst/>
            <a:cxnLst/>
            <a:rect l="l" t="t" r="r" b="b"/>
            <a:pathLst>
              <a:path w="34523" h="32194">
                <a:moveTo>
                  <a:pt x="0" y="30372"/>
                </a:moveTo>
                <a:lnTo>
                  <a:pt x="297" y="31587"/>
                </a:lnTo>
                <a:lnTo>
                  <a:pt x="1190" y="32194"/>
                </a:lnTo>
                <a:lnTo>
                  <a:pt x="2380" y="31891"/>
                </a:lnTo>
                <a:lnTo>
                  <a:pt x="34523" y="2429"/>
                </a:lnTo>
                <a:lnTo>
                  <a:pt x="32737" y="0"/>
                </a:lnTo>
                <a:lnTo>
                  <a:pt x="1488" y="29157"/>
                </a:lnTo>
                <a:lnTo>
                  <a:pt x="595" y="29461"/>
                </a:lnTo>
                <a:lnTo>
                  <a:pt x="0" y="30372"/>
                </a:lnTo>
                <a:close/>
              </a:path>
              <a:path w="34523" h="32194">
                <a:moveTo>
                  <a:pt x="1488" y="29157"/>
                </a:moveTo>
                <a:lnTo>
                  <a:pt x="32737" y="0"/>
                </a:lnTo>
                <a:lnTo>
                  <a:pt x="595" y="29461"/>
                </a:lnTo>
                <a:lnTo>
                  <a:pt x="1488" y="29157"/>
                </a:lnTo>
                <a:close/>
              </a:path>
            </a:pathLst>
          </a:custGeom>
          <a:solidFill>
            <a:srgbClr val="000000"/>
          </a:solidFill>
        </p:spPr>
        <p:txBody>
          <a:bodyPr wrap="square" lIns="0" tIns="0" rIns="0" bIns="0" rtlCol="0">
            <a:noAutofit/>
          </a:bodyPr>
          <a:lstStyle/>
          <a:p>
            <a:endParaRPr/>
          </a:p>
        </p:txBody>
      </p:sp>
      <p:sp>
        <p:nvSpPr>
          <p:cNvPr id="491" name="object 491"/>
          <p:cNvSpPr/>
          <p:nvPr/>
        </p:nvSpPr>
        <p:spPr>
          <a:xfrm>
            <a:off x="9627781" y="1234208"/>
            <a:ext cx="458629" cy="33713"/>
          </a:xfrm>
          <a:custGeom>
            <a:avLst/>
            <a:gdLst/>
            <a:ahLst/>
            <a:cxnLst/>
            <a:rect l="l" t="t" r="r" b="b"/>
            <a:pathLst>
              <a:path w="458629" h="33713">
                <a:moveTo>
                  <a:pt x="0" y="32194"/>
                </a:moveTo>
                <a:lnTo>
                  <a:pt x="297" y="33106"/>
                </a:lnTo>
                <a:lnTo>
                  <a:pt x="1190" y="33713"/>
                </a:lnTo>
                <a:lnTo>
                  <a:pt x="2083" y="30980"/>
                </a:lnTo>
                <a:lnTo>
                  <a:pt x="458629" y="3037"/>
                </a:lnTo>
                <a:lnTo>
                  <a:pt x="458629" y="0"/>
                </a:lnTo>
                <a:lnTo>
                  <a:pt x="1190" y="30676"/>
                </a:lnTo>
                <a:lnTo>
                  <a:pt x="297" y="31283"/>
                </a:lnTo>
                <a:lnTo>
                  <a:pt x="0" y="32194"/>
                </a:lnTo>
                <a:close/>
              </a:path>
              <a:path w="458629" h="33713">
                <a:moveTo>
                  <a:pt x="2083" y="30980"/>
                </a:moveTo>
                <a:lnTo>
                  <a:pt x="1190" y="33713"/>
                </a:lnTo>
                <a:lnTo>
                  <a:pt x="458629" y="3037"/>
                </a:lnTo>
                <a:lnTo>
                  <a:pt x="2083" y="30980"/>
                </a:lnTo>
                <a:close/>
              </a:path>
            </a:pathLst>
          </a:custGeom>
          <a:solidFill>
            <a:srgbClr val="000000"/>
          </a:solidFill>
        </p:spPr>
        <p:txBody>
          <a:bodyPr wrap="square" lIns="0" tIns="0" rIns="0" bIns="0" rtlCol="0">
            <a:noAutofit/>
          </a:bodyPr>
          <a:lstStyle/>
          <a:p>
            <a:endParaRPr/>
          </a:p>
        </p:txBody>
      </p:sp>
      <p:sp>
        <p:nvSpPr>
          <p:cNvPr id="492" name="object 492"/>
          <p:cNvSpPr/>
          <p:nvPr/>
        </p:nvSpPr>
        <p:spPr>
          <a:xfrm>
            <a:off x="9582245" y="1221754"/>
            <a:ext cx="47618" cy="45862"/>
          </a:xfrm>
          <a:custGeom>
            <a:avLst/>
            <a:gdLst/>
            <a:ahLst/>
            <a:cxnLst/>
            <a:rect l="l" t="t" r="r" b="b"/>
            <a:pathLst>
              <a:path w="47618" h="45862">
                <a:moveTo>
                  <a:pt x="47618" y="43432"/>
                </a:moveTo>
                <a:lnTo>
                  <a:pt x="2976" y="1518"/>
                </a:lnTo>
                <a:lnTo>
                  <a:pt x="1190" y="0"/>
                </a:lnTo>
                <a:lnTo>
                  <a:pt x="297" y="607"/>
                </a:lnTo>
                <a:lnTo>
                  <a:pt x="0" y="1518"/>
                </a:lnTo>
                <a:lnTo>
                  <a:pt x="595" y="2733"/>
                </a:lnTo>
                <a:lnTo>
                  <a:pt x="45833" y="45862"/>
                </a:lnTo>
                <a:lnTo>
                  <a:pt x="47618" y="43432"/>
                </a:lnTo>
                <a:close/>
              </a:path>
              <a:path w="47618" h="45862">
                <a:moveTo>
                  <a:pt x="2976" y="1518"/>
                </a:moveTo>
                <a:lnTo>
                  <a:pt x="47618" y="43432"/>
                </a:lnTo>
                <a:lnTo>
                  <a:pt x="2380" y="303"/>
                </a:lnTo>
                <a:lnTo>
                  <a:pt x="1190" y="0"/>
                </a:lnTo>
                <a:lnTo>
                  <a:pt x="2976" y="1518"/>
                </a:lnTo>
                <a:close/>
              </a:path>
            </a:pathLst>
          </a:custGeom>
          <a:solidFill>
            <a:srgbClr val="000000"/>
          </a:solidFill>
        </p:spPr>
        <p:txBody>
          <a:bodyPr wrap="square" lIns="0" tIns="0" rIns="0" bIns="0" rtlCol="0">
            <a:noAutofit/>
          </a:bodyPr>
          <a:lstStyle/>
          <a:p>
            <a:endParaRPr/>
          </a:p>
        </p:txBody>
      </p:sp>
      <p:sp>
        <p:nvSpPr>
          <p:cNvPr id="493" name="object 493"/>
          <p:cNvSpPr/>
          <p:nvPr/>
        </p:nvSpPr>
        <p:spPr>
          <a:xfrm>
            <a:off x="9582840" y="1141876"/>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494" name="object 494"/>
          <p:cNvSpPr/>
          <p:nvPr/>
        </p:nvSpPr>
        <p:spPr>
          <a:xfrm>
            <a:off x="9582245" y="1141875"/>
            <a:ext cx="2976" cy="81398"/>
          </a:xfrm>
          <a:custGeom>
            <a:avLst/>
            <a:gdLst/>
            <a:ahLst/>
            <a:cxnLst/>
            <a:rect l="l" t="t" r="r" b="b"/>
            <a:pathLst>
              <a:path w="2976" h="81398">
                <a:moveTo>
                  <a:pt x="595" y="607"/>
                </a:moveTo>
                <a:lnTo>
                  <a:pt x="0" y="1518"/>
                </a:lnTo>
                <a:lnTo>
                  <a:pt x="0" y="81398"/>
                </a:lnTo>
                <a:lnTo>
                  <a:pt x="2976" y="81398"/>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495" name="object 495"/>
          <p:cNvSpPr/>
          <p:nvPr/>
        </p:nvSpPr>
        <p:spPr>
          <a:xfrm>
            <a:off x="8714390" y="386813"/>
            <a:ext cx="473510" cy="756580"/>
          </a:xfrm>
          <a:custGeom>
            <a:avLst/>
            <a:gdLst/>
            <a:ahLst/>
            <a:cxnLst/>
            <a:rect l="l" t="t" r="r" b="b"/>
            <a:pathLst>
              <a:path w="473510" h="756580">
                <a:moveTo>
                  <a:pt x="451486" y="756580"/>
                </a:moveTo>
                <a:lnTo>
                  <a:pt x="451189" y="42217"/>
                </a:lnTo>
                <a:lnTo>
                  <a:pt x="451486" y="32802"/>
                </a:lnTo>
                <a:lnTo>
                  <a:pt x="452379" y="24298"/>
                </a:lnTo>
                <a:lnTo>
                  <a:pt x="467558" y="1518"/>
                </a:lnTo>
                <a:lnTo>
                  <a:pt x="473510" y="0"/>
                </a:lnTo>
                <a:lnTo>
                  <a:pt x="39880" y="74412"/>
                </a:lnTo>
                <a:lnTo>
                  <a:pt x="34821" y="75931"/>
                </a:lnTo>
                <a:lnTo>
                  <a:pt x="30357" y="77753"/>
                </a:lnTo>
                <a:lnTo>
                  <a:pt x="25892" y="79879"/>
                </a:lnTo>
                <a:lnTo>
                  <a:pt x="22023" y="82613"/>
                </a:lnTo>
                <a:lnTo>
                  <a:pt x="18452" y="85346"/>
                </a:lnTo>
                <a:lnTo>
                  <a:pt x="15178" y="88687"/>
                </a:lnTo>
                <a:lnTo>
                  <a:pt x="12202" y="92332"/>
                </a:lnTo>
                <a:lnTo>
                  <a:pt x="9523" y="95977"/>
                </a:lnTo>
                <a:lnTo>
                  <a:pt x="7142" y="99925"/>
                </a:lnTo>
                <a:lnTo>
                  <a:pt x="5357" y="103874"/>
                </a:lnTo>
                <a:lnTo>
                  <a:pt x="3571" y="108126"/>
                </a:lnTo>
                <a:lnTo>
                  <a:pt x="2380" y="112378"/>
                </a:lnTo>
                <a:lnTo>
                  <a:pt x="1190" y="116630"/>
                </a:lnTo>
                <a:lnTo>
                  <a:pt x="595" y="120882"/>
                </a:lnTo>
                <a:lnTo>
                  <a:pt x="0" y="124831"/>
                </a:lnTo>
                <a:lnTo>
                  <a:pt x="0" y="756276"/>
                </a:lnTo>
                <a:lnTo>
                  <a:pt x="451486" y="756580"/>
                </a:lnTo>
                <a:close/>
              </a:path>
            </a:pathLst>
          </a:custGeom>
          <a:solidFill>
            <a:srgbClr val="EFEFEF"/>
          </a:solidFill>
        </p:spPr>
        <p:txBody>
          <a:bodyPr wrap="square" lIns="0" tIns="0" rIns="0" bIns="0" rtlCol="0">
            <a:noAutofit/>
          </a:bodyPr>
          <a:lstStyle/>
          <a:p>
            <a:endParaRPr/>
          </a:p>
        </p:txBody>
      </p:sp>
      <p:sp>
        <p:nvSpPr>
          <p:cNvPr id="496" name="object 496"/>
          <p:cNvSpPr/>
          <p:nvPr/>
        </p:nvSpPr>
        <p:spPr>
          <a:xfrm>
            <a:off x="8712604" y="459403"/>
            <a:ext cx="43154" cy="63174"/>
          </a:xfrm>
          <a:custGeom>
            <a:avLst/>
            <a:gdLst/>
            <a:ahLst/>
            <a:cxnLst/>
            <a:rect l="l" t="t" r="r" b="b"/>
            <a:pathLst>
              <a:path w="43154" h="63174">
                <a:moveTo>
                  <a:pt x="4166" y="34320"/>
                </a:moveTo>
                <a:lnTo>
                  <a:pt x="2678" y="39484"/>
                </a:lnTo>
                <a:lnTo>
                  <a:pt x="1488" y="44951"/>
                </a:lnTo>
                <a:lnTo>
                  <a:pt x="595" y="50722"/>
                </a:lnTo>
                <a:lnTo>
                  <a:pt x="297" y="56796"/>
                </a:lnTo>
                <a:lnTo>
                  <a:pt x="0" y="63174"/>
                </a:lnTo>
                <a:lnTo>
                  <a:pt x="2976" y="63174"/>
                </a:lnTo>
                <a:lnTo>
                  <a:pt x="3273" y="56796"/>
                </a:lnTo>
                <a:lnTo>
                  <a:pt x="3571" y="51329"/>
                </a:lnTo>
                <a:lnTo>
                  <a:pt x="4464" y="45558"/>
                </a:lnTo>
                <a:lnTo>
                  <a:pt x="5654" y="40091"/>
                </a:lnTo>
                <a:lnTo>
                  <a:pt x="7142" y="35535"/>
                </a:lnTo>
                <a:lnTo>
                  <a:pt x="8928" y="30676"/>
                </a:lnTo>
                <a:lnTo>
                  <a:pt x="10714" y="26424"/>
                </a:lnTo>
                <a:lnTo>
                  <a:pt x="13392" y="22475"/>
                </a:lnTo>
                <a:lnTo>
                  <a:pt x="16071" y="18830"/>
                </a:lnTo>
                <a:lnTo>
                  <a:pt x="19047" y="15793"/>
                </a:lnTo>
                <a:lnTo>
                  <a:pt x="22023" y="12756"/>
                </a:lnTo>
                <a:lnTo>
                  <a:pt x="25595" y="10022"/>
                </a:lnTo>
                <a:lnTo>
                  <a:pt x="29166" y="7593"/>
                </a:lnTo>
                <a:lnTo>
                  <a:pt x="33333" y="6074"/>
                </a:lnTo>
                <a:lnTo>
                  <a:pt x="37499" y="4252"/>
                </a:lnTo>
                <a:lnTo>
                  <a:pt x="41964" y="3037"/>
                </a:lnTo>
                <a:lnTo>
                  <a:pt x="42857" y="2429"/>
                </a:lnTo>
                <a:lnTo>
                  <a:pt x="43154" y="1214"/>
                </a:lnTo>
                <a:lnTo>
                  <a:pt x="42559" y="303"/>
                </a:lnTo>
                <a:lnTo>
                  <a:pt x="41368" y="0"/>
                </a:lnTo>
                <a:lnTo>
                  <a:pt x="36309" y="1214"/>
                </a:lnTo>
                <a:lnTo>
                  <a:pt x="32142" y="3037"/>
                </a:lnTo>
                <a:lnTo>
                  <a:pt x="27976" y="5163"/>
                </a:lnTo>
                <a:lnTo>
                  <a:pt x="23809" y="7593"/>
                </a:lnTo>
                <a:lnTo>
                  <a:pt x="20238" y="10326"/>
                </a:lnTo>
                <a:lnTo>
                  <a:pt x="16666" y="13363"/>
                </a:lnTo>
                <a:lnTo>
                  <a:pt x="13690" y="17008"/>
                </a:lnTo>
                <a:lnTo>
                  <a:pt x="11011" y="20653"/>
                </a:lnTo>
                <a:lnTo>
                  <a:pt x="8333" y="25209"/>
                </a:lnTo>
                <a:lnTo>
                  <a:pt x="5952" y="29461"/>
                </a:lnTo>
                <a:lnTo>
                  <a:pt x="4166" y="34320"/>
                </a:lnTo>
                <a:close/>
              </a:path>
            </a:pathLst>
          </a:custGeom>
          <a:solidFill>
            <a:srgbClr val="000000"/>
          </a:solidFill>
        </p:spPr>
        <p:txBody>
          <a:bodyPr wrap="square" lIns="0" tIns="0" rIns="0" bIns="0" rtlCol="0">
            <a:noAutofit/>
          </a:bodyPr>
          <a:lstStyle/>
          <a:p>
            <a:endParaRPr/>
          </a:p>
        </p:txBody>
      </p:sp>
      <p:sp>
        <p:nvSpPr>
          <p:cNvPr id="497" name="object 497"/>
          <p:cNvSpPr/>
          <p:nvPr/>
        </p:nvSpPr>
        <p:spPr>
          <a:xfrm>
            <a:off x="8753974" y="387724"/>
            <a:ext cx="411605" cy="74716"/>
          </a:xfrm>
          <a:custGeom>
            <a:avLst/>
            <a:gdLst/>
            <a:ahLst/>
            <a:cxnLst/>
            <a:rect l="l" t="t" r="r" b="b"/>
            <a:pathLst>
              <a:path w="411605" h="74716">
                <a:moveTo>
                  <a:pt x="409820" y="0"/>
                </a:moveTo>
                <a:lnTo>
                  <a:pt x="0" y="71679"/>
                </a:lnTo>
                <a:lnTo>
                  <a:pt x="595" y="74716"/>
                </a:lnTo>
                <a:lnTo>
                  <a:pt x="410415" y="3037"/>
                </a:lnTo>
                <a:lnTo>
                  <a:pt x="411308" y="2429"/>
                </a:lnTo>
                <a:lnTo>
                  <a:pt x="411605" y="1214"/>
                </a:lnTo>
                <a:lnTo>
                  <a:pt x="411010" y="303"/>
                </a:lnTo>
                <a:lnTo>
                  <a:pt x="409820" y="0"/>
                </a:lnTo>
                <a:close/>
              </a:path>
            </a:pathLst>
          </a:custGeom>
          <a:solidFill>
            <a:srgbClr val="000000"/>
          </a:solidFill>
        </p:spPr>
        <p:txBody>
          <a:bodyPr wrap="square" lIns="0" tIns="0" rIns="0" bIns="0" rtlCol="0">
            <a:noAutofit/>
          </a:bodyPr>
          <a:lstStyle/>
          <a:p>
            <a:endParaRPr/>
          </a:p>
        </p:txBody>
      </p:sp>
      <p:sp>
        <p:nvSpPr>
          <p:cNvPr id="498" name="object 498"/>
          <p:cNvSpPr/>
          <p:nvPr/>
        </p:nvSpPr>
        <p:spPr>
          <a:xfrm>
            <a:off x="9163795" y="384080"/>
            <a:ext cx="64583" cy="6681"/>
          </a:xfrm>
          <a:custGeom>
            <a:avLst/>
            <a:gdLst/>
            <a:ahLst/>
            <a:cxnLst/>
            <a:rect l="l" t="t" r="r" b="b"/>
            <a:pathLst>
              <a:path w="64583" h="6681">
                <a:moveTo>
                  <a:pt x="20833" y="3948"/>
                </a:moveTo>
                <a:lnTo>
                  <a:pt x="24404" y="3340"/>
                </a:lnTo>
                <a:lnTo>
                  <a:pt x="28273" y="3340"/>
                </a:lnTo>
                <a:lnTo>
                  <a:pt x="32142" y="3037"/>
                </a:lnTo>
                <a:lnTo>
                  <a:pt x="39880" y="3037"/>
                </a:lnTo>
                <a:lnTo>
                  <a:pt x="43452" y="3340"/>
                </a:lnTo>
                <a:lnTo>
                  <a:pt x="47023" y="3644"/>
                </a:lnTo>
                <a:lnTo>
                  <a:pt x="50892" y="4252"/>
                </a:lnTo>
                <a:lnTo>
                  <a:pt x="54761" y="4859"/>
                </a:lnTo>
                <a:lnTo>
                  <a:pt x="58928" y="5770"/>
                </a:lnTo>
                <a:lnTo>
                  <a:pt x="62797" y="6681"/>
                </a:lnTo>
                <a:lnTo>
                  <a:pt x="63987" y="6378"/>
                </a:lnTo>
                <a:lnTo>
                  <a:pt x="64583" y="5467"/>
                </a:lnTo>
                <a:lnTo>
                  <a:pt x="64285" y="4252"/>
                </a:lnTo>
                <a:lnTo>
                  <a:pt x="63392" y="3644"/>
                </a:lnTo>
                <a:lnTo>
                  <a:pt x="59523" y="2733"/>
                </a:lnTo>
                <a:lnTo>
                  <a:pt x="55356" y="1822"/>
                </a:lnTo>
                <a:lnTo>
                  <a:pt x="51487" y="1214"/>
                </a:lnTo>
                <a:lnTo>
                  <a:pt x="47618" y="607"/>
                </a:lnTo>
                <a:lnTo>
                  <a:pt x="43452" y="303"/>
                </a:lnTo>
                <a:lnTo>
                  <a:pt x="39880" y="0"/>
                </a:lnTo>
                <a:lnTo>
                  <a:pt x="32142" y="0"/>
                </a:lnTo>
                <a:lnTo>
                  <a:pt x="28273" y="303"/>
                </a:lnTo>
                <a:lnTo>
                  <a:pt x="24404" y="303"/>
                </a:lnTo>
                <a:lnTo>
                  <a:pt x="20238" y="911"/>
                </a:lnTo>
                <a:lnTo>
                  <a:pt x="16368" y="1214"/>
                </a:lnTo>
                <a:lnTo>
                  <a:pt x="12499" y="1822"/>
                </a:lnTo>
                <a:lnTo>
                  <a:pt x="8333" y="2429"/>
                </a:lnTo>
                <a:lnTo>
                  <a:pt x="4166" y="3037"/>
                </a:lnTo>
                <a:lnTo>
                  <a:pt x="0" y="3644"/>
                </a:lnTo>
                <a:lnTo>
                  <a:pt x="595" y="6681"/>
                </a:lnTo>
                <a:lnTo>
                  <a:pt x="4761" y="6074"/>
                </a:lnTo>
                <a:lnTo>
                  <a:pt x="8928" y="5467"/>
                </a:lnTo>
                <a:lnTo>
                  <a:pt x="13095" y="4859"/>
                </a:lnTo>
                <a:lnTo>
                  <a:pt x="16964" y="4252"/>
                </a:lnTo>
                <a:lnTo>
                  <a:pt x="20833" y="3948"/>
                </a:lnTo>
                <a:close/>
              </a:path>
            </a:pathLst>
          </a:custGeom>
          <a:solidFill>
            <a:srgbClr val="000000"/>
          </a:solidFill>
        </p:spPr>
        <p:txBody>
          <a:bodyPr wrap="square" lIns="0" tIns="0" rIns="0" bIns="0" rtlCol="0">
            <a:noAutofit/>
          </a:bodyPr>
          <a:lstStyle/>
          <a:p>
            <a:endParaRPr/>
          </a:p>
        </p:txBody>
      </p:sp>
      <p:sp>
        <p:nvSpPr>
          <p:cNvPr id="499" name="object 499"/>
          <p:cNvSpPr/>
          <p:nvPr/>
        </p:nvSpPr>
        <p:spPr>
          <a:xfrm>
            <a:off x="9226591" y="387725"/>
            <a:ext cx="1042258" cy="336527"/>
          </a:xfrm>
          <a:custGeom>
            <a:avLst/>
            <a:gdLst/>
            <a:ahLst/>
            <a:cxnLst/>
            <a:rect l="l" t="t" r="r" b="b"/>
            <a:pathLst>
              <a:path w="1042258" h="336527">
                <a:moveTo>
                  <a:pt x="1042258" y="335313"/>
                </a:moveTo>
                <a:lnTo>
                  <a:pt x="1041961" y="334098"/>
                </a:lnTo>
                <a:lnTo>
                  <a:pt x="1041068" y="333490"/>
                </a:lnTo>
                <a:lnTo>
                  <a:pt x="595" y="0"/>
                </a:lnTo>
                <a:lnTo>
                  <a:pt x="0" y="3037"/>
                </a:lnTo>
                <a:lnTo>
                  <a:pt x="1040473" y="336527"/>
                </a:lnTo>
                <a:lnTo>
                  <a:pt x="1041663" y="336224"/>
                </a:lnTo>
                <a:lnTo>
                  <a:pt x="1042258" y="335313"/>
                </a:lnTo>
                <a:close/>
              </a:path>
            </a:pathLst>
          </a:custGeom>
          <a:solidFill>
            <a:srgbClr val="000000"/>
          </a:solidFill>
        </p:spPr>
        <p:txBody>
          <a:bodyPr wrap="square" lIns="0" tIns="0" rIns="0" bIns="0" rtlCol="0">
            <a:noAutofit/>
          </a:bodyPr>
          <a:lstStyle/>
          <a:p>
            <a:endParaRPr/>
          </a:p>
        </p:txBody>
      </p:sp>
      <p:sp>
        <p:nvSpPr>
          <p:cNvPr id="500" name="object 500"/>
          <p:cNvSpPr/>
          <p:nvPr/>
        </p:nvSpPr>
        <p:spPr>
          <a:xfrm>
            <a:off x="10266767" y="721216"/>
            <a:ext cx="17261" cy="33409"/>
          </a:xfrm>
          <a:custGeom>
            <a:avLst/>
            <a:gdLst/>
            <a:ahLst/>
            <a:cxnLst/>
            <a:rect l="l" t="t" r="r" b="b"/>
            <a:pathLst>
              <a:path w="17261" h="33409">
                <a:moveTo>
                  <a:pt x="1190" y="0"/>
                </a:moveTo>
                <a:lnTo>
                  <a:pt x="0" y="3037"/>
                </a:lnTo>
                <a:lnTo>
                  <a:pt x="4464" y="4859"/>
                </a:lnTo>
                <a:lnTo>
                  <a:pt x="7738" y="7289"/>
                </a:lnTo>
                <a:lnTo>
                  <a:pt x="10119" y="10022"/>
                </a:lnTo>
                <a:lnTo>
                  <a:pt x="11904" y="13060"/>
                </a:lnTo>
                <a:lnTo>
                  <a:pt x="13095" y="16704"/>
                </a:lnTo>
                <a:lnTo>
                  <a:pt x="13988" y="21260"/>
                </a:lnTo>
                <a:lnTo>
                  <a:pt x="14285" y="26424"/>
                </a:lnTo>
                <a:lnTo>
                  <a:pt x="14285" y="32194"/>
                </a:lnTo>
                <a:lnTo>
                  <a:pt x="14880" y="33106"/>
                </a:lnTo>
                <a:lnTo>
                  <a:pt x="15773" y="33409"/>
                </a:lnTo>
                <a:lnTo>
                  <a:pt x="16666" y="33106"/>
                </a:lnTo>
                <a:lnTo>
                  <a:pt x="17261" y="32194"/>
                </a:lnTo>
                <a:lnTo>
                  <a:pt x="17261" y="26424"/>
                </a:lnTo>
                <a:lnTo>
                  <a:pt x="16964" y="20653"/>
                </a:lnTo>
                <a:lnTo>
                  <a:pt x="16071" y="16097"/>
                </a:lnTo>
                <a:lnTo>
                  <a:pt x="14880" y="11845"/>
                </a:lnTo>
                <a:lnTo>
                  <a:pt x="12499" y="8200"/>
                </a:lnTo>
                <a:lnTo>
                  <a:pt x="9523" y="4859"/>
                </a:lnTo>
                <a:lnTo>
                  <a:pt x="5654" y="2429"/>
                </a:lnTo>
                <a:lnTo>
                  <a:pt x="1190" y="0"/>
                </a:lnTo>
                <a:close/>
              </a:path>
            </a:pathLst>
          </a:custGeom>
          <a:solidFill>
            <a:srgbClr val="000000"/>
          </a:solidFill>
        </p:spPr>
        <p:txBody>
          <a:bodyPr wrap="square" lIns="0" tIns="0" rIns="0" bIns="0" rtlCol="0">
            <a:noAutofit/>
          </a:bodyPr>
          <a:lstStyle/>
          <a:p>
            <a:endParaRPr/>
          </a:p>
        </p:txBody>
      </p:sp>
      <p:sp>
        <p:nvSpPr>
          <p:cNvPr id="501" name="object 501"/>
          <p:cNvSpPr/>
          <p:nvPr/>
        </p:nvSpPr>
        <p:spPr>
          <a:xfrm>
            <a:off x="10281052" y="1198368"/>
            <a:ext cx="1934" cy="2733"/>
          </a:xfrm>
          <a:custGeom>
            <a:avLst/>
            <a:gdLst/>
            <a:ahLst/>
            <a:cxnLst/>
            <a:rect l="l" t="t" r="r" b="b"/>
            <a:pathLst>
              <a:path w="1934" h="2733">
                <a:moveTo>
                  <a:pt x="1488" y="0"/>
                </a:moveTo>
                <a:lnTo>
                  <a:pt x="0" y="1518"/>
                </a:lnTo>
                <a:lnTo>
                  <a:pt x="595" y="2429"/>
                </a:lnTo>
                <a:lnTo>
                  <a:pt x="1488" y="2733"/>
                </a:lnTo>
                <a:lnTo>
                  <a:pt x="1934" y="2581"/>
                </a:lnTo>
                <a:lnTo>
                  <a:pt x="1488" y="0"/>
                </a:lnTo>
                <a:close/>
              </a:path>
            </a:pathLst>
          </a:custGeom>
          <a:solidFill>
            <a:srgbClr val="000000"/>
          </a:solidFill>
        </p:spPr>
        <p:txBody>
          <a:bodyPr wrap="square" lIns="0" tIns="0" rIns="0" bIns="0" rtlCol="0">
            <a:noAutofit/>
          </a:bodyPr>
          <a:lstStyle/>
          <a:p>
            <a:endParaRPr/>
          </a:p>
        </p:txBody>
      </p:sp>
      <p:sp>
        <p:nvSpPr>
          <p:cNvPr id="502" name="object 502"/>
          <p:cNvSpPr/>
          <p:nvPr/>
        </p:nvSpPr>
        <p:spPr>
          <a:xfrm>
            <a:off x="10117362" y="1198368"/>
            <a:ext cx="165178" cy="9415"/>
          </a:xfrm>
          <a:custGeom>
            <a:avLst/>
            <a:gdLst/>
            <a:ahLst/>
            <a:cxnLst/>
            <a:rect l="l" t="t" r="r" b="b"/>
            <a:pathLst>
              <a:path w="165178" h="9415">
                <a:moveTo>
                  <a:pt x="0" y="7896"/>
                </a:moveTo>
                <a:lnTo>
                  <a:pt x="297" y="8808"/>
                </a:lnTo>
                <a:lnTo>
                  <a:pt x="1190" y="9415"/>
                </a:lnTo>
                <a:lnTo>
                  <a:pt x="2083" y="9111"/>
                </a:lnTo>
                <a:lnTo>
                  <a:pt x="165178" y="3037"/>
                </a:lnTo>
                <a:lnTo>
                  <a:pt x="165178" y="0"/>
                </a:lnTo>
                <a:lnTo>
                  <a:pt x="1190" y="6378"/>
                </a:lnTo>
                <a:lnTo>
                  <a:pt x="297" y="6985"/>
                </a:lnTo>
                <a:lnTo>
                  <a:pt x="0" y="7896"/>
                </a:lnTo>
                <a:close/>
              </a:path>
            </a:pathLst>
          </a:custGeom>
          <a:solidFill>
            <a:srgbClr val="000000"/>
          </a:solidFill>
        </p:spPr>
        <p:txBody>
          <a:bodyPr wrap="square" lIns="0" tIns="0" rIns="0" bIns="0" rtlCol="0">
            <a:noAutofit/>
          </a:bodyPr>
          <a:lstStyle/>
          <a:p>
            <a:endParaRPr/>
          </a:p>
        </p:txBody>
      </p:sp>
      <p:sp>
        <p:nvSpPr>
          <p:cNvPr id="503" name="object 503"/>
          <p:cNvSpPr/>
          <p:nvPr/>
        </p:nvSpPr>
        <p:spPr>
          <a:xfrm>
            <a:off x="10118554" y="1201405"/>
            <a:ext cx="163987" cy="6378"/>
          </a:xfrm>
          <a:custGeom>
            <a:avLst/>
            <a:gdLst/>
            <a:ahLst/>
            <a:cxnLst/>
            <a:rect l="l" t="t" r="r" b="b"/>
            <a:pathLst>
              <a:path w="163987" h="6378">
                <a:moveTo>
                  <a:pt x="163987" y="0"/>
                </a:moveTo>
                <a:lnTo>
                  <a:pt x="892" y="6074"/>
                </a:lnTo>
                <a:lnTo>
                  <a:pt x="0" y="6378"/>
                </a:lnTo>
                <a:lnTo>
                  <a:pt x="163987" y="0"/>
                </a:lnTo>
                <a:close/>
              </a:path>
            </a:pathLst>
          </a:custGeom>
          <a:solidFill>
            <a:srgbClr val="000000"/>
          </a:solidFill>
        </p:spPr>
        <p:txBody>
          <a:bodyPr wrap="square" lIns="0" tIns="0" rIns="0" bIns="0" rtlCol="0">
            <a:noAutofit/>
          </a:bodyPr>
          <a:lstStyle/>
          <a:p>
            <a:endParaRPr/>
          </a:p>
        </p:txBody>
      </p:sp>
      <p:sp>
        <p:nvSpPr>
          <p:cNvPr id="504" name="object 504"/>
          <p:cNvSpPr/>
          <p:nvPr/>
        </p:nvSpPr>
        <p:spPr>
          <a:xfrm>
            <a:off x="10084923" y="1205049"/>
            <a:ext cx="34523" cy="32194"/>
          </a:xfrm>
          <a:custGeom>
            <a:avLst/>
            <a:gdLst/>
            <a:ahLst/>
            <a:cxnLst/>
            <a:rect l="l" t="t" r="r" b="b"/>
            <a:pathLst>
              <a:path w="34523" h="32194">
                <a:moveTo>
                  <a:pt x="0" y="30372"/>
                </a:moveTo>
                <a:lnTo>
                  <a:pt x="297" y="31587"/>
                </a:lnTo>
                <a:lnTo>
                  <a:pt x="1190" y="32194"/>
                </a:lnTo>
                <a:lnTo>
                  <a:pt x="2380" y="31891"/>
                </a:lnTo>
                <a:lnTo>
                  <a:pt x="34523" y="2429"/>
                </a:lnTo>
                <a:lnTo>
                  <a:pt x="32737" y="0"/>
                </a:lnTo>
                <a:lnTo>
                  <a:pt x="1488" y="29157"/>
                </a:lnTo>
                <a:lnTo>
                  <a:pt x="595" y="29461"/>
                </a:lnTo>
                <a:lnTo>
                  <a:pt x="0" y="30372"/>
                </a:lnTo>
                <a:close/>
              </a:path>
              <a:path w="34523" h="32194">
                <a:moveTo>
                  <a:pt x="1488" y="29157"/>
                </a:moveTo>
                <a:lnTo>
                  <a:pt x="32737" y="0"/>
                </a:lnTo>
                <a:lnTo>
                  <a:pt x="595" y="29461"/>
                </a:lnTo>
                <a:lnTo>
                  <a:pt x="1488" y="29157"/>
                </a:lnTo>
                <a:close/>
              </a:path>
            </a:pathLst>
          </a:custGeom>
          <a:solidFill>
            <a:srgbClr val="000000"/>
          </a:solidFill>
        </p:spPr>
        <p:txBody>
          <a:bodyPr wrap="square" lIns="0" tIns="0" rIns="0" bIns="0" rtlCol="0">
            <a:noAutofit/>
          </a:bodyPr>
          <a:lstStyle/>
          <a:p>
            <a:endParaRPr/>
          </a:p>
        </p:txBody>
      </p:sp>
      <p:sp>
        <p:nvSpPr>
          <p:cNvPr id="505" name="object 505"/>
          <p:cNvSpPr/>
          <p:nvPr/>
        </p:nvSpPr>
        <p:spPr>
          <a:xfrm>
            <a:off x="9627781" y="1234208"/>
            <a:ext cx="458629" cy="33713"/>
          </a:xfrm>
          <a:custGeom>
            <a:avLst/>
            <a:gdLst/>
            <a:ahLst/>
            <a:cxnLst/>
            <a:rect l="l" t="t" r="r" b="b"/>
            <a:pathLst>
              <a:path w="458629" h="33713">
                <a:moveTo>
                  <a:pt x="0" y="32194"/>
                </a:moveTo>
                <a:lnTo>
                  <a:pt x="297" y="33106"/>
                </a:lnTo>
                <a:lnTo>
                  <a:pt x="1190" y="33713"/>
                </a:lnTo>
                <a:lnTo>
                  <a:pt x="2083" y="30980"/>
                </a:lnTo>
                <a:lnTo>
                  <a:pt x="458629" y="3037"/>
                </a:lnTo>
                <a:lnTo>
                  <a:pt x="458629" y="0"/>
                </a:lnTo>
                <a:lnTo>
                  <a:pt x="1190" y="30676"/>
                </a:lnTo>
                <a:lnTo>
                  <a:pt x="297" y="31283"/>
                </a:lnTo>
                <a:lnTo>
                  <a:pt x="0" y="32194"/>
                </a:lnTo>
                <a:close/>
              </a:path>
              <a:path w="458629" h="33713">
                <a:moveTo>
                  <a:pt x="2083" y="30980"/>
                </a:moveTo>
                <a:lnTo>
                  <a:pt x="1190" y="33713"/>
                </a:lnTo>
                <a:lnTo>
                  <a:pt x="458629" y="3037"/>
                </a:lnTo>
                <a:lnTo>
                  <a:pt x="2083" y="30980"/>
                </a:lnTo>
                <a:close/>
              </a:path>
            </a:pathLst>
          </a:custGeom>
          <a:solidFill>
            <a:srgbClr val="000000"/>
          </a:solidFill>
        </p:spPr>
        <p:txBody>
          <a:bodyPr wrap="square" lIns="0" tIns="0" rIns="0" bIns="0" rtlCol="0">
            <a:noAutofit/>
          </a:bodyPr>
          <a:lstStyle/>
          <a:p>
            <a:endParaRPr/>
          </a:p>
        </p:txBody>
      </p:sp>
      <p:sp>
        <p:nvSpPr>
          <p:cNvPr id="506" name="object 506"/>
          <p:cNvSpPr/>
          <p:nvPr/>
        </p:nvSpPr>
        <p:spPr>
          <a:xfrm>
            <a:off x="9582245" y="1221754"/>
            <a:ext cx="47618" cy="45862"/>
          </a:xfrm>
          <a:custGeom>
            <a:avLst/>
            <a:gdLst/>
            <a:ahLst/>
            <a:cxnLst/>
            <a:rect l="l" t="t" r="r" b="b"/>
            <a:pathLst>
              <a:path w="47618" h="45862">
                <a:moveTo>
                  <a:pt x="47618" y="43432"/>
                </a:moveTo>
                <a:lnTo>
                  <a:pt x="2976" y="1518"/>
                </a:lnTo>
                <a:lnTo>
                  <a:pt x="1190" y="0"/>
                </a:lnTo>
                <a:lnTo>
                  <a:pt x="297" y="607"/>
                </a:lnTo>
                <a:lnTo>
                  <a:pt x="0" y="1518"/>
                </a:lnTo>
                <a:lnTo>
                  <a:pt x="595" y="2733"/>
                </a:lnTo>
                <a:lnTo>
                  <a:pt x="45833" y="45862"/>
                </a:lnTo>
                <a:lnTo>
                  <a:pt x="47618" y="43432"/>
                </a:lnTo>
                <a:close/>
              </a:path>
              <a:path w="47618" h="45862">
                <a:moveTo>
                  <a:pt x="2976" y="1518"/>
                </a:moveTo>
                <a:lnTo>
                  <a:pt x="47618" y="43432"/>
                </a:lnTo>
                <a:lnTo>
                  <a:pt x="2380" y="303"/>
                </a:lnTo>
                <a:lnTo>
                  <a:pt x="1190" y="0"/>
                </a:lnTo>
                <a:lnTo>
                  <a:pt x="2976" y="1518"/>
                </a:lnTo>
                <a:close/>
              </a:path>
            </a:pathLst>
          </a:custGeom>
          <a:solidFill>
            <a:srgbClr val="000000"/>
          </a:solidFill>
        </p:spPr>
        <p:txBody>
          <a:bodyPr wrap="square" lIns="0" tIns="0" rIns="0" bIns="0" rtlCol="0">
            <a:noAutofit/>
          </a:bodyPr>
          <a:lstStyle/>
          <a:p>
            <a:endParaRPr/>
          </a:p>
        </p:txBody>
      </p:sp>
      <p:sp>
        <p:nvSpPr>
          <p:cNvPr id="507" name="object 507"/>
          <p:cNvSpPr/>
          <p:nvPr/>
        </p:nvSpPr>
        <p:spPr>
          <a:xfrm>
            <a:off x="9582840" y="1141876"/>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508" name="object 508"/>
          <p:cNvSpPr/>
          <p:nvPr/>
        </p:nvSpPr>
        <p:spPr>
          <a:xfrm>
            <a:off x="9582245" y="1141875"/>
            <a:ext cx="2976" cy="81398"/>
          </a:xfrm>
          <a:custGeom>
            <a:avLst/>
            <a:gdLst/>
            <a:ahLst/>
            <a:cxnLst/>
            <a:rect l="l" t="t" r="r" b="b"/>
            <a:pathLst>
              <a:path w="2976" h="81398">
                <a:moveTo>
                  <a:pt x="595" y="607"/>
                </a:moveTo>
                <a:lnTo>
                  <a:pt x="0" y="1518"/>
                </a:lnTo>
                <a:lnTo>
                  <a:pt x="0" y="81398"/>
                </a:lnTo>
                <a:lnTo>
                  <a:pt x="2976" y="81398"/>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509" name="object 509"/>
          <p:cNvSpPr/>
          <p:nvPr/>
        </p:nvSpPr>
        <p:spPr>
          <a:xfrm>
            <a:off x="9165878" y="913474"/>
            <a:ext cx="1113389" cy="276997"/>
          </a:xfrm>
          <a:custGeom>
            <a:avLst/>
            <a:gdLst/>
            <a:ahLst/>
            <a:cxnLst/>
            <a:rect l="l" t="t" r="r" b="b"/>
            <a:pathLst>
              <a:path w="1113389" h="276997">
                <a:moveTo>
                  <a:pt x="713093" y="91725"/>
                </a:moveTo>
                <a:lnTo>
                  <a:pt x="705950" y="87472"/>
                </a:lnTo>
                <a:lnTo>
                  <a:pt x="698807" y="82917"/>
                </a:lnTo>
                <a:lnTo>
                  <a:pt x="691664" y="78664"/>
                </a:lnTo>
                <a:lnTo>
                  <a:pt x="684521" y="74412"/>
                </a:lnTo>
                <a:lnTo>
                  <a:pt x="677081" y="70160"/>
                </a:lnTo>
                <a:lnTo>
                  <a:pt x="669640" y="65908"/>
                </a:lnTo>
                <a:lnTo>
                  <a:pt x="661902" y="61960"/>
                </a:lnTo>
                <a:lnTo>
                  <a:pt x="654164" y="58011"/>
                </a:lnTo>
                <a:lnTo>
                  <a:pt x="646129" y="54366"/>
                </a:lnTo>
                <a:lnTo>
                  <a:pt x="638093" y="50722"/>
                </a:lnTo>
                <a:lnTo>
                  <a:pt x="629462" y="47684"/>
                </a:lnTo>
                <a:lnTo>
                  <a:pt x="602974" y="39788"/>
                </a:lnTo>
                <a:lnTo>
                  <a:pt x="573807" y="35232"/>
                </a:lnTo>
                <a:lnTo>
                  <a:pt x="0" y="0"/>
                </a:lnTo>
                <a:lnTo>
                  <a:pt x="0" y="122705"/>
                </a:lnTo>
                <a:lnTo>
                  <a:pt x="709521" y="122401"/>
                </a:lnTo>
                <a:lnTo>
                  <a:pt x="720831" y="124223"/>
                </a:lnTo>
                <a:lnTo>
                  <a:pt x="730652" y="129083"/>
                </a:lnTo>
                <a:lnTo>
                  <a:pt x="738985" y="136676"/>
                </a:lnTo>
                <a:lnTo>
                  <a:pt x="746723" y="146699"/>
                </a:lnTo>
                <a:lnTo>
                  <a:pt x="753569" y="158544"/>
                </a:lnTo>
                <a:lnTo>
                  <a:pt x="760414" y="171908"/>
                </a:lnTo>
                <a:lnTo>
                  <a:pt x="767557" y="186183"/>
                </a:lnTo>
                <a:lnTo>
                  <a:pt x="774997" y="200762"/>
                </a:lnTo>
                <a:lnTo>
                  <a:pt x="783330" y="215341"/>
                </a:lnTo>
                <a:lnTo>
                  <a:pt x="792854" y="229312"/>
                </a:lnTo>
                <a:lnTo>
                  <a:pt x="804164" y="242373"/>
                </a:lnTo>
                <a:lnTo>
                  <a:pt x="817557" y="254218"/>
                </a:lnTo>
                <a:lnTo>
                  <a:pt x="833330" y="263937"/>
                </a:lnTo>
                <a:lnTo>
                  <a:pt x="851485" y="271226"/>
                </a:lnTo>
                <a:lnTo>
                  <a:pt x="872914" y="275782"/>
                </a:lnTo>
                <a:lnTo>
                  <a:pt x="897913" y="276997"/>
                </a:lnTo>
                <a:lnTo>
                  <a:pt x="1113389" y="270315"/>
                </a:lnTo>
                <a:lnTo>
                  <a:pt x="1113389" y="132424"/>
                </a:lnTo>
                <a:lnTo>
                  <a:pt x="825295" y="132728"/>
                </a:lnTo>
                <a:lnTo>
                  <a:pt x="816961" y="132424"/>
                </a:lnTo>
                <a:lnTo>
                  <a:pt x="808628" y="131816"/>
                </a:lnTo>
                <a:lnTo>
                  <a:pt x="800592" y="130602"/>
                </a:lnTo>
                <a:lnTo>
                  <a:pt x="792557" y="128779"/>
                </a:lnTo>
                <a:lnTo>
                  <a:pt x="784819" y="126957"/>
                </a:lnTo>
                <a:lnTo>
                  <a:pt x="777378" y="124527"/>
                </a:lnTo>
                <a:lnTo>
                  <a:pt x="769938" y="121793"/>
                </a:lnTo>
                <a:lnTo>
                  <a:pt x="762795" y="118756"/>
                </a:lnTo>
                <a:lnTo>
                  <a:pt x="755354" y="115415"/>
                </a:lnTo>
                <a:lnTo>
                  <a:pt x="748212" y="112074"/>
                </a:lnTo>
                <a:lnTo>
                  <a:pt x="741069" y="108126"/>
                </a:lnTo>
                <a:lnTo>
                  <a:pt x="734223" y="104177"/>
                </a:lnTo>
                <a:lnTo>
                  <a:pt x="727081" y="100229"/>
                </a:lnTo>
                <a:lnTo>
                  <a:pt x="720235" y="95977"/>
                </a:lnTo>
                <a:lnTo>
                  <a:pt x="713093" y="91725"/>
                </a:lnTo>
                <a:close/>
              </a:path>
            </a:pathLst>
          </a:custGeom>
          <a:solidFill>
            <a:srgbClr val="00FFFF"/>
          </a:solidFill>
        </p:spPr>
        <p:txBody>
          <a:bodyPr wrap="square" lIns="0" tIns="0" rIns="0" bIns="0" rtlCol="0">
            <a:noAutofit/>
          </a:bodyPr>
          <a:lstStyle/>
          <a:p>
            <a:endParaRPr/>
          </a:p>
        </p:txBody>
      </p:sp>
      <p:sp>
        <p:nvSpPr>
          <p:cNvPr id="510" name="object 510"/>
          <p:cNvSpPr/>
          <p:nvPr/>
        </p:nvSpPr>
        <p:spPr>
          <a:xfrm>
            <a:off x="8718854" y="913170"/>
            <a:ext cx="447022" cy="122705"/>
          </a:xfrm>
          <a:custGeom>
            <a:avLst/>
            <a:gdLst/>
            <a:ahLst/>
            <a:cxnLst/>
            <a:rect l="l" t="t" r="r" b="b"/>
            <a:pathLst>
              <a:path w="447022" h="122705">
                <a:moveTo>
                  <a:pt x="446724" y="0"/>
                </a:moveTo>
                <a:lnTo>
                  <a:pt x="0" y="9719"/>
                </a:lnTo>
                <a:lnTo>
                  <a:pt x="297" y="122401"/>
                </a:lnTo>
                <a:lnTo>
                  <a:pt x="447022" y="122705"/>
                </a:lnTo>
                <a:lnTo>
                  <a:pt x="446724" y="0"/>
                </a:lnTo>
                <a:close/>
              </a:path>
            </a:pathLst>
          </a:custGeom>
          <a:solidFill>
            <a:srgbClr val="00BEBE"/>
          </a:solidFill>
        </p:spPr>
        <p:txBody>
          <a:bodyPr wrap="square" lIns="0" tIns="0" rIns="0" bIns="0" rtlCol="0">
            <a:noAutofit/>
          </a:bodyPr>
          <a:lstStyle/>
          <a:p>
            <a:endParaRPr/>
          </a:p>
        </p:txBody>
      </p:sp>
      <p:sp>
        <p:nvSpPr>
          <p:cNvPr id="511" name="object 511"/>
          <p:cNvSpPr/>
          <p:nvPr/>
        </p:nvSpPr>
        <p:spPr>
          <a:xfrm>
            <a:off x="9165878" y="740349"/>
            <a:ext cx="1113389" cy="300080"/>
          </a:xfrm>
          <a:custGeom>
            <a:avLst/>
            <a:gdLst/>
            <a:ahLst/>
            <a:cxnLst/>
            <a:rect l="l" t="t" r="r" b="b"/>
            <a:pathLst>
              <a:path w="1113389" h="300080">
                <a:moveTo>
                  <a:pt x="713093" y="121793"/>
                </a:moveTo>
                <a:lnTo>
                  <a:pt x="705950" y="117238"/>
                </a:lnTo>
                <a:lnTo>
                  <a:pt x="698807" y="112985"/>
                </a:lnTo>
                <a:lnTo>
                  <a:pt x="691664" y="108733"/>
                </a:lnTo>
                <a:lnTo>
                  <a:pt x="684521" y="104177"/>
                </a:lnTo>
                <a:lnTo>
                  <a:pt x="677081" y="99925"/>
                </a:lnTo>
                <a:lnTo>
                  <a:pt x="669640" y="95977"/>
                </a:lnTo>
                <a:lnTo>
                  <a:pt x="661902" y="91725"/>
                </a:lnTo>
                <a:lnTo>
                  <a:pt x="654164" y="88080"/>
                </a:lnTo>
                <a:lnTo>
                  <a:pt x="646129" y="84131"/>
                </a:lnTo>
                <a:lnTo>
                  <a:pt x="638093" y="80791"/>
                </a:lnTo>
                <a:lnTo>
                  <a:pt x="629462" y="77450"/>
                </a:lnTo>
                <a:lnTo>
                  <a:pt x="621129" y="74716"/>
                </a:lnTo>
                <a:lnTo>
                  <a:pt x="612200" y="71982"/>
                </a:lnTo>
                <a:lnTo>
                  <a:pt x="602974" y="69856"/>
                </a:lnTo>
                <a:lnTo>
                  <a:pt x="593450" y="67730"/>
                </a:lnTo>
                <a:lnTo>
                  <a:pt x="583926" y="66212"/>
                </a:lnTo>
                <a:lnTo>
                  <a:pt x="573807" y="65301"/>
                </a:lnTo>
                <a:lnTo>
                  <a:pt x="0" y="0"/>
                </a:lnTo>
                <a:lnTo>
                  <a:pt x="0" y="122705"/>
                </a:lnTo>
                <a:lnTo>
                  <a:pt x="709521" y="152166"/>
                </a:lnTo>
                <a:lnTo>
                  <a:pt x="720831" y="153685"/>
                </a:lnTo>
                <a:lnTo>
                  <a:pt x="730652" y="158544"/>
                </a:lnTo>
                <a:lnTo>
                  <a:pt x="738985" y="165834"/>
                </a:lnTo>
                <a:lnTo>
                  <a:pt x="746723" y="175553"/>
                </a:lnTo>
                <a:lnTo>
                  <a:pt x="753569" y="186791"/>
                </a:lnTo>
                <a:lnTo>
                  <a:pt x="760414" y="199547"/>
                </a:lnTo>
                <a:lnTo>
                  <a:pt x="767557" y="212911"/>
                </a:lnTo>
                <a:lnTo>
                  <a:pt x="774997" y="226883"/>
                </a:lnTo>
                <a:lnTo>
                  <a:pt x="783330" y="240854"/>
                </a:lnTo>
                <a:lnTo>
                  <a:pt x="792854" y="254522"/>
                </a:lnTo>
                <a:lnTo>
                  <a:pt x="804164" y="266974"/>
                </a:lnTo>
                <a:lnTo>
                  <a:pt x="817557" y="277908"/>
                </a:lnTo>
                <a:lnTo>
                  <a:pt x="833330" y="287324"/>
                </a:lnTo>
                <a:lnTo>
                  <a:pt x="851485" y="294310"/>
                </a:lnTo>
                <a:lnTo>
                  <a:pt x="872914" y="298562"/>
                </a:lnTo>
                <a:lnTo>
                  <a:pt x="897913" y="299777"/>
                </a:lnTo>
                <a:lnTo>
                  <a:pt x="1113389" y="300080"/>
                </a:lnTo>
                <a:lnTo>
                  <a:pt x="1113389" y="180716"/>
                </a:lnTo>
                <a:lnTo>
                  <a:pt x="825295" y="162796"/>
                </a:lnTo>
                <a:lnTo>
                  <a:pt x="816961" y="162493"/>
                </a:lnTo>
                <a:lnTo>
                  <a:pt x="808628" y="161885"/>
                </a:lnTo>
                <a:lnTo>
                  <a:pt x="800592" y="160670"/>
                </a:lnTo>
                <a:lnTo>
                  <a:pt x="792557" y="158848"/>
                </a:lnTo>
                <a:lnTo>
                  <a:pt x="784819" y="157026"/>
                </a:lnTo>
                <a:lnTo>
                  <a:pt x="777378" y="154596"/>
                </a:lnTo>
                <a:lnTo>
                  <a:pt x="769938" y="151862"/>
                </a:lnTo>
                <a:lnTo>
                  <a:pt x="762795" y="148825"/>
                </a:lnTo>
                <a:lnTo>
                  <a:pt x="755354" y="145484"/>
                </a:lnTo>
                <a:lnTo>
                  <a:pt x="748212" y="141839"/>
                </a:lnTo>
                <a:lnTo>
                  <a:pt x="741069" y="138195"/>
                </a:lnTo>
                <a:lnTo>
                  <a:pt x="734223" y="134246"/>
                </a:lnTo>
                <a:lnTo>
                  <a:pt x="727081" y="130298"/>
                </a:lnTo>
                <a:lnTo>
                  <a:pt x="720235" y="126046"/>
                </a:lnTo>
                <a:lnTo>
                  <a:pt x="713093" y="121793"/>
                </a:lnTo>
                <a:close/>
              </a:path>
            </a:pathLst>
          </a:custGeom>
          <a:solidFill>
            <a:srgbClr val="FF0000"/>
          </a:solidFill>
        </p:spPr>
        <p:txBody>
          <a:bodyPr wrap="square" lIns="0" tIns="0" rIns="0" bIns="0" rtlCol="0">
            <a:noAutofit/>
          </a:bodyPr>
          <a:lstStyle/>
          <a:p>
            <a:endParaRPr/>
          </a:p>
        </p:txBody>
      </p:sp>
      <p:sp>
        <p:nvSpPr>
          <p:cNvPr id="512" name="object 512"/>
          <p:cNvSpPr/>
          <p:nvPr/>
        </p:nvSpPr>
        <p:spPr>
          <a:xfrm>
            <a:off x="8718854" y="740349"/>
            <a:ext cx="447022" cy="136676"/>
          </a:xfrm>
          <a:custGeom>
            <a:avLst/>
            <a:gdLst/>
            <a:ahLst/>
            <a:cxnLst/>
            <a:rect l="l" t="t" r="r" b="b"/>
            <a:pathLst>
              <a:path w="447022" h="136676">
                <a:moveTo>
                  <a:pt x="446724" y="0"/>
                </a:moveTo>
                <a:lnTo>
                  <a:pt x="0" y="23994"/>
                </a:lnTo>
                <a:lnTo>
                  <a:pt x="297" y="136676"/>
                </a:lnTo>
                <a:lnTo>
                  <a:pt x="447022" y="122705"/>
                </a:lnTo>
                <a:lnTo>
                  <a:pt x="446724" y="0"/>
                </a:lnTo>
                <a:close/>
              </a:path>
            </a:pathLst>
          </a:custGeom>
          <a:solidFill>
            <a:srgbClr val="BE0000"/>
          </a:solidFill>
        </p:spPr>
        <p:txBody>
          <a:bodyPr wrap="square" lIns="0" tIns="0" rIns="0" bIns="0" rtlCol="0">
            <a:noAutofit/>
          </a:bodyPr>
          <a:lstStyle/>
          <a:p>
            <a:endParaRPr/>
          </a:p>
        </p:txBody>
      </p:sp>
      <p:sp>
        <p:nvSpPr>
          <p:cNvPr id="513" name="object 513"/>
          <p:cNvSpPr/>
          <p:nvPr/>
        </p:nvSpPr>
        <p:spPr>
          <a:xfrm>
            <a:off x="9221234" y="480057"/>
            <a:ext cx="1488" cy="3037"/>
          </a:xfrm>
          <a:custGeom>
            <a:avLst/>
            <a:gdLst/>
            <a:ahLst/>
            <a:cxnLst/>
            <a:rect l="l" t="t" r="r" b="b"/>
            <a:pathLst>
              <a:path w="1488" h="3037">
                <a:moveTo>
                  <a:pt x="1488" y="0"/>
                </a:moveTo>
                <a:lnTo>
                  <a:pt x="297" y="303"/>
                </a:lnTo>
                <a:lnTo>
                  <a:pt x="0" y="1214"/>
                </a:lnTo>
                <a:lnTo>
                  <a:pt x="0" y="2429"/>
                </a:lnTo>
                <a:lnTo>
                  <a:pt x="892" y="3037"/>
                </a:lnTo>
                <a:lnTo>
                  <a:pt x="1488" y="0"/>
                </a:lnTo>
                <a:close/>
              </a:path>
            </a:pathLst>
          </a:custGeom>
          <a:solidFill>
            <a:srgbClr val="000000"/>
          </a:solidFill>
        </p:spPr>
        <p:txBody>
          <a:bodyPr wrap="square" lIns="0" tIns="0" rIns="0" bIns="0" rtlCol="0">
            <a:noAutofit/>
          </a:bodyPr>
          <a:lstStyle/>
          <a:p>
            <a:endParaRPr/>
          </a:p>
        </p:txBody>
      </p:sp>
      <p:sp>
        <p:nvSpPr>
          <p:cNvPr id="514" name="object 514"/>
          <p:cNvSpPr/>
          <p:nvPr/>
        </p:nvSpPr>
        <p:spPr>
          <a:xfrm>
            <a:off x="9222127" y="480056"/>
            <a:ext cx="1050592" cy="289146"/>
          </a:xfrm>
          <a:custGeom>
            <a:avLst/>
            <a:gdLst/>
            <a:ahLst/>
            <a:cxnLst/>
            <a:rect l="l" t="t" r="r" b="b"/>
            <a:pathLst>
              <a:path w="1050592" h="289146">
                <a:moveTo>
                  <a:pt x="1050294" y="287628"/>
                </a:moveTo>
                <a:lnTo>
                  <a:pt x="1050592" y="286109"/>
                </a:lnTo>
                <a:lnTo>
                  <a:pt x="595" y="0"/>
                </a:lnTo>
                <a:lnTo>
                  <a:pt x="0" y="3037"/>
                </a:lnTo>
                <a:lnTo>
                  <a:pt x="1049996" y="289146"/>
                </a:lnTo>
                <a:lnTo>
                  <a:pt x="1050294" y="287628"/>
                </a:lnTo>
                <a:close/>
              </a:path>
            </a:pathLst>
          </a:custGeom>
          <a:solidFill>
            <a:srgbClr val="000000"/>
          </a:solidFill>
        </p:spPr>
        <p:txBody>
          <a:bodyPr wrap="square" lIns="0" tIns="0" rIns="0" bIns="0" rtlCol="0">
            <a:noAutofit/>
          </a:bodyPr>
          <a:lstStyle/>
          <a:p>
            <a:endParaRPr/>
          </a:p>
        </p:txBody>
      </p:sp>
      <p:sp>
        <p:nvSpPr>
          <p:cNvPr id="515" name="object 515"/>
          <p:cNvSpPr/>
          <p:nvPr/>
        </p:nvSpPr>
        <p:spPr>
          <a:xfrm>
            <a:off x="10272125" y="766167"/>
            <a:ext cx="1785" cy="3037"/>
          </a:xfrm>
          <a:custGeom>
            <a:avLst/>
            <a:gdLst/>
            <a:ahLst/>
            <a:cxnLst/>
            <a:rect l="l" t="t" r="r" b="b"/>
            <a:pathLst>
              <a:path w="1785" h="3037">
                <a:moveTo>
                  <a:pt x="0" y="3037"/>
                </a:moveTo>
                <a:lnTo>
                  <a:pt x="1190" y="2733"/>
                </a:lnTo>
                <a:lnTo>
                  <a:pt x="1785" y="1822"/>
                </a:lnTo>
                <a:lnTo>
                  <a:pt x="1488" y="607"/>
                </a:lnTo>
                <a:lnTo>
                  <a:pt x="595" y="0"/>
                </a:lnTo>
                <a:lnTo>
                  <a:pt x="0" y="3037"/>
                </a:lnTo>
                <a:close/>
              </a:path>
            </a:pathLst>
          </a:custGeom>
          <a:solidFill>
            <a:srgbClr val="000000"/>
          </a:solidFill>
        </p:spPr>
        <p:txBody>
          <a:bodyPr wrap="square" lIns="0" tIns="0" rIns="0" bIns="0" rtlCol="0">
            <a:noAutofit/>
          </a:bodyPr>
          <a:lstStyle/>
          <a:p>
            <a:endParaRPr/>
          </a:p>
        </p:txBody>
      </p:sp>
      <p:sp>
        <p:nvSpPr>
          <p:cNvPr id="516" name="object 516"/>
          <p:cNvSpPr/>
          <p:nvPr/>
        </p:nvSpPr>
        <p:spPr>
          <a:xfrm>
            <a:off x="9221979" y="1116666"/>
            <a:ext cx="1339" cy="2733"/>
          </a:xfrm>
          <a:custGeom>
            <a:avLst/>
            <a:gdLst/>
            <a:ahLst/>
            <a:cxnLst/>
            <a:rect l="l" t="t" r="r" b="b"/>
            <a:pathLst>
              <a:path w="1339" h="2733">
                <a:moveTo>
                  <a:pt x="446" y="0"/>
                </a:moveTo>
                <a:lnTo>
                  <a:pt x="0" y="2581"/>
                </a:lnTo>
                <a:lnTo>
                  <a:pt x="446" y="2733"/>
                </a:lnTo>
                <a:lnTo>
                  <a:pt x="1339" y="2429"/>
                </a:lnTo>
                <a:lnTo>
                  <a:pt x="446" y="0"/>
                </a:lnTo>
                <a:close/>
              </a:path>
            </a:pathLst>
          </a:custGeom>
          <a:solidFill>
            <a:srgbClr val="000000"/>
          </a:solidFill>
        </p:spPr>
        <p:txBody>
          <a:bodyPr wrap="square" lIns="0" tIns="0" rIns="0" bIns="0" rtlCol="0">
            <a:noAutofit/>
          </a:bodyPr>
          <a:lstStyle/>
          <a:p>
            <a:endParaRPr/>
          </a:p>
        </p:txBody>
      </p:sp>
      <p:sp>
        <p:nvSpPr>
          <p:cNvPr id="517" name="object 517"/>
          <p:cNvSpPr/>
          <p:nvPr/>
        </p:nvSpPr>
        <p:spPr>
          <a:xfrm>
            <a:off x="9599359" y="1208391"/>
            <a:ext cx="1339" cy="2733"/>
          </a:xfrm>
          <a:custGeom>
            <a:avLst/>
            <a:gdLst/>
            <a:ahLst/>
            <a:cxnLst/>
            <a:rect l="l" t="t" r="r" b="b"/>
            <a:pathLst>
              <a:path w="1339" h="2733">
                <a:moveTo>
                  <a:pt x="446" y="0"/>
                </a:moveTo>
                <a:lnTo>
                  <a:pt x="0" y="2581"/>
                </a:lnTo>
                <a:lnTo>
                  <a:pt x="446" y="2733"/>
                </a:lnTo>
                <a:lnTo>
                  <a:pt x="1339" y="2429"/>
                </a:lnTo>
                <a:lnTo>
                  <a:pt x="446" y="0"/>
                </a:lnTo>
                <a:close/>
              </a:path>
            </a:pathLst>
          </a:custGeom>
          <a:solidFill>
            <a:srgbClr val="000000"/>
          </a:solidFill>
        </p:spPr>
        <p:txBody>
          <a:bodyPr wrap="square" lIns="0" tIns="0" rIns="0" bIns="0" rtlCol="0">
            <a:noAutofit/>
          </a:bodyPr>
          <a:lstStyle/>
          <a:p>
            <a:endParaRPr/>
          </a:p>
        </p:txBody>
      </p:sp>
      <p:sp>
        <p:nvSpPr>
          <p:cNvPr id="518" name="object 518"/>
          <p:cNvSpPr/>
          <p:nvPr/>
        </p:nvSpPr>
        <p:spPr>
          <a:xfrm>
            <a:off x="9597424" y="1117881"/>
            <a:ext cx="3869" cy="93091"/>
          </a:xfrm>
          <a:custGeom>
            <a:avLst/>
            <a:gdLst/>
            <a:ahLst/>
            <a:cxnLst/>
            <a:rect l="l" t="t" r="r" b="b"/>
            <a:pathLst>
              <a:path w="3869" h="93091">
                <a:moveTo>
                  <a:pt x="3273" y="92940"/>
                </a:moveTo>
                <a:lnTo>
                  <a:pt x="3869" y="92028"/>
                </a:lnTo>
                <a:lnTo>
                  <a:pt x="2976" y="0"/>
                </a:lnTo>
                <a:lnTo>
                  <a:pt x="0" y="0"/>
                </a:lnTo>
                <a:lnTo>
                  <a:pt x="892" y="92028"/>
                </a:lnTo>
                <a:lnTo>
                  <a:pt x="1488" y="92940"/>
                </a:lnTo>
                <a:lnTo>
                  <a:pt x="1934" y="93091"/>
                </a:lnTo>
                <a:lnTo>
                  <a:pt x="2380" y="90510"/>
                </a:lnTo>
                <a:lnTo>
                  <a:pt x="3273" y="92940"/>
                </a:lnTo>
                <a:close/>
              </a:path>
            </a:pathLst>
          </a:custGeom>
          <a:solidFill>
            <a:srgbClr val="000000"/>
          </a:solidFill>
        </p:spPr>
        <p:txBody>
          <a:bodyPr wrap="square" lIns="0" tIns="0" rIns="0" bIns="0" rtlCol="0">
            <a:noAutofit/>
          </a:bodyPr>
          <a:lstStyle/>
          <a:p>
            <a:endParaRPr/>
          </a:p>
        </p:txBody>
      </p:sp>
      <p:sp>
        <p:nvSpPr>
          <p:cNvPr id="519" name="object 519"/>
          <p:cNvSpPr/>
          <p:nvPr/>
        </p:nvSpPr>
        <p:spPr>
          <a:xfrm>
            <a:off x="9599805" y="1188346"/>
            <a:ext cx="674105" cy="23083"/>
          </a:xfrm>
          <a:custGeom>
            <a:avLst/>
            <a:gdLst/>
            <a:ahLst/>
            <a:cxnLst/>
            <a:rect l="l" t="t" r="r" b="b"/>
            <a:pathLst>
              <a:path w="674105" h="23083">
                <a:moveTo>
                  <a:pt x="673509" y="2429"/>
                </a:moveTo>
                <a:lnTo>
                  <a:pt x="674105" y="1518"/>
                </a:lnTo>
                <a:lnTo>
                  <a:pt x="673509" y="607"/>
                </a:lnTo>
                <a:lnTo>
                  <a:pt x="672617" y="0"/>
                </a:lnTo>
                <a:lnTo>
                  <a:pt x="0" y="20045"/>
                </a:lnTo>
                <a:lnTo>
                  <a:pt x="0" y="23083"/>
                </a:lnTo>
                <a:lnTo>
                  <a:pt x="672617" y="3037"/>
                </a:lnTo>
                <a:lnTo>
                  <a:pt x="671128" y="1518"/>
                </a:lnTo>
                <a:lnTo>
                  <a:pt x="672617" y="3037"/>
                </a:lnTo>
                <a:lnTo>
                  <a:pt x="673509" y="2429"/>
                </a:lnTo>
                <a:close/>
              </a:path>
            </a:pathLst>
          </a:custGeom>
          <a:solidFill>
            <a:srgbClr val="000000"/>
          </a:solidFill>
        </p:spPr>
        <p:txBody>
          <a:bodyPr wrap="square" lIns="0" tIns="0" rIns="0" bIns="0" rtlCol="0">
            <a:noAutofit/>
          </a:bodyPr>
          <a:lstStyle/>
          <a:p>
            <a:endParaRPr/>
          </a:p>
        </p:txBody>
      </p:sp>
      <p:sp>
        <p:nvSpPr>
          <p:cNvPr id="520" name="object 520"/>
          <p:cNvSpPr/>
          <p:nvPr/>
        </p:nvSpPr>
        <p:spPr>
          <a:xfrm>
            <a:off x="9220936" y="403214"/>
            <a:ext cx="1051782" cy="335616"/>
          </a:xfrm>
          <a:custGeom>
            <a:avLst/>
            <a:gdLst/>
            <a:ahLst/>
            <a:cxnLst/>
            <a:rect l="l" t="t" r="r" b="b"/>
            <a:pathLst>
              <a:path w="1051782" h="335616">
                <a:moveTo>
                  <a:pt x="0" y="1214"/>
                </a:moveTo>
                <a:lnTo>
                  <a:pt x="0" y="2429"/>
                </a:lnTo>
                <a:lnTo>
                  <a:pt x="892" y="3037"/>
                </a:lnTo>
                <a:lnTo>
                  <a:pt x="1051187" y="335616"/>
                </a:lnTo>
                <a:lnTo>
                  <a:pt x="1051782" y="332579"/>
                </a:lnTo>
                <a:lnTo>
                  <a:pt x="2678" y="1518"/>
                </a:lnTo>
                <a:lnTo>
                  <a:pt x="1488" y="0"/>
                </a:lnTo>
                <a:lnTo>
                  <a:pt x="297" y="303"/>
                </a:lnTo>
                <a:lnTo>
                  <a:pt x="0" y="1214"/>
                </a:lnTo>
                <a:close/>
              </a:path>
              <a:path w="1051782" h="335616">
                <a:moveTo>
                  <a:pt x="1488" y="0"/>
                </a:moveTo>
                <a:lnTo>
                  <a:pt x="2678" y="1518"/>
                </a:lnTo>
                <a:lnTo>
                  <a:pt x="1051782" y="332579"/>
                </a:lnTo>
                <a:lnTo>
                  <a:pt x="1488" y="0"/>
                </a:lnTo>
                <a:close/>
              </a:path>
            </a:pathLst>
          </a:custGeom>
          <a:solidFill>
            <a:srgbClr val="000000"/>
          </a:solidFill>
        </p:spPr>
        <p:txBody>
          <a:bodyPr wrap="square" lIns="0" tIns="0" rIns="0" bIns="0" rtlCol="0">
            <a:noAutofit/>
          </a:bodyPr>
          <a:lstStyle/>
          <a:p>
            <a:endParaRPr/>
          </a:p>
        </p:txBody>
      </p:sp>
      <p:sp>
        <p:nvSpPr>
          <p:cNvPr id="521" name="object 521"/>
          <p:cNvSpPr/>
          <p:nvPr/>
        </p:nvSpPr>
        <p:spPr>
          <a:xfrm>
            <a:off x="8713497" y="515290"/>
            <a:ext cx="1488" cy="3037"/>
          </a:xfrm>
          <a:custGeom>
            <a:avLst/>
            <a:gdLst/>
            <a:ahLst/>
            <a:cxnLst/>
            <a:rect l="l" t="t" r="r" b="b"/>
            <a:pathLst>
              <a:path w="1488" h="3037">
                <a:moveTo>
                  <a:pt x="892" y="0"/>
                </a:moveTo>
                <a:lnTo>
                  <a:pt x="0" y="607"/>
                </a:lnTo>
                <a:lnTo>
                  <a:pt x="0" y="1822"/>
                </a:lnTo>
                <a:lnTo>
                  <a:pt x="297" y="2733"/>
                </a:lnTo>
                <a:lnTo>
                  <a:pt x="1488" y="3037"/>
                </a:lnTo>
                <a:lnTo>
                  <a:pt x="892" y="0"/>
                </a:lnTo>
                <a:close/>
              </a:path>
            </a:pathLst>
          </a:custGeom>
          <a:solidFill>
            <a:srgbClr val="000000"/>
          </a:solidFill>
        </p:spPr>
        <p:txBody>
          <a:bodyPr wrap="square" lIns="0" tIns="0" rIns="0" bIns="0" rtlCol="0">
            <a:noAutofit/>
          </a:bodyPr>
          <a:lstStyle/>
          <a:p>
            <a:endParaRPr/>
          </a:p>
        </p:txBody>
      </p:sp>
      <p:sp>
        <p:nvSpPr>
          <p:cNvPr id="522" name="object 522"/>
          <p:cNvSpPr/>
          <p:nvPr/>
        </p:nvSpPr>
        <p:spPr>
          <a:xfrm>
            <a:off x="8714391" y="451507"/>
            <a:ext cx="452677" cy="66819"/>
          </a:xfrm>
          <a:custGeom>
            <a:avLst/>
            <a:gdLst/>
            <a:ahLst/>
            <a:cxnLst/>
            <a:rect l="l" t="t" r="r" b="b"/>
            <a:pathLst>
              <a:path w="452677" h="66819">
                <a:moveTo>
                  <a:pt x="452677" y="1214"/>
                </a:moveTo>
                <a:lnTo>
                  <a:pt x="452081" y="303"/>
                </a:lnTo>
                <a:lnTo>
                  <a:pt x="450891" y="0"/>
                </a:lnTo>
                <a:lnTo>
                  <a:pt x="449701" y="1518"/>
                </a:lnTo>
                <a:lnTo>
                  <a:pt x="450891" y="0"/>
                </a:lnTo>
                <a:lnTo>
                  <a:pt x="0" y="63782"/>
                </a:lnTo>
                <a:lnTo>
                  <a:pt x="595" y="66819"/>
                </a:lnTo>
                <a:lnTo>
                  <a:pt x="451486" y="3037"/>
                </a:lnTo>
                <a:lnTo>
                  <a:pt x="452379" y="2429"/>
                </a:lnTo>
                <a:lnTo>
                  <a:pt x="452615" y="1466"/>
                </a:lnTo>
                <a:lnTo>
                  <a:pt x="452677" y="1214"/>
                </a:lnTo>
                <a:close/>
              </a:path>
            </a:pathLst>
          </a:custGeom>
          <a:solidFill>
            <a:srgbClr val="000000"/>
          </a:solidFill>
        </p:spPr>
        <p:txBody>
          <a:bodyPr wrap="square" lIns="0" tIns="0" rIns="0" bIns="0" rtlCol="0">
            <a:noAutofit/>
          </a:bodyPr>
          <a:lstStyle/>
          <a:p>
            <a:endParaRPr/>
          </a:p>
        </p:txBody>
      </p:sp>
      <p:sp>
        <p:nvSpPr>
          <p:cNvPr id="523" name="object 523"/>
          <p:cNvSpPr/>
          <p:nvPr/>
        </p:nvSpPr>
        <p:spPr>
          <a:xfrm>
            <a:off x="9164389" y="1143089"/>
            <a:ext cx="2976" cy="1214"/>
          </a:xfrm>
          <a:custGeom>
            <a:avLst/>
            <a:gdLst/>
            <a:ahLst/>
            <a:cxnLst/>
            <a:rect l="l" t="t" r="r" b="b"/>
            <a:pathLst>
              <a:path w="2976" h="1214">
                <a:moveTo>
                  <a:pt x="0" y="0"/>
                </a:moveTo>
                <a:lnTo>
                  <a:pt x="595" y="911"/>
                </a:lnTo>
                <a:lnTo>
                  <a:pt x="1488" y="1214"/>
                </a:lnTo>
                <a:lnTo>
                  <a:pt x="2380" y="911"/>
                </a:lnTo>
                <a:lnTo>
                  <a:pt x="2976" y="0"/>
                </a:lnTo>
                <a:lnTo>
                  <a:pt x="0" y="0"/>
                </a:lnTo>
                <a:close/>
              </a:path>
            </a:pathLst>
          </a:custGeom>
          <a:solidFill>
            <a:srgbClr val="000000"/>
          </a:solidFill>
        </p:spPr>
        <p:txBody>
          <a:bodyPr wrap="square" lIns="0" tIns="0" rIns="0" bIns="0" rtlCol="0">
            <a:noAutofit/>
          </a:bodyPr>
          <a:lstStyle/>
          <a:p>
            <a:endParaRPr/>
          </a:p>
        </p:txBody>
      </p:sp>
      <p:sp>
        <p:nvSpPr>
          <p:cNvPr id="524" name="object 524"/>
          <p:cNvSpPr/>
          <p:nvPr/>
        </p:nvSpPr>
        <p:spPr>
          <a:xfrm>
            <a:off x="8516773" y="471857"/>
            <a:ext cx="156547" cy="82917"/>
          </a:xfrm>
          <a:custGeom>
            <a:avLst/>
            <a:gdLst/>
            <a:ahLst/>
            <a:cxnLst/>
            <a:rect l="l" t="t" r="r" b="b"/>
            <a:pathLst>
              <a:path w="156547" h="82917">
                <a:moveTo>
                  <a:pt x="0" y="0"/>
                </a:moveTo>
                <a:lnTo>
                  <a:pt x="0" y="82917"/>
                </a:lnTo>
                <a:lnTo>
                  <a:pt x="23511" y="82613"/>
                </a:lnTo>
                <a:lnTo>
                  <a:pt x="44047" y="82005"/>
                </a:lnTo>
                <a:lnTo>
                  <a:pt x="61309" y="81398"/>
                </a:lnTo>
                <a:lnTo>
                  <a:pt x="75595" y="80791"/>
                </a:lnTo>
                <a:lnTo>
                  <a:pt x="87797" y="79879"/>
                </a:lnTo>
                <a:lnTo>
                  <a:pt x="97916" y="79272"/>
                </a:lnTo>
                <a:lnTo>
                  <a:pt x="106249" y="78361"/>
                </a:lnTo>
                <a:lnTo>
                  <a:pt x="113094" y="77450"/>
                </a:lnTo>
                <a:lnTo>
                  <a:pt x="119047" y="76842"/>
                </a:lnTo>
                <a:lnTo>
                  <a:pt x="124106" y="75931"/>
                </a:lnTo>
                <a:lnTo>
                  <a:pt x="128571" y="75323"/>
                </a:lnTo>
                <a:lnTo>
                  <a:pt x="133035" y="75020"/>
                </a:lnTo>
                <a:lnTo>
                  <a:pt x="137797" y="74716"/>
                </a:lnTo>
                <a:lnTo>
                  <a:pt x="143154" y="74412"/>
                </a:lnTo>
                <a:lnTo>
                  <a:pt x="149106" y="74716"/>
                </a:lnTo>
                <a:lnTo>
                  <a:pt x="156547" y="75020"/>
                </a:lnTo>
                <a:lnTo>
                  <a:pt x="0" y="0"/>
                </a:lnTo>
                <a:close/>
              </a:path>
            </a:pathLst>
          </a:custGeom>
          <a:solidFill>
            <a:srgbClr val="EFEFEF"/>
          </a:solidFill>
        </p:spPr>
        <p:txBody>
          <a:bodyPr wrap="square" lIns="0" tIns="0" rIns="0" bIns="0" rtlCol="0">
            <a:noAutofit/>
          </a:bodyPr>
          <a:lstStyle/>
          <a:p>
            <a:endParaRPr/>
          </a:p>
        </p:txBody>
      </p:sp>
      <p:sp>
        <p:nvSpPr>
          <p:cNvPr id="525" name="object 525"/>
          <p:cNvSpPr/>
          <p:nvPr/>
        </p:nvSpPr>
        <p:spPr>
          <a:xfrm>
            <a:off x="8516177" y="470338"/>
            <a:ext cx="158630" cy="78057"/>
          </a:xfrm>
          <a:custGeom>
            <a:avLst/>
            <a:gdLst/>
            <a:ahLst/>
            <a:cxnLst/>
            <a:rect l="l" t="t" r="r" b="b"/>
            <a:pathLst>
              <a:path w="158630" h="78057">
                <a:moveTo>
                  <a:pt x="157737" y="75020"/>
                </a:moveTo>
                <a:lnTo>
                  <a:pt x="1190" y="0"/>
                </a:lnTo>
                <a:lnTo>
                  <a:pt x="157142" y="75020"/>
                </a:lnTo>
                <a:lnTo>
                  <a:pt x="157142" y="78057"/>
                </a:lnTo>
                <a:lnTo>
                  <a:pt x="157737" y="78057"/>
                </a:lnTo>
                <a:lnTo>
                  <a:pt x="158630" y="76842"/>
                </a:lnTo>
                <a:lnTo>
                  <a:pt x="158630" y="75931"/>
                </a:lnTo>
                <a:lnTo>
                  <a:pt x="157737" y="75020"/>
                </a:lnTo>
                <a:close/>
              </a:path>
              <a:path w="158630" h="78057">
                <a:moveTo>
                  <a:pt x="156547" y="78057"/>
                </a:moveTo>
                <a:lnTo>
                  <a:pt x="157142" y="78057"/>
                </a:lnTo>
                <a:lnTo>
                  <a:pt x="157142" y="75020"/>
                </a:lnTo>
                <a:lnTo>
                  <a:pt x="1190" y="0"/>
                </a:lnTo>
                <a:lnTo>
                  <a:pt x="0" y="3037"/>
                </a:lnTo>
                <a:lnTo>
                  <a:pt x="156547" y="78057"/>
                </a:lnTo>
                <a:close/>
              </a:path>
            </a:pathLst>
          </a:custGeom>
          <a:solidFill>
            <a:srgbClr val="000000"/>
          </a:solidFill>
        </p:spPr>
        <p:txBody>
          <a:bodyPr wrap="square" lIns="0" tIns="0" rIns="0" bIns="0" rtlCol="0">
            <a:noAutofit/>
          </a:bodyPr>
          <a:lstStyle/>
          <a:p>
            <a:endParaRPr/>
          </a:p>
        </p:txBody>
      </p:sp>
      <p:sp>
        <p:nvSpPr>
          <p:cNvPr id="526" name="object 526"/>
          <p:cNvSpPr/>
          <p:nvPr/>
        </p:nvSpPr>
        <p:spPr>
          <a:xfrm>
            <a:off x="8515582" y="544751"/>
            <a:ext cx="157737" cy="11541"/>
          </a:xfrm>
          <a:custGeom>
            <a:avLst/>
            <a:gdLst/>
            <a:ahLst/>
            <a:cxnLst/>
            <a:rect l="l" t="t" r="r" b="b"/>
            <a:pathLst>
              <a:path w="157737" h="11541">
                <a:moveTo>
                  <a:pt x="1190" y="11541"/>
                </a:moveTo>
                <a:lnTo>
                  <a:pt x="24702" y="11237"/>
                </a:lnTo>
                <a:lnTo>
                  <a:pt x="45237" y="10630"/>
                </a:lnTo>
                <a:lnTo>
                  <a:pt x="62499" y="10022"/>
                </a:lnTo>
                <a:lnTo>
                  <a:pt x="76785" y="9415"/>
                </a:lnTo>
                <a:lnTo>
                  <a:pt x="88987" y="8504"/>
                </a:lnTo>
                <a:lnTo>
                  <a:pt x="99106" y="7896"/>
                </a:lnTo>
                <a:lnTo>
                  <a:pt x="107737" y="6985"/>
                </a:lnTo>
                <a:lnTo>
                  <a:pt x="114582" y="6074"/>
                </a:lnTo>
                <a:lnTo>
                  <a:pt x="120535" y="5467"/>
                </a:lnTo>
                <a:lnTo>
                  <a:pt x="125594" y="4555"/>
                </a:lnTo>
                <a:lnTo>
                  <a:pt x="129761" y="3948"/>
                </a:lnTo>
                <a:lnTo>
                  <a:pt x="134225" y="3644"/>
                </a:lnTo>
                <a:lnTo>
                  <a:pt x="138987" y="3340"/>
                </a:lnTo>
                <a:lnTo>
                  <a:pt x="144344" y="3037"/>
                </a:lnTo>
                <a:lnTo>
                  <a:pt x="150297" y="3340"/>
                </a:lnTo>
                <a:lnTo>
                  <a:pt x="157737" y="3644"/>
                </a:lnTo>
                <a:lnTo>
                  <a:pt x="157737" y="607"/>
                </a:lnTo>
                <a:lnTo>
                  <a:pt x="150297" y="303"/>
                </a:lnTo>
                <a:lnTo>
                  <a:pt x="144344" y="0"/>
                </a:lnTo>
                <a:lnTo>
                  <a:pt x="138987" y="303"/>
                </a:lnTo>
                <a:lnTo>
                  <a:pt x="134225" y="607"/>
                </a:lnTo>
                <a:lnTo>
                  <a:pt x="129761" y="911"/>
                </a:lnTo>
                <a:lnTo>
                  <a:pt x="124999" y="1518"/>
                </a:lnTo>
                <a:lnTo>
                  <a:pt x="119940" y="2429"/>
                </a:lnTo>
                <a:lnTo>
                  <a:pt x="113987" y="3037"/>
                </a:lnTo>
                <a:lnTo>
                  <a:pt x="107142" y="3948"/>
                </a:lnTo>
                <a:lnTo>
                  <a:pt x="99106" y="4859"/>
                </a:lnTo>
                <a:lnTo>
                  <a:pt x="88987" y="5467"/>
                </a:lnTo>
                <a:lnTo>
                  <a:pt x="76785" y="6378"/>
                </a:lnTo>
                <a:lnTo>
                  <a:pt x="62499" y="6985"/>
                </a:lnTo>
                <a:lnTo>
                  <a:pt x="45237" y="7593"/>
                </a:lnTo>
                <a:lnTo>
                  <a:pt x="24702" y="8200"/>
                </a:lnTo>
                <a:lnTo>
                  <a:pt x="2678" y="10022"/>
                </a:lnTo>
                <a:lnTo>
                  <a:pt x="1190" y="8504"/>
                </a:lnTo>
                <a:lnTo>
                  <a:pt x="297" y="9111"/>
                </a:lnTo>
                <a:lnTo>
                  <a:pt x="0" y="10022"/>
                </a:lnTo>
                <a:lnTo>
                  <a:pt x="148" y="10478"/>
                </a:lnTo>
                <a:lnTo>
                  <a:pt x="297" y="10934"/>
                </a:lnTo>
                <a:lnTo>
                  <a:pt x="1190" y="11541"/>
                </a:lnTo>
                <a:close/>
              </a:path>
            </a:pathLst>
          </a:custGeom>
          <a:solidFill>
            <a:srgbClr val="000000"/>
          </a:solidFill>
        </p:spPr>
        <p:txBody>
          <a:bodyPr wrap="square" lIns="0" tIns="0" rIns="0" bIns="0" rtlCol="0">
            <a:noAutofit/>
          </a:bodyPr>
          <a:lstStyle/>
          <a:p>
            <a:endParaRPr/>
          </a:p>
        </p:txBody>
      </p:sp>
      <p:sp>
        <p:nvSpPr>
          <p:cNvPr id="527" name="object 527"/>
          <p:cNvSpPr/>
          <p:nvPr/>
        </p:nvSpPr>
        <p:spPr>
          <a:xfrm>
            <a:off x="8516773" y="552951"/>
            <a:ext cx="23511" cy="1822"/>
          </a:xfrm>
          <a:custGeom>
            <a:avLst/>
            <a:gdLst/>
            <a:ahLst/>
            <a:cxnLst/>
            <a:rect l="l" t="t" r="r" b="b"/>
            <a:pathLst>
              <a:path w="23511" h="1822">
                <a:moveTo>
                  <a:pt x="1488" y="1822"/>
                </a:moveTo>
                <a:lnTo>
                  <a:pt x="23511" y="0"/>
                </a:lnTo>
                <a:lnTo>
                  <a:pt x="0" y="303"/>
                </a:lnTo>
                <a:lnTo>
                  <a:pt x="1488" y="1822"/>
                </a:lnTo>
                <a:close/>
              </a:path>
            </a:pathLst>
          </a:custGeom>
          <a:solidFill>
            <a:srgbClr val="000000"/>
          </a:solidFill>
        </p:spPr>
        <p:txBody>
          <a:bodyPr wrap="square" lIns="0" tIns="0" rIns="0" bIns="0" rtlCol="0">
            <a:noAutofit/>
          </a:bodyPr>
          <a:lstStyle/>
          <a:p>
            <a:endParaRPr/>
          </a:p>
        </p:txBody>
      </p:sp>
      <p:sp>
        <p:nvSpPr>
          <p:cNvPr id="528" name="object 528"/>
          <p:cNvSpPr/>
          <p:nvPr/>
        </p:nvSpPr>
        <p:spPr>
          <a:xfrm>
            <a:off x="8515284" y="470338"/>
            <a:ext cx="2976" cy="3037"/>
          </a:xfrm>
          <a:custGeom>
            <a:avLst/>
            <a:gdLst/>
            <a:ahLst/>
            <a:cxnLst/>
            <a:rect l="l" t="t" r="r" b="b"/>
            <a:pathLst>
              <a:path w="2976" h="3037">
                <a:moveTo>
                  <a:pt x="1795" y="209"/>
                </a:moveTo>
                <a:lnTo>
                  <a:pt x="1488" y="0"/>
                </a:lnTo>
                <a:lnTo>
                  <a:pt x="595" y="607"/>
                </a:lnTo>
                <a:lnTo>
                  <a:pt x="0" y="1518"/>
                </a:lnTo>
                <a:lnTo>
                  <a:pt x="892" y="3037"/>
                </a:lnTo>
                <a:lnTo>
                  <a:pt x="2976" y="1518"/>
                </a:lnTo>
                <a:lnTo>
                  <a:pt x="2380" y="607"/>
                </a:lnTo>
                <a:lnTo>
                  <a:pt x="1795" y="209"/>
                </a:lnTo>
                <a:close/>
              </a:path>
            </a:pathLst>
          </a:custGeom>
          <a:solidFill>
            <a:srgbClr val="000000"/>
          </a:solidFill>
        </p:spPr>
        <p:txBody>
          <a:bodyPr wrap="square" lIns="0" tIns="0" rIns="0" bIns="0" rtlCol="0">
            <a:noAutofit/>
          </a:bodyPr>
          <a:lstStyle/>
          <a:p>
            <a:endParaRPr/>
          </a:p>
        </p:txBody>
      </p:sp>
      <p:sp>
        <p:nvSpPr>
          <p:cNvPr id="529" name="object 529"/>
          <p:cNvSpPr/>
          <p:nvPr/>
        </p:nvSpPr>
        <p:spPr>
          <a:xfrm>
            <a:off x="8515284" y="471857"/>
            <a:ext cx="2976" cy="82917"/>
          </a:xfrm>
          <a:custGeom>
            <a:avLst/>
            <a:gdLst/>
            <a:ahLst/>
            <a:cxnLst/>
            <a:rect l="l" t="t" r="r" b="b"/>
            <a:pathLst>
              <a:path w="2976" h="82917">
                <a:moveTo>
                  <a:pt x="2976" y="82917"/>
                </a:moveTo>
                <a:lnTo>
                  <a:pt x="2976" y="0"/>
                </a:lnTo>
                <a:lnTo>
                  <a:pt x="892" y="1518"/>
                </a:lnTo>
                <a:lnTo>
                  <a:pt x="0" y="0"/>
                </a:lnTo>
                <a:lnTo>
                  <a:pt x="0" y="82917"/>
                </a:lnTo>
                <a:lnTo>
                  <a:pt x="2976" y="82917"/>
                </a:lnTo>
                <a:close/>
              </a:path>
            </a:pathLst>
          </a:custGeom>
          <a:solidFill>
            <a:srgbClr val="000000"/>
          </a:solidFill>
        </p:spPr>
        <p:txBody>
          <a:bodyPr wrap="square" lIns="0" tIns="0" rIns="0" bIns="0" rtlCol="0">
            <a:noAutofit/>
          </a:bodyPr>
          <a:lstStyle/>
          <a:p>
            <a:endParaRPr/>
          </a:p>
        </p:txBody>
      </p:sp>
      <p:sp>
        <p:nvSpPr>
          <p:cNvPr id="530" name="object 530"/>
          <p:cNvSpPr/>
          <p:nvPr/>
        </p:nvSpPr>
        <p:spPr>
          <a:xfrm>
            <a:off x="8587307" y="481879"/>
            <a:ext cx="122618" cy="75020"/>
          </a:xfrm>
          <a:custGeom>
            <a:avLst/>
            <a:gdLst/>
            <a:ahLst/>
            <a:cxnLst/>
            <a:rect l="l" t="t" r="r" b="b"/>
            <a:pathLst>
              <a:path w="122618" h="75020">
                <a:moveTo>
                  <a:pt x="0" y="0"/>
                </a:moveTo>
                <a:lnTo>
                  <a:pt x="0" y="71982"/>
                </a:lnTo>
                <a:lnTo>
                  <a:pt x="3571" y="70464"/>
                </a:lnTo>
                <a:lnTo>
                  <a:pt x="6845" y="68945"/>
                </a:lnTo>
                <a:lnTo>
                  <a:pt x="10119" y="67730"/>
                </a:lnTo>
                <a:lnTo>
                  <a:pt x="13392" y="66515"/>
                </a:lnTo>
                <a:lnTo>
                  <a:pt x="16666" y="65301"/>
                </a:lnTo>
                <a:lnTo>
                  <a:pt x="19940" y="64389"/>
                </a:lnTo>
                <a:lnTo>
                  <a:pt x="23214" y="63478"/>
                </a:lnTo>
                <a:lnTo>
                  <a:pt x="26488" y="62871"/>
                </a:lnTo>
                <a:lnTo>
                  <a:pt x="30059" y="62263"/>
                </a:lnTo>
                <a:lnTo>
                  <a:pt x="33333" y="61960"/>
                </a:lnTo>
                <a:lnTo>
                  <a:pt x="36904" y="61656"/>
                </a:lnTo>
                <a:lnTo>
                  <a:pt x="44345" y="61656"/>
                </a:lnTo>
                <a:lnTo>
                  <a:pt x="48214" y="62263"/>
                </a:lnTo>
                <a:lnTo>
                  <a:pt x="52380" y="62871"/>
                </a:lnTo>
                <a:lnTo>
                  <a:pt x="56547" y="63782"/>
                </a:lnTo>
                <a:lnTo>
                  <a:pt x="122618" y="75020"/>
                </a:lnTo>
                <a:lnTo>
                  <a:pt x="56845" y="54063"/>
                </a:lnTo>
                <a:lnTo>
                  <a:pt x="52380" y="52544"/>
                </a:lnTo>
                <a:lnTo>
                  <a:pt x="47916" y="50418"/>
                </a:lnTo>
                <a:lnTo>
                  <a:pt x="43749" y="48292"/>
                </a:lnTo>
                <a:lnTo>
                  <a:pt x="39285" y="45558"/>
                </a:lnTo>
                <a:lnTo>
                  <a:pt x="35416" y="42825"/>
                </a:lnTo>
                <a:lnTo>
                  <a:pt x="31547" y="39484"/>
                </a:lnTo>
                <a:lnTo>
                  <a:pt x="27678" y="36143"/>
                </a:lnTo>
                <a:lnTo>
                  <a:pt x="24107" y="32498"/>
                </a:lnTo>
                <a:lnTo>
                  <a:pt x="20535" y="28853"/>
                </a:lnTo>
                <a:lnTo>
                  <a:pt x="16964" y="24905"/>
                </a:lnTo>
                <a:lnTo>
                  <a:pt x="13690" y="20653"/>
                </a:lnTo>
                <a:lnTo>
                  <a:pt x="10714" y="16704"/>
                </a:lnTo>
                <a:lnTo>
                  <a:pt x="7738" y="12452"/>
                </a:lnTo>
                <a:lnTo>
                  <a:pt x="5059" y="8200"/>
                </a:lnTo>
                <a:lnTo>
                  <a:pt x="2380" y="4252"/>
                </a:lnTo>
                <a:lnTo>
                  <a:pt x="0" y="0"/>
                </a:lnTo>
                <a:close/>
              </a:path>
            </a:pathLst>
          </a:custGeom>
          <a:solidFill>
            <a:srgbClr val="FFDF00"/>
          </a:solidFill>
        </p:spPr>
        <p:txBody>
          <a:bodyPr wrap="square" lIns="0" tIns="0" rIns="0" bIns="0" rtlCol="0">
            <a:noAutofit/>
          </a:bodyPr>
          <a:lstStyle/>
          <a:p>
            <a:endParaRPr/>
          </a:p>
        </p:txBody>
      </p:sp>
      <p:sp>
        <p:nvSpPr>
          <p:cNvPr id="531" name="object 531"/>
          <p:cNvSpPr/>
          <p:nvPr/>
        </p:nvSpPr>
        <p:spPr>
          <a:xfrm>
            <a:off x="8586118" y="480968"/>
            <a:ext cx="59523" cy="56492"/>
          </a:xfrm>
          <a:custGeom>
            <a:avLst/>
            <a:gdLst/>
            <a:ahLst/>
            <a:cxnLst/>
            <a:rect l="l" t="t" r="r" b="b"/>
            <a:pathLst>
              <a:path w="59523" h="56492">
                <a:moveTo>
                  <a:pt x="59523" y="55278"/>
                </a:moveTo>
                <a:lnTo>
                  <a:pt x="59226" y="54063"/>
                </a:lnTo>
                <a:lnTo>
                  <a:pt x="58333" y="53455"/>
                </a:lnTo>
                <a:lnTo>
                  <a:pt x="54166" y="51937"/>
                </a:lnTo>
                <a:lnTo>
                  <a:pt x="49702" y="50114"/>
                </a:lnTo>
                <a:lnTo>
                  <a:pt x="45535" y="47988"/>
                </a:lnTo>
                <a:lnTo>
                  <a:pt x="41368" y="45255"/>
                </a:lnTo>
                <a:lnTo>
                  <a:pt x="37499" y="42521"/>
                </a:lnTo>
                <a:lnTo>
                  <a:pt x="33630" y="39180"/>
                </a:lnTo>
                <a:lnTo>
                  <a:pt x="29761" y="35839"/>
                </a:lnTo>
                <a:lnTo>
                  <a:pt x="26488" y="32194"/>
                </a:lnTo>
                <a:lnTo>
                  <a:pt x="22916" y="28853"/>
                </a:lnTo>
                <a:lnTo>
                  <a:pt x="19345" y="24905"/>
                </a:lnTo>
                <a:lnTo>
                  <a:pt x="16071" y="20653"/>
                </a:lnTo>
                <a:lnTo>
                  <a:pt x="13095" y="16704"/>
                </a:lnTo>
                <a:lnTo>
                  <a:pt x="10119" y="12452"/>
                </a:lnTo>
                <a:lnTo>
                  <a:pt x="7440" y="8200"/>
                </a:lnTo>
                <a:lnTo>
                  <a:pt x="4761" y="4252"/>
                </a:lnTo>
                <a:lnTo>
                  <a:pt x="2380" y="0"/>
                </a:lnTo>
                <a:lnTo>
                  <a:pt x="0" y="1822"/>
                </a:lnTo>
                <a:lnTo>
                  <a:pt x="2380" y="6074"/>
                </a:lnTo>
                <a:lnTo>
                  <a:pt x="5059" y="10022"/>
                </a:lnTo>
                <a:lnTo>
                  <a:pt x="7738" y="14275"/>
                </a:lnTo>
                <a:lnTo>
                  <a:pt x="10714" y="18527"/>
                </a:lnTo>
                <a:lnTo>
                  <a:pt x="13690" y="22475"/>
                </a:lnTo>
                <a:lnTo>
                  <a:pt x="16964" y="26727"/>
                </a:lnTo>
                <a:lnTo>
                  <a:pt x="20535" y="30676"/>
                </a:lnTo>
                <a:lnTo>
                  <a:pt x="24107" y="34624"/>
                </a:lnTo>
                <a:lnTo>
                  <a:pt x="27976" y="38269"/>
                </a:lnTo>
                <a:lnTo>
                  <a:pt x="31845" y="41610"/>
                </a:lnTo>
                <a:lnTo>
                  <a:pt x="35714" y="44951"/>
                </a:lnTo>
                <a:lnTo>
                  <a:pt x="39583" y="47684"/>
                </a:lnTo>
                <a:lnTo>
                  <a:pt x="44345" y="50418"/>
                </a:lnTo>
                <a:lnTo>
                  <a:pt x="48511" y="52544"/>
                </a:lnTo>
                <a:lnTo>
                  <a:pt x="52976" y="54974"/>
                </a:lnTo>
                <a:lnTo>
                  <a:pt x="57737" y="56492"/>
                </a:lnTo>
                <a:lnTo>
                  <a:pt x="58928" y="56189"/>
                </a:lnTo>
                <a:lnTo>
                  <a:pt x="59523" y="55278"/>
                </a:lnTo>
                <a:close/>
              </a:path>
            </a:pathLst>
          </a:custGeom>
          <a:solidFill>
            <a:srgbClr val="000000"/>
          </a:solidFill>
        </p:spPr>
        <p:txBody>
          <a:bodyPr wrap="square" lIns="0" tIns="0" rIns="0" bIns="0" rtlCol="0">
            <a:noAutofit/>
          </a:bodyPr>
          <a:lstStyle/>
          <a:p>
            <a:endParaRPr/>
          </a:p>
        </p:txBody>
      </p:sp>
      <p:sp>
        <p:nvSpPr>
          <p:cNvPr id="532" name="object 532"/>
          <p:cNvSpPr/>
          <p:nvPr/>
        </p:nvSpPr>
        <p:spPr>
          <a:xfrm>
            <a:off x="8643856" y="534423"/>
            <a:ext cx="67559" cy="23994"/>
          </a:xfrm>
          <a:custGeom>
            <a:avLst/>
            <a:gdLst/>
            <a:ahLst/>
            <a:cxnLst/>
            <a:rect l="l" t="t" r="r" b="b"/>
            <a:pathLst>
              <a:path w="67559" h="23994">
                <a:moveTo>
                  <a:pt x="65773" y="23994"/>
                </a:moveTo>
                <a:lnTo>
                  <a:pt x="66368" y="20957"/>
                </a:lnTo>
                <a:lnTo>
                  <a:pt x="595" y="0"/>
                </a:lnTo>
                <a:lnTo>
                  <a:pt x="0" y="3037"/>
                </a:lnTo>
                <a:lnTo>
                  <a:pt x="65773" y="23994"/>
                </a:lnTo>
                <a:lnTo>
                  <a:pt x="66368" y="20957"/>
                </a:lnTo>
                <a:lnTo>
                  <a:pt x="65773" y="23994"/>
                </a:lnTo>
                <a:lnTo>
                  <a:pt x="66964" y="23690"/>
                </a:lnTo>
                <a:lnTo>
                  <a:pt x="67559" y="22779"/>
                </a:lnTo>
                <a:lnTo>
                  <a:pt x="67261" y="21564"/>
                </a:lnTo>
                <a:lnTo>
                  <a:pt x="66368" y="20957"/>
                </a:lnTo>
                <a:lnTo>
                  <a:pt x="65773" y="23994"/>
                </a:lnTo>
                <a:close/>
              </a:path>
            </a:pathLst>
          </a:custGeom>
          <a:solidFill>
            <a:srgbClr val="000000"/>
          </a:solidFill>
        </p:spPr>
        <p:txBody>
          <a:bodyPr wrap="square" lIns="0" tIns="0" rIns="0" bIns="0" rtlCol="0">
            <a:noAutofit/>
          </a:bodyPr>
          <a:lstStyle/>
          <a:p>
            <a:endParaRPr/>
          </a:p>
        </p:txBody>
      </p:sp>
      <p:sp>
        <p:nvSpPr>
          <p:cNvPr id="533" name="object 533"/>
          <p:cNvSpPr/>
          <p:nvPr/>
        </p:nvSpPr>
        <p:spPr>
          <a:xfrm>
            <a:off x="8642665" y="544144"/>
            <a:ext cx="67559" cy="14275"/>
          </a:xfrm>
          <a:custGeom>
            <a:avLst/>
            <a:gdLst/>
            <a:ahLst/>
            <a:cxnLst/>
            <a:rect l="l" t="t" r="r" b="b"/>
            <a:pathLst>
              <a:path w="67559" h="14275">
                <a:moveTo>
                  <a:pt x="892" y="3037"/>
                </a:moveTo>
                <a:lnTo>
                  <a:pt x="66964" y="14275"/>
                </a:lnTo>
                <a:lnTo>
                  <a:pt x="67559" y="11237"/>
                </a:lnTo>
                <a:lnTo>
                  <a:pt x="1488" y="0"/>
                </a:lnTo>
                <a:lnTo>
                  <a:pt x="297" y="303"/>
                </a:lnTo>
                <a:lnTo>
                  <a:pt x="0" y="1214"/>
                </a:lnTo>
                <a:lnTo>
                  <a:pt x="0" y="2429"/>
                </a:lnTo>
                <a:lnTo>
                  <a:pt x="892" y="3037"/>
                </a:lnTo>
                <a:close/>
              </a:path>
            </a:pathLst>
          </a:custGeom>
          <a:solidFill>
            <a:srgbClr val="000000"/>
          </a:solidFill>
        </p:spPr>
        <p:txBody>
          <a:bodyPr wrap="square" lIns="0" tIns="0" rIns="0" bIns="0" rtlCol="0">
            <a:noAutofit/>
          </a:bodyPr>
          <a:lstStyle/>
          <a:p>
            <a:endParaRPr/>
          </a:p>
        </p:txBody>
      </p:sp>
      <p:sp>
        <p:nvSpPr>
          <p:cNvPr id="534" name="object 534"/>
          <p:cNvSpPr/>
          <p:nvPr/>
        </p:nvSpPr>
        <p:spPr>
          <a:xfrm>
            <a:off x="8587903" y="553862"/>
            <a:ext cx="3571" cy="1518"/>
          </a:xfrm>
          <a:custGeom>
            <a:avLst/>
            <a:gdLst/>
            <a:ahLst/>
            <a:cxnLst/>
            <a:rect l="l" t="t" r="r" b="b"/>
            <a:pathLst>
              <a:path w="3571" h="1518">
                <a:moveTo>
                  <a:pt x="892" y="0"/>
                </a:moveTo>
                <a:lnTo>
                  <a:pt x="0" y="1518"/>
                </a:lnTo>
                <a:lnTo>
                  <a:pt x="3571" y="0"/>
                </a:lnTo>
                <a:lnTo>
                  <a:pt x="892" y="0"/>
                </a:lnTo>
                <a:close/>
              </a:path>
            </a:pathLst>
          </a:custGeom>
          <a:solidFill>
            <a:srgbClr val="000000"/>
          </a:solidFill>
        </p:spPr>
        <p:txBody>
          <a:bodyPr wrap="square" lIns="0" tIns="0" rIns="0" bIns="0" rtlCol="0">
            <a:noAutofit/>
          </a:bodyPr>
          <a:lstStyle/>
          <a:p>
            <a:endParaRPr/>
          </a:p>
        </p:txBody>
      </p:sp>
      <p:sp>
        <p:nvSpPr>
          <p:cNvPr id="535" name="object 535"/>
          <p:cNvSpPr/>
          <p:nvPr/>
        </p:nvSpPr>
        <p:spPr>
          <a:xfrm>
            <a:off x="8585820" y="542017"/>
            <a:ext cx="58333" cy="13363"/>
          </a:xfrm>
          <a:custGeom>
            <a:avLst/>
            <a:gdLst/>
            <a:ahLst/>
            <a:cxnLst/>
            <a:rect l="l" t="t" r="r" b="b"/>
            <a:pathLst>
              <a:path w="58333" h="13363">
                <a:moveTo>
                  <a:pt x="260" y="12035"/>
                </a:moveTo>
                <a:lnTo>
                  <a:pt x="892" y="13363"/>
                </a:lnTo>
                <a:lnTo>
                  <a:pt x="2083" y="13363"/>
                </a:lnTo>
                <a:lnTo>
                  <a:pt x="2976" y="11845"/>
                </a:lnTo>
                <a:lnTo>
                  <a:pt x="5654" y="11845"/>
                </a:lnTo>
                <a:lnTo>
                  <a:pt x="8928" y="10326"/>
                </a:lnTo>
                <a:lnTo>
                  <a:pt x="12202" y="9111"/>
                </a:lnTo>
                <a:lnTo>
                  <a:pt x="15476" y="7896"/>
                </a:lnTo>
                <a:lnTo>
                  <a:pt x="18749" y="6681"/>
                </a:lnTo>
                <a:lnTo>
                  <a:pt x="21726" y="5770"/>
                </a:lnTo>
                <a:lnTo>
                  <a:pt x="24999" y="4859"/>
                </a:lnTo>
                <a:lnTo>
                  <a:pt x="28273" y="4252"/>
                </a:lnTo>
                <a:lnTo>
                  <a:pt x="31845" y="3644"/>
                </a:lnTo>
                <a:lnTo>
                  <a:pt x="34821" y="3340"/>
                </a:lnTo>
                <a:lnTo>
                  <a:pt x="38392" y="3037"/>
                </a:lnTo>
                <a:lnTo>
                  <a:pt x="45833" y="3037"/>
                </a:lnTo>
                <a:lnTo>
                  <a:pt x="49404" y="3644"/>
                </a:lnTo>
                <a:lnTo>
                  <a:pt x="53571" y="4252"/>
                </a:lnTo>
                <a:lnTo>
                  <a:pt x="57737" y="5163"/>
                </a:lnTo>
                <a:lnTo>
                  <a:pt x="58333" y="2126"/>
                </a:lnTo>
                <a:lnTo>
                  <a:pt x="54166" y="1214"/>
                </a:lnTo>
                <a:lnTo>
                  <a:pt x="49999" y="607"/>
                </a:lnTo>
                <a:lnTo>
                  <a:pt x="45833" y="0"/>
                </a:lnTo>
                <a:lnTo>
                  <a:pt x="38392" y="0"/>
                </a:lnTo>
                <a:lnTo>
                  <a:pt x="34821" y="303"/>
                </a:lnTo>
                <a:lnTo>
                  <a:pt x="31249" y="607"/>
                </a:lnTo>
                <a:lnTo>
                  <a:pt x="27678" y="1214"/>
                </a:lnTo>
                <a:lnTo>
                  <a:pt x="24404" y="1822"/>
                </a:lnTo>
                <a:lnTo>
                  <a:pt x="21130" y="2733"/>
                </a:lnTo>
                <a:lnTo>
                  <a:pt x="17559" y="3644"/>
                </a:lnTo>
                <a:lnTo>
                  <a:pt x="14285" y="4859"/>
                </a:lnTo>
                <a:lnTo>
                  <a:pt x="11011" y="6074"/>
                </a:lnTo>
                <a:lnTo>
                  <a:pt x="7738" y="7289"/>
                </a:lnTo>
                <a:lnTo>
                  <a:pt x="4464" y="8808"/>
                </a:lnTo>
                <a:lnTo>
                  <a:pt x="892" y="10326"/>
                </a:lnTo>
                <a:lnTo>
                  <a:pt x="0" y="11237"/>
                </a:lnTo>
                <a:lnTo>
                  <a:pt x="260" y="12035"/>
                </a:lnTo>
                <a:close/>
              </a:path>
            </a:pathLst>
          </a:custGeom>
          <a:solidFill>
            <a:srgbClr val="000000"/>
          </a:solidFill>
        </p:spPr>
        <p:txBody>
          <a:bodyPr wrap="square" lIns="0" tIns="0" rIns="0" bIns="0" rtlCol="0">
            <a:noAutofit/>
          </a:bodyPr>
          <a:lstStyle/>
          <a:p>
            <a:endParaRPr/>
          </a:p>
        </p:txBody>
      </p:sp>
      <p:sp>
        <p:nvSpPr>
          <p:cNvPr id="536" name="object 536"/>
          <p:cNvSpPr/>
          <p:nvPr/>
        </p:nvSpPr>
        <p:spPr>
          <a:xfrm>
            <a:off x="8585819" y="480361"/>
            <a:ext cx="2976" cy="2429"/>
          </a:xfrm>
          <a:custGeom>
            <a:avLst/>
            <a:gdLst/>
            <a:ahLst/>
            <a:cxnLst/>
            <a:rect l="l" t="t" r="r" b="b"/>
            <a:pathLst>
              <a:path w="2976" h="2429">
                <a:moveTo>
                  <a:pt x="2435" y="690"/>
                </a:moveTo>
                <a:lnTo>
                  <a:pt x="1488" y="0"/>
                </a:lnTo>
                <a:lnTo>
                  <a:pt x="595" y="607"/>
                </a:lnTo>
                <a:lnTo>
                  <a:pt x="0" y="1518"/>
                </a:lnTo>
                <a:lnTo>
                  <a:pt x="297" y="2429"/>
                </a:lnTo>
                <a:lnTo>
                  <a:pt x="2976" y="1518"/>
                </a:lnTo>
                <a:lnTo>
                  <a:pt x="2435" y="690"/>
                </a:lnTo>
                <a:close/>
              </a:path>
            </a:pathLst>
          </a:custGeom>
          <a:solidFill>
            <a:srgbClr val="000000"/>
          </a:solidFill>
        </p:spPr>
        <p:txBody>
          <a:bodyPr wrap="square" lIns="0" tIns="0" rIns="0" bIns="0" rtlCol="0">
            <a:noAutofit/>
          </a:bodyPr>
          <a:lstStyle/>
          <a:p>
            <a:endParaRPr/>
          </a:p>
        </p:txBody>
      </p:sp>
      <p:sp>
        <p:nvSpPr>
          <p:cNvPr id="537" name="object 537"/>
          <p:cNvSpPr/>
          <p:nvPr/>
        </p:nvSpPr>
        <p:spPr>
          <a:xfrm>
            <a:off x="8585819" y="481879"/>
            <a:ext cx="2976" cy="71982"/>
          </a:xfrm>
          <a:custGeom>
            <a:avLst/>
            <a:gdLst/>
            <a:ahLst/>
            <a:cxnLst/>
            <a:rect l="l" t="t" r="r" b="b"/>
            <a:pathLst>
              <a:path w="2976" h="71982">
                <a:moveTo>
                  <a:pt x="2976" y="71982"/>
                </a:moveTo>
                <a:lnTo>
                  <a:pt x="2976" y="0"/>
                </a:lnTo>
                <a:lnTo>
                  <a:pt x="297" y="911"/>
                </a:lnTo>
                <a:lnTo>
                  <a:pt x="0" y="0"/>
                </a:lnTo>
                <a:lnTo>
                  <a:pt x="0" y="71982"/>
                </a:lnTo>
                <a:lnTo>
                  <a:pt x="2976" y="71982"/>
                </a:lnTo>
                <a:close/>
              </a:path>
            </a:pathLst>
          </a:custGeom>
          <a:solidFill>
            <a:srgbClr val="000000"/>
          </a:solidFill>
        </p:spPr>
        <p:txBody>
          <a:bodyPr wrap="square" lIns="0" tIns="0" rIns="0" bIns="0" rtlCol="0">
            <a:noAutofit/>
          </a:bodyPr>
          <a:lstStyle/>
          <a:p>
            <a:endParaRPr/>
          </a:p>
        </p:txBody>
      </p:sp>
      <p:sp>
        <p:nvSpPr>
          <p:cNvPr id="538" name="object 538"/>
          <p:cNvSpPr/>
          <p:nvPr/>
        </p:nvSpPr>
        <p:spPr>
          <a:xfrm>
            <a:off x="8558438" y="481575"/>
            <a:ext cx="55356" cy="71982"/>
          </a:xfrm>
          <a:custGeom>
            <a:avLst/>
            <a:gdLst/>
            <a:ahLst/>
            <a:cxnLst/>
            <a:rect l="l" t="t" r="r" b="b"/>
            <a:pathLst>
              <a:path w="55356" h="71982">
                <a:moveTo>
                  <a:pt x="27678" y="0"/>
                </a:moveTo>
                <a:lnTo>
                  <a:pt x="22023" y="607"/>
                </a:lnTo>
                <a:lnTo>
                  <a:pt x="16964" y="2733"/>
                </a:lnTo>
                <a:lnTo>
                  <a:pt x="12202" y="6074"/>
                </a:lnTo>
                <a:lnTo>
                  <a:pt x="8035" y="10630"/>
                </a:lnTo>
                <a:lnTo>
                  <a:pt x="4761" y="15793"/>
                </a:lnTo>
                <a:lnTo>
                  <a:pt x="2083" y="22171"/>
                </a:lnTo>
                <a:lnTo>
                  <a:pt x="595" y="28853"/>
                </a:lnTo>
                <a:lnTo>
                  <a:pt x="0" y="36143"/>
                </a:lnTo>
                <a:lnTo>
                  <a:pt x="595" y="43432"/>
                </a:lnTo>
                <a:lnTo>
                  <a:pt x="2083" y="50114"/>
                </a:lnTo>
                <a:lnTo>
                  <a:pt x="4761" y="56189"/>
                </a:lnTo>
                <a:lnTo>
                  <a:pt x="8035" y="61352"/>
                </a:lnTo>
                <a:lnTo>
                  <a:pt x="12202" y="65908"/>
                </a:lnTo>
                <a:lnTo>
                  <a:pt x="16964" y="69249"/>
                </a:lnTo>
                <a:lnTo>
                  <a:pt x="22023" y="71375"/>
                </a:lnTo>
                <a:lnTo>
                  <a:pt x="27678" y="71982"/>
                </a:lnTo>
                <a:lnTo>
                  <a:pt x="33333" y="71375"/>
                </a:lnTo>
                <a:lnTo>
                  <a:pt x="38392" y="69249"/>
                </a:lnTo>
                <a:lnTo>
                  <a:pt x="43154" y="65908"/>
                </a:lnTo>
                <a:lnTo>
                  <a:pt x="47321" y="61352"/>
                </a:lnTo>
                <a:lnTo>
                  <a:pt x="50595" y="56189"/>
                </a:lnTo>
                <a:lnTo>
                  <a:pt x="53273" y="50114"/>
                </a:lnTo>
                <a:lnTo>
                  <a:pt x="54761" y="43432"/>
                </a:lnTo>
                <a:lnTo>
                  <a:pt x="55356" y="36143"/>
                </a:lnTo>
                <a:lnTo>
                  <a:pt x="54761" y="28853"/>
                </a:lnTo>
                <a:lnTo>
                  <a:pt x="53273" y="22171"/>
                </a:lnTo>
                <a:lnTo>
                  <a:pt x="50595" y="15793"/>
                </a:lnTo>
                <a:lnTo>
                  <a:pt x="47321" y="10630"/>
                </a:lnTo>
                <a:lnTo>
                  <a:pt x="43154" y="6074"/>
                </a:lnTo>
                <a:lnTo>
                  <a:pt x="38392" y="2733"/>
                </a:lnTo>
                <a:lnTo>
                  <a:pt x="33333" y="607"/>
                </a:lnTo>
                <a:lnTo>
                  <a:pt x="27678" y="0"/>
                </a:lnTo>
                <a:close/>
              </a:path>
            </a:pathLst>
          </a:custGeom>
          <a:solidFill>
            <a:srgbClr val="FFBE00"/>
          </a:solidFill>
        </p:spPr>
        <p:txBody>
          <a:bodyPr wrap="square" lIns="0" tIns="0" rIns="0" bIns="0" rtlCol="0">
            <a:noAutofit/>
          </a:bodyPr>
          <a:lstStyle/>
          <a:p>
            <a:endParaRPr/>
          </a:p>
        </p:txBody>
      </p:sp>
      <p:sp>
        <p:nvSpPr>
          <p:cNvPr id="539" name="object 539"/>
          <p:cNvSpPr/>
          <p:nvPr/>
        </p:nvSpPr>
        <p:spPr>
          <a:xfrm>
            <a:off x="8586117" y="480057"/>
            <a:ext cx="29166" cy="37661"/>
          </a:xfrm>
          <a:custGeom>
            <a:avLst/>
            <a:gdLst/>
            <a:ahLst/>
            <a:cxnLst/>
            <a:rect l="l" t="t" r="r" b="b"/>
            <a:pathLst>
              <a:path w="29166" h="37661">
                <a:moveTo>
                  <a:pt x="5357" y="3644"/>
                </a:moveTo>
                <a:lnTo>
                  <a:pt x="10119" y="5467"/>
                </a:lnTo>
                <a:lnTo>
                  <a:pt x="14583" y="8808"/>
                </a:lnTo>
                <a:lnTo>
                  <a:pt x="18452" y="13060"/>
                </a:lnTo>
                <a:lnTo>
                  <a:pt x="21726" y="17919"/>
                </a:lnTo>
                <a:lnTo>
                  <a:pt x="24107" y="24298"/>
                </a:lnTo>
                <a:lnTo>
                  <a:pt x="25595" y="30676"/>
                </a:lnTo>
                <a:lnTo>
                  <a:pt x="26190" y="37661"/>
                </a:lnTo>
                <a:lnTo>
                  <a:pt x="29166" y="37661"/>
                </a:lnTo>
                <a:lnTo>
                  <a:pt x="28571" y="30068"/>
                </a:lnTo>
                <a:lnTo>
                  <a:pt x="27083" y="23083"/>
                </a:lnTo>
                <a:lnTo>
                  <a:pt x="24107" y="16704"/>
                </a:lnTo>
                <a:lnTo>
                  <a:pt x="20833" y="11237"/>
                </a:lnTo>
                <a:lnTo>
                  <a:pt x="16368" y="6378"/>
                </a:lnTo>
                <a:lnTo>
                  <a:pt x="11309" y="3037"/>
                </a:lnTo>
                <a:lnTo>
                  <a:pt x="5952" y="607"/>
                </a:lnTo>
                <a:lnTo>
                  <a:pt x="0" y="0"/>
                </a:lnTo>
                <a:lnTo>
                  <a:pt x="0" y="3037"/>
                </a:lnTo>
                <a:lnTo>
                  <a:pt x="5357" y="3644"/>
                </a:lnTo>
                <a:close/>
              </a:path>
            </a:pathLst>
          </a:custGeom>
          <a:solidFill>
            <a:srgbClr val="000000"/>
          </a:solidFill>
        </p:spPr>
        <p:txBody>
          <a:bodyPr wrap="square" lIns="0" tIns="0" rIns="0" bIns="0" rtlCol="0">
            <a:noAutofit/>
          </a:bodyPr>
          <a:lstStyle/>
          <a:p>
            <a:endParaRPr/>
          </a:p>
        </p:txBody>
      </p:sp>
      <p:sp>
        <p:nvSpPr>
          <p:cNvPr id="540" name="object 540"/>
          <p:cNvSpPr/>
          <p:nvPr/>
        </p:nvSpPr>
        <p:spPr>
          <a:xfrm>
            <a:off x="8586117" y="517718"/>
            <a:ext cx="29166" cy="37358"/>
          </a:xfrm>
          <a:custGeom>
            <a:avLst/>
            <a:gdLst/>
            <a:ahLst/>
            <a:cxnLst/>
            <a:rect l="l" t="t" r="r" b="b"/>
            <a:pathLst>
              <a:path w="29166" h="37358">
                <a:moveTo>
                  <a:pt x="0" y="34320"/>
                </a:moveTo>
                <a:lnTo>
                  <a:pt x="0" y="37358"/>
                </a:lnTo>
                <a:lnTo>
                  <a:pt x="5952" y="36750"/>
                </a:lnTo>
                <a:lnTo>
                  <a:pt x="11309" y="34320"/>
                </a:lnTo>
                <a:lnTo>
                  <a:pt x="16368" y="30980"/>
                </a:lnTo>
                <a:lnTo>
                  <a:pt x="20833" y="26120"/>
                </a:lnTo>
                <a:lnTo>
                  <a:pt x="24107" y="20653"/>
                </a:lnTo>
                <a:lnTo>
                  <a:pt x="27083" y="14578"/>
                </a:lnTo>
                <a:lnTo>
                  <a:pt x="28571" y="7593"/>
                </a:lnTo>
                <a:lnTo>
                  <a:pt x="29166" y="0"/>
                </a:lnTo>
                <a:lnTo>
                  <a:pt x="26190" y="0"/>
                </a:lnTo>
                <a:lnTo>
                  <a:pt x="25595" y="6985"/>
                </a:lnTo>
                <a:lnTo>
                  <a:pt x="24107" y="13363"/>
                </a:lnTo>
                <a:lnTo>
                  <a:pt x="21726" y="19438"/>
                </a:lnTo>
                <a:lnTo>
                  <a:pt x="18452" y="24298"/>
                </a:lnTo>
                <a:lnTo>
                  <a:pt x="14583" y="28550"/>
                </a:lnTo>
                <a:lnTo>
                  <a:pt x="10119" y="31891"/>
                </a:lnTo>
                <a:lnTo>
                  <a:pt x="5357" y="33713"/>
                </a:lnTo>
                <a:lnTo>
                  <a:pt x="0" y="34320"/>
                </a:lnTo>
                <a:close/>
              </a:path>
            </a:pathLst>
          </a:custGeom>
          <a:solidFill>
            <a:srgbClr val="000000"/>
          </a:solidFill>
        </p:spPr>
        <p:txBody>
          <a:bodyPr wrap="square" lIns="0" tIns="0" rIns="0" bIns="0" rtlCol="0">
            <a:noAutofit/>
          </a:bodyPr>
          <a:lstStyle/>
          <a:p>
            <a:endParaRPr/>
          </a:p>
        </p:txBody>
      </p:sp>
      <p:sp>
        <p:nvSpPr>
          <p:cNvPr id="541" name="object 541"/>
          <p:cNvSpPr/>
          <p:nvPr/>
        </p:nvSpPr>
        <p:spPr>
          <a:xfrm>
            <a:off x="8556950" y="517718"/>
            <a:ext cx="29166" cy="37358"/>
          </a:xfrm>
          <a:custGeom>
            <a:avLst/>
            <a:gdLst/>
            <a:ahLst/>
            <a:cxnLst/>
            <a:rect l="l" t="t" r="r" b="b"/>
            <a:pathLst>
              <a:path w="29166" h="37358">
                <a:moveTo>
                  <a:pt x="7440" y="19438"/>
                </a:moveTo>
                <a:lnTo>
                  <a:pt x="5059" y="13363"/>
                </a:lnTo>
                <a:lnTo>
                  <a:pt x="3571" y="6985"/>
                </a:lnTo>
                <a:lnTo>
                  <a:pt x="2976" y="0"/>
                </a:lnTo>
                <a:lnTo>
                  <a:pt x="0" y="0"/>
                </a:lnTo>
                <a:lnTo>
                  <a:pt x="595" y="7593"/>
                </a:lnTo>
                <a:lnTo>
                  <a:pt x="2083" y="14578"/>
                </a:lnTo>
                <a:lnTo>
                  <a:pt x="5059" y="20653"/>
                </a:lnTo>
                <a:lnTo>
                  <a:pt x="8333" y="26120"/>
                </a:lnTo>
                <a:lnTo>
                  <a:pt x="12797" y="30980"/>
                </a:lnTo>
                <a:lnTo>
                  <a:pt x="17857" y="34320"/>
                </a:lnTo>
                <a:lnTo>
                  <a:pt x="23214" y="36750"/>
                </a:lnTo>
                <a:lnTo>
                  <a:pt x="29166" y="37358"/>
                </a:lnTo>
                <a:lnTo>
                  <a:pt x="29166" y="34320"/>
                </a:lnTo>
                <a:lnTo>
                  <a:pt x="23809" y="33713"/>
                </a:lnTo>
                <a:lnTo>
                  <a:pt x="19047" y="31891"/>
                </a:lnTo>
                <a:lnTo>
                  <a:pt x="14583" y="28550"/>
                </a:lnTo>
                <a:lnTo>
                  <a:pt x="10714" y="24298"/>
                </a:lnTo>
                <a:lnTo>
                  <a:pt x="7440" y="19438"/>
                </a:lnTo>
                <a:close/>
              </a:path>
            </a:pathLst>
          </a:custGeom>
          <a:solidFill>
            <a:srgbClr val="000000"/>
          </a:solidFill>
        </p:spPr>
        <p:txBody>
          <a:bodyPr wrap="square" lIns="0" tIns="0" rIns="0" bIns="0" rtlCol="0">
            <a:noAutofit/>
          </a:bodyPr>
          <a:lstStyle/>
          <a:p>
            <a:endParaRPr/>
          </a:p>
        </p:txBody>
      </p:sp>
      <p:sp>
        <p:nvSpPr>
          <p:cNvPr id="542" name="object 542"/>
          <p:cNvSpPr/>
          <p:nvPr/>
        </p:nvSpPr>
        <p:spPr>
          <a:xfrm>
            <a:off x="8556950" y="480057"/>
            <a:ext cx="29166" cy="37661"/>
          </a:xfrm>
          <a:custGeom>
            <a:avLst/>
            <a:gdLst/>
            <a:ahLst/>
            <a:cxnLst/>
            <a:rect l="l" t="t" r="r" b="b"/>
            <a:pathLst>
              <a:path w="29166" h="37661">
                <a:moveTo>
                  <a:pt x="2976" y="37661"/>
                </a:moveTo>
                <a:lnTo>
                  <a:pt x="3571" y="30676"/>
                </a:lnTo>
                <a:lnTo>
                  <a:pt x="5059" y="24298"/>
                </a:lnTo>
                <a:lnTo>
                  <a:pt x="7440" y="17919"/>
                </a:lnTo>
                <a:lnTo>
                  <a:pt x="10714" y="13060"/>
                </a:lnTo>
                <a:lnTo>
                  <a:pt x="14583" y="8808"/>
                </a:lnTo>
                <a:lnTo>
                  <a:pt x="19047" y="5467"/>
                </a:lnTo>
                <a:lnTo>
                  <a:pt x="23809" y="3644"/>
                </a:lnTo>
                <a:lnTo>
                  <a:pt x="29166" y="3037"/>
                </a:lnTo>
                <a:lnTo>
                  <a:pt x="29166" y="0"/>
                </a:lnTo>
                <a:lnTo>
                  <a:pt x="23214" y="607"/>
                </a:lnTo>
                <a:lnTo>
                  <a:pt x="17857" y="3037"/>
                </a:lnTo>
                <a:lnTo>
                  <a:pt x="12797" y="6378"/>
                </a:lnTo>
                <a:lnTo>
                  <a:pt x="8333" y="11237"/>
                </a:lnTo>
                <a:lnTo>
                  <a:pt x="5059" y="16704"/>
                </a:lnTo>
                <a:lnTo>
                  <a:pt x="2083" y="23083"/>
                </a:lnTo>
                <a:lnTo>
                  <a:pt x="595" y="30068"/>
                </a:lnTo>
                <a:lnTo>
                  <a:pt x="0" y="37661"/>
                </a:lnTo>
                <a:lnTo>
                  <a:pt x="2976" y="37661"/>
                </a:lnTo>
                <a:close/>
              </a:path>
            </a:pathLst>
          </a:custGeom>
          <a:solidFill>
            <a:srgbClr val="000000"/>
          </a:solidFill>
        </p:spPr>
        <p:txBody>
          <a:bodyPr wrap="square" lIns="0" tIns="0" rIns="0" bIns="0" rtlCol="0">
            <a:noAutofit/>
          </a:bodyPr>
          <a:lstStyle/>
          <a:p>
            <a:endParaRPr/>
          </a:p>
        </p:txBody>
      </p:sp>
      <p:sp>
        <p:nvSpPr>
          <p:cNvPr id="543" name="object 543"/>
          <p:cNvSpPr/>
          <p:nvPr/>
        </p:nvSpPr>
        <p:spPr>
          <a:xfrm>
            <a:off x="8583438" y="509215"/>
            <a:ext cx="27380" cy="35839"/>
          </a:xfrm>
          <a:custGeom>
            <a:avLst/>
            <a:gdLst/>
            <a:ahLst/>
            <a:cxnLst/>
            <a:rect l="l" t="t" r="r" b="b"/>
            <a:pathLst>
              <a:path w="27380" h="35839">
                <a:moveTo>
                  <a:pt x="13690" y="0"/>
                </a:moveTo>
                <a:lnTo>
                  <a:pt x="11011" y="303"/>
                </a:lnTo>
                <a:lnTo>
                  <a:pt x="8333" y="1518"/>
                </a:lnTo>
                <a:lnTo>
                  <a:pt x="5952" y="3037"/>
                </a:lnTo>
                <a:lnTo>
                  <a:pt x="4166" y="5163"/>
                </a:lnTo>
                <a:lnTo>
                  <a:pt x="2380" y="7896"/>
                </a:lnTo>
                <a:lnTo>
                  <a:pt x="1190" y="10934"/>
                </a:lnTo>
                <a:lnTo>
                  <a:pt x="297" y="14275"/>
                </a:lnTo>
                <a:lnTo>
                  <a:pt x="0" y="17919"/>
                </a:lnTo>
                <a:lnTo>
                  <a:pt x="297" y="21564"/>
                </a:lnTo>
                <a:lnTo>
                  <a:pt x="1190" y="24905"/>
                </a:lnTo>
                <a:lnTo>
                  <a:pt x="2380" y="27942"/>
                </a:lnTo>
                <a:lnTo>
                  <a:pt x="4166" y="30372"/>
                </a:lnTo>
                <a:lnTo>
                  <a:pt x="5952" y="32802"/>
                </a:lnTo>
                <a:lnTo>
                  <a:pt x="8333" y="34320"/>
                </a:lnTo>
                <a:lnTo>
                  <a:pt x="11011" y="35535"/>
                </a:lnTo>
                <a:lnTo>
                  <a:pt x="13690" y="35839"/>
                </a:lnTo>
                <a:lnTo>
                  <a:pt x="16368" y="35535"/>
                </a:lnTo>
                <a:lnTo>
                  <a:pt x="19047" y="34320"/>
                </a:lnTo>
                <a:lnTo>
                  <a:pt x="21428" y="32802"/>
                </a:lnTo>
                <a:lnTo>
                  <a:pt x="23511" y="30372"/>
                </a:lnTo>
                <a:lnTo>
                  <a:pt x="24999" y="27942"/>
                </a:lnTo>
                <a:lnTo>
                  <a:pt x="26190" y="24905"/>
                </a:lnTo>
                <a:lnTo>
                  <a:pt x="27083" y="21564"/>
                </a:lnTo>
                <a:lnTo>
                  <a:pt x="27380" y="17919"/>
                </a:lnTo>
                <a:lnTo>
                  <a:pt x="27083" y="14275"/>
                </a:lnTo>
                <a:lnTo>
                  <a:pt x="26190" y="10934"/>
                </a:lnTo>
                <a:lnTo>
                  <a:pt x="24999" y="7896"/>
                </a:lnTo>
                <a:lnTo>
                  <a:pt x="23511" y="5163"/>
                </a:lnTo>
                <a:lnTo>
                  <a:pt x="21428" y="3037"/>
                </a:lnTo>
                <a:lnTo>
                  <a:pt x="19047" y="1518"/>
                </a:lnTo>
                <a:lnTo>
                  <a:pt x="16368" y="303"/>
                </a:lnTo>
                <a:lnTo>
                  <a:pt x="13690" y="0"/>
                </a:lnTo>
                <a:close/>
              </a:path>
            </a:pathLst>
          </a:custGeom>
          <a:solidFill>
            <a:srgbClr val="000000"/>
          </a:solidFill>
        </p:spPr>
        <p:txBody>
          <a:bodyPr wrap="square" lIns="0" tIns="0" rIns="0" bIns="0" rtlCol="0">
            <a:noAutofit/>
          </a:bodyPr>
          <a:lstStyle/>
          <a:p>
            <a:endParaRPr/>
          </a:p>
        </p:txBody>
      </p:sp>
      <p:sp>
        <p:nvSpPr>
          <p:cNvPr id="544" name="object 544"/>
          <p:cNvSpPr/>
          <p:nvPr/>
        </p:nvSpPr>
        <p:spPr>
          <a:xfrm>
            <a:off x="8597129" y="507695"/>
            <a:ext cx="15178" cy="19438"/>
          </a:xfrm>
          <a:custGeom>
            <a:avLst/>
            <a:gdLst/>
            <a:ahLst/>
            <a:cxnLst/>
            <a:rect l="l" t="t" r="r" b="b"/>
            <a:pathLst>
              <a:path w="15178" h="19438">
                <a:moveTo>
                  <a:pt x="0" y="0"/>
                </a:moveTo>
                <a:lnTo>
                  <a:pt x="0" y="3037"/>
                </a:lnTo>
                <a:lnTo>
                  <a:pt x="2380" y="3340"/>
                </a:lnTo>
                <a:lnTo>
                  <a:pt x="4761" y="4252"/>
                </a:lnTo>
                <a:lnTo>
                  <a:pt x="6845" y="5770"/>
                </a:lnTo>
                <a:lnTo>
                  <a:pt x="8630" y="7593"/>
                </a:lnTo>
                <a:lnTo>
                  <a:pt x="9821" y="10022"/>
                </a:lnTo>
                <a:lnTo>
                  <a:pt x="11011" y="13060"/>
                </a:lnTo>
                <a:lnTo>
                  <a:pt x="11904" y="16097"/>
                </a:lnTo>
                <a:lnTo>
                  <a:pt x="12202" y="19438"/>
                </a:lnTo>
                <a:lnTo>
                  <a:pt x="15178" y="19438"/>
                </a:lnTo>
                <a:lnTo>
                  <a:pt x="14880" y="15490"/>
                </a:lnTo>
                <a:lnTo>
                  <a:pt x="13988" y="11845"/>
                </a:lnTo>
                <a:lnTo>
                  <a:pt x="12797" y="8808"/>
                </a:lnTo>
                <a:lnTo>
                  <a:pt x="11011" y="5770"/>
                </a:lnTo>
                <a:lnTo>
                  <a:pt x="8630" y="3340"/>
                </a:lnTo>
                <a:lnTo>
                  <a:pt x="5952" y="1822"/>
                </a:lnTo>
                <a:lnTo>
                  <a:pt x="2976" y="303"/>
                </a:lnTo>
                <a:lnTo>
                  <a:pt x="0" y="0"/>
                </a:lnTo>
                <a:close/>
              </a:path>
            </a:pathLst>
          </a:custGeom>
          <a:solidFill>
            <a:srgbClr val="000000"/>
          </a:solidFill>
        </p:spPr>
        <p:txBody>
          <a:bodyPr wrap="square" lIns="0" tIns="0" rIns="0" bIns="0" rtlCol="0">
            <a:noAutofit/>
          </a:bodyPr>
          <a:lstStyle/>
          <a:p>
            <a:endParaRPr/>
          </a:p>
        </p:txBody>
      </p:sp>
      <p:sp>
        <p:nvSpPr>
          <p:cNvPr id="545" name="object 545"/>
          <p:cNvSpPr/>
          <p:nvPr/>
        </p:nvSpPr>
        <p:spPr>
          <a:xfrm>
            <a:off x="8597129" y="527134"/>
            <a:ext cx="15178" cy="19438"/>
          </a:xfrm>
          <a:custGeom>
            <a:avLst/>
            <a:gdLst/>
            <a:ahLst/>
            <a:cxnLst/>
            <a:rect l="l" t="t" r="r" b="b"/>
            <a:pathLst>
              <a:path w="15178" h="19438">
                <a:moveTo>
                  <a:pt x="11011" y="13363"/>
                </a:moveTo>
                <a:lnTo>
                  <a:pt x="12499" y="10630"/>
                </a:lnTo>
                <a:lnTo>
                  <a:pt x="13988" y="7593"/>
                </a:lnTo>
                <a:lnTo>
                  <a:pt x="14880" y="3948"/>
                </a:lnTo>
                <a:lnTo>
                  <a:pt x="15178" y="0"/>
                </a:lnTo>
                <a:lnTo>
                  <a:pt x="12202" y="0"/>
                </a:lnTo>
                <a:lnTo>
                  <a:pt x="11904" y="3340"/>
                </a:lnTo>
                <a:lnTo>
                  <a:pt x="11011" y="6378"/>
                </a:lnTo>
                <a:lnTo>
                  <a:pt x="10119" y="9415"/>
                </a:lnTo>
                <a:lnTo>
                  <a:pt x="8630" y="11541"/>
                </a:lnTo>
                <a:lnTo>
                  <a:pt x="6845" y="13667"/>
                </a:lnTo>
                <a:lnTo>
                  <a:pt x="4761" y="15186"/>
                </a:lnTo>
                <a:lnTo>
                  <a:pt x="2380" y="16097"/>
                </a:lnTo>
                <a:lnTo>
                  <a:pt x="0" y="16401"/>
                </a:lnTo>
                <a:lnTo>
                  <a:pt x="0" y="19438"/>
                </a:lnTo>
                <a:lnTo>
                  <a:pt x="2976" y="19134"/>
                </a:lnTo>
                <a:lnTo>
                  <a:pt x="5952" y="17616"/>
                </a:lnTo>
                <a:lnTo>
                  <a:pt x="8630" y="16097"/>
                </a:lnTo>
                <a:lnTo>
                  <a:pt x="11011" y="13363"/>
                </a:lnTo>
                <a:close/>
              </a:path>
            </a:pathLst>
          </a:custGeom>
          <a:solidFill>
            <a:srgbClr val="000000"/>
          </a:solidFill>
        </p:spPr>
        <p:txBody>
          <a:bodyPr wrap="square" lIns="0" tIns="0" rIns="0" bIns="0" rtlCol="0">
            <a:noAutofit/>
          </a:bodyPr>
          <a:lstStyle/>
          <a:p>
            <a:endParaRPr/>
          </a:p>
        </p:txBody>
      </p:sp>
      <p:sp>
        <p:nvSpPr>
          <p:cNvPr id="546" name="object 546"/>
          <p:cNvSpPr/>
          <p:nvPr/>
        </p:nvSpPr>
        <p:spPr>
          <a:xfrm>
            <a:off x="8581950" y="527134"/>
            <a:ext cx="15178" cy="19438"/>
          </a:xfrm>
          <a:custGeom>
            <a:avLst/>
            <a:gdLst/>
            <a:ahLst/>
            <a:cxnLst/>
            <a:rect l="l" t="t" r="r" b="b"/>
            <a:pathLst>
              <a:path w="15178" h="19438">
                <a:moveTo>
                  <a:pt x="297" y="3948"/>
                </a:moveTo>
                <a:lnTo>
                  <a:pt x="1190" y="7593"/>
                </a:lnTo>
                <a:lnTo>
                  <a:pt x="2678" y="10630"/>
                </a:lnTo>
                <a:lnTo>
                  <a:pt x="4464" y="13363"/>
                </a:lnTo>
                <a:lnTo>
                  <a:pt x="6547" y="16097"/>
                </a:lnTo>
                <a:lnTo>
                  <a:pt x="9226" y="17616"/>
                </a:lnTo>
                <a:lnTo>
                  <a:pt x="12202" y="19134"/>
                </a:lnTo>
                <a:lnTo>
                  <a:pt x="15178" y="19438"/>
                </a:lnTo>
                <a:lnTo>
                  <a:pt x="15178" y="16401"/>
                </a:lnTo>
                <a:lnTo>
                  <a:pt x="12797" y="16097"/>
                </a:lnTo>
                <a:lnTo>
                  <a:pt x="10416" y="15186"/>
                </a:lnTo>
                <a:lnTo>
                  <a:pt x="8333" y="13667"/>
                </a:lnTo>
                <a:lnTo>
                  <a:pt x="6845" y="11541"/>
                </a:lnTo>
                <a:lnTo>
                  <a:pt x="5059" y="9415"/>
                </a:lnTo>
                <a:lnTo>
                  <a:pt x="4166" y="6378"/>
                </a:lnTo>
                <a:lnTo>
                  <a:pt x="3273" y="3340"/>
                </a:lnTo>
                <a:lnTo>
                  <a:pt x="2976" y="0"/>
                </a:lnTo>
                <a:lnTo>
                  <a:pt x="0" y="0"/>
                </a:lnTo>
                <a:lnTo>
                  <a:pt x="297" y="3948"/>
                </a:lnTo>
                <a:close/>
              </a:path>
            </a:pathLst>
          </a:custGeom>
          <a:solidFill>
            <a:srgbClr val="000000"/>
          </a:solidFill>
        </p:spPr>
        <p:txBody>
          <a:bodyPr wrap="square" lIns="0" tIns="0" rIns="0" bIns="0" rtlCol="0">
            <a:noAutofit/>
          </a:bodyPr>
          <a:lstStyle/>
          <a:p>
            <a:endParaRPr/>
          </a:p>
        </p:txBody>
      </p:sp>
      <p:sp>
        <p:nvSpPr>
          <p:cNvPr id="547" name="object 547"/>
          <p:cNvSpPr/>
          <p:nvPr/>
        </p:nvSpPr>
        <p:spPr>
          <a:xfrm>
            <a:off x="8581950" y="507695"/>
            <a:ext cx="15178" cy="19438"/>
          </a:xfrm>
          <a:custGeom>
            <a:avLst/>
            <a:gdLst/>
            <a:ahLst/>
            <a:cxnLst/>
            <a:rect l="l" t="t" r="r" b="b"/>
            <a:pathLst>
              <a:path w="15178" h="19438">
                <a:moveTo>
                  <a:pt x="2678" y="8808"/>
                </a:moveTo>
                <a:lnTo>
                  <a:pt x="1190" y="11845"/>
                </a:lnTo>
                <a:lnTo>
                  <a:pt x="297" y="15490"/>
                </a:lnTo>
                <a:lnTo>
                  <a:pt x="0" y="19438"/>
                </a:lnTo>
                <a:lnTo>
                  <a:pt x="2976" y="19438"/>
                </a:lnTo>
                <a:lnTo>
                  <a:pt x="3273" y="16097"/>
                </a:lnTo>
                <a:lnTo>
                  <a:pt x="4166" y="13060"/>
                </a:lnTo>
                <a:lnTo>
                  <a:pt x="5059" y="10022"/>
                </a:lnTo>
                <a:lnTo>
                  <a:pt x="6845" y="7593"/>
                </a:lnTo>
                <a:lnTo>
                  <a:pt x="8333" y="5770"/>
                </a:lnTo>
                <a:lnTo>
                  <a:pt x="10416" y="4252"/>
                </a:lnTo>
                <a:lnTo>
                  <a:pt x="12797" y="3340"/>
                </a:lnTo>
                <a:lnTo>
                  <a:pt x="15178" y="3037"/>
                </a:lnTo>
                <a:lnTo>
                  <a:pt x="15178" y="0"/>
                </a:lnTo>
                <a:lnTo>
                  <a:pt x="12202" y="303"/>
                </a:lnTo>
                <a:lnTo>
                  <a:pt x="9226" y="1822"/>
                </a:lnTo>
                <a:lnTo>
                  <a:pt x="6547" y="3340"/>
                </a:lnTo>
                <a:lnTo>
                  <a:pt x="4464" y="5770"/>
                </a:lnTo>
                <a:lnTo>
                  <a:pt x="2678" y="8808"/>
                </a:lnTo>
                <a:close/>
              </a:path>
            </a:pathLst>
          </a:custGeom>
          <a:solidFill>
            <a:srgbClr val="000000"/>
          </a:solidFill>
        </p:spPr>
        <p:txBody>
          <a:bodyPr wrap="square" lIns="0" tIns="0" rIns="0" bIns="0" rtlCol="0">
            <a:noAutofit/>
          </a:bodyPr>
          <a:lstStyle/>
          <a:p>
            <a:endParaRPr/>
          </a:p>
        </p:txBody>
      </p:sp>
      <p:sp>
        <p:nvSpPr>
          <p:cNvPr id="548" name="object 548"/>
          <p:cNvSpPr/>
          <p:nvPr/>
        </p:nvSpPr>
        <p:spPr>
          <a:xfrm>
            <a:off x="8588200" y="1159795"/>
            <a:ext cx="889878" cy="127261"/>
          </a:xfrm>
          <a:custGeom>
            <a:avLst/>
            <a:gdLst/>
            <a:ahLst/>
            <a:cxnLst/>
            <a:rect l="l" t="t" r="r" b="b"/>
            <a:pathLst>
              <a:path w="889878" h="127261">
                <a:moveTo>
                  <a:pt x="0" y="0"/>
                </a:moveTo>
                <a:lnTo>
                  <a:pt x="595" y="127261"/>
                </a:lnTo>
                <a:lnTo>
                  <a:pt x="889878" y="91117"/>
                </a:lnTo>
                <a:lnTo>
                  <a:pt x="889878" y="0"/>
                </a:lnTo>
                <a:lnTo>
                  <a:pt x="0" y="0"/>
                </a:lnTo>
                <a:close/>
              </a:path>
            </a:pathLst>
          </a:custGeom>
          <a:solidFill>
            <a:srgbClr val="404040"/>
          </a:solidFill>
        </p:spPr>
        <p:txBody>
          <a:bodyPr wrap="square" lIns="0" tIns="0" rIns="0" bIns="0" rtlCol="0">
            <a:noAutofit/>
          </a:bodyPr>
          <a:lstStyle/>
          <a:p>
            <a:endParaRPr/>
          </a:p>
        </p:txBody>
      </p:sp>
      <p:sp>
        <p:nvSpPr>
          <p:cNvPr id="549" name="object 549"/>
          <p:cNvSpPr/>
          <p:nvPr/>
        </p:nvSpPr>
        <p:spPr>
          <a:xfrm>
            <a:off x="9476590" y="1159794"/>
            <a:ext cx="2976" cy="92180"/>
          </a:xfrm>
          <a:custGeom>
            <a:avLst/>
            <a:gdLst/>
            <a:ahLst/>
            <a:cxnLst/>
            <a:rect l="l" t="t" r="r" b="b"/>
            <a:pathLst>
              <a:path w="2976" h="92180">
                <a:moveTo>
                  <a:pt x="2380" y="92028"/>
                </a:moveTo>
                <a:lnTo>
                  <a:pt x="2976" y="91117"/>
                </a:lnTo>
                <a:lnTo>
                  <a:pt x="2976" y="0"/>
                </a:lnTo>
                <a:lnTo>
                  <a:pt x="0" y="0"/>
                </a:lnTo>
                <a:lnTo>
                  <a:pt x="0" y="91117"/>
                </a:lnTo>
                <a:lnTo>
                  <a:pt x="1488" y="89599"/>
                </a:lnTo>
                <a:lnTo>
                  <a:pt x="1934" y="92180"/>
                </a:lnTo>
                <a:lnTo>
                  <a:pt x="2380" y="92028"/>
                </a:lnTo>
                <a:close/>
              </a:path>
            </a:pathLst>
          </a:custGeom>
          <a:solidFill>
            <a:srgbClr val="000000"/>
          </a:solidFill>
        </p:spPr>
        <p:txBody>
          <a:bodyPr wrap="square" lIns="0" tIns="0" rIns="0" bIns="0" rtlCol="0">
            <a:noAutofit/>
          </a:bodyPr>
          <a:lstStyle/>
          <a:p>
            <a:endParaRPr/>
          </a:p>
        </p:txBody>
      </p:sp>
      <p:sp>
        <p:nvSpPr>
          <p:cNvPr id="550" name="object 550"/>
          <p:cNvSpPr/>
          <p:nvPr/>
        </p:nvSpPr>
        <p:spPr>
          <a:xfrm>
            <a:off x="9476590" y="1249394"/>
            <a:ext cx="1934" cy="2733"/>
          </a:xfrm>
          <a:custGeom>
            <a:avLst/>
            <a:gdLst/>
            <a:ahLst/>
            <a:cxnLst/>
            <a:rect l="l" t="t" r="r" b="b"/>
            <a:pathLst>
              <a:path w="1934" h="2733">
                <a:moveTo>
                  <a:pt x="1488" y="0"/>
                </a:moveTo>
                <a:lnTo>
                  <a:pt x="0" y="1518"/>
                </a:lnTo>
                <a:lnTo>
                  <a:pt x="595" y="2429"/>
                </a:lnTo>
                <a:lnTo>
                  <a:pt x="1488" y="2733"/>
                </a:lnTo>
                <a:lnTo>
                  <a:pt x="1934" y="2581"/>
                </a:lnTo>
                <a:lnTo>
                  <a:pt x="1488" y="0"/>
                </a:lnTo>
                <a:close/>
              </a:path>
            </a:pathLst>
          </a:custGeom>
          <a:solidFill>
            <a:srgbClr val="000000"/>
          </a:solidFill>
        </p:spPr>
        <p:txBody>
          <a:bodyPr wrap="square" lIns="0" tIns="0" rIns="0" bIns="0" rtlCol="0">
            <a:noAutofit/>
          </a:bodyPr>
          <a:lstStyle/>
          <a:p>
            <a:endParaRPr/>
          </a:p>
        </p:txBody>
      </p:sp>
      <p:sp>
        <p:nvSpPr>
          <p:cNvPr id="551" name="object 551"/>
          <p:cNvSpPr/>
          <p:nvPr/>
        </p:nvSpPr>
        <p:spPr>
          <a:xfrm>
            <a:off x="8587606" y="1249393"/>
            <a:ext cx="890473" cy="39180"/>
          </a:xfrm>
          <a:custGeom>
            <a:avLst/>
            <a:gdLst/>
            <a:ahLst/>
            <a:cxnLst/>
            <a:rect l="l" t="t" r="r" b="b"/>
            <a:pathLst>
              <a:path w="890473" h="39180">
                <a:moveTo>
                  <a:pt x="2678" y="37661"/>
                </a:moveTo>
                <a:lnTo>
                  <a:pt x="1190" y="39180"/>
                </a:lnTo>
                <a:lnTo>
                  <a:pt x="890473" y="3037"/>
                </a:lnTo>
                <a:lnTo>
                  <a:pt x="2678" y="37661"/>
                </a:lnTo>
                <a:close/>
              </a:path>
              <a:path w="890473" h="39180">
                <a:moveTo>
                  <a:pt x="0" y="37661"/>
                </a:moveTo>
                <a:lnTo>
                  <a:pt x="148" y="38117"/>
                </a:lnTo>
                <a:lnTo>
                  <a:pt x="297" y="38573"/>
                </a:lnTo>
                <a:lnTo>
                  <a:pt x="1190" y="39180"/>
                </a:lnTo>
                <a:lnTo>
                  <a:pt x="2678" y="37661"/>
                </a:lnTo>
                <a:lnTo>
                  <a:pt x="890473" y="3037"/>
                </a:lnTo>
                <a:lnTo>
                  <a:pt x="890473" y="0"/>
                </a:lnTo>
                <a:lnTo>
                  <a:pt x="1190" y="36143"/>
                </a:lnTo>
                <a:lnTo>
                  <a:pt x="297" y="36750"/>
                </a:lnTo>
                <a:lnTo>
                  <a:pt x="0" y="37661"/>
                </a:lnTo>
                <a:close/>
              </a:path>
            </a:pathLst>
          </a:custGeom>
          <a:solidFill>
            <a:srgbClr val="000000"/>
          </a:solidFill>
        </p:spPr>
        <p:txBody>
          <a:bodyPr wrap="square" lIns="0" tIns="0" rIns="0" bIns="0" rtlCol="0">
            <a:noAutofit/>
          </a:bodyPr>
          <a:lstStyle/>
          <a:p>
            <a:endParaRPr/>
          </a:p>
        </p:txBody>
      </p:sp>
      <p:sp>
        <p:nvSpPr>
          <p:cNvPr id="552" name="object 552"/>
          <p:cNvSpPr/>
          <p:nvPr/>
        </p:nvSpPr>
        <p:spPr>
          <a:xfrm>
            <a:off x="8586712" y="1158277"/>
            <a:ext cx="2976" cy="128779"/>
          </a:xfrm>
          <a:custGeom>
            <a:avLst/>
            <a:gdLst/>
            <a:ahLst/>
            <a:cxnLst/>
            <a:rect l="l" t="t" r="r" b="b"/>
            <a:pathLst>
              <a:path w="2976" h="128779">
                <a:moveTo>
                  <a:pt x="1488" y="0"/>
                </a:moveTo>
                <a:lnTo>
                  <a:pt x="595" y="607"/>
                </a:lnTo>
                <a:lnTo>
                  <a:pt x="0" y="1518"/>
                </a:lnTo>
                <a:lnTo>
                  <a:pt x="595" y="128779"/>
                </a:lnTo>
                <a:lnTo>
                  <a:pt x="1488" y="3037"/>
                </a:lnTo>
                <a:lnTo>
                  <a:pt x="2976" y="1518"/>
                </a:lnTo>
                <a:lnTo>
                  <a:pt x="2380" y="607"/>
                </a:lnTo>
                <a:lnTo>
                  <a:pt x="1488" y="0"/>
                </a:lnTo>
                <a:close/>
              </a:path>
            </a:pathLst>
          </a:custGeom>
          <a:solidFill>
            <a:srgbClr val="000000"/>
          </a:solidFill>
        </p:spPr>
        <p:txBody>
          <a:bodyPr wrap="square" lIns="0" tIns="0" rIns="0" bIns="0" rtlCol="0">
            <a:noAutofit/>
          </a:bodyPr>
          <a:lstStyle/>
          <a:p>
            <a:endParaRPr/>
          </a:p>
        </p:txBody>
      </p:sp>
      <p:sp>
        <p:nvSpPr>
          <p:cNvPr id="553" name="object 553"/>
          <p:cNvSpPr/>
          <p:nvPr/>
        </p:nvSpPr>
        <p:spPr>
          <a:xfrm>
            <a:off x="8587307" y="1159795"/>
            <a:ext cx="2976" cy="127261"/>
          </a:xfrm>
          <a:custGeom>
            <a:avLst/>
            <a:gdLst/>
            <a:ahLst/>
            <a:cxnLst/>
            <a:rect l="l" t="t" r="r" b="b"/>
            <a:pathLst>
              <a:path w="2976" h="127261">
                <a:moveTo>
                  <a:pt x="892" y="1518"/>
                </a:moveTo>
                <a:lnTo>
                  <a:pt x="0" y="127261"/>
                </a:lnTo>
                <a:lnTo>
                  <a:pt x="2976" y="127261"/>
                </a:lnTo>
                <a:lnTo>
                  <a:pt x="2380" y="0"/>
                </a:lnTo>
                <a:lnTo>
                  <a:pt x="892" y="1518"/>
                </a:lnTo>
                <a:close/>
              </a:path>
            </a:pathLst>
          </a:custGeom>
          <a:solidFill>
            <a:srgbClr val="000000"/>
          </a:solidFill>
        </p:spPr>
        <p:txBody>
          <a:bodyPr wrap="square" lIns="0" tIns="0" rIns="0" bIns="0" rtlCol="0">
            <a:noAutofit/>
          </a:bodyPr>
          <a:lstStyle/>
          <a:p>
            <a:endParaRPr/>
          </a:p>
        </p:txBody>
      </p:sp>
      <p:sp>
        <p:nvSpPr>
          <p:cNvPr id="554" name="object 554"/>
          <p:cNvSpPr/>
          <p:nvPr/>
        </p:nvSpPr>
        <p:spPr>
          <a:xfrm>
            <a:off x="8775104" y="1174374"/>
            <a:ext cx="234820" cy="184057"/>
          </a:xfrm>
          <a:custGeom>
            <a:avLst/>
            <a:gdLst/>
            <a:ahLst/>
            <a:cxnLst/>
            <a:rect l="l" t="t" r="r" b="b"/>
            <a:pathLst>
              <a:path w="234820" h="184057">
                <a:moveTo>
                  <a:pt x="71428" y="142447"/>
                </a:moveTo>
                <a:lnTo>
                  <a:pt x="117856" y="71375"/>
                </a:lnTo>
                <a:lnTo>
                  <a:pt x="160713" y="71679"/>
                </a:lnTo>
                <a:lnTo>
                  <a:pt x="234820" y="72894"/>
                </a:lnTo>
                <a:lnTo>
                  <a:pt x="234820" y="0"/>
                </a:lnTo>
                <a:lnTo>
                  <a:pt x="0" y="0"/>
                </a:lnTo>
                <a:lnTo>
                  <a:pt x="0" y="59530"/>
                </a:lnTo>
                <a:lnTo>
                  <a:pt x="6249" y="65301"/>
                </a:lnTo>
                <a:lnTo>
                  <a:pt x="11904" y="71071"/>
                </a:lnTo>
                <a:lnTo>
                  <a:pt x="17559" y="77450"/>
                </a:lnTo>
                <a:lnTo>
                  <a:pt x="23214" y="83828"/>
                </a:lnTo>
                <a:lnTo>
                  <a:pt x="28273" y="90813"/>
                </a:lnTo>
                <a:lnTo>
                  <a:pt x="33035" y="98103"/>
                </a:lnTo>
                <a:lnTo>
                  <a:pt x="37797" y="105392"/>
                </a:lnTo>
                <a:lnTo>
                  <a:pt x="41964" y="112985"/>
                </a:lnTo>
                <a:lnTo>
                  <a:pt x="45833" y="121186"/>
                </a:lnTo>
                <a:lnTo>
                  <a:pt x="49702" y="129387"/>
                </a:lnTo>
                <a:lnTo>
                  <a:pt x="52976" y="137891"/>
                </a:lnTo>
                <a:lnTo>
                  <a:pt x="55952" y="146699"/>
                </a:lnTo>
                <a:lnTo>
                  <a:pt x="58630" y="155811"/>
                </a:lnTo>
                <a:lnTo>
                  <a:pt x="60714" y="164923"/>
                </a:lnTo>
                <a:lnTo>
                  <a:pt x="62797" y="174338"/>
                </a:lnTo>
                <a:lnTo>
                  <a:pt x="64285" y="184057"/>
                </a:lnTo>
                <a:lnTo>
                  <a:pt x="71428" y="184057"/>
                </a:lnTo>
                <a:lnTo>
                  <a:pt x="71428" y="142447"/>
                </a:lnTo>
                <a:close/>
              </a:path>
            </a:pathLst>
          </a:custGeom>
          <a:solidFill>
            <a:srgbClr val="000000"/>
          </a:solidFill>
        </p:spPr>
        <p:txBody>
          <a:bodyPr wrap="square" lIns="0" tIns="0" rIns="0" bIns="0" rtlCol="0">
            <a:noAutofit/>
          </a:bodyPr>
          <a:lstStyle/>
          <a:p>
            <a:endParaRPr/>
          </a:p>
        </p:txBody>
      </p:sp>
      <p:sp>
        <p:nvSpPr>
          <p:cNvPr id="555" name="object 555"/>
          <p:cNvSpPr/>
          <p:nvPr/>
        </p:nvSpPr>
        <p:spPr>
          <a:xfrm>
            <a:off x="8775104" y="1172856"/>
            <a:ext cx="236308" cy="3037"/>
          </a:xfrm>
          <a:custGeom>
            <a:avLst/>
            <a:gdLst/>
            <a:ahLst/>
            <a:cxnLst/>
            <a:rect l="l" t="t" r="r" b="b"/>
            <a:pathLst>
              <a:path w="236308" h="3037">
                <a:moveTo>
                  <a:pt x="234820" y="0"/>
                </a:moveTo>
                <a:lnTo>
                  <a:pt x="0" y="0"/>
                </a:lnTo>
                <a:lnTo>
                  <a:pt x="0" y="3037"/>
                </a:lnTo>
                <a:lnTo>
                  <a:pt x="234820" y="3037"/>
                </a:lnTo>
                <a:lnTo>
                  <a:pt x="235713" y="2429"/>
                </a:lnTo>
                <a:lnTo>
                  <a:pt x="236308" y="1518"/>
                </a:lnTo>
                <a:lnTo>
                  <a:pt x="235713" y="607"/>
                </a:lnTo>
                <a:lnTo>
                  <a:pt x="234820" y="0"/>
                </a:lnTo>
                <a:lnTo>
                  <a:pt x="233332" y="1518"/>
                </a:lnTo>
                <a:lnTo>
                  <a:pt x="234820" y="0"/>
                </a:lnTo>
                <a:close/>
              </a:path>
            </a:pathLst>
          </a:custGeom>
          <a:solidFill>
            <a:srgbClr val="000000"/>
          </a:solidFill>
        </p:spPr>
        <p:txBody>
          <a:bodyPr wrap="square" lIns="0" tIns="0" rIns="0" bIns="0" rtlCol="0">
            <a:noAutofit/>
          </a:bodyPr>
          <a:lstStyle/>
          <a:p>
            <a:endParaRPr/>
          </a:p>
        </p:txBody>
      </p:sp>
      <p:sp>
        <p:nvSpPr>
          <p:cNvPr id="556" name="object 556"/>
          <p:cNvSpPr/>
          <p:nvPr/>
        </p:nvSpPr>
        <p:spPr>
          <a:xfrm>
            <a:off x="9008437" y="1174374"/>
            <a:ext cx="2976" cy="73957"/>
          </a:xfrm>
          <a:custGeom>
            <a:avLst/>
            <a:gdLst/>
            <a:ahLst/>
            <a:cxnLst/>
            <a:rect l="l" t="t" r="r" b="b"/>
            <a:pathLst>
              <a:path w="2976" h="73957">
                <a:moveTo>
                  <a:pt x="2380" y="73805"/>
                </a:moveTo>
                <a:lnTo>
                  <a:pt x="2976" y="72894"/>
                </a:lnTo>
                <a:lnTo>
                  <a:pt x="2976" y="0"/>
                </a:lnTo>
                <a:lnTo>
                  <a:pt x="0" y="0"/>
                </a:lnTo>
                <a:lnTo>
                  <a:pt x="0" y="72894"/>
                </a:lnTo>
                <a:lnTo>
                  <a:pt x="1488" y="71375"/>
                </a:lnTo>
                <a:lnTo>
                  <a:pt x="1934" y="73957"/>
                </a:lnTo>
                <a:lnTo>
                  <a:pt x="2380" y="73805"/>
                </a:lnTo>
                <a:close/>
              </a:path>
            </a:pathLst>
          </a:custGeom>
          <a:solidFill>
            <a:srgbClr val="000000"/>
          </a:solidFill>
        </p:spPr>
        <p:txBody>
          <a:bodyPr wrap="square" lIns="0" tIns="0" rIns="0" bIns="0" rtlCol="0">
            <a:noAutofit/>
          </a:bodyPr>
          <a:lstStyle/>
          <a:p>
            <a:endParaRPr/>
          </a:p>
        </p:txBody>
      </p:sp>
      <p:sp>
        <p:nvSpPr>
          <p:cNvPr id="557" name="object 557"/>
          <p:cNvSpPr/>
          <p:nvPr/>
        </p:nvSpPr>
        <p:spPr>
          <a:xfrm>
            <a:off x="9008437" y="1245750"/>
            <a:ext cx="1934" cy="2733"/>
          </a:xfrm>
          <a:custGeom>
            <a:avLst/>
            <a:gdLst/>
            <a:ahLst/>
            <a:cxnLst/>
            <a:rect l="l" t="t" r="r" b="b"/>
            <a:pathLst>
              <a:path w="1934" h="2733">
                <a:moveTo>
                  <a:pt x="1488" y="0"/>
                </a:moveTo>
                <a:lnTo>
                  <a:pt x="0" y="1518"/>
                </a:lnTo>
                <a:lnTo>
                  <a:pt x="595" y="2429"/>
                </a:lnTo>
                <a:lnTo>
                  <a:pt x="1488" y="2733"/>
                </a:lnTo>
                <a:lnTo>
                  <a:pt x="1934" y="2581"/>
                </a:lnTo>
                <a:lnTo>
                  <a:pt x="1488" y="0"/>
                </a:lnTo>
                <a:close/>
              </a:path>
            </a:pathLst>
          </a:custGeom>
          <a:solidFill>
            <a:srgbClr val="000000"/>
          </a:solidFill>
        </p:spPr>
        <p:txBody>
          <a:bodyPr wrap="square" lIns="0" tIns="0" rIns="0" bIns="0" rtlCol="0">
            <a:noAutofit/>
          </a:bodyPr>
          <a:lstStyle/>
          <a:p>
            <a:endParaRPr/>
          </a:p>
        </p:txBody>
      </p:sp>
      <p:sp>
        <p:nvSpPr>
          <p:cNvPr id="558" name="object 558"/>
          <p:cNvSpPr/>
          <p:nvPr/>
        </p:nvSpPr>
        <p:spPr>
          <a:xfrm>
            <a:off x="8934629" y="1244534"/>
            <a:ext cx="75297" cy="4252"/>
          </a:xfrm>
          <a:custGeom>
            <a:avLst/>
            <a:gdLst/>
            <a:ahLst/>
            <a:cxnLst/>
            <a:rect l="l" t="t" r="r" b="b"/>
            <a:pathLst>
              <a:path w="75297" h="4252">
                <a:moveTo>
                  <a:pt x="1190" y="3037"/>
                </a:moveTo>
                <a:lnTo>
                  <a:pt x="75297" y="4252"/>
                </a:lnTo>
                <a:lnTo>
                  <a:pt x="75297" y="1214"/>
                </a:lnTo>
                <a:lnTo>
                  <a:pt x="1190" y="0"/>
                </a:lnTo>
                <a:lnTo>
                  <a:pt x="297" y="607"/>
                </a:lnTo>
                <a:lnTo>
                  <a:pt x="0" y="1518"/>
                </a:lnTo>
                <a:lnTo>
                  <a:pt x="297" y="2429"/>
                </a:lnTo>
                <a:lnTo>
                  <a:pt x="1190" y="3037"/>
                </a:lnTo>
                <a:close/>
              </a:path>
            </a:pathLst>
          </a:custGeom>
          <a:solidFill>
            <a:srgbClr val="000000"/>
          </a:solidFill>
        </p:spPr>
        <p:txBody>
          <a:bodyPr wrap="square" lIns="0" tIns="0" rIns="0" bIns="0" rtlCol="0">
            <a:noAutofit/>
          </a:bodyPr>
          <a:lstStyle/>
          <a:p>
            <a:endParaRPr/>
          </a:p>
        </p:txBody>
      </p:sp>
      <p:sp>
        <p:nvSpPr>
          <p:cNvPr id="559" name="object 559"/>
          <p:cNvSpPr/>
          <p:nvPr/>
        </p:nvSpPr>
        <p:spPr>
          <a:xfrm>
            <a:off x="8891772" y="1244230"/>
            <a:ext cx="44047" cy="3340"/>
          </a:xfrm>
          <a:custGeom>
            <a:avLst/>
            <a:gdLst/>
            <a:ahLst/>
            <a:cxnLst/>
            <a:rect l="l" t="t" r="r" b="b"/>
            <a:pathLst>
              <a:path w="44047" h="3340">
                <a:moveTo>
                  <a:pt x="0" y="1518"/>
                </a:moveTo>
                <a:lnTo>
                  <a:pt x="297" y="2429"/>
                </a:lnTo>
                <a:lnTo>
                  <a:pt x="1190" y="3037"/>
                </a:lnTo>
                <a:lnTo>
                  <a:pt x="2380" y="2429"/>
                </a:lnTo>
                <a:lnTo>
                  <a:pt x="44047" y="3340"/>
                </a:lnTo>
                <a:lnTo>
                  <a:pt x="44047" y="303"/>
                </a:lnTo>
                <a:lnTo>
                  <a:pt x="1190" y="0"/>
                </a:lnTo>
                <a:lnTo>
                  <a:pt x="297" y="607"/>
                </a:lnTo>
                <a:lnTo>
                  <a:pt x="0" y="1518"/>
                </a:lnTo>
                <a:close/>
              </a:path>
            </a:pathLst>
          </a:custGeom>
          <a:solidFill>
            <a:srgbClr val="000000"/>
          </a:solidFill>
        </p:spPr>
        <p:txBody>
          <a:bodyPr wrap="square" lIns="0" tIns="0" rIns="0" bIns="0" rtlCol="0">
            <a:noAutofit/>
          </a:bodyPr>
          <a:lstStyle/>
          <a:p>
            <a:endParaRPr/>
          </a:p>
        </p:txBody>
      </p:sp>
      <p:sp>
        <p:nvSpPr>
          <p:cNvPr id="560" name="object 560"/>
          <p:cNvSpPr/>
          <p:nvPr/>
        </p:nvSpPr>
        <p:spPr>
          <a:xfrm>
            <a:off x="8892962" y="1246661"/>
            <a:ext cx="42857" cy="911"/>
          </a:xfrm>
          <a:custGeom>
            <a:avLst/>
            <a:gdLst/>
            <a:ahLst/>
            <a:cxnLst/>
            <a:rect l="l" t="t" r="r" b="b"/>
            <a:pathLst>
              <a:path w="42857" h="911">
                <a:moveTo>
                  <a:pt x="42857" y="911"/>
                </a:moveTo>
                <a:lnTo>
                  <a:pt x="1190" y="0"/>
                </a:lnTo>
                <a:lnTo>
                  <a:pt x="0" y="607"/>
                </a:lnTo>
                <a:lnTo>
                  <a:pt x="42857" y="911"/>
                </a:lnTo>
                <a:close/>
              </a:path>
            </a:pathLst>
          </a:custGeom>
          <a:solidFill>
            <a:srgbClr val="000000"/>
          </a:solidFill>
        </p:spPr>
        <p:txBody>
          <a:bodyPr wrap="square" lIns="0" tIns="0" rIns="0" bIns="0" rtlCol="0">
            <a:noAutofit/>
          </a:bodyPr>
          <a:lstStyle/>
          <a:p>
            <a:endParaRPr/>
          </a:p>
        </p:txBody>
      </p:sp>
      <p:sp>
        <p:nvSpPr>
          <p:cNvPr id="561" name="object 561"/>
          <p:cNvSpPr/>
          <p:nvPr/>
        </p:nvSpPr>
        <p:spPr>
          <a:xfrm>
            <a:off x="8845045" y="1244839"/>
            <a:ext cx="49106" cy="73501"/>
          </a:xfrm>
          <a:custGeom>
            <a:avLst/>
            <a:gdLst/>
            <a:ahLst/>
            <a:cxnLst/>
            <a:rect l="l" t="t" r="r" b="b"/>
            <a:pathLst>
              <a:path w="49106" h="73501">
                <a:moveTo>
                  <a:pt x="2678" y="72894"/>
                </a:moveTo>
                <a:lnTo>
                  <a:pt x="2976" y="71982"/>
                </a:lnTo>
                <a:lnTo>
                  <a:pt x="46726" y="0"/>
                </a:lnTo>
                <a:lnTo>
                  <a:pt x="297" y="71071"/>
                </a:lnTo>
                <a:lnTo>
                  <a:pt x="0" y="72286"/>
                </a:lnTo>
                <a:lnTo>
                  <a:pt x="595" y="73197"/>
                </a:lnTo>
                <a:lnTo>
                  <a:pt x="1785" y="73501"/>
                </a:lnTo>
                <a:lnTo>
                  <a:pt x="2678" y="72894"/>
                </a:lnTo>
                <a:close/>
              </a:path>
              <a:path w="49106" h="73501">
                <a:moveTo>
                  <a:pt x="2976" y="71982"/>
                </a:moveTo>
                <a:lnTo>
                  <a:pt x="2678" y="72894"/>
                </a:lnTo>
                <a:lnTo>
                  <a:pt x="49106" y="1822"/>
                </a:lnTo>
                <a:lnTo>
                  <a:pt x="46726" y="0"/>
                </a:lnTo>
                <a:lnTo>
                  <a:pt x="2976" y="71982"/>
                </a:lnTo>
                <a:close/>
              </a:path>
            </a:pathLst>
          </a:custGeom>
          <a:solidFill>
            <a:srgbClr val="000000"/>
          </a:solidFill>
        </p:spPr>
        <p:txBody>
          <a:bodyPr wrap="square" lIns="0" tIns="0" rIns="0" bIns="0" rtlCol="0">
            <a:noAutofit/>
          </a:bodyPr>
          <a:lstStyle/>
          <a:p>
            <a:endParaRPr/>
          </a:p>
        </p:txBody>
      </p:sp>
      <p:sp>
        <p:nvSpPr>
          <p:cNvPr id="562" name="object 562"/>
          <p:cNvSpPr/>
          <p:nvPr/>
        </p:nvSpPr>
        <p:spPr>
          <a:xfrm>
            <a:off x="8845045" y="1316821"/>
            <a:ext cx="2976" cy="42673"/>
          </a:xfrm>
          <a:custGeom>
            <a:avLst/>
            <a:gdLst/>
            <a:ahLst/>
            <a:cxnLst/>
            <a:rect l="l" t="t" r="r" b="b"/>
            <a:pathLst>
              <a:path w="2976" h="42673">
                <a:moveTo>
                  <a:pt x="2380" y="42521"/>
                </a:moveTo>
                <a:lnTo>
                  <a:pt x="2976" y="41610"/>
                </a:lnTo>
                <a:lnTo>
                  <a:pt x="2976" y="0"/>
                </a:lnTo>
                <a:lnTo>
                  <a:pt x="0" y="0"/>
                </a:lnTo>
                <a:lnTo>
                  <a:pt x="0" y="41610"/>
                </a:lnTo>
                <a:lnTo>
                  <a:pt x="1488" y="40091"/>
                </a:lnTo>
                <a:lnTo>
                  <a:pt x="1934" y="42673"/>
                </a:lnTo>
                <a:lnTo>
                  <a:pt x="2380" y="42521"/>
                </a:lnTo>
                <a:close/>
              </a:path>
            </a:pathLst>
          </a:custGeom>
          <a:solidFill>
            <a:srgbClr val="000000"/>
          </a:solidFill>
        </p:spPr>
        <p:txBody>
          <a:bodyPr wrap="square" lIns="0" tIns="0" rIns="0" bIns="0" rtlCol="0">
            <a:noAutofit/>
          </a:bodyPr>
          <a:lstStyle/>
          <a:p>
            <a:endParaRPr/>
          </a:p>
        </p:txBody>
      </p:sp>
      <p:sp>
        <p:nvSpPr>
          <p:cNvPr id="563" name="object 563"/>
          <p:cNvSpPr/>
          <p:nvPr/>
        </p:nvSpPr>
        <p:spPr>
          <a:xfrm>
            <a:off x="8845045" y="1356913"/>
            <a:ext cx="1934" cy="2733"/>
          </a:xfrm>
          <a:custGeom>
            <a:avLst/>
            <a:gdLst/>
            <a:ahLst/>
            <a:cxnLst/>
            <a:rect l="l" t="t" r="r" b="b"/>
            <a:pathLst>
              <a:path w="1934" h="2733">
                <a:moveTo>
                  <a:pt x="1488" y="0"/>
                </a:moveTo>
                <a:lnTo>
                  <a:pt x="0" y="1518"/>
                </a:lnTo>
                <a:lnTo>
                  <a:pt x="595" y="2429"/>
                </a:lnTo>
                <a:lnTo>
                  <a:pt x="1488" y="2733"/>
                </a:lnTo>
                <a:lnTo>
                  <a:pt x="1934" y="2581"/>
                </a:lnTo>
                <a:lnTo>
                  <a:pt x="1488" y="0"/>
                </a:lnTo>
                <a:close/>
              </a:path>
            </a:pathLst>
          </a:custGeom>
          <a:solidFill>
            <a:srgbClr val="000000"/>
          </a:solidFill>
        </p:spPr>
        <p:txBody>
          <a:bodyPr wrap="square" lIns="0" tIns="0" rIns="0" bIns="0" rtlCol="0">
            <a:noAutofit/>
          </a:bodyPr>
          <a:lstStyle/>
          <a:p>
            <a:endParaRPr/>
          </a:p>
        </p:txBody>
      </p:sp>
      <p:sp>
        <p:nvSpPr>
          <p:cNvPr id="564" name="object 564"/>
          <p:cNvSpPr/>
          <p:nvPr/>
        </p:nvSpPr>
        <p:spPr>
          <a:xfrm>
            <a:off x="8839390" y="1358127"/>
            <a:ext cx="7142" cy="1822"/>
          </a:xfrm>
          <a:custGeom>
            <a:avLst/>
            <a:gdLst/>
            <a:ahLst/>
            <a:cxnLst/>
            <a:rect l="l" t="t" r="r" b="b"/>
            <a:pathLst>
              <a:path w="7142" h="1822">
                <a:moveTo>
                  <a:pt x="1488" y="0"/>
                </a:moveTo>
                <a:lnTo>
                  <a:pt x="0" y="1822"/>
                </a:lnTo>
                <a:lnTo>
                  <a:pt x="7142" y="1822"/>
                </a:lnTo>
                <a:lnTo>
                  <a:pt x="1488" y="0"/>
                </a:lnTo>
                <a:close/>
              </a:path>
            </a:pathLst>
          </a:custGeom>
          <a:solidFill>
            <a:srgbClr val="000000"/>
          </a:solidFill>
        </p:spPr>
        <p:txBody>
          <a:bodyPr wrap="square" lIns="0" tIns="0" rIns="0" bIns="0" rtlCol="0">
            <a:noAutofit/>
          </a:bodyPr>
          <a:lstStyle/>
          <a:p>
            <a:endParaRPr/>
          </a:p>
        </p:txBody>
      </p:sp>
      <p:sp>
        <p:nvSpPr>
          <p:cNvPr id="565" name="object 565"/>
          <p:cNvSpPr/>
          <p:nvPr/>
        </p:nvSpPr>
        <p:spPr>
          <a:xfrm>
            <a:off x="8838200" y="1356913"/>
            <a:ext cx="8333" cy="3037"/>
          </a:xfrm>
          <a:custGeom>
            <a:avLst/>
            <a:gdLst/>
            <a:ahLst/>
            <a:cxnLst/>
            <a:rect l="l" t="t" r="r" b="b"/>
            <a:pathLst>
              <a:path w="8333" h="3037">
                <a:moveTo>
                  <a:pt x="0" y="1518"/>
                </a:moveTo>
                <a:lnTo>
                  <a:pt x="243" y="2264"/>
                </a:lnTo>
                <a:lnTo>
                  <a:pt x="297" y="2429"/>
                </a:lnTo>
                <a:lnTo>
                  <a:pt x="1190" y="3037"/>
                </a:lnTo>
                <a:lnTo>
                  <a:pt x="2678" y="1214"/>
                </a:lnTo>
                <a:lnTo>
                  <a:pt x="8333" y="3037"/>
                </a:lnTo>
                <a:lnTo>
                  <a:pt x="8333" y="0"/>
                </a:lnTo>
                <a:lnTo>
                  <a:pt x="1190" y="0"/>
                </a:lnTo>
                <a:lnTo>
                  <a:pt x="297" y="607"/>
                </a:lnTo>
                <a:lnTo>
                  <a:pt x="0" y="1518"/>
                </a:lnTo>
                <a:close/>
              </a:path>
            </a:pathLst>
          </a:custGeom>
          <a:solidFill>
            <a:srgbClr val="000000"/>
          </a:solidFill>
        </p:spPr>
        <p:txBody>
          <a:bodyPr wrap="square" lIns="0" tIns="0" rIns="0" bIns="0" rtlCol="0">
            <a:noAutofit/>
          </a:bodyPr>
          <a:lstStyle/>
          <a:p>
            <a:endParaRPr/>
          </a:p>
        </p:txBody>
      </p:sp>
      <p:sp>
        <p:nvSpPr>
          <p:cNvPr id="566" name="object 566"/>
          <p:cNvSpPr/>
          <p:nvPr/>
        </p:nvSpPr>
        <p:spPr>
          <a:xfrm>
            <a:off x="8775998" y="1232688"/>
            <a:ext cx="6249" cy="5770"/>
          </a:xfrm>
          <a:custGeom>
            <a:avLst/>
            <a:gdLst/>
            <a:ahLst/>
            <a:cxnLst/>
            <a:rect l="l" t="t" r="r" b="b"/>
            <a:pathLst>
              <a:path w="6249" h="5770">
                <a:moveTo>
                  <a:pt x="595" y="1214"/>
                </a:moveTo>
                <a:lnTo>
                  <a:pt x="6249" y="5770"/>
                </a:lnTo>
                <a:lnTo>
                  <a:pt x="0" y="0"/>
                </a:lnTo>
                <a:lnTo>
                  <a:pt x="595" y="1214"/>
                </a:lnTo>
                <a:close/>
              </a:path>
            </a:pathLst>
          </a:custGeom>
          <a:solidFill>
            <a:srgbClr val="000000"/>
          </a:solidFill>
        </p:spPr>
        <p:txBody>
          <a:bodyPr wrap="square" lIns="0" tIns="0" rIns="0" bIns="0" rtlCol="0">
            <a:noAutofit/>
          </a:bodyPr>
          <a:lstStyle/>
          <a:p>
            <a:endParaRPr/>
          </a:p>
        </p:txBody>
      </p:sp>
      <p:sp>
        <p:nvSpPr>
          <p:cNvPr id="567" name="object 567"/>
          <p:cNvSpPr/>
          <p:nvPr/>
        </p:nvSpPr>
        <p:spPr>
          <a:xfrm>
            <a:off x="8773617" y="1232386"/>
            <a:ext cx="67261" cy="126349"/>
          </a:xfrm>
          <a:custGeom>
            <a:avLst/>
            <a:gdLst/>
            <a:ahLst/>
            <a:cxnLst/>
            <a:rect l="l" t="t" r="r" b="b"/>
            <a:pathLst>
              <a:path w="67261" h="126349">
                <a:moveTo>
                  <a:pt x="595" y="2733"/>
                </a:moveTo>
                <a:lnTo>
                  <a:pt x="6845" y="8504"/>
                </a:lnTo>
                <a:lnTo>
                  <a:pt x="12202" y="13971"/>
                </a:lnTo>
                <a:lnTo>
                  <a:pt x="17857" y="20349"/>
                </a:lnTo>
                <a:lnTo>
                  <a:pt x="23511" y="26727"/>
                </a:lnTo>
                <a:lnTo>
                  <a:pt x="28571" y="33713"/>
                </a:lnTo>
                <a:lnTo>
                  <a:pt x="33333" y="41002"/>
                </a:lnTo>
                <a:lnTo>
                  <a:pt x="38095" y="48292"/>
                </a:lnTo>
                <a:lnTo>
                  <a:pt x="42261" y="55581"/>
                </a:lnTo>
                <a:lnTo>
                  <a:pt x="46130" y="63782"/>
                </a:lnTo>
                <a:lnTo>
                  <a:pt x="49702" y="71982"/>
                </a:lnTo>
                <a:lnTo>
                  <a:pt x="52976" y="80487"/>
                </a:lnTo>
                <a:lnTo>
                  <a:pt x="55952" y="89295"/>
                </a:lnTo>
                <a:lnTo>
                  <a:pt x="58630" y="98103"/>
                </a:lnTo>
                <a:lnTo>
                  <a:pt x="60714" y="107215"/>
                </a:lnTo>
                <a:lnTo>
                  <a:pt x="62797" y="116630"/>
                </a:lnTo>
                <a:lnTo>
                  <a:pt x="64285" y="126349"/>
                </a:lnTo>
                <a:lnTo>
                  <a:pt x="67261" y="125742"/>
                </a:lnTo>
                <a:lnTo>
                  <a:pt x="65773" y="116023"/>
                </a:lnTo>
                <a:lnTo>
                  <a:pt x="63690" y="106607"/>
                </a:lnTo>
                <a:lnTo>
                  <a:pt x="61606" y="97495"/>
                </a:lnTo>
                <a:lnTo>
                  <a:pt x="58928" y="88080"/>
                </a:lnTo>
                <a:lnTo>
                  <a:pt x="55952" y="79272"/>
                </a:lnTo>
                <a:lnTo>
                  <a:pt x="52678" y="70768"/>
                </a:lnTo>
                <a:lnTo>
                  <a:pt x="48511" y="62567"/>
                </a:lnTo>
                <a:lnTo>
                  <a:pt x="44642" y="54366"/>
                </a:lnTo>
                <a:lnTo>
                  <a:pt x="40476" y="46470"/>
                </a:lnTo>
                <a:lnTo>
                  <a:pt x="35714" y="39180"/>
                </a:lnTo>
                <a:lnTo>
                  <a:pt x="30952" y="31891"/>
                </a:lnTo>
                <a:lnTo>
                  <a:pt x="25892" y="24905"/>
                </a:lnTo>
                <a:lnTo>
                  <a:pt x="20238" y="18527"/>
                </a:lnTo>
                <a:lnTo>
                  <a:pt x="14583" y="12149"/>
                </a:lnTo>
                <a:lnTo>
                  <a:pt x="8630" y="6074"/>
                </a:lnTo>
                <a:lnTo>
                  <a:pt x="2976" y="1518"/>
                </a:lnTo>
                <a:lnTo>
                  <a:pt x="2380" y="303"/>
                </a:lnTo>
                <a:lnTo>
                  <a:pt x="1190" y="0"/>
                </a:lnTo>
                <a:lnTo>
                  <a:pt x="297" y="607"/>
                </a:lnTo>
                <a:lnTo>
                  <a:pt x="0" y="1518"/>
                </a:lnTo>
                <a:lnTo>
                  <a:pt x="595" y="2733"/>
                </a:lnTo>
                <a:close/>
              </a:path>
            </a:pathLst>
          </a:custGeom>
          <a:solidFill>
            <a:srgbClr val="000000"/>
          </a:solidFill>
        </p:spPr>
        <p:txBody>
          <a:bodyPr wrap="square" lIns="0" tIns="0" rIns="0" bIns="0" rtlCol="0">
            <a:noAutofit/>
          </a:bodyPr>
          <a:lstStyle/>
          <a:p>
            <a:endParaRPr/>
          </a:p>
        </p:txBody>
      </p:sp>
      <p:sp>
        <p:nvSpPr>
          <p:cNvPr id="568" name="object 568"/>
          <p:cNvSpPr/>
          <p:nvPr/>
        </p:nvSpPr>
        <p:spPr>
          <a:xfrm>
            <a:off x="8773616" y="1172855"/>
            <a:ext cx="2976" cy="61048"/>
          </a:xfrm>
          <a:custGeom>
            <a:avLst/>
            <a:gdLst/>
            <a:ahLst/>
            <a:cxnLst/>
            <a:rect l="l" t="t" r="r" b="b"/>
            <a:pathLst>
              <a:path w="2976" h="61048">
                <a:moveTo>
                  <a:pt x="2380" y="607"/>
                </a:moveTo>
                <a:lnTo>
                  <a:pt x="1488" y="0"/>
                </a:lnTo>
                <a:lnTo>
                  <a:pt x="1488" y="3037"/>
                </a:lnTo>
                <a:lnTo>
                  <a:pt x="0" y="1518"/>
                </a:lnTo>
                <a:lnTo>
                  <a:pt x="0" y="61048"/>
                </a:lnTo>
                <a:lnTo>
                  <a:pt x="2976" y="61048"/>
                </a:lnTo>
                <a:lnTo>
                  <a:pt x="2976" y="1518"/>
                </a:lnTo>
                <a:lnTo>
                  <a:pt x="2380" y="607"/>
                </a:lnTo>
                <a:close/>
              </a:path>
            </a:pathLst>
          </a:custGeom>
          <a:solidFill>
            <a:srgbClr val="000000"/>
          </a:solidFill>
        </p:spPr>
        <p:txBody>
          <a:bodyPr wrap="square" lIns="0" tIns="0" rIns="0" bIns="0" rtlCol="0">
            <a:noAutofit/>
          </a:bodyPr>
          <a:lstStyle/>
          <a:p>
            <a:endParaRPr/>
          </a:p>
        </p:txBody>
      </p:sp>
      <p:sp>
        <p:nvSpPr>
          <p:cNvPr id="569" name="object 569"/>
          <p:cNvSpPr/>
          <p:nvPr/>
        </p:nvSpPr>
        <p:spPr>
          <a:xfrm>
            <a:off x="8773616" y="1172856"/>
            <a:ext cx="1488" cy="3037"/>
          </a:xfrm>
          <a:custGeom>
            <a:avLst/>
            <a:gdLst/>
            <a:ahLst/>
            <a:cxnLst/>
            <a:rect l="l" t="t" r="r" b="b"/>
            <a:pathLst>
              <a:path w="1488" h="3037">
                <a:moveTo>
                  <a:pt x="1488" y="0"/>
                </a:moveTo>
                <a:lnTo>
                  <a:pt x="595" y="607"/>
                </a:lnTo>
                <a:lnTo>
                  <a:pt x="0" y="1518"/>
                </a:lnTo>
                <a:lnTo>
                  <a:pt x="1488" y="3037"/>
                </a:lnTo>
                <a:lnTo>
                  <a:pt x="1488" y="0"/>
                </a:lnTo>
                <a:close/>
              </a:path>
            </a:pathLst>
          </a:custGeom>
          <a:solidFill>
            <a:srgbClr val="000000"/>
          </a:solidFill>
        </p:spPr>
        <p:txBody>
          <a:bodyPr wrap="square" lIns="0" tIns="0" rIns="0" bIns="0" rtlCol="0">
            <a:noAutofit/>
          </a:bodyPr>
          <a:lstStyle/>
          <a:p>
            <a:endParaRPr/>
          </a:p>
        </p:txBody>
      </p:sp>
      <p:sp>
        <p:nvSpPr>
          <p:cNvPr id="570" name="object 570"/>
          <p:cNvSpPr/>
          <p:nvPr/>
        </p:nvSpPr>
        <p:spPr>
          <a:xfrm>
            <a:off x="9146830" y="1188345"/>
            <a:ext cx="186011" cy="307370"/>
          </a:xfrm>
          <a:custGeom>
            <a:avLst/>
            <a:gdLst/>
            <a:ahLst/>
            <a:cxnLst/>
            <a:rect l="l" t="t" r="r" b="b"/>
            <a:pathLst>
              <a:path w="186011" h="307370">
                <a:moveTo>
                  <a:pt x="92856" y="0"/>
                </a:moveTo>
                <a:lnTo>
                  <a:pt x="83333" y="911"/>
                </a:lnTo>
                <a:lnTo>
                  <a:pt x="74106" y="3037"/>
                </a:lnTo>
                <a:lnTo>
                  <a:pt x="56845" y="12149"/>
                </a:lnTo>
                <a:lnTo>
                  <a:pt x="48511" y="18527"/>
                </a:lnTo>
                <a:lnTo>
                  <a:pt x="41071" y="26424"/>
                </a:lnTo>
                <a:lnTo>
                  <a:pt x="33928" y="35232"/>
                </a:lnTo>
                <a:lnTo>
                  <a:pt x="27380" y="44951"/>
                </a:lnTo>
                <a:lnTo>
                  <a:pt x="21130" y="55885"/>
                </a:lnTo>
                <a:lnTo>
                  <a:pt x="15773" y="67730"/>
                </a:lnTo>
                <a:lnTo>
                  <a:pt x="11309" y="80487"/>
                </a:lnTo>
                <a:lnTo>
                  <a:pt x="7440" y="93851"/>
                </a:lnTo>
                <a:lnTo>
                  <a:pt x="4166" y="108126"/>
                </a:lnTo>
                <a:lnTo>
                  <a:pt x="1785" y="122705"/>
                </a:lnTo>
                <a:lnTo>
                  <a:pt x="595" y="137891"/>
                </a:lnTo>
                <a:lnTo>
                  <a:pt x="0" y="153685"/>
                </a:lnTo>
                <a:lnTo>
                  <a:pt x="595" y="169175"/>
                </a:lnTo>
                <a:lnTo>
                  <a:pt x="1785" y="184665"/>
                </a:lnTo>
                <a:lnTo>
                  <a:pt x="4166" y="199243"/>
                </a:lnTo>
                <a:lnTo>
                  <a:pt x="7440" y="213215"/>
                </a:lnTo>
                <a:lnTo>
                  <a:pt x="11309" y="226883"/>
                </a:lnTo>
                <a:lnTo>
                  <a:pt x="15773" y="239335"/>
                </a:lnTo>
                <a:lnTo>
                  <a:pt x="21130" y="251181"/>
                </a:lnTo>
                <a:lnTo>
                  <a:pt x="27380" y="262115"/>
                </a:lnTo>
                <a:lnTo>
                  <a:pt x="33928" y="272138"/>
                </a:lnTo>
                <a:lnTo>
                  <a:pt x="41071" y="280946"/>
                </a:lnTo>
                <a:lnTo>
                  <a:pt x="48511" y="288843"/>
                </a:lnTo>
                <a:lnTo>
                  <a:pt x="56845" y="295221"/>
                </a:lnTo>
                <a:lnTo>
                  <a:pt x="74106" y="304333"/>
                </a:lnTo>
                <a:lnTo>
                  <a:pt x="92856" y="307370"/>
                </a:lnTo>
                <a:lnTo>
                  <a:pt x="102380" y="306459"/>
                </a:lnTo>
                <a:lnTo>
                  <a:pt x="120535" y="300384"/>
                </a:lnTo>
                <a:lnTo>
                  <a:pt x="137201" y="288843"/>
                </a:lnTo>
                <a:lnTo>
                  <a:pt x="144940" y="280946"/>
                </a:lnTo>
                <a:lnTo>
                  <a:pt x="152082" y="272138"/>
                </a:lnTo>
                <a:lnTo>
                  <a:pt x="158630" y="262115"/>
                </a:lnTo>
                <a:lnTo>
                  <a:pt x="164880" y="251181"/>
                </a:lnTo>
                <a:lnTo>
                  <a:pt x="170237" y="239335"/>
                </a:lnTo>
                <a:lnTo>
                  <a:pt x="174701" y="226883"/>
                </a:lnTo>
                <a:lnTo>
                  <a:pt x="178570" y="213215"/>
                </a:lnTo>
                <a:lnTo>
                  <a:pt x="181844" y="199243"/>
                </a:lnTo>
                <a:lnTo>
                  <a:pt x="184225" y="184665"/>
                </a:lnTo>
                <a:lnTo>
                  <a:pt x="185416" y="169175"/>
                </a:lnTo>
                <a:lnTo>
                  <a:pt x="186011" y="153685"/>
                </a:lnTo>
                <a:lnTo>
                  <a:pt x="185416" y="137891"/>
                </a:lnTo>
                <a:lnTo>
                  <a:pt x="184225" y="122705"/>
                </a:lnTo>
                <a:lnTo>
                  <a:pt x="181844" y="108126"/>
                </a:lnTo>
                <a:lnTo>
                  <a:pt x="178570" y="93851"/>
                </a:lnTo>
                <a:lnTo>
                  <a:pt x="174701" y="80487"/>
                </a:lnTo>
                <a:lnTo>
                  <a:pt x="170237" y="67730"/>
                </a:lnTo>
                <a:lnTo>
                  <a:pt x="164880" y="55885"/>
                </a:lnTo>
                <a:lnTo>
                  <a:pt x="158630" y="44951"/>
                </a:lnTo>
                <a:lnTo>
                  <a:pt x="152082" y="35232"/>
                </a:lnTo>
                <a:lnTo>
                  <a:pt x="144940" y="26424"/>
                </a:lnTo>
                <a:lnTo>
                  <a:pt x="137201" y="18527"/>
                </a:lnTo>
                <a:lnTo>
                  <a:pt x="129166" y="12149"/>
                </a:lnTo>
                <a:lnTo>
                  <a:pt x="111606" y="3037"/>
                </a:lnTo>
                <a:lnTo>
                  <a:pt x="102380" y="911"/>
                </a:lnTo>
                <a:lnTo>
                  <a:pt x="92856" y="0"/>
                </a:lnTo>
                <a:close/>
              </a:path>
            </a:pathLst>
          </a:custGeom>
          <a:solidFill>
            <a:srgbClr val="000000"/>
          </a:solidFill>
        </p:spPr>
        <p:txBody>
          <a:bodyPr wrap="square" lIns="0" tIns="0" rIns="0" bIns="0" rtlCol="0">
            <a:noAutofit/>
          </a:bodyPr>
          <a:lstStyle/>
          <a:p>
            <a:endParaRPr/>
          </a:p>
        </p:txBody>
      </p:sp>
      <p:sp>
        <p:nvSpPr>
          <p:cNvPr id="571" name="object 571"/>
          <p:cNvSpPr/>
          <p:nvPr/>
        </p:nvSpPr>
        <p:spPr>
          <a:xfrm>
            <a:off x="9239687" y="1186219"/>
            <a:ext cx="95237" cy="155811"/>
          </a:xfrm>
          <a:custGeom>
            <a:avLst/>
            <a:gdLst/>
            <a:ahLst/>
            <a:cxnLst/>
            <a:rect l="l" t="t" r="r" b="b"/>
            <a:pathLst>
              <a:path w="95237" h="155811">
                <a:moveTo>
                  <a:pt x="0" y="0"/>
                </a:moveTo>
                <a:lnTo>
                  <a:pt x="0" y="4252"/>
                </a:lnTo>
                <a:lnTo>
                  <a:pt x="9226" y="5163"/>
                </a:lnTo>
                <a:lnTo>
                  <a:pt x="18154" y="7289"/>
                </a:lnTo>
                <a:lnTo>
                  <a:pt x="26785" y="10934"/>
                </a:lnTo>
                <a:lnTo>
                  <a:pt x="35118" y="16097"/>
                </a:lnTo>
                <a:lnTo>
                  <a:pt x="42857" y="22171"/>
                </a:lnTo>
                <a:lnTo>
                  <a:pt x="50595" y="30068"/>
                </a:lnTo>
                <a:lnTo>
                  <a:pt x="57440" y="38573"/>
                </a:lnTo>
                <a:lnTo>
                  <a:pt x="63987" y="48292"/>
                </a:lnTo>
                <a:lnTo>
                  <a:pt x="70237" y="58922"/>
                </a:lnTo>
                <a:lnTo>
                  <a:pt x="75595" y="70768"/>
                </a:lnTo>
                <a:lnTo>
                  <a:pt x="79761" y="83220"/>
                </a:lnTo>
                <a:lnTo>
                  <a:pt x="83630" y="96584"/>
                </a:lnTo>
                <a:lnTo>
                  <a:pt x="86904" y="110556"/>
                </a:lnTo>
                <a:lnTo>
                  <a:pt x="89285" y="125134"/>
                </a:lnTo>
                <a:lnTo>
                  <a:pt x="90475" y="140017"/>
                </a:lnTo>
                <a:lnTo>
                  <a:pt x="91071" y="155811"/>
                </a:lnTo>
                <a:lnTo>
                  <a:pt x="95237" y="155811"/>
                </a:lnTo>
                <a:lnTo>
                  <a:pt x="94642" y="140017"/>
                </a:lnTo>
                <a:lnTo>
                  <a:pt x="93452" y="124527"/>
                </a:lnTo>
                <a:lnTo>
                  <a:pt x="91071" y="109948"/>
                </a:lnTo>
                <a:lnTo>
                  <a:pt x="87797" y="95369"/>
                </a:lnTo>
                <a:lnTo>
                  <a:pt x="83928" y="82005"/>
                </a:lnTo>
                <a:lnTo>
                  <a:pt x="79166" y="68945"/>
                </a:lnTo>
                <a:lnTo>
                  <a:pt x="73809" y="57100"/>
                </a:lnTo>
                <a:lnTo>
                  <a:pt x="67559" y="45862"/>
                </a:lnTo>
                <a:lnTo>
                  <a:pt x="61011" y="36143"/>
                </a:lnTo>
                <a:lnTo>
                  <a:pt x="53571" y="27031"/>
                </a:lnTo>
                <a:lnTo>
                  <a:pt x="45833" y="19134"/>
                </a:lnTo>
                <a:lnTo>
                  <a:pt x="37499" y="12452"/>
                </a:lnTo>
                <a:lnTo>
                  <a:pt x="28571" y="7289"/>
                </a:lnTo>
                <a:lnTo>
                  <a:pt x="19345" y="3037"/>
                </a:lnTo>
                <a:lnTo>
                  <a:pt x="9821" y="911"/>
                </a:lnTo>
                <a:lnTo>
                  <a:pt x="0" y="0"/>
                </a:lnTo>
                <a:close/>
              </a:path>
            </a:pathLst>
          </a:custGeom>
          <a:solidFill>
            <a:srgbClr val="000000"/>
          </a:solidFill>
        </p:spPr>
        <p:txBody>
          <a:bodyPr wrap="square" lIns="0" tIns="0" rIns="0" bIns="0" rtlCol="0">
            <a:noAutofit/>
          </a:bodyPr>
          <a:lstStyle/>
          <a:p>
            <a:endParaRPr/>
          </a:p>
        </p:txBody>
      </p:sp>
      <p:sp>
        <p:nvSpPr>
          <p:cNvPr id="572" name="object 572"/>
          <p:cNvSpPr/>
          <p:nvPr/>
        </p:nvSpPr>
        <p:spPr>
          <a:xfrm>
            <a:off x="9239687" y="1342031"/>
            <a:ext cx="95237" cy="155811"/>
          </a:xfrm>
          <a:custGeom>
            <a:avLst/>
            <a:gdLst/>
            <a:ahLst/>
            <a:cxnLst/>
            <a:rect l="l" t="t" r="r" b="b"/>
            <a:pathLst>
              <a:path w="95237" h="155811">
                <a:moveTo>
                  <a:pt x="83928" y="73805"/>
                </a:moveTo>
                <a:lnTo>
                  <a:pt x="87797" y="60137"/>
                </a:lnTo>
                <a:lnTo>
                  <a:pt x="91071" y="45862"/>
                </a:lnTo>
                <a:lnTo>
                  <a:pt x="93452" y="31283"/>
                </a:lnTo>
                <a:lnTo>
                  <a:pt x="94642" y="15490"/>
                </a:lnTo>
                <a:lnTo>
                  <a:pt x="95237" y="0"/>
                </a:lnTo>
                <a:lnTo>
                  <a:pt x="91071" y="0"/>
                </a:lnTo>
                <a:lnTo>
                  <a:pt x="90475" y="15490"/>
                </a:lnTo>
                <a:lnTo>
                  <a:pt x="89285" y="30676"/>
                </a:lnTo>
                <a:lnTo>
                  <a:pt x="86904" y="45255"/>
                </a:lnTo>
                <a:lnTo>
                  <a:pt x="83630" y="58922"/>
                </a:lnTo>
                <a:lnTo>
                  <a:pt x="79761" y="72590"/>
                </a:lnTo>
                <a:lnTo>
                  <a:pt x="75595" y="84739"/>
                </a:lnTo>
                <a:lnTo>
                  <a:pt x="70237" y="96584"/>
                </a:lnTo>
                <a:lnTo>
                  <a:pt x="63987" y="107215"/>
                </a:lnTo>
                <a:lnTo>
                  <a:pt x="57440" y="117238"/>
                </a:lnTo>
                <a:lnTo>
                  <a:pt x="50595" y="125742"/>
                </a:lnTo>
                <a:lnTo>
                  <a:pt x="42857" y="133639"/>
                </a:lnTo>
                <a:lnTo>
                  <a:pt x="35118" y="139713"/>
                </a:lnTo>
                <a:lnTo>
                  <a:pt x="26785" y="144877"/>
                </a:lnTo>
                <a:lnTo>
                  <a:pt x="18154" y="148521"/>
                </a:lnTo>
                <a:lnTo>
                  <a:pt x="9226" y="150647"/>
                </a:lnTo>
                <a:lnTo>
                  <a:pt x="0" y="151559"/>
                </a:lnTo>
                <a:lnTo>
                  <a:pt x="0" y="155811"/>
                </a:lnTo>
                <a:lnTo>
                  <a:pt x="9821" y="154900"/>
                </a:lnTo>
                <a:lnTo>
                  <a:pt x="19345" y="152773"/>
                </a:lnTo>
                <a:lnTo>
                  <a:pt x="28571" y="148521"/>
                </a:lnTo>
                <a:lnTo>
                  <a:pt x="37499" y="143358"/>
                </a:lnTo>
                <a:lnTo>
                  <a:pt x="45833" y="136676"/>
                </a:lnTo>
                <a:lnTo>
                  <a:pt x="53571" y="128779"/>
                </a:lnTo>
                <a:lnTo>
                  <a:pt x="61011" y="119667"/>
                </a:lnTo>
                <a:lnTo>
                  <a:pt x="67559" y="109644"/>
                </a:lnTo>
                <a:lnTo>
                  <a:pt x="73809" y="98407"/>
                </a:lnTo>
                <a:lnTo>
                  <a:pt x="79166" y="86561"/>
                </a:lnTo>
                <a:lnTo>
                  <a:pt x="83928" y="73805"/>
                </a:lnTo>
                <a:close/>
              </a:path>
            </a:pathLst>
          </a:custGeom>
          <a:solidFill>
            <a:srgbClr val="000000"/>
          </a:solidFill>
        </p:spPr>
        <p:txBody>
          <a:bodyPr wrap="square" lIns="0" tIns="0" rIns="0" bIns="0" rtlCol="0">
            <a:noAutofit/>
          </a:bodyPr>
          <a:lstStyle/>
          <a:p>
            <a:endParaRPr/>
          </a:p>
        </p:txBody>
      </p:sp>
      <p:sp>
        <p:nvSpPr>
          <p:cNvPr id="573" name="object 573"/>
          <p:cNvSpPr/>
          <p:nvPr/>
        </p:nvSpPr>
        <p:spPr>
          <a:xfrm>
            <a:off x="9144746" y="1342031"/>
            <a:ext cx="94940" cy="155811"/>
          </a:xfrm>
          <a:custGeom>
            <a:avLst/>
            <a:gdLst/>
            <a:ahLst/>
            <a:cxnLst/>
            <a:rect l="l" t="t" r="r" b="b"/>
            <a:pathLst>
              <a:path w="94940" h="155811">
                <a:moveTo>
                  <a:pt x="595" y="15490"/>
                </a:moveTo>
                <a:lnTo>
                  <a:pt x="1785" y="31283"/>
                </a:lnTo>
                <a:lnTo>
                  <a:pt x="4166" y="45862"/>
                </a:lnTo>
                <a:lnTo>
                  <a:pt x="7440" y="60137"/>
                </a:lnTo>
                <a:lnTo>
                  <a:pt x="11309" y="73805"/>
                </a:lnTo>
                <a:lnTo>
                  <a:pt x="16071" y="86561"/>
                </a:lnTo>
                <a:lnTo>
                  <a:pt x="21428" y="98407"/>
                </a:lnTo>
                <a:lnTo>
                  <a:pt x="27678" y="109644"/>
                </a:lnTo>
                <a:lnTo>
                  <a:pt x="34226" y="119667"/>
                </a:lnTo>
                <a:lnTo>
                  <a:pt x="41666" y="128779"/>
                </a:lnTo>
                <a:lnTo>
                  <a:pt x="49106" y="136676"/>
                </a:lnTo>
                <a:lnTo>
                  <a:pt x="57737" y="143358"/>
                </a:lnTo>
                <a:lnTo>
                  <a:pt x="66368" y="148521"/>
                </a:lnTo>
                <a:lnTo>
                  <a:pt x="75595" y="152773"/>
                </a:lnTo>
                <a:lnTo>
                  <a:pt x="85118" y="154900"/>
                </a:lnTo>
                <a:lnTo>
                  <a:pt x="94940" y="155811"/>
                </a:lnTo>
                <a:lnTo>
                  <a:pt x="94940" y="151559"/>
                </a:lnTo>
                <a:lnTo>
                  <a:pt x="85714" y="150647"/>
                </a:lnTo>
                <a:lnTo>
                  <a:pt x="76785" y="148521"/>
                </a:lnTo>
                <a:lnTo>
                  <a:pt x="68154" y="144877"/>
                </a:lnTo>
                <a:lnTo>
                  <a:pt x="60118" y="139713"/>
                </a:lnTo>
                <a:lnTo>
                  <a:pt x="52083" y="133639"/>
                </a:lnTo>
                <a:lnTo>
                  <a:pt x="44642" y="125742"/>
                </a:lnTo>
                <a:lnTo>
                  <a:pt x="37797" y="117238"/>
                </a:lnTo>
                <a:lnTo>
                  <a:pt x="31249" y="107215"/>
                </a:lnTo>
                <a:lnTo>
                  <a:pt x="24999" y="96584"/>
                </a:lnTo>
                <a:lnTo>
                  <a:pt x="19642" y="84739"/>
                </a:lnTo>
                <a:lnTo>
                  <a:pt x="15476" y="72590"/>
                </a:lnTo>
                <a:lnTo>
                  <a:pt x="11607" y="58922"/>
                </a:lnTo>
                <a:lnTo>
                  <a:pt x="8333" y="45255"/>
                </a:lnTo>
                <a:lnTo>
                  <a:pt x="5952" y="30676"/>
                </a:lnTo>
                <a:lnTo>
                  <a:pt x="4761" y="15490"/>
                </a:lnTo>
                <a:lnTo>
                  <a:pt x="4166" y="0"/>
                </a:lnTo>
                <a:lnTo>
                  <a:pt x="0" y="0"/>
                </a:lnTo>
                <a:lnTo>
                  <a:pt x="595" y="15490"/>
                </a:lnTo>
                <a:close/>
              </a:path>
            </a:pathLst>
          </a:custGeom>
          <a:solidFill>
            <a:srgbClr val="000000"/>
          </a:solidFill>
        </p:spPr>
        <p:txBody>
          <a:bodyPr wrap="square" lIns="0" tIns="0" rIns="0" bIns="0" rtlCol="0">
            <a:noAutofit/>
          </a:bodyPr>
          <a:lstStyle/>
          <a:p>
            <a:endParaRPr/>
          </a:p>
        </p:txBody>
      </p:sp>
      <p:sp>
        <p:nvSpPr>
          <p:cNvPr id="574" name="object 574"/>
          <p:cNvSpPr/>
          <p:nvPr/>
        </p:nvSpPr>
        <p:spPr>
          <a:xfrm>
            <a:off x="9144746" y="1186219"/>
            <a:ext cx="94940" cy="155811"/>
          </a:xfrm>
          <a:custGeom>
            <a:avLst/>
            <a:gdLst/>
            <a:ahLst/>
            <a:cxnLst/>
            <a:rect l="l" t="t" r="r" b="b"/>
            <a:pathLst>
              <a:path w="94940" h="155811">
                <a:moveTo>
                  <a:pt x="4166" y="109948"/>
                </a:moveTo>
                <a:lnTo>
                  <a:pt x="1785" y="124527"/>
                </a:lnTo>
                <a:lnTo>
                  <a:pt x="595" y="140017"/>
                </a:lnTo>
                <a:lnTo>
                  <a:pt x="0" y="155811"/>
                </a:lnTo>
                <a:lnTo>
                  <a:pt x="4166" y="155811"/>
                </a:lnTo>
                <a:lnTo>
                  <a:pt x="4761" y="140017"/>
                </a:lnTo>
                <a:lnTo>
                  <a:pt x="5952" y="125134"/>
                </a:lnTo>
                <a:lnTo>
                  <a:pt x="8333" y="110556"/>
                </a:lnTo>
                <a:lnTo>
                  <a:pt x="11607" y="96584"/>
                </a:lnTo>
                <a:lnTo>
                  <a:pt x="15476" y="83220"/>
                </a:lnTo>
                <a:lnTo>
                  <a:pt x="19642" y="70768"/>
                </a:lnTo>
                <a:lnTo>
                  <a:pt x="24999" y="58922"/>
                </a:lnTo>
                <a:lnTo>
                  <a:pt x="31249" y="48292"/>
                </a:lnTo>
                <a:lnTo>
                  <a:pt x="37797" y="38573"/>
                </a:lnTo>
                <a:lnTo>
                  <a:pt x="44642" y="30068"/>
                </a:lnTo>
                <a:lnTo>
                  <a:pt x="52083" y="22171"/>
                </a:lnTo>
                <a:lnTo>
                  <a:pt x="60118" y="16097"/>
                </a:lnTo>
                <a:lnTo>
                  <a:pt x="68154" y="10934"/>
                </a:lnTo>
                <a:lnTo>
                  <a:pt x="76785" y="7289"/>
                </a:lnTo>
                <a:lnTo>
                  <a:pt x="85714" y="5163"/>
                </a:lnTo>
                <a:lnTo>
                  <a:pt x="94940" y="4252"/>
                </a:lnTo>
                <a:lnTo>
                  <a:pt x="94940" y="0"/>
                </a:lnTo>
                <a:lnTo>
                  <a:pt x="85118" y="911"/>
                </a:lnTo>
                <a:lnTo>
                  <a:pt x="75595" y="3037"/>
                </a:lnTo>
                <a:lnTo>
                  <a:pt x="66368" y="7289"/>
                </a:lnTo>
                <a:lnTo>
                  <a:pt x="57737" y="12452"/>
                </a:lnTo>
                <a:lnTo>
                  <a:pt x="49106" y="19134"/>
                </a:lnTo>
                <a:lnTo>
                  <a:pt x="41666" y="27031"/>
                </a:lnTo>
                <a:lnTo>
                  <a:pt x="34226" y="36143"/>
                </a:lnTo>
                <a:lnTo>
                  <a:pt x="27678" y="45862"/>
                </a:lnTo>
                <a:lnTo>
                  <a:pt x="21428" y="57100"/>
                </a:lnTo>
                <a:lnTo>
                  <a:pt x="16071" y="68945"/>
                </a:lnTo>
                <a:lnTo>
                  <a:pt x="11309" y="82005"/>
                </a:lnTo>
                <a:lnTo>
                  <a:pt x="7440" y="95369"/>
                </a:lnTo>
                <a:lnTo>
                  <a:pt x="4166" y="109948"/>
                </a:lnTo>
                <a:close/>
              </a:path>
            </a:pathLst>
          </a:custGeom>
          <a:solidFill>
            <a:srgbClr val="000000"/>
          </a:solidFill>
        </p:spPr>
        <p:txBody>
          <a:bodyPr wrap="square" lIns="0" tIns="0" rIns="0" bIns="0" rtlCol="0">
            <a:noAutofit/>
          </a:bodyPr>
          <a:lstStyle/>
          <a:p>
            <a:endParaRPr/>
          </a:p>
        </p:txBody>
      </p:sp>
      <p:sp>
        <p:nvSpPr>
          <p:cNvPr id="575" name="object 575"/>
          <p:cNvSpPr/>
          <p:nvPr/>
        </p:nvSpPr>
        <p:spPr>
          <a:xfrm>
            <a:off x="9240282" y="1484477"/>
            <a:ext cx="63095" cy="10326"/>
          </a:xfrm>
          <a:custGeom>
            <a:avLst/>
            <a:gdLst/>
            <a:ahLst/>
            <a:cxnLst/>
            <a:rect l="l" t="t" r="r" b="b"/>
            <a:pathLst>
              <a:path w="63095" h="10326">
                <a:moveTo>
                  <a:pt x="63095" y="10326"/>
                </a:moveTo>
                <a:lnTo>
                  <a:pt x="29761" y="0"/>
                </a:lnTo>
                <a:lnTo>
                  <a:pt x="0" y="10326"/>
                </a:lnTo>
                <a:lnTo>
                  <a:pt x="63095" y="10326"/>
                </a:lnTo>
                <a:close/>
              </a:path>
            </a:pathLst>
          </a:custGeom>
          <a:solidFill>
            <a:srgbClr val="000000"/>
          </a:solidFill>
        </p:spPr>
        <p:txBody>
          <a:bodyPr wrap="square" lIns="0" tIns="0" rIns="0" bIns="0" rtlCol="0">
            <a:noAutofit/>
          </a:bodyPr>
          <a:lstStyle/>
          <a:p>
            <a:endParaRPr/>
          </a:p>
        </p:txBody>
      </p:sp>
      <p:sp>
        <p:nvSpPr>
          <p:cNvPr id="576" name="object 576"/>
          <p:cNvSpPr/>
          <p:nvPr/>
        </p:nvSpPr>
        <p:spPr>
          <a:xfrm>
            <a:off x="9238496" y="1188648"/>
            <a:ext cx="61904" cy="10934"/>
          </a:xfrm>
          <a:custGeom>
            <a:avLst/>
            <a:gdLst/>
            <a:ahLst/>
            <a:cxnLst/>
            <a:rect l="l" t="t" r="r" b="b"/>
            <a:pathLst>
              <a:path w="61904" h="10934">
                <a:moveTo>
                  <a:pt x="61904" y="0"/>
                </a:moveTo>
                <a:lnTo>
                  <a:pt x="0" y="0"/>
                </a:lnTo>
                <a:lnTo>
                  <a:pt x="31547" y="10934"/>
                </a:lnTo>
                <a:lnTo>
                  <a:pt x="61904" y="0"/>
                </a:lnTo>
                <a:close/>
              </a:path>
            </a:pathLst>
          </a:custGeom>
          <a:solidFill>
            <a:srgbClr val="000000"/>
          </a:solidFill>
        </p:spPr>
        <p:txBody>
          <a:bodyPr wrap="square" lIns="0" tIns="0" rIns="0" bIns="0" rtlCol="0">
            <a:noAutofit/>
          </a:bodyPr>
          <a:lstStyle/>
          <a:p>
            <a:endParaRPr/>
          </a:p>
        </p:txBody>
      </p:sp>
      <p:sp>
        <p:nvSpPr>
          <p:cNvPr id="577" name="object 577"/>
          <p:cNvSpPr/>
          <p:nvPr/>
        </p:nvSpPr>
        <p:spPr>
          <a:xfrm>
            <a:off x="9238496" y="1187131"/>
            <a:ext cx="63392" cy="3037"/>
          </a:xfrm>
          <a:custGeom>
            <a:avLst/>
            <a:gdLst/>
            <a:ahLst/>
            <a:cxnLst/>
            <a:rect l="l" t="t" r="r" b="b"/>
            <a:pathLst>
              <a:path w="63392" h="3037">
                <a:moveTo>
                  <a:pt x="61309" y="0"/>
                </a:moveTo>
                <a:lnTo>
                  <a:pt x="0" y="0"/>
                </a:lnTo>
                <a:lnTo>
                  <a:pt x="0" y="3037"/>
                </a:lnTo>
                <a:lnTo>
                  <a:pt x="61904" y="3037"/>
                </a:lnTo>
                <a:lnTo>
                  <a:pt x="62429" y="2679"/>
                </a:lnTo>
                <a:lnTo>
                  <a:pt x="62797" y="2429"/>
                </a:lnTo>
                <a:lnTo>
                  <a:pt x="63392" y="1518"/>
                </a:lnTo>
                <a:lnTo>
                  <a:pt x="62797" y="607"/>
                </a:lnTo>
                <a:lnTo>
                  <a:pt x="61904" y="0"/>
                </a:lnTo>
                <a:lnTo>
                  <a:pt x="61309" y="0"/>
                </a:lnTo>
                <a:close/>
              </a:path>
            </a:pathLst>
          </a:custGeom>
          <a:solidFill>
            <a:srgbClr val="000000"/>
          </a:solidFill>
        </p:spPr>
        <p:txBody>
          <a:bodyPr wrap="square" lIns="0" tIns="0" rIns="0" bIns="0" rtlCol="0">
            <a:noAutofit/>
          </a:bodyPr>
          <a:lstStyle/>
          <a:p>
            <a:endParaRPr/>
          </a:p>
        </p:txBody>
      </p:sp>
      <p:sp>
        <p:nvSpPr>
          <p:cNvPr id="578" name="object 578"/>
          <p:cNvSpPr/>
          <p:nvPr/>
        </p:nvSpPr>
        <p:spPr>
          <a:xfrm>
            <a:off x="9268556" y="1187131"/>
            <a:ext cx="31249" cy="13971"/>
          </a:xfrm>
          <a:custGeom>
            <a:avLst/>
            <a:gdLst/>
            <a:ahLst/>
            <a:cxnLst/>
            <a:rect l="l" t="t" r="r" b="b"/>
            <a:pathLst>
              <a:path w="31249" h="13971">
                <a:moveTo>
                  <a:pt x="892" y="10934"/>
                </a:moveTo>
                <a:lnTo>
                  <a:pt x="0" y="11845"/>
                </a:lnTo>
                <a:lnTo>
                  <a:pt x="297" y="12756"/>
                </a:lnTo>
                <a:lnTo>
                  <a:pt x="892" y="13971"/>
                </a:lnTo>
                <a:lnTo>
                  <a:pt x="2083" y="13971"/>
                </a:lnTo>
                <a:lnTo>
                  <a:pt x="2083" y="10934"/>
                </a:lnTo>
                <a:lnTo>
                  <a:pt x="31249" y="0"/>
                </a:lnTo>
                <a:lnTo>
                  <a:pt x="892" y="10934"/>
                </a:lnTo>
                <a:close/>
              </a:path>
            </a:pathLst>
          </a:custGeom>
          <a:solidFill>
            <a:srgbClr val="000000"/>
          </a:solidFill>
        </p:spPr>
        <p:txBody>
          <a:bodyPr wrap="square" lIns="0" tIns="0" rIns="0" bIns="0" rtlCol="0">
            <a:noAutofit/>
          </a:bodyPr>
          <a:lstStyle/>
          <a:p>
            <a:endParaRPr/>
          </a:p>
        </p:txBody>
      </p:sp>
      <p:sp>
        <p:nvSpPr>
          <p:cNvPr id="579" name="object 579"/>
          <p:cNvSpPr/>
          <p:nvPr/>
        </p:nvSpPr>
        <p:spPr>
          <a:xfrm>
            <a:off x="9270640" y="1187131"/>
            <a:ext cx="30357" cy="13971"/>
          </a:xfrm>
          <a:custGeom>
            <a:avLst/>
            <a:gdLst/>
            <a:ahLst/>
            <a:cxnLst/>
            <a:rect l="l" t="t" r="r" b="b"/>
            <a:pathLst>
              <a:path w="30357" h="13971">
                <a:moveTo>
                  <a:pt x="0" y="10934"/>
                </a:moveTo>
                <a:lnTo>
                  <a:pt x="0" y="13971"/>
                </a:lnTo>
                <a:lnTo>
                  <a:pt x="30357" y="3037"/>
                </a:lnTo>
                <a:lnTo>
                  <a:pt x="29166" y="0"/>
                </a:lnTo>
                <a:lnTo>
                  <a:pt x="0" y="10934"/>
                </a:lnTo>
                <a:close/>
              </a:path>
            </a:pathLst>
          </a:custGeom>
          <a:solidFill>
            <a:srgbClr val="000000"/>
          </a:solidFill>
        </p:spPr>
        <p:txBody>
          <a:bodyPr wrap="square" lIns="0" tIns="0" rIns="0" bIns="0" rtlCol="0">
            <a:noAutofit/>
          </a:bodyPr>
          <a:lstStyle/>
          <a:p>
            <a:endParaRPr/>
          </a:p>
        </p:txBody>
      </p:sp>
      <p:sp>
        <p:nvSpPr>
          <p:cNvPr id="580" name="object 580"/>
          <p:cNvSpPr/>
          <p:nvPr/>
        </p:nvSpPr>
        <p:spPr>
          <a:xfrm>
            <a:off x="9237008" y="1187131"/>
            <a:ext cx="32440" cy="13971"/>
          </a:xfrm>
          <a:custGeom>
            <a:avLst/>
            <a:gdLst/>
            <a:ahLst/>
            <a:cxnLst/>
            <a:rect l="l" t="t" r="r" b="b"/>
            <a:pathLst>
              <a:path w="32440" h="13971">
                <a:moveTo>
                  <a:pt x="892" y="3037"/>
                </a:moveTo>
                <a:lnTo>
                  <a:pt x="32440" y="13971"/>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581" name="object 581"/>
          <p:cNvSpPr/>
          <p:nvPr/>
        </p:nvSpPr>
        <p:spPr>
          <a:xfrm>
            <a:off x="9238496" y="1187131"/>
            <a:ext cx="32142" cy="13971"/>
          </a:xfrm>
          <a:custGeom>
            <a:avLst/>
            <a:gdLst/>
            <a:ahLst/>
            <a:cxnLst/>
            <a:rect l="l" t="t" r="r" b="b"/>
            <a:pathLst>
              <a:path w="32142" h="13971">
                <a:moveTo>
                  <a:pt x="595" y="0"/>
                </a:moveTo>
                <a:lnTo>
                  <a:pt x="0" y="0"/>
                </a:lnTo>
                <a:lnTo>
                  <a:pt x="0" y="3037"/>
                </a:lnTo>
                <a:lnTo>
                  <a:pt x="30952" y="13971"/>
                </a:lnTo>
                <a:lnTo>
                  <a:pt x="32142" y="10934"/>
                </a:lnTo>
                <a:lnTo>
                  <a:pt x="595" y="0"/>
                </a:lnTo>
                <a:close/>
              </a:path>
            </a:pathLst>
          </a:custGeom>
          <a:solidFill>
            <a:srgbClr val="000000"/>
          </a:solidFill>
        </p:spPr>
        <p:txBody>
          <a:bodyPr wrap="square" lIns="0" tIns="0" rIns="0" bIns="0" rtlCol="0">
            <a:noAutofit/>
          </a:bodyPr>
          <a:lstStyle/>
          <a:p>
            <a:endParaRPr/>
          </a:p>
        </p:txBody>
      </p:sp>
      <p:sp>
        <p:nvSpPr>
          <p:cNvPr id="582" name="object 582"/>
          <p:cNvSpPr/>
          <p:nvPr/>
        </p:nvSpPr>
        <p:spPr>
          <a:xfrm>
            <a:off x="9240282" y="1493286"/>
            <a:ext cx="64583" cy="3037"/>
          </a:xfrm>
          <a:custGeom>
            <a:avLst/>
            <a:gdLst/>
            <a:ahLst/>
            <a:cxnLst/>
            <a:rect l="l" t="t" r="r" b="b"/>
            <a:pathLst>
              <a:path w="64583" h="3037">
                <a:moveTo>
                  <a:pt x="64583" y="1518"/>
                </a:moveTo>
                <a:lnTo>
                  <a:pt x="63987" y="607"/>
                </a:lnTo>
                <a:lnTo>
                  <a:pt x="63374" y="189"/>
                </a:lnTo>
                <a:lnTo>
                  <a:pt x="63095" y="0"/>
                </a:lnTo>
                <a:lnTo>
                  <a:pt x="0" y="0"/>
                </a:lnTo>
                <a:lnTo>
                  <a:pt x="0" y="3037"/>
                </a:lnTo>
                <a:lnTo>
                  <a:pt x="63095" y="3037"/>
                </a:lnTo>
                <a:lnTo>
                  <a:pt x="63987" y="2429"/>
                </a:lnTo>
                <a:lnTo>
                  <a:pt x="64583" y="1518"/>
                </a:lnTo>
                <a:close/>
              </a:path>
            </a:pathLst>
          </a:custGeom>
          <a:solidFill>
            <a:srgbClr val="000000"/>
          </a:solidFill>
        </p:spPr>
        <p:txBody>
          <a:bodyPr wrap="square" lIns="0" tIns="0" rIns="0" bIns="0" rtlCol="0">
            <a:noAutofit/>
          </a:bodyPr>
          <a:lstStyle/>
          <a:p>
            <a:endParaRPr/>
          </a:p>
        </p:txBody>
      </p:sp>
      <p:sp>
        <p:nvSpPr>
          <p:cNvPr id="583" name="object 583"/>
          <p:cNvSpPr/>
          <p:nvPr/>
        </p:nvSpPr>
        <p:spPr>
          <a:xfrm>
            <a:off x="9269747" y="1485996"/>
            <a:ext cx="33333" cy="10326"/>
          </a:xfrm>
          <a:custGeom>
            <a:avLst/>
            <a:gdLst/>
            <a:ahLst/>
            <a:cxnLst/>
            <a:rect l="l" t="t" r="r" b="b"/>
            <a:pathLst>
              <a:path w="33333" h="10326">
                <a:moveTo>
                  <a:pt x="33333" y="10326"/>
                </a:moveTo>
                <a:lnTo>
                  <a:pt x="892" y="0"/>
                </a:lnTo>
                <a:lnTo>
                  <a:pt x="0" y="0"/>
                </a:lnTo>
                <a:lnTo>
                  <a:pt x="33333" y="10326"/>
                </a:lnTo>
                <a:close/>
              </a:path>
            </a:pathLst>
          </a:custGeom>
          <a:solidFill>
            <a:srgbClr val="000000"/>
          </a:solidFill>
        </p:spPr>
        <p:txBody>
          <a:bodyPr wrap="square" lIns="0" tIns="0" rIns="0" bIns="0" rtlCol="0">
            <a:noAutofit/>
          </a:bodyPr>
          <a:lstStyle/>
          <a:p>
            <a:endParaRPr/>
          </a:p>
        </p:txBody>
      </p:sp>
      <p:sp>
        <p:nvSpPr>
          <p:cNvPr id="584" name="object 584"/>
          <p:cNvSpPr/>
          <p:nvPr/>
        </p:nvSpPr>
        <p:spPr>
          <a:xfrm>
            <a:off x="9268854" y="1482959"/>
            <a:ext cx="34821" cy="13363"/>
          </a:xfrm>
          <a:custGeom>
            <a:avLst/>
            <a:gdLst/>
            <a:ahLst/>
            <a:cxnLst/>
            <a:rect l="l" t="t" r="r" b="b"/>
            <a:pathLst>
              <a:path w="34821" h="13363">
                <a:moveTo>
                  <a:pt x="34226" y="13363"/>
                </a:moveTo>
                <a:lnTo>
                  <a:pt x="34821" y="10326"/>
                </a:lnTo>
                <a:lnTo>
                  <a:pt x="1488" y="0"/>
                </a:lnTo>
                <a:lnTo>
                  <a:pt x="297" y="303"/>
                </a:lnTo>
                <a:lnTo>
                  <a:pt x="0" y="1214"/>
                </a:lnTo>
                <a:lnTo>
                  <a:pt x="0" y="2429"/>
                </a:lnTo>
                <a:lnTo>
                  <a:pt x="892" y="3037"/>
                </a:lnTo>
                <a:lnTo>
                  <a:pt x="1785" y="3037"/>
                </a:lnTo>
                <a:lnTo>
                  <a:pt x="34226" y="13363"/>
                </a:lnTo>
                <a:close/>
              </a:path>
            </a:pathLst>
          </a:custGeom>
          <a:solidFill>
            <a:srgbClr val="000000"/>
          </a:solidFill>
        </p:spPr>
        <p:txBody>
          <a:bodyPr wrap="square" lIns="0" tIns="0" rIns="0" bIns="0" rtlCol="0">
            <a:noAutofit/>
          </a:bodyPr>
          <a:lstStyle/>
          <a:p>
            <a:endParaRPr/>
          </a:p>
        </p:txBody>
      </p:sp>
      <p:sp>
        <p:nvSpPr>
          <p:cNvPr id="585" name="object 585"/>
          <p:cNvSpPr/>
          <p:nvPr/>
        </p:nvSpPr>
        <p:spPr>
          <a:xfrm>
            <a:off x="9239687" y="1482958"/>
            <a:ext cx="29761" cy="10326"/>
          </a:xfrm>
          <a:custGeom>
            <a:avLst/>
            <a:gdLst/>
            <a:ahLst/>
            <a:cxnLst/>
            <a:rect l="l" t="t" r="r" b="b"/>
            <a:pathLst>
              <a:path w="29761" h="10326">
                <a:moveTo>
                  <a:pt x="0" y="10326"/>
                </a:moveTo>
                <a:lnTo>
                  <a:pt x="595" y="10326"/>
                </a:lnTo>
                <a:lnTo>
                  <a:pt x="29761" y="0"/>
                </a:lnTo>
                <a:lnTo>
                  <a:pt x="0" y="10326"/>
                </a:lnTo>
                <a:close/>
              </a:path>
            </a:pathLst>
          </a:custGeom>
          <a:solidFill>
            <a:srgbClr val="000000"/>
          </a:solidFill>
        </p:spPr>
        <p:txBody>
          <a:bodyPr wrap="square" lIns="0" tIns="0" rIns="0" bIns="0" rtlCol="0">
            <a:noAutofit/>
          </a:bodyPr>
          <a:lstStyle/>
          <a:p>
            <a:endParaRPr/>
          </a:p>
        </p:txBody>
      </p:sp>
      <p:sp>
        <p:nvSpPr>
          <p:cNvPr id="586" name="object 586"/>
          <p:cNvSpPr/>
          <p:nvPr/>
        </p:nvSpPr>
        <p:spPr>
          <a:xfrm>
            <a:off x="9238794" y="1482959"/>
            <a:ext cx="31845" cy="13363"/>
          </a:xfrm>
          <a:custGeom>
            <a:avLst/>
            <a:gdLst/>
            <a:ahLst/>
            <a:cxnLst/>
            <a:rect l="l" t="t" r="r" b="b"/>
            <a:pathLst>
              <a:path w="31845" h="13363">
                <a:moveTo>
                  <a:pt x="297" y="12149"/>
                </a:moveTo>
                <a:lnTo>
                  <a:pt x="892" y="13363"/>
                </a:lnTo>
                <a:lnTo>
                  <a:pt x="2083" y="13363"/>
                </a:lnTo>
                <a:lnTo>
                  <a:pt x="31845" y="3037"/>
                </a:lnTo>
                <a:lnTo>
                  <a:pt x="30654" y="0"/>
                </a:lnTo>
                <a:lnTo>
                  <a:pt x="1488" y="10326"/>
                </a:lnTo>
                <a:lnTo>
                  <a:pt x="892" y="10326"/>
                </a:lnTo>
                <a:lnTo>
                  <a:pt x="0" y="11237"/>
                </a:lnTo>
                <a:lnTo>
                  <a:pt x="297" y="12149"/>
                </a:lnTo>
                <a:close/>
              </a:path>
            </a:pathLst>
          </a:custGeom>
          <a:solidFill>
            <a:srgbClr val="000000"/>
          </a:solidFill>
        </p:spPr>
        <p:txBody>
          <a:bodyPr wrap="square" lIns="0" tIns="0" rIns="0" bIns="0" rtlCol="0">
            <a:noAutofit/>
          </a:bodyPr>
          <a:lstStyle/>
          <a:p>
            <a:endParaRPr/>
          </a:p>
        </p:txBody>
      </p:sp>
      <p:sp>
        <p:nvSpPr>
          <p:cNvPr id="587" name="object 587"/>
          <p:cNvSpPr/>
          <p:nvPr/>
        </p:nvSpPr>
        <p:spPr>
          <a:xfrm>
            <a:off x="9208140" y="1188345"/>
            <a:ext cx="186011" cy="307370"/>
          </a:xfrm>
          <a:custGeom>
            <a:avLst/>
            <a:gdLst/>
            <a:ahLst/>
            <a:cxnLst/>
            <a:rect l="l" t="t" r="r" b="b"/>
            <a:pathLst>
              <a:path w="186011" h="307370">
                <a:moveTo>
                  <a:pt x="92856" y="0"/>
                </a:moveTo>
                <a:lnTo>
                  <a:pt x="83333" y="911"/>
                </a:lnTo>
                <a:lnTo>
                  <a:pt x="74106" y="3037"/>
                </a:lnTo>
                <a:lnTo>
                  <a:pt x="56845" y="12149"/>
                </a:lnTo>
                <a:lnTo>
                  <a:pt x="48511" y="18527"/>
                </a:lnTo>
                <a:lnTo>
                  <a:pt x="41071" y="26424"/>
                </a:lnTo>
                <a:lnTo>
                  <a:pt x="33928" y="35232"/>
                </a:lnTo>
                <a:lnTo>
                  <a:pt x="27380" y="44951"/>
                </a:lnTo>
                <a:lnTo>
                  <a:pt x="21130" y="55885"/>
                </a:lnTo>
                <a:lnTo>
                  <a:pt x="15773" y="67730"/>
                </a:lnTo>
                <a:lnTo>
                  <a:pt x="11309" y="80487"/>
                </a:lnTo>
                <a:lnTo>
                  <a:pt x="7440" y="93851"/>
                </a:lnTo>
                <a:lnTo>
                  <a:pt x="4166" y="108126"/>
                </a:lnTo>
                <a:lnTo>
                  <a:pt x="1785" y="122705"/>
                </a:lnTo>
                <a:lnTo>
                  <a:pt x="595" y="137891"/>
                </a:lnTo>
                <a:lnTo>
                  <a:pt x="0" y="153685"/>
                </a:lnTo>
                <a:lnTo>
                  <a:pt x="595" y="169175"/>
                </a:lnTo>
                <a:lnTo>
                  <a:pt x="1785" y="184665"/>
                </a:lnTo>
                <a:lnTo>
                  <a:pt x="4166" y="199243"/>
                </a:lnTo>
                <a:lnTo>
                  <a:pt x="7440" y="213215"/>
                </a:lnTo>
                <a:lnTo>
                  <a:pt x="11309" y="226883"/>
                </a:lnTo>
                <a:lnTo>
                  <a:pt x="15773" y="239335"/>
                </a:lnTo>
                <a:lnTo>
                  <a:pt x="21130" y="251181"/>
                </a:lnTo>
                <a:lnTo>
                  <a:pt x="27380" y="262115"/>
                </a:lnTo>
                <a:lnTo>
                  <a:pt x="33928" y="272138"/>
                </a:lnTo>
                <a:lnTo>
                  <a:pt x="41071" y="280946"/>
                </a:lnTo>
                <a:lnTo>
                  <a:pt x="48511" y="288843"/>
                </a:lnTo>
                <a:lnTo>
                  <a:pt x="56845" y="295221"/>
                </a:lnTo>
                <a:lnTo>
                  <a:pt x="74106" y="304333"/>
                </a:lnTo>
                <a:lnTo>
                  <a:pt x="92856" y="307370"/>
                </a:lnTo>
                <a:lnTo>
                  <a:pt x="102380" y="306459"/>
                </a:lnTo>
                <a:lnTo>
                  <a:pt x="120535" y="300384"/>
                </a:lnTo>
                <a:lnTo>
                  <a:pt x="137201" y="288843"/>
                </a:lnTo>
                <a:lnTo>
                  <a:pt x="144940" y="280946"/>
                </a:lnTo>
                <a:lnTo>
                  <a:pt x="152082" y="272138"/>
                </a:lnTo>
                <a:lnTo>
                  <a:pt x="158630" y="262115"/>
                </a:lnTo>
                <a:lnTo>
                  <a:pt x="164880" y="251181"/>
                </a:lnTo>
                <a:lnTo>
                  <a:pt x="170237" y="239335"/>
                </a:lnTo>
                <a:lnTo>
                  <a:pt x="174701" y="226883"/>
                </a:lnTo>
                <a:lnTo>
                  <a:pt x="178570" y="213215"/>
                </a:lnTo>
                <a:lnTo>
                  <a:pt x="181844" y="199243"/>
                </a:lnTo>
                <a:lnTo>
                  <a:pt x="184225" y="184665"/>
                </a:lnTo>
                <a:lnTo>
                  <a:pt x="185416" y="169175"/>
                </a:lnTo>
                <a:lnTo>
                  <a:pt x="186011" y="153685"/>
                </a:lnTo>
                <a:lnTo>
                  <a:pt x="185416" y="137891"/>
                </a:lnTo>
                <a:lnTo>
                  <a:pt x="184225" y="122705"/>
                </a:lnTo>
                <a:lnTo>
                  <a:pt x="181844" y="108126"/>
                </a:lnTo>
                <a:lnTo>
                  <a:pt x="178570" y="93851"/>
                </a:lnTo>
                <a:lnTo>
                  <a:pt x="174701" y="80487"/>
                </a:lnTo>
                <a:lnTo>
                  <a:pt x="170237" y="67730"/>
                </a:lnTo>
                <a:lnTo>
                  <a:pt x="164880" y="55885"/>
                </a:lnTo>
                <a:lnTo>
                  <a:pt x="158630" y="44951"/>
                </a:lnTo>
                <a:lnTo>
                  <a:pt x="152082" y="35232"/>
                </a:lnTo>
                <a:lnTo>
                  <a:pt x="144940" y="26424"/>
                </a:lnTo>
                <a:lnTo>
                  <a:pt x="137201" y="18527"/>
                </a:lnTo>
                <a:lnTo>
                  <a:pt x="129166" y="12149"/>
                </a:lnTo>
                <a:lnTo>
                  <a:pt x="111606" y="3037"/>
                </a:lnTo>
                <a:lnTo>
                  <a:pt x="102380" y="911"/>
                </a:lnTo>
                <a:lnTo>
                  <a:pt x="92856" y="0"/>
                </a:lnTo>
                <a:close/>
              </a:path>
            </a:pathLst>
          </a:custGeom>
          <a:solidFill>
            <a:srgbClr val="000000"/>
          </a:solidFill>
        </p:spPr>
        <p:txBody>
          <a:bodyPr wrap="square" lIns="0" tIns="0" rIns="0" bIns="0" rtlCol="0">
            <a:noAutofit/>
          </a:bodyPr>
          <a:lstStyle/>
          <a:p>
            <a:endParaRPr/>
          </a:p>
        </p:txBody>
      </p:sp>
      <p:sp>
        <p:nvSpPr>
          <p:cNvPr id="588" name="object 588"/>
          <p:cNvSpPr/>
          <p:nvPr/>
        </p:nvSpPr>
        <p:spPr>
          <a:xfrm>
            <a:off x="9300997" y="1186219"/>
            <a:ext cx="95237" cy="155811"/>
          </a:xfrm>
          <a:custGeom>
            <a:avLst/>
            <a:gdLst/>
            <a:ahLst/>
            <a:cxnLst/>
            <a:rect l="l" t="t" r="r" b="b"/>
            <a:pathLst>
              <a:path w="95237" h="155811">
                <a:moveTo>
                  <a:pt x="0" y="0"/>
                </a:moveTo>
                <a:lnTo>
                  <a:pt x="0" y="4252"/>
                </a:lnTo>
                <a:lnTo>
                  <a:pt x="9226" y="5163"/>
                </a:lnTo>
                <a:lnTo>
                  <a:pt x="18154" y="7289"/>
                </a:lnTo>
                <a:lnTo>
                  <a:pt x="26785" y="10934"/>
                </a:lnTo>
                <a:lnTo>
                  <a:pt x="35118" y="16097"/>
                </a:lnTo>
                <a:lnTo>
                  <a:pt x="42857" y="22171"/>
                </a:lnTo>
                <a:lnTo>
                  <a:pt x="50595" y="30068"/>
                </a:lnTo>
                <a:lnTo>
                  <a:pt x="57440" y="38573"/>
                </a:lnTo>
                <a:lnTo>
                  <a:pt x="63987" y="48292"/>
                </a:lnTo>
                <a:lnTo>
                  <a:pt x="70237" y="58922"/>
                </a:lnTo>
                <a:lnTo>
                  <a:pt x="75595" y="70768"/>
                </a:lnTo>
                <a:lnTo>
                  <a:pt x="79761" y="83220"/>
                </a:lnTo>
                <a:lnTo>
                  <a:pt x="83630" y="96584"/>
                </a:lnTo>
                <a:lnTo>
                  <a:pt x="86904" y="110556"/>
                </a:lnTo>
                <a:lnTo>
                  <a:pt x="89285" y="125134"/>
                </a:lnTo>
                <a:lnTo>
                  <a:pt x="90475" y="140017"/>
                </a:lnTo>
                <a:lnTo>
                  <a:pt x="91071" y="155811"/>
                </a:lnTo>
                <a:lnTo>
                  <a:pt x="95237" y="155811"/>
                </a:lnTo>
                <a:lnTo>
                  <a:pt x="94642" y="140017"/>
                </a:lnTo>
                <a:lnTo>
                  <a:pt x="93452" y="124527"/>
                </a:lnTo>
                <a:lnTo>
                  <a:pt x="91071" y="109948"/>
                </a:lnTo>
                <a:lnTo>
                  <a:pt x="87797" y="95369"/>
                </a:lnTo>
                <a:lnTo>
                  <a:pt x="83928" y="82005"/>
                </a:lnTo>
                <a:lnTo>
                  <a:pt x="79166" y="68945"/>
                </a:lnTo>
                <a:lnTo>
                  <a:pt x="73809" y="57100"/>
                </a:lnTo>
                <a:lnTo>
                  <a:pt x="67559" y="45862"/>
                </a:lnTo>
                <a:lnTo>
                  <a:pt x="61011" y="36143"/>
                </a:lnTo>
                <a:lnTo>
                  <a:pt x="53571" y="27031"/>
                </a:lnTo>
                <a:lnTo>
                  <a:pt x="45833" y="19134"/>
                </a:lnTo>
                <a:lnTo>
                  <a:pt x="37499" y="12452"/>
                </a:lnTo>
                <a:lnTo>
                  <a:pt x="28571" y="7289"/>
                </a:lnTo>
                <a:lnTo>
                  <a:pt x="19345" y="3037"/>
                </a:lnTo>
                <a:lnTo>
                  <a:pt x="9821" y="911"/>
                </a:lnTo>
                <a:lnTo>
                  <a:pt x="0" y="0"/>
                </a:lnTo>
                <a:close/>
              </a:path>
            </a:pathLst>
          </a:custGeom>
          <a:solidFill>
            <a:srgbClr val="000000"/>
          </a:solidFill>
        </p:spPr>
        <p:txBody>
          <a:bodyPr wrap="square" lIns="0" tIns="0" rIns="0" bIns="0" rtlCol="0">
            <a:noAutofit/>
          </a:bodyPr>
          <a:lstStyle/>
          <a:p>
            <a:endParaRPr/>
          </a:p>
        </p:txBody>
      </p:sp>
      <p:sp>
        <p:nvSpPr>
          <p:cNvPr id="589" name="object 589"/>
          <p:cNvSpPr/>
          <p:nvPr/>
        </p:nvSpPr>
        <p:spPr>
          <a:xfrm>
            <a:off x="9300997" y="1342031"/>
            <a:ext cx="95237" cy="155811"/>
          </a:xfrm>
          <a:custGeom>
            <a:avLst/>
            <a:gdLst/>
            <a:ahLst/>
            <a:cxnLst/>
            <a:rect l="l" t="t" r="r" b="b"/>
            <a:pathLst>
              <a:path w="95237" h="155811">
                <a:moveTo>
                  <a:pt x="83928" y="73805"/>
                </a:moveTo>
                <a:lnTo>
                  <a:pt x="87797" y="60137"/>
                </a:lnTo>
                <a:lnTo>
                  <a:pt x="91071" y="45862"/>
                </a:lnTo>
                <a:lnTo>
                  <a:pt x="93452" y="31283"/>
                </a:lnTo>
                <a:lnTo>
                  <a:pt x="94642" y="15490"/>
                </a:lnTo>
                <a:lnTo>
                  <a:pt x="95237" y="0"/>
                </a:lnTo>
                <a:lnTo>
                  <a:pt x="91071" y="0"/>
                </a:lnTo>
                <a:lnTo>
                  <a:pt x="90475" y="15490"/>
                </a:lnTo>
                <a:lnTo>
                  <a:pt x="89285" y="30676"/>
                </a:lnTo>
                <a:lnTo>
                  <a:pt x="86904" y="45255"/>
                </a:lnTo>
                <a:lnTo>
                  <a:pt x="83630" y="58922"/>
                </a:lnTo>
                <a:lnTo>
                  <a:pt x="79761" y="72590"/>
                </a:lnTo>
                <a:lnTo>
                  <a:pt x="75595" y="84739"/>
                </a:lnTo>
                <a:lnTo>
                  <a:pt x="70237" y="96584"/>
                </a:lnTo>
                <a:lnTo>
                  <a:pt x="63987" y="107215"/>
                </a:lnTo>
                <a:lnTo>
                  <a:pt x="57440" y="117238"/>
                </a:lnTo>
                <a:lnTo>
                  <a:pt x="50595" y="125742"/>
                </a:lnTo>
                <a:lnTo>
                  <a:pt x="42857" y="133639"/>
                </a:lnTo>
                <a:lnTo>
                  <a:pt x="35118" y="139713"/>
                </a:lnTo>
                <a:lnTo>
                  <a:pt x="26785" y="144877"/>
                </a:lnTo>
                <a:lnTo>
                  <a:pt x="18154" y="148521"/>
                </a:lnTo>
                <a:lnTo>
                  <a:pt x="9226" y="150647"/>
                </a:lnTo>
                <a:lnTo>
                  <a:pt x="0" y="151559"/>
                </a:lnTo>
                <a:lnTo>
                  <a:pt x="0" y="155811"/>
                </a:lnTo>
                <a:lnTo>
                  <a:pt x="9821" y="154900"/>
                </a:lnTo>
                <a:lnTo>
                  <a:pt x="19345" y="152773"/>
                </a:lnTo>
                <a:lnTo>
                  <a:pt x="28571" y="148521"/>
                </a:lnTo>
                <a:lnTo>
                  <a:pt x="37499" y="143358"/>
                </a:lnTo>
                <a:lnTo>
                  <a:pt x="45833" y="136676"/>
                </a:lnTo>
                <a:lnTo>
                  <a:pt x="53571" y="128779"/>
                </a:lnTo>
                <a:lnTo>
                  <a:pt x="61011" y="119667"/>
                </a:lnTo>
                <a:lnTo>
                  <a:pt x="67559" y="109644"/>
                </a:lnTo>
                <a:lnTo>
                  <a:pt x="73809" y="98407"/>
                </a:lnTo>
                <a:lnTo>
                  <a:pt x="79166" y="86561"/>
                </a:lnTo>
                <a:lnTo>
                  <a:pt x="83928" y="73805"/>
                </a:lnTo>
                <a:close/>
              </a:path>
            </a:pathLst>
          </a:custGeom>
          <a:solidFill>
            <a:srgbClr val="000000"/>
          </a:solidFill>
        </p:spPr>
        <p:txBody>
          <a:bodyPr wrap="square" lIns="0" tIns="0" rIns="0" bIns="0" rtlCol="0">
            <a:noAutofit/>
          </a:bodyPr>
          <a:lstStyle/>
          <a:p>
            <a:endParaRPr/>
          </a:p>
        </p:txBody>
      </p:sp>
      <p:sp>
        <p:nvSpPr>
          <p:cNvPr id="590" name="object 590"/>
          <p:cNvSpPr/>
          <p:nvPr/>
        </p:nvSpPr>
        <p:spPr>
          <a:xfrm>
            <a:off x="9206055" y="1342031"/>
            <a:ext cx="94940" cy="155811"/>
          </a:xfrm>
          <a:custGeom>
            <a:avLst/>
            <a:gdLst/>
            <a:ahLst/>
            <a:cxnLst/>
            <a:rect l="l" t="t" r="r" b="b"/>
            <a:pathLst>
              <a:path w="94940" h="155811">
                <a:moveTo>
                  <a:pt x="595" y="15490"/>
                </a:moveTo>
                <a:lnTo>
                  <a:pt x="1785" y="31283"/>
                </a:lnTo>
                <a:lnTo>
                  <a:pt x="4166" y="45862"/>
                </a:lnTo>
                <a:lnTo>
                  <a:pt x="7440" y="60137"/>
                </a:lnTo>
                <a:lnTo>
                  <a:pt x="11309" y="73805"/>
                </a:lnTo>
                <a:lnTo>
                  <a:pt x="16071" y="86561"/>
                </a:lnTo>
                <a:lnTo>
                  <a:pt x="21428" y="98407"/>
                </a:lnTo>
                <a:lnTo>
                  <a:pt x="27678" y="109644"/>
                </a:lnTo>
                <a:lnTo>
                  <a:pt x="34226" y="119667"/>
                </a:lnTo>
                <a:lnTo>
                  <a:pt x="41666" y="128779"/>
                </a:lnTo>
                <a:lnTo>
                  <a:pt x="49106" y="136676"/>
                </a:lnTo>
                <a:lnTo>
                  <a:pt x="57737" y="143358"/>
                </a:lnTo>
                <a:lnTo>
                  <a:pt x="66368" y="148521"/>
                </a:lnTo>
                <a:lnTo>
                  <a:pt x="75595" y="152773"/>
                </a:lnTo>
                <a:lnTo>
                  <a:pt x="85118" y="154900"/>
                </a:lnTo>
                <a:lnTo>
                  <a:pt x="94940" y="155811"/>
                </a:lnTo>
                <a:lnTo>
                  <a:pt x="94940" y="151559"/>
                </a:lnTo>
                <a:lnTo>
                  <a:pt x="85714" y="150647"/>
                </a:lnTo>
                <a:lnTo>
                  <a:pt x="76785" y="148521"/>
                </a:lnTo>
                <a:lnTo>
                  <a:pt x="68154" y="144877"/>
                </a:lnTo>
                <a:lnTo>
                  <a:pt x="60118" y="139713"/>
                </a:lnTo>
                <a:lnTo>
                  <a:pt x="52083" y="133639"/>
                </a:lnTo>
                <a:lnTo>
                  <a:pt x="44642" y="125742"/>
                </a:lnTo>
                <a:lnTo>
                  <a:pt x="37797" y="117238"/>
                </a:lnTo>
                <a:lnTo>
                  <a:pt x="31249" y="107215"/>
                </a:lnTo>
                <a:lnTo>
                  <a:pt x="24999" y="96584"/>
                </a:lnTo>
                <a:lnTo>
                  <a:pt x="19642" y="84739"/>
                </a:lnTo>
                <a:lnTo>
                  <a:pt x="15476" y="72590"/>
                </a:lnTo>
                <a:lnTo>
                  <a:pt x="11607" y="58922"/>
                </a:lnTo>
                <a:lnTo>
                  <a:pt x="8333" y="45255"/>
                </a:lnTo>
                <a:lnTo>
                  <a:pt x="5952" y="30676"/>
                </a:lnTo>
                <a:lnTo>
                  <a:pt x="4761" y="15490"/>
                </a:lnTo>
                <a:lnTo>
                  <a:pt x="4166" y="0"/>
                </a:lnTo>
                <a:lnTo>
                  <a:pt x="0" y="0"/>
                </a:lnTo>
                <a:lnTo>
                  <a:pt x="595" y="15490"/>
                </a:lnTo>
                <a:close/>
              </a:path>
            </a:pathLst>
          </a:custGeom>
          <a:solidFill>
            <a:srgbClr val="000000"/>
          </a:solidFill>
        </p:spPr>
        <p:txBody>
          <a:bodyPr wrap="square" lIns="0" tIns="0" rIns="0" bIns="0" rtlCol="0">
            <a:noAutofit/>
          </a:bodyPr>
          <a:lstStyle/>
          <a:p>
            <a:endParaRPr/>
          </a:p>
        </p:txBody>
      </p:sp>
      <p:sp>
        <p:nvSpPr>
          <p:cNvPr id="591" name="object 591"/>
          <p:cNvSpPr/>
          <p:nvPr/>
        </p:nvSpPr>
        <p:spPr>
          <a:xfrm>
            <a:off x="9206055" y="1186219"/>
            <a:ext cx="94940" cy="155811"/>
          </a:xfrm>
          <a:custGeom>
            <a:avLst/>
            <a:gdLst/>
            <a:ahLst/>
            <a:cxnLst/>
            <a:rect l="l" t="t" r="r" b="b"/>
            <a:pathLst>
              <a:path w="94940" h="155811">
                <a:moveTo>
                  <a:pt x="4166" y="109948"/>
                </a:moveTo>
                <a:lnTo>
                  <a:pt x="1785" y="124527"/>
                </a:lnTo>
                <a:lnTo>
                  <a:pt x="595" y="140017"/>
                </a:lnTo>
                <a:lnTo>
                  <a:pt x="0" y="155811"/>
                </a:lnTo>
                <a:lnTo>
                  <a:pt x="4166" y="155811"/>
                </a:lnTo>
                <a:lnTo>
                  <a:pt x="4761" y="140017"/>
                </a:lnTo>
                <a:lnTo>
                  <a:pt x="5952" y="125134"/>
                </a:lnTo>
                <a:lnTo>
                  <a:pt x="8333" y="110556"/>
                </a:lnTo>
                <a:lnTo>
                  <a:pt x="11607" y="96584"/>
                </a:lnTo>
                <a:lnTo>
                  <a:pt x="15476" y="83220"/>
                </a:lnTo>
                <a:lnTo>
                  <a:pt x="19642" y="70768"/>
                </a:lnTo>
                <a:lnTo>
                  <a:pt x="24999" y="58922"/>
                </a:lnTo>
                <a:lnTo>
                  <a:pt x="31249" y="48292"/>
                </a:lnTo>
                <a:lnTo>
                  <a:pt x="37797" y="38573"/>
                </a:lnTo>
                <a:lnTo>
                  <a:pt x="44642" y="30068"/>
                </a:lnTo>
                <a:lnTo>
                  <a:pt x="52083" y="22171"/>
                </a:lnTo>
                <a:lnTo>
                  <a:pt x="60118" y="16097"/>
                </a:lnTo>
                <a:lnTo>
                  <a:pt x="68154" y="10934"/>
                </a:lnTo>
                <a:lnTo>
                  <a:pt x="76785" y="7289"/>
                </a:lnTo>
                <a:lnTo>
                  <a:pt x="85714" y="5163"/>
                </a:lnTo>
                <a:lnTo>
                  <a:pt x="94940" y="4252"/>
                </a:lnTo>
                <a:lnTo>
                  <a:pt x="94940" y="0"/>
                </a:lnTo>
                <a:lnTo>
                  <a:pt x="85118" y="911"/>
                </a:lnTo>
                <a:lnTo>
                  <a:pt x="75595" y="3037"/>
                </a:lnTo>
                <a:lnTo>
                  <a:pt x="66368" y="7289"/>
                </a:lnTo>
                <a:lnTo>
                  <a:pt x="57737" y="12452"/>
                </a:lnTo>
                <a:lnTo>
                  <a:pt x="49106" y="19134"/>
                </a:lnTo>
                <a:lnTo>
                  <a:pt x="41666" y="27031"/>
                </a:lnTo>
                <a:lnTo>
                  <a:pt x="34226" y="36143"/>
                </a:lnTo>
                <a:lnTo>
                  <a:pt x="27678" y="45862"/>
                </a:lnTo>
                <a:lnTo>
                  <a:pt x="21428" y="57100"/>
                </a:lnTo>
                <a:lnTo>
                  <a:pt x="16071" y="68945"/>
                </a:lnTo>
                <a:lnTo>
                  <a:pt x="11309" y="82005"/>
                </a:lnTo>
                <a:lnTo>
                  <a:pt x="7440" y="95369"/>
                </a:lnTo>
                <a:lnTo>
                  <a:pt x="4166" y="109948"/>
                </a:lnTo>
                <a:close/>
              </a:path>
            </a:pathLst>
          </a:custGeom>
          <a:solidFill>
            <a:srgbClr val="000000"/>
          </a:solidFill>
        </p:spPr>
        <p:txBody>
          <a:bodyPr wrap="square" lIns="0" tIns="0" rIns="0" bIns="0" rtlCol="0">
            <a:noAutofit/>
          </a:bodyPr>
          <a:lstStyle/>
          <a:p>
            <a:endParaRPr/>
          </a:p>
        </p:txBody>
      </p:sp>
      <p:sp>
        <p:nvSpPr>
          <p:cNvPr id="592" name="object 592"/>
          <p:cNvSpPr/>
          <p:nvPr/>
        </p:nvSpPr>
        <p:spPr>
          <a:xfrm>
            <a:off x="8089392" y="1490249"/>
            <a:ext cx="637200" cy="346247"/>
          </a:xfrm>
          <a:custGeom>
            <a:avLst/>
            <a:gdLst/>
            <a:ahLst/>
            <a:cxnLst/>
            <a:rect l="l" t="t" r="r" b="b"/>
            <a:pathLst>
              <a:path w="637200" h="346247">
                <a:moveTo>
                  <a:pt x="200892" y="18223"/>
                </a:moveTo>
                <a:lnTo>
                  <a:pt x="0" y="0"/>
                </a:lnTo>
                <a:lnTo>
                  <a:pt x="3571" y="5467"/>
                </a:lnTo>
                <a:lnTo>
                  <a:pt x="7738" y="10934"/>
                </a:lnTo>
                <a:lnTo>
                  <a:pt x="12202" y="16097"/>
                </a:lnTo>
                <a:lnTo>
                  <a:pt x="16666" y="20957"/>
                </a:lnTo>
                <a:lnTo>
                  <a:pt x="21726" y="25816"/>
                </a:lnTo>
                <a:lnTo>
                  <a:pt x="26785" y="30068"/>
                </a:lnTo>
                <a:lnTo>
                  <a:pt x="32440" y="34624"/>
                </a:lnTo>
                <a:lnTo>
                  <a:pt x="38095" y="38573"/>
                </a:lnTo>
                <a:lnTo>
                  <a:pt x="43749" y="42217"/>
                </a:lnTo>
                <a:lnTo>
                  <a:pt x="49999" y="45862"/>
                </a:lnTo>
                <a:lnTo>
                  <a:pt x="56249" y="48899"/>
                </a:lnTo>
                <a:lnTo>
                  <a:pt x="62499" y="51633"/>
                </a:lnTo>
                <a:lnTo>
                  <a:pt x="69047" y="54063"/>
                </a:lnTo>
                <a:lnTo>
                  <a:pt x="75892" y="56492"/>
                </a:lnTo>
                <a:lnTo>
                  <a:pt x="82737" y="58011"/>
                </a:lnTo>
                <a:lnTo>
                  <a:pt x="89583" y="59530"/>
                </a:lnTo>
                <a:lnTo>
                  <a:pt x="96725" y="60441"/>
                </a:lnTo>
                <a:lnTo>
                  <a:pt x="103571" y="61048"/>
                </a:lnTo>
                <a:lnTo>
                  <a:pt x="110713" y="61352"/>
                </a:lnTo>
                <a:lnTo>
                  <a:pt x="117856" y="61048"/>
                </a:lnTo>
                <a:lnTo>
                  <a:pt x="125297" y="60441"/>
                </a:lnTo>
                <a:lnTo>
                  <a:pt x="132440" y="59226"/>
                </a:lnTo>
                <a:lnTo>
                  <a:pt x="139582" y="57707"/>
                </a:lnTo>
                <a:lnTo>
                  <a:pt x="146725" y="55278"/>
                </a:lnTo>
                <a:lnTo>
                  <a:pt x="153868" y="52848"/>
                </a:lnTo>
                <a:lnTo>
                  <a:pt x="160713" y="49507"/>
                </a:lnTo>
                <a:lnTo>
                  <a:pt x="167856" y="45862"/>
                </a:lnTo>
                <a:lnTo>
                  <a:pt x="174701" y="41306"/>
                </a:lnTo>
                <a:lnTo>
                  <a:pt x="181547" y="36447"/>
                </a:lnTo>
                <a:lnTo>
                  <a:pt x="188094" y="30980"/>
                </a:lnTo>
                <a:lnTo>
                  <a:pt x="194642" y="24905"/>
                </a:lnTo>
                <a:lnTo>
                  <a:pt x="200892" y="18223"/>
                </a:lnTo>
                <a:close/>
              </a:path>
              <a:path w="637200" h="346247">
                <a:moveTo>
                  <a:pt x="455355" y="-86258"/>
                </a:moveTo>
                <a:lnTo>
                  <a:pt x="413391" y="-87776"/>
                </a:lnTo>
                <a:lnTo>
                  <a:pt x="413986" y="-71679"/>
                </a:lnTo>
                <a:lnTo>
                  <a:pt x="415474" y="-55581"/>
                </a:lnTo>
                <a:lnTo>
                  <a:pt x="418451" y="-39484"/>
                </a:lnTo>
                <a:lnTo>
                  <a:pt x="422022" y="-23994"/>
                </a:lnTo>
                <a:lnTo>
                  <a:pt x="426784" y="-8504"/>
                </a:lnTo>
                <a:lnTo>
                  <a:pt x="432439" y="6378"/>
                </a:lnTo>
                <a:lnTo>
                  <a:pt x="438986" y="20349"/>
                </a:lnTo>
                <a:lnTo>
                  <a:pt x="446427" y="33713"/>
                </a:lnTo>
                <a:lnTo>
                  <a:pt x="454760" y="46166"/>
                </a:lnTo>
                <a:lnTo>
                  <a:pt x="463689" y="57707"/>
                </a:lnTo>
                <a:lnTo>
                  <a:pt x="473510" y="68338"/>
                </a:lnTo>
                <a:lnTo>
                  <a:pt x="484224" y="77450"/>
                </a:lnTo>
                <a:lnTo>
                  <a:pt x="495534" y="85348"/>
                </a:lnTo>
                <a:lnTo>
                  <a:pt x="507438" y="91726"/>
                </a:lnTo>
                <a:lnTo>
                  <a:pt x="519938" y="96282"/>
                </a:lnTo>
                <a:lnTo>
                  <a:pt x="533034" y="99319"/>
                </a:lnTo>
                <a:lnTo>
                  <a:pt x="543450" y="100534"/>
                </a:lnTo>
                <a:lnTo>
                  <a:pt x="548510" y="101142"/>
                </a:lnTo>
                <a:lnTo>
                  <a:pt x="553867" y="101749"/>
                </a:lnTo>
                <a:lnTo>
                  <a:pt x="558926" y="102357"/>
                </a:lnTo>
                <a:lnTo>
                  <a:pt x="564284" y="102660"/>
                </a:lnTo>
                <a:lnTo>
                  <a:pt x="569641" y="103268"/>
                </a:lnTo>
                <a:lnTo>
                  <a:pt x="574700" y="103571"/>
                </a:lnTo>
                <a:lnTo>
                  <a:pt x="580057" y="103875"/>
                </a:lnTo>
                <a:lnTo>
                  <a:pt x="585414" y="104179"/>
                </a:lnTo>
                <a:lnTo>
                  <a:pt x="590474" y="104179"/>
                </a:lnTo>
                <a:lnTo>
                  <a:pt x="595831" y="104483"/>
                </a:lnTo>
                <a:lnTo>
                  <a:pt x="616367" y="104483"/>
                </a:lnTo>
                <a:lnTo>
                  <a:pt x="603867" y="100838"/>
                </a:lnTo>
                <a:lnTo>
                  <a:pt x="591962" y="95067"/>
                </a:lnTo>
                <a:lnTo>
                  <a:pt x="580355" y="88081"/>
                </a:lnTo>
                <a:lnTo>
                  <a:pt x="569641" y="79272"/>
                </a:lnTo>
                <a:lnTo>
                  <a:pt x="559224" y="69249"/>
                </a:lnTo>
                <a:lnTo>
                  <a:pt x="549403" y="58011"/>
                </a:lnTo>
                <a:lnTo>
                  <a:pt x="540176" y="45862"/>
                </a:lnTo>
                <a:lnTo>
                  <a:pt x="531843" y="32498"/>
                </a:lnTo>
                <a:lnTo>
                  <a:pt x="524403" y="18527"/>
                </a:lnTo>
                <a:lnTo>
                  <a:pt x="517557" y="4252"/>
                </a:lnTo>
                <a:lnTo>
                  <a:pt x="511605" y="-10934"/>
                </a:lnTo>
                <a:lnTo>
                  <a:pt x="506546" y="-26120"/>
                </a:lnTo>
                <a:lnTo>
                  <a:pt x="502379" y="-41610"/>
                </a:lnTo>
                <a:lnTo>
                  <a:pt x="499403" y="-57404"/>
                </a:lnTo>
                <a:lnTo>
                  <a:pt x="497319" y="-72590"/>
                </a:lnTo>
                <a:lnTo>
                  <a:pt x="496427" y="-87776"/>
                </a:lnTo>
                <a:lnTo>
                  <a:pt x="497022" y="-101748"/>
                </a:lnTo>
                <a:lnTo>
                  <a:pt x="499105" y="-116326"/>
                </a:lnTo>
                <a:lnTo>
                  <a:pt x="502081" y="-131513"/>
                </a:lnTo>
                <a:lnTo>
                  <a:pt x="506248" y="-146699"/>
                </a:lnTo>
                <a:lnTo>
                  <a:pt x="511903" y="-161885"/>
                </a:lnTo>
                <a:lnTo>
                  <a:pt x="518450" y="-176768"/>
                </a:lnTo>
                <a:lnTo>
                  <a:pt x="525891" y="-191347"/>
                </a:lnTo>
                <a:lnTo>
                  <a:pt x="534819" y="-205622"/>
                </a:lnTo>
                <a:lnTo>
                  <a:pt x="544343" y="-218986"/>
                </a:lnTo>
                <a:lnTo>
                  <a:pt x="555057" y="-231742"/>
                </a:lnTo>
                <a:lnTo>
                  <a:pt x="566664" y="-243284"/>
                </a:lnTo>
                <a:lnTo>
                  <a:pt x="579164" y="-253610"/>
                </a:lnTo>
                <a:lnTo>
                  <a:pt x="592260" y="-262722"/>
                </a:lnTo>
                <a:lnTo>
                  <a:pt x="606545" y="-270315"/>
                </a:lnTo>
                <a:lnTo>
                  <a:pt x="621426" y="-275782"/>
                </a:lnTo>
                <a:lnTo>
                  <a:pt x="637200" y="-279731"/>
                </a:lnTo>
                <a:lnTo>
                  <a:pt x="631843" y="-280338"/>
                </a:lnTo>
                <a:lnTo>
                  <a:pt x="626783" y="-280946"/>
                </a:lnTo>
                <a:lnTo>
                  <a:pt x="621426" y="-281553"/>
                </a:lnTo>
                <a:lnTo>
                  <a:pt x="616069" y="-281857"/>
                </a:lnTo>
                <a:lnTo>
                  <a:pt x="611010" y="-282464"/>
                </a:lnTo>
                <a:lnTo>
                  <a:pt x="605652" y="-282768"/>
                </a:lnTo>
                <a:lnTo>
                  <a:pt x="600295" y="-283072"/>
                </a:lnTo>
                <a:lnTo>
                  <a:pt x="595236" y="-283679"/>
                </a:lnTo>
                <a:lnTo>
                  <a:pt x="589879" y="-283983"/>
                </a:lnTo>
                <a:lnTo>
                  <a:pt x="584522" y="-284287"/>
                </a:lnTo>
                <a:lnTo>
                  <a:pt x="579164" y="-284287"/>
                </a:lnTo>
                <a:lnTo>
                  <a:pt x="573807" y="-284590"/>
                </a:lnTo>
                <a:lnTo>
                  <a:pt x="568450" y="-284590"/>
                </a:lnTo>
                <a:lnTo>
                  <a:pt x="563093" y="-284894"/>
                </a:lnTo>
                <a:lnTo>
                  <a:pt x="552081" y="-284894"/>
                </a:lnTo>
                <a:lnTo>
                  <a:pt x="487796" y="-208659"/>
                </a:lnTo>
                <a:lnTo>
                  <a:pt x="455355" y="-208659"/>
                </a:lnTo>
                <a:lnTo>
                  <a:pt x="455355" y="-86258"/>
                </a:lnTo>
                <a:close/>
              </a:path>
            </a:pathLst>
          </a:custGeom>
          <a:solidFill>
            <a:srgbClr val="000000"/>
          </a:solidFill>
        </p:spPr>
        <p:txBody>
          <a:bodyPr wrap="square" lIns="0" tIns="0" rIns="0" bIns="0" rtlCol="0">
            <a:noAutofit/>
          </a:bodyPr>
          <a:lstStyle/>
          <a:p>
            <a:endParaRPr/>
          </a:p>
        </p:txBody>
      </p:sp>
      <p:sp>
        <p:nvSpPr>
          <p:cNvPr id="593" name="object 593"/>
          <p:cNvSpPr/>
          <p:nvPr/>
        </p:nvSpPr>
        <p:spPr>
          <a:xfrm>
            <a:off x="8621237" y="1588049"/>
            <a:ext cx="84523" cy="8200"/>
          </a:xfrm>
          <a:custGeom>
            <a:avLst/>
            <a:gdLst/>
            <a:ahLst/>
            <a:cxnLst/>
            <a:rect l="l" t="t" r="r" b="b"/>
            <a:pathLst>
              <a:path w="84523" h="8200">
                <a:moveTo>
                  <a:pt x="297" y="303"/>
                </a:moveTo>
                <a:lnTo>
                  <a:pt x="0" y="1214"/>
                </a:lnTo>
                <a:lnTo>
                  <a:pt x="0" y="2429"/>
                </a:lnTo>
                <a:lnTo>
                  <a:pt x="892" y="3037"/>
                </a:lnTo>
                <a:lnTo>
                  <a:pt x="5952" y="3644"/>
                </a:lnTo>
                <a:lnTo>
                  <a:pt x="11309" y="4252"/>
                </a:lnTo>
                <a:lnTo>
                  <a:pt x="16368" y="4859"/>
                </a:lnTo>
                <a:lnTo>
                  <a:pt x="21726" y="5467"/>
                </a:lnTo>
                <a:lnTo>
                  <a:pt x="27083" y="6074"/>
                </a:lnTo>
                <a:lnTo>
                  <a:pt x="32440" y="6378"/>
                </a:lnTo>
                <a:lnTo>
                  <a:pt x="37797" y="6985"/>
                </a:lnTo>
                <a:lnTo>
                  <a:pt x="42857" y="7289"/>
                </a:lnTo>
                <a:lnTo>
                  <a:pt x="48214" y="7593"/>
                </a:lnTo>
                <a:lnTo>
                  <a:pt x="53571" y="7896"/>
                </a:lnTo>
                <a:lnTo>
                  <a:pt x="58630" y="7896"/>
                </a:lnTo>
                <a:lnTo>
                  <a:pt x="63987" y="8200"/>
                </a:lnTo>
                <a:lnTo>
                  <a:pt x="84523" y="8200"/>
                </a:lnTo>
                <a:lnTo>
                  <a:pt x="84523" y="5163"/>
                </a:lnTo>
                <a:lnTo>
                  <a:pt x="63987" y="5163"/>
                </a:lnTo>
                <a:lnTo>
                  <a:pt x="58630" y="4859"/>
                </a:lnTo>
                <a:lnTo>
                  <a:pt x="53571" y="4859"/>
                </a:lnTo>
                <a:lnTo>
                  <a:pt x="48214" y="4555"/>
                </a:lnTo>
                <a:lnTo>
                  <a:pt x="42857" y="4252"/>
                </a:lnTo>
                <a:lnTo>
                  <a:pt x="37797" y="3948"/>
                </a:lnTo>
                <a:lnTo>
                  <a:pt x="32440" y="3340"/>
                </a:lnTo>
                <a:lnTo>
                  <a:pt x="27083" y="3037"/>
                </a:lnTo>
                <a:lnTo>
                  <a:pt x="22321" y="2429"/>
                </a:lnTo>
                <a:lnTo>
                  <a:pt x="16964" y="1822"/>
                </a:lnTo>
                <a:lnTo>
                  <a:pt x="11904" y="1214"/>
                </a:lnTo>
                <a:lnTo>
                  <a:pt x="6547" y="607"/>
                </a:lnTo>
                <a:lnTo>
                  <a:pt x="1488" y="0"/>
                </a:lnTo>
                <a:lnTo>
                  <a:pt x="297" y="303"/>
                </a:lnTo>
                <a:close/>
              </a:path>
            </a:pathLst>
          </a:custGeom>
          <a:solidFill>
            <a:srgbClr val="000000"/>
          </a:solidFill>
        </p:spPr>
        <p:txBody>
          <a:bodyPr wrap="square" lIns="0" tIns="0" rIns="0" bIns="0" rtlCol="0">
            <a:noAutofit/>
          </a:bodyPr>
          <a:lstStyle/>
          <a:p>
            <a:endParaRPr/>
          </a:p>
        </p:txBody>
      </p:sp>
      <p:sp>
        <p:nvSpPr>
          <p:cNvPr id="594" name="object 594"/>
          <p:cNvSpPr/>
          <p:nvPr/>
        </p:nvSpPr>
        <p:spPr>
          <a:xfrm>
            <a:off x="8501296" y="1400953"/>
            <a:ext cx="121428" cy="190133"/>
          </a:xfrm>
          <a:custGeom>
            <a:avLst/>
            <a:gdLst/>
            <a:ahLst/>
            <a:cxnLst/>
            <a:rect l="l" t="t" r="r" b="b"/>
            <a:pathLst>
              <a:path w="121428" h="190133">
                <a:moveTo>
                  <a:pt x="3571" y="17616"/>
                </a:moveTo>
                <a:lnTo>
                  <a:pt x="2976" y="1518"/>
                </a:lnTo>
                <a:lnTo>
                  <a:pt x="1488" y="3037"/>
                </a:lnTo>
                <a:lnTo>
                  <a:pt x="1488" y="0"/>
                </a:lnTo>
                <a:lnTo>
                  <a:pt x="595" y="607"/>
                </a:lnTo>
                <a:lnTo>
                  <a:pt x="0" y="1518"/>
                </a:lnTo>
                <a:lnTo>
                  <a:pt x="595" y="17616"/>
                </a:lnTo>
                <a:lnTo>
                  <a:pt x="2083" y="34017"/>
                </a:lnTo>
                <a:lnTo>
                  <a:pt x="5059" y="50114"/>
                </a:lnTo>
                <a:lnTo>
                  <a:pt x="8630" y="65604"/>
                </a:lnTo>
                <a:lnTo>
                  <a:pt x="13392" y="81398"/>
                </a:lnTo>
                <a:lnTo>
                  <a:pt x="19047" y="96281"/>
                </a:lnTo>
                <a:lnTo>
                  <a:pt x="25892" y="110252"/>
                </a:lnTo>
                <a:lnTo>
                  <a:pt x="33333" y="123920"/>
                </a:lnTo>
                <a:lnTo>
                  <a:pt x="41666" y="136372"/>
                </a:lnTo>
                <a:lnTo>
                  <a:pt x="50595" y="147914"/>
                </a:lnTo>
                <a:lnTo>
                  <a:pt x="60714" y="158848"/>
                </a:lnTo>
                <a:lnTo>
                  <a:pt x="71428" y="167960"/>
                </a:lnTo>
                <a:lnTo>
                  <a:pt x="82737" y="175858"/>
                </a:lnTo>
                <a:lnTo>
                  <a:pt x="94940" y="182540"/>
                </a:lnTo>
                <a:lnTo>
                  <a:pt x="107737" y="187096"/>
                </a:lnTo>
                <a:lnTo>
                  <a:pt x="120832" y="190133"/>
                </a:lnTo>
                <a:lnTo>
                  <a:pt x="121428" y="187096"/>
                </a:lnTo>
                <a:lnTo>
                  <a:pt x="108333" y="184059"/>
                </a:lnTo>
                <a:lnTo>
                  <a:pt x="96130" y="179503"/>
                </a:lnTo>
                <a:lnTo>
                  <a:pt x="84523" y="173428"/>
                </a:lnTo>
                <a:lnTo>
                  <a:pt x="73214" y="165530"/>
                </a:lnTo>
                <a:lnTo>
                  <a:pt x="62499" y="156418"/>
                </a:lnTo>
                <a:lnTo>
                  <a:pt x="52976" y="146092"/>
                </a:lnTo>
                <a:lnTo>
                  <a:pt x="44047" y="134550"/>
                </a:lnTo>
                <a:lnTo>
                  <a:pt x="35714" y="122097"/>
                </a:lnTo>
                <a:lnTo>
                  <a:pt x="28273" y="109037"/>
                </a:lnTo>
                <a:lnTo>
                  <a:pt x="22023" y="95066"/>
                </a:lnTo>
                <a:lnTo>
                  <a:pt x="16368" y="80183"/>
                </a:lnTo>
                <a:lnTo>
                  <a:pt x="11607" y="64997"/>
                </a:lnTo>
                <a:lnTo>
                  <a:pt x="8035" y="49507"/>
                </a:lnTo>
                <a:lnTo>
                  <a:pt x="5059" y="33409"/>
                </a:lnTo>
                <a:lnTo>
                  <a:pt x="3571" y="17616"/>
                </a:lnTo>
                <a:close/>
              </a:path>
            </a:pathLst>
          </a:custGeom>
          <a:solidFill>
            <a:srgbClr val="000000"/>
          </a:solidFill>
        </p:spPr>
        <p:txBody>
          <a:bodyPr wrap="square" lIns="0" tIns="0" rIns="0" bIns="0" rtlCol="0">
            <a:noAutofit/>
          </a:bodyPr>
          <a:lstStyle/>
          <a:p>
            <a:endParaRPr/>
          </a:p>
        </p:txBody>
      </p:sp>
      <p:sp>
        <p:nvSpPr>
          <p:cNvPr id="595" name="object 595"/>
          <p:cNvSpPr/>
          <p:nvPr/>
        </p:nvSpPr>
        <p:spPr>
          <a:xfrm>
            <a:off x="8502784" y="1400953"/>
            <a:ext cx="1488" cy="3037"/>
          </a:xfrm>
          <a:custGeom>
            <a:avLst/>
            <a:gdLst/>
            <a:ahLst/>
            <a:cxnLst/>
            <a:rect l="l" t="t" r="r" b="b"/>
            <a:pathLst>
              <a:path w="1488" h="3037">
                <a:moveTo>
                  <a:pt x="0" y="0"/>
                </a:moveTo>
                <a:lnTo>
                  <a:pt x="0" y="3037"/>
                </a:lnTo>
                <a:lnTo>
                  <a:pt x="1488" y="1518"/>
                </a:lnTo>
                <a:lnTo>
                  <a:pt x="892" y="607"/>
                </a:lnTo>
                <a:lnTo>
                  <a:pt x="0" y="0"/>
                </a:lnTo>
                <a:close/>
              </a:path>
            </a:pathLst>
          </a:custGeom>
          <a:solidFill>
            <a:srgbClr val="000000"/>
          </a:solidFill>
        </p:spPr>
        <p:txBody>
          <a:bodyPr wrap="square" lIns="0" tIns="0" rIns="0" bIns="0" rtlCol="0">
            <a:noAutofit/>
          </a:bodyPr>
          <a:lstStyle/>
          <a:p>
            <a:endParaRPr/>
          </a:p>
        </p:txBody>
      </p:sp>
      <p:sp>
        <p:nvSpPr>
          <p:cNvPr id="596" name="object 596"/>
          <p:cNvSpPr/>
          <p:nvPr/>
        </p:nvSpPr>
        <p:spPr>
          <a:xfrm>
            <a:off x="8502784" y="1400953"/>
            <a:ext cx="43452" cy="4555"/>
          </a:xfrm>
          <a:custGeom>
            <a:avLst/>
            <a:gdLst/>
            <a:ahLst/>
            <a:cxnLst/>
            <a:rect l="l" t="t" r="r" b="b"/>
            <a:pathLst>
              <a:path w="43452" h="4555">
                <a:moveTo>
                  <a:pt x="42857" y="3948"/>
                </a:moveTo>
                <a:lnTo>
                  <a:pt x="43452" y="3037"/>
                </a:lnTo>
                <a:lnTo>
                  <a:pt x="42857" y="2126"/>
                </a:lnTo>
                <a:lnTo>
                  <a:pt x="41964" y="1518"/>
                </a:lnTo>
                <a:lnTo>
                  <a:pt x="0" y="0"/>
                </a:lnTo>
                <a:lnTo>
                  <a:pt x="0" y="3037"/>
                </a:lnTo>
                <a:lnTo>
                  <a:pt x="41964" y="4555"/>
                </a:lnTo>
                <a:lnTo>
                  <a:pt x="40476" y="3037"/>
                </a:lnTo>
                <a:lnTo>
                  <a:pt x="41964" y="4555"/>
                </a:lnTo>
                <a:lnTo>
                  <a:pt x="42857" y="3948"/>
                </a:lnTo>
                <a:close/>
              </a:path>
            </a:pathLst>
          </a:custGeom>
          <a:solidFill>
            <a:srgbClr val="000000"/>
          </a:solidFill>
        </p:spPr>
        <p:txBody>
          <a:bodyPr wrap="square" lIns="0" tIns="0" rIns="0" bIns="0" rtlCol="0">
            <a:noAutofit/>
          </a:bodyPr>
          <a:lstStyle/>
          <a:p>
            <a:endParaRPr/>
          </a:p>
        </p:txBody>
      </p:sp>
      <p:sp>
        <p:nvSpPr>
          <p:cNvPr id="597" name="object 597"/>
          <p:cNvSpPr/>
          <p:nvPr/>
        </p:nvSpPr>
        <p:spPr>
          <a:xfrm>
            <a:off x="8543260" y="1280070"/>
            <a:ext cx="2976" cy="123920"/>
          </a:xfrm>
          <a:custGeom>
            <a:avLst/>
            <a:gdLst/>
            <a:ahLst/>
            <a:cxnLst/>
            <a:rect l="l" t="t" r="r" b="b"/>
            <a:pathLst>
              <a:path w="2976" h="123920">
                <a:moveTo>
                  <a:pt x="2380" y="607"/>
                </a:moveTo>
                <a:lnTo>
                  <a:pt x="1488" y="0"/>
                </a:lnTo>
                <a:lnTo>
                  <a:pt x="1488" y="3037"/>
                </a:lnTo>
                <a:lnTo>
                  <a:pt x="0" y="1518"/>
                </a:lnTo>
                <a:lnTo>
                  <a:pt x="0" y="123920"/>
                </a:lnTo>
                <a:lnTo>
                  <a:pt x="2976" y="123920"/>
                </a:lnTo>
                <a:lnTo>
                  <a:pt x="2976" y="1518"/>
                </a:lnTo>
                <a:lnTo>
                  <a:pt x="2380" y="607"/>
                </a:lnTo>
                <a:close/>
              </a:path>
            </a:pathLst>
          </a:custGeom>
          <a:solidFill>
            <a:srgbClr val="000000"/>
          </a:solidFill>
        </p:spPr>
        <p:txBody>
          <a:bodyPr wrap="square" lIns="0" tIns="0" rIns="0" bIns="0" rtlCol="0">
            <a:noAutofit/>
          </a:bodyPr>
          <a:lstStyle/>
          <a:p>
            <a:endParaRPr/>
          </a:p>
        </p:txBody>
      </p:sp>
      <p:sp>
        <p:nvSpPr>
          <p:cNvPr id="598" name="object 598"/>
          <p:cNvSpPr/>
          <p:nvPr/>
        </p:nvSpPr>
        <p:spPr>
          <a:xfrm>
            <a:off x="8543260" y="1280071"/>
            <a:ext cx="1488" cy="3037"/>
          </a:xfrm>
          <a:custGeom>
            <a:avLst/>
            <a:gdLst/>
            <a:ahLst/>
            <a:cxnLst/>
            <a:rect l="l" t="t" r="r" b="b"/>
            <a:pathLst>
              <a:path w="1488" h="3037">
                <a:moveTo>
                  <a:pt x="1488" y="0"/>
                </a:moveTo>
                <a:lnTo>
                  <a:pt x="595" y="607"/>
                </a:lnTo>
                <a:lnTo>
                  <a:pt x="0" y="1518"/>
                </a:lnTo>
                <a:lnTo>
                  <a:pt x="1488" y="3037"/>
                </a:lnTo>
                <a:lnTo>
                  <a:pt x="1488" y="0"/>
                </a:lnTo>
                <a:close/>
              </a:path>
            </a:pathLst>
          </a:custGeom>
          <a:solidFill>
            <a:srgbClr val="000000"/>
          </a:solidFill>
        </p:spPr>
        <p:txBody>
          <a:bodyPr wrap="square" lIns="0" tIns="0" rIns="0" bIns="0" rtlCol="0">
            <a:noAutofit/>
          </a:bodyPr>
          <a:lstStyle/>
          <a:p>
            <a:endParaRPr/>
          </a:p>
        </p:txBody>
      </p:sp>
      <p:sp>
        <p:nvSpPr>
          <p:cNvPr id="599" name="object 599"/>
          <p:cNvSpPr/>
          <p:nvPr/>
        </p:nvSpPr>
        <p:spPr>
          <a:xfrm>
            <a:off x="8544748" y="1280071"/>
            <a:ext cx="33928" cy="3037"/>
          </a:xfrm>
          <a:custGeom>
            <a:avLst/>
            <a:gdLst/>
            <a:ahLst/>
            <a:cxnLst/>
            <a:rect l="l" t="t" r="r" b="b"/>
            <a:pathLst>
              <a:path w="33928" h="3037">
                <a:moveTo>
                  <a:pt x="33928" y="1518"/>
                </a:moveTo>
                <a:lnTo>
                  <a:pt x="33333" y="607"/>
                </a:lnTo>
                <a:lnTo>
                  <a:pt x="32440" y="0"/>
                </a:lnTo>
                <a:lnTo>
                  <a:pt x="31249" y="607"/>
                </a:lnTo>
                <a:lnTo>
                  <a:pt x="32440" y="0"/>
                </a:lnTo>
                <a:lnTo>
                  <a:pt x="0" y="0"/>
                </a:lnTo>
                <a:lnTo>
                  <a:pt x="0" y="3037"/>
                </a:lnTo>
                <a:lnTo>
                  <a:pt x="32440" y="3037"/>
                </a:lnTo>
                <a:lnTo>
                  <a:pt x="33333" y="2429"/>
                </a:lnTo>
                <a:lnTo>
                  <a:pt x="33928" y="1518"/>
                </a:lnTo>
                <a:close/>
              </a:path>
            </a:pathLst>
          </a:custGeom>
          <a:solidFill>
            <a:srgbClr val="000000"/>
          </a:solidFill>
        </p:spPr>
        <p:txBody>
          <a:bodyPr wrap="square" lIns="0" tIns="0" rIns="0" bIns="0" rtlCol="0">
            <a:noAutofit/>
          </a:bodyPr>
          <a:lstStyle/>
          <a:p>
            <a:endParaRPr/>
          </a:p>
        </p:txBody>
      </p:sp>
      <p:sp>
        <p:nvSpPr>
          <p:cNvPr id="600" name="object 600"/>
          <p:cNvSpPr/>
          <p:nvPr/>
        </p:nvSpPr>
        <p:spPr>
          <a:xfrm>
            <a:off x="8575999" y="1203835"/>
            <a:ext cx="65475" cy="78664"/>
          </a:xfrm>
          <a:custGeom>
            <a:avLst/>
            <a:gdLst/>
            <a:ahLst/>
            <a:cxnLst/>
            <a:rect l="l" t="t" r="r" b="b"/>
            <a:pathLst>
              <a:path w="65475" h="78664">
                <a:moveTo>
                  <a:pt x="65475" y="3037"/>
                </a:moveTo>
                <a:lnTo>
                  <a:pt x="65475" y="0"/>
                </a:lnTo>
                <a:lnTo>
                  <a:pt x="64285" y="607"/>
                </a:lnTo>
                <a:lnTo>
                  <a:pt x="65475" y="3037"/>
                </a:lnTo>
                <a:close/>
              </a:path>
              <a:path w="65475" h="78664">
                <a:moveTo>
                  <a:pt x="66368" y="303"/>
                </a:moveTo>
                <a:lnTo>
                  <a:pt x="65475" y="0"/>
                </a:lnTo>
                <a:lnTo>
                  <a:pt x="65475" y="3037"/>
                </a:lnTo>
                <a:lnTo>
                  <a:pt x="64285" y="607"/>
                </a:lnTo>
                <a:lnTo>
                  <a:pt x="0" y="76842"/>
                </a:lnTo>
                <a:lnTo>
                  <a:pt x="2380" y="78664"/>
                </a:lnTo>
                <a:lnTo>
                  <a:pt x="66666" y="2429"/>
                </a:lnTo>
                <a:lnTo>
                  <a:pt x="66964" y="1214"/>
                </a:lnTo>
                <a:lnTo>
                  <a:pt x="66368" y="303"/>
                </a:lnTo>
                <a:close/>
              </a:path>
            </a:pathLst>
          </a:custGeom>
          <a:solidFill>
            <a:srgbClr val="000000"/>
          </a:solidFill>
        </p:spPr>
        <p:txBody>
          <a:bodyPr wrap="square" lIns="0" tIns="0" rIns="0" bIns="0" rtlCol="0">
            <a:noAutofit/>
          </a:bodyPr>
          <a:lstStyle/>
          <a:p>
            <a:endParaRPr/>
          </a:p>
        </p:txBody>
      </p:sp>
      <p:sp>
        <p:nvSpPr>
          <p:cNvPr id="601" name="object 601"/>
          <p:cNvSpPr/>
          <p:nvPr/>
        </p:nvSpPr>
        <p:spPr>
          <a:xfrm>
            <a:off x="8641474" y="1203835"/>
            <a:ext cx="86606" cy="8200"/>
          </a:xfrm>
          <a:custGeom>
            <a:avLst/>
            <a:gdLst/>
            <a:ahLst/>
            <a:cxnLst/>
            <a:rect l="l" t="t" r="r" b="b"/>
            <a:pathLst>
              <a:path w="86606" h="8200">
                <a:moveTo>
                  <a:pt x="86606" y="6985"/>
                </a:moveTo>
                <a:lnTo>
                  <a:pt x="86309" y="5770"/>
                </a:lnTo>
                <a:lnTo>
                  <a:pt x="85416" y="5163"/>
                </a:lnTo>
                <a:lnTo>
                  <a:pt x="84821" y="5163"/>
                </a:lnTo>
                <a:lnTo>
                  <a:pt x="80059" y="4555"/>
                </a:lnTo>
                <a:lnTo>
                  <a:pt x="74999" y="3948"/>
                </a:lnTo>
                <a:lnTo>
                  <a:pt x="69345" y="3340"/>
                </a:lnTo>
                <a:lnTo>
                  <a:pt x="63987" y="3037"/>
                </a:lnTo>
                <a:lnTo>
                  <a:pt x="58928" y="2429"/>
                </a:lnTo>
                <a:lnTo>
                  <a:pt x="53571" y="2126"/>
                </a:lnTo>
                <a:lnTo>
                  <a:pt x="48214" y="1822"/>
                </a:lnTo>
                <a:lnTo>
                  <a:pt x="43154" y="1214"/>
                </a:lnTo>
                <a:lnTo>
                  <a:pt x="37797" y="911"/>
                </a:lnTo>
                <a:lnTo>
                  <a:pt x="32440" y="607"/>
                </a:lnTo>
                <a:lnTo>
                  <a:pt x="27083" y="607"/>
                </a:lnTo>
                <a:lnTo>
                  <a:pt x="21726" y="303"/>
                </a:lnTo>
                <a:lnTo>
                  <a:pt x="16368" y="303"/>
                </a:lnTo>
                <a:lnTo>
                  <a:pt x="11011" y="0"/>
                </a:lnTo>
                <a:lnTo>
                  <a:pt x="0" y="0"/>
                </a:lnTo>
                <a:lnTo>
                  <a:pt x="0" y="3037"/>
                </a:lnTo>
                <a:lnTo>
                  <a:pt x="11011" y="3037"/>
                </a:lnTo>
                <a:lnTo>
                  <a:pt x="16368" y="3340"/>
                </a:lnTo>
                <a:lnTo>
                  <a:pt x="21726" y="3340"/>
                </a:lnTo>
                <a:lnTo>
                  <a:pt x="27083" y="3644"/>
                </a:lnTo>
                <a:lnTo>
                  <a:pt x="32440" y="3644"/>
                </a:lnTo>
                <a:lnTo>
                  <a:pt x="37797" y="3948"/>
                </a:lnTo>
                <a:lnTo>
                  <a:pt x="43154" y="4252"/>
                </a:lnTo>
                <a:lnTo>
                  <a:pt x="48214" y="4859"/>
                </a:lnTo>
                <a:lnTo>
                  <a:pt x="53571" y="5163"/>
                </a:lnTo>
                <a:lnTo>
                  <a:pt x="58928" y="5467"/>
                </a:lnTo>
                <a:lnTo>
                  <a:pt x="63987" y="6074"/>
                </a:lnTo>
                <a:lnTo>
                  <a:pt x="69345" y="6378"/>
                </a:lnTo>
                <a:lnTo>
                  <a:pt x="74404" y="6985"/>
                </a:lnTo>
                <a:lnTo>
                  <a:pt x="79464" y="7593"/>
                </a:lnTo>
                <a:lnTo>
                  <a:pt x="84821" y="8200"/>
                </a:lnTo>
                <a:lnTo>
                  <a:pt x="85416" y="8048"/>
                </a:lnTo>
                <a:lnTo>
                  <a:pt x="86011" y="7896"/>
                </a:lnTo>
                <a:lnTo>
                  <a:pt x="86606" y="6985"/>
                </a:lnTo>
                <a:close/>
              </a:path>
            </a:pathLst>
          </a:custGeom>
          <a:solidFill>
            <a:srgbClr val="000000"/>
          </a:solidFill>
        </p:spPr>
        <p:txBody>
          <a:bodyPr wrap="square" lIns="0" tIns="0" rIns="0" bIns="0" rtlCol="0">
            <a:noAutofit/>
          </a:bodyPr>
          <a:lstStyle/>
          <a:p>
            <a:endParaRPr/>
          </a:p>
        </p:txBody>
      </p:sp>
      <p:sp>
        <p:nvSpPr>
          <p:cNvPr id="602" name="object 602"/>
          <p:cNvSpPr/>
          <p:nvPr/>
        </p:nvSpPr>
        <p:spPr>
          <a:xfrm>
            <a:off x="8721534" y="1208391"/>
            <a:ext cx="5357" cy="607"/>
          </a:xfrm>
          <a:custGeom>
            <a:avLst/>
            <a:gdLst/>
            <a:ahLst/>
            <a:cxnLst/>
            <a:rect l="l" t="t" r="r" b="b"/>
            <a:pathLst>
              <a:path w="5357" h="607">
                <a:moveTo>
                  <a:pt x="0" y="0"/>
                </a:moveTo>
                <a:lnTo>
                  <a:pt x="4761" y="607"/>
                </a:lnTo>
                <a:lnTo>
                  <a:pt x="5357" y="607"/>
                </a:lnTo>
                <a:lnTo>
                  <a:pt x="0" y="0"/>
                </a:lnTo>
                <a:close/>
              </a:path>
            </a:pathLst>
          </a:custGeom>
          <a:solidFill>
            <a:srgbClr val="000000"/>
          </a:solidFill>
        </p:spPr>
        <p:txBody>
          <a:bodyPr wrap="square" lIns="0" tIns="0" rIns="0" bIns="0" rtlCol="0">
            <a:noAutofit/>
          </a:bodyPr>
          <a:lstStyle/>
          <a:p>
            <a:endParaRPr/>
          </a:p>
        </p:txBody>
      </p:sp>
      <p:sp>
        <p:nvSpPr>
          <p:cNvPr id="603" name="object 603"/>
          <p:cNvSpPr/>
          <p:nvPr/>
        </p:nvSpPr>
        <p:spPr>
          <a:xfrm>
            <a:off x="8584332" y="1208998"/>
            <a:ext cx="142559" cy="194688"/>
          </a:xfrm>
          <a:custGeom>
            <a:avLst/>
            <a:gdLst/>
            <a:ahLst/>
            <a:cxnLst/>
            <a:rect l="l" t="t" r="r" b="b"/>
            <a:pathLst>
              <a:path w="142559" h="194688">
                <a:moveTo>
                  <a:pt x="595" y="179501"/>
                </a:moveTo>
                <a:lnTo>
                  <a:pt x="0" y="193473"/>
                </a:lnTo>
                <a:lnTo>
                  <a:pt x="595" y="194384"/>
                </a:lnTo>
                <a:lnTo>
                  <a:pt x="1488" y="194688"/>
                </a:lnTo>
                <a:lnTo>
                  <a:pt x="2380" y="194384"/>
                </a:lnTo>
                <a:lnTo>
                  <a:pt x="2976" y="193473"/>
                </a:lnTo>
                <a:lnTo>
                  <a:pt x="3571" y="179501"/>
                </a:lnTo>
                <a:lnTo>
                  <a:pt x="5654" y="165226"/>
                </a:lnTo>
                <a:lnTo>
                  <a:pt x="8630" y="150040"/>
                </a:lnTo>
                <a:lnTo>
                  <a:pt x="12797" y="135157"/>
                </a:lnTo>
                <a:lnTo>
                  <a:pt x="18452" y="119971"/>
                </a:lnTo>
                <a:lnTo>
                  <a:pt x="24702" y="105089"/>
                </a:lnTo>
                <a:lnTo>
                  <a:pt x="32142" y="90813"/>
                </a:lnTo>
                <a:lnTo>
                  <a:pt x="41071" y="76538"/>
                </a:lnTo>
                <a:lnTo>
                  <a:pt x="50595" y="63174"/>
                </a:lnTo>
                <a:lnTo>
                  <a:pt x="61309" y="50418"/>
                </a:lnTo>
                <a:lnTo>
                  <a:pt x="72618" y="39180"/>
                </a:lnTo>
                <a:lnTo>
                  <a:pt x="85118" y="28853"/>
                </a:lnTo>
                <a:lnTo>
                  <a:pt x="98213" y="19742"/>
                </a:lnTo>
                <a:lnTo>
                  <a:pt x="112202" y="12452"/>
                </a:lnTo>
                <a:lnTo>
                  <a:pt x="126785" y="6985"/>
                </a:lnTo>
                <a:lnTo>
                  <a:pt x="142559" y="3037"/>
                </a:lnTo>
                <a:lnTo>
                  <a:pt x="141963" y="0"/>
                </a:lnTo>
                <a:lnTo>
                  <a:pt x="126190" y="3948"/>
                </a:lnTo>
                <a:lnTo>
                  <a:pt x="111011" y="9415"/>
                </a:lnTo>
                <a:lnTo>
                  <a:pt x="96428" y="17312"/>
                </a:lnTo>
                <a:lnTo>
                  <a:pt x="83333" y="26424"/>
                </a:lnTo>
                <a:lnTo>
                  <a:pt x="70833" y="36750"/>
                </a:lnTo>
                <a:lnTo>
                  <a:pt x="58928" y="48596"/>
                </a:lnTo>
                <a:lnTo>
                  <a:pt x="48214" y="61352"/>
                </a:lnTo>
                <a:lnTo>
                  <a:pt x="38690" y="74716"/>
                </a:lnTo>
                <a:lnTo>
                  <a:pt x="29761" y="88991"/>
                </a:lnTo>
                <a:lnTo>
                  <a:pt x="22321" y="103874"/>
                </a:lnTo>
                <a:lnTo>
                  <a:pt x="15476" y="118756"/>
                </a:lnTo>
                <a:lnTo>
                  <a:pt x="9821" y="133942"/>
                </a:lnTo>
                <a:lnTo>
                  <a:pt x="5654" y="149432"/>
                </a:lnTo>
                <a:lnTo>
                  <a:pt x="2678" y="164619"/>
                </a:lnTo>
                <a:lnTo>
                  <a:pt x="595" y="179501"/>
                </a:lnTo>
                <a:close/>
              </a:path>
            </a:pathLst>
          </a:custGeom>
          <a:solidFill>
            <a:srgbClr val="000000"/>
          </a:solidFill>
        </p:spPr>
        <p:txBody>
          <a:bodyPr wrap="square" lIns="0" tIns="0" rIns="0" bIns="0" rtlCol="0">
            <a:noAutofit/>
          </a:bodyPr>
          <a:lstStyle/>
          <a:p>
            <a:endParaRPr/>
          </a:p>
        </p:txBody>
      </p:sp>
      <p:sp>
        <p:nvSpPr>
          <p:cNvPr id="604" name="object 604"/>
          <p:cNvSpPr/>
          <p:nvPr/>
        </p:nvSpPr>
        <p:spPr>
          <a:xfrm>
            <a:off x="8693855" y="1589568"/>
            <a:ext cx="12202" cy="3644"/>
          </a:xfrm>
          <a:custGeom>
            <a:avLst/>
            <a:gdLst/>
            <a:ahLst/>
            <a:cxnLst/>
            <a:rect l="l" t="t" r="r" b="b"/>
            <a:pathLst>
              <a:path w="12202" h="3644">
                <a:moveTo>
                  <a:pt x="0" y="0"/>
                </a:moveTo>
                <a:lnTo>
                  <a:pt x="11904" y="3644"/>
                </a:lnTo>
                <a:lnTo>
                  <a:pt x="12202" y="3644"/>
                </a:lnTo>
                <a:lnTo>
                  <a:pt x="0" y="0"/>
                </a:lnTo>
                <a:close/>
              </a:path>
            </a:pathLst>
          </a:custGeom>
          <a:solidFill>
            <a:srgbClr val="000000"/>
          </a:solidFill>
        </p:spPr>
        <p:txBody>
          <a:bodyPr wrap="square" lIns="0" tIns="0" rIns="0" bIns="0" rtlCol="0">
            <a:noAutofit/>
          </a:bodyPr>
          <a:lstStyle/>
          <a:p>
            <a:endParaRPr/>
          </a:p>
        </p:txBody>
      </p:sp>
      <p:sp>
        <p:nvSpPr>
          <p:cNvPr id="605" name="object 605"/>
          <p:cNvSpPr/>
          <p:nvPr/>
        </p:nvSpPr>
        <p:spPr>
          <a:xfrm>
            <a:off x="8584331" y="1402471"/>
            <a:ext cx="122916" cy="193778"/>
          </a:xfrm>
          <a:custGeom>
            <a:avLst/>
            <a:gdLst/>
            <a:ahLst/>
            <a:cxnLst/>
            <a:rect l="l" t="t" r="r" b="b"/>
            <a:pathLst>
              <a:path w="122916" h="193778">
                <a:moveTo>
                  <a:pt x="122916" y="192563"/>
                </a:moveTo>
                <a:lnTo>
                  <a:pt x="122618" y="191348"/>
                </a:lnTo>
                <a:lnTo>
                  <a:pt x="121725" y="190741"/>
                </a:lnTo>
                <a:lnTo>
                  <a:pt x="121428" y="190741"/>
                </a:lnTo>
                <a:lnTo>
                  <a:pt x="109523" y="187096"/>
                </a:lnTo>
                <a:lnTo>
                  <a:pt x="97618" y="181629"/>
                </a:lnTo>
                <a:lnTo>
                  <a:pt x="86309" y="174643"/>
                </a:lnTo>
                <a:lnTo>
                  <a:pt x="75595" y="165834"/>
                </a:lnTo>
                <a:lnTo>
                  <a:pt x="65475" y="156114"/>
                </a:lnTo>
                <a:lnTo>
                  <a:pt x="55654" y="144877"/>
                </a:lnTo>
                <a:lnTo>
                  <a:pt x="46428" y="132728"/>
                </a:lnTo>
                <a:lnTo>
                  <a:pt x="38095" y="119364"/>
                </a:lnTo>
                <a:lnTo>
                  <a:pt x="30654" y="105696"/>
                </a:lnTo>
                <a:lnTo>
                  <a:pt x="24107" y="91421"/>
                </a:lnTo>
                <a:lnTo>
                  <a:pt x="18154" y="76235"/>
                </a:lnTo>
                <a:lnTo>
                  <a:pt x="13095" y="61352"/>
                </a:lnTo>
                <a:lnTo>
                  <a:pt x="8928" y="45862"/>
                </a:lnTo>
                <a:lnTo>
                  <a:pt x="5952" y="30068"/>
                </a:lnTo>
                <a:lnTo>
                  <a:pt x="3869" y="15186"/>
                </a:lnTo>
                <a:lnTo>
                  <a:pt x="2976" y="0"/>
                </a:lnTo>
                <a:lnTo>
                  <a:pt x="0" y="0"/>
                </a:lnTo>
                <a:lnTo>
                  <a:pt x="892" y="15186"/>
                </a:lnTo>
                <a:lnTo>
                  <a:pt x="2976" y="30676"/>
                </a:lnTo>
                <a:lnTo>
                  <a:pt x="5952" y="46470"/>
                </a:lnTo>
                <a:lnTo>
                  <a:pt x="10119" y="61960"/>
                </a:lnTo>
                <a:lnTo>
                  <a:pt x="15178" y="77450"/>
                </a:lnTo>
                <a:lnTo>
                  <a:pt x="21130" y="92636"/>
                </a:lnTo>
                <a:lnTo>
                  <a:pt x="28273" y="106911"/>
                </a:lnTo>
                <a:lnTo>
                  <a:pt x="35714" y="121186"/>
                </a:lnTo>
                <a:lnTo>
                  <a:pt x="44047" y="134550"/>
                </a:lnTo>
                <a:lnTo>
                  <a:pt x="53273" y="146699"/>
                </a:lnTo>
                <a:lnTo>
                  <a:pt x="63095" y="157937"/>
                </a:lnTo>
                <a:lnTo>
                  <a:pt x="73809" y="168265"/>
                </a:lnTo>
                <a:lnTo>
                  <a:pt x="84523" y="177073"/>
                </a:lnTo>
                <a:lnTo>
                  <a:pt x="96428" y="184059"/>
                </a:lnTo>
                <a:lnTo>
                  <a:pt x="108333" y="190133"/>
                </a:lnTo>
                <a:lnTo>
                  <a:pt x="121130" y="193778"/>
                </a:lnTo>
                <a:lnTo>
                  <a:pt x="121435" y="193700"/>
                </a:lnTo>
                <a:lnTo>
                  <a:pt x="122321" y="193474"/>
                </a:lnTo>
                <a:lnTo>
                  <a:pt x="122916" y="192563"/>
                </a:lnTo>
                <a:close/>
              </a:path>
            </a:pathLst>
          </a:custGeom>
          <a:solidFill>
            <a:srgbClr val="000000"/>
          </a:solidFill>
        </p:spPr>
        <p:txBody>
          <a:bodyPr wrap="square" lIns="0" tIns="0" rIns="0" bIns="0" rtlCol="0">
            <a:noAutofit/>
          </a:bodyPr>
          <a:lstStyle/>
          <a:p>
            <a:endParaRPr/>
          </a:p>
        </p:txBody>
      </p:sp>
      <p:sp>
        <p:nvSpPr>
          <p:cNvPr id="606" name="object 606"/>
          <p:cNvSpPr/>
          <p:nvPr/>
        </p:nvSpPr>
        <p:spPr>
          <a:xfrm>
            <a:off x="8284928" y="1509384"/>
            <a:ext cx="6547" cy="6985"/>
          </a:xfrm>
          <a:custGeom>
            <a:avLst/>
            <a:gdLst/>
            <a:ahLst/>
            <a:cxnLst/>
            <a:rect l="l" t="t" r="r" b="b"/>
            <a:pathLst>
              <a:path w="6547" h="6985">
                <a:moveTo>
                  <a:pt x="5357" y="607"/>
                </a:moveTo>
                <a:lnTo>
                  <a:pt x="0" y="6985"/>
                </a:lnTo>
                <a:lnTo>
                  <a:pt x="6547" y="0"/>
                </a:lnTo>
                <a:lnTo>
                  <a:pt x="5357" y="607"/>
                </a:lnTo>
                <a:close/>
              </a:path>
            </a:pathLst>
          </a:custGeom>
          <a:solidFill>
            <a:srgbClr val="000000"/>
          </a:solidFill>
        </p:spPr>
        <p:txBody>
          <a:bodyPr wrap="square" lIns="0" tIns="0" rIns="0" bIns="0" rtlCol="0">
            <a:noAutofit/>
          </a:bodyPr>
          <a:lstStyle/>
          <a:p>
            <a:endParaRPr/>
          </a:p>
        </p:txBody>
      </p:sp>
      <p:sp>
        <p:nvSpPr>
          <p:cNvPr id="607" name="object 607"/>
          <p:cNvSpPr/>
          <p:nvPr/>
        </p:nvSpPr>
        <p:spPr>
          <a:xfrm>
            <a:off x="8088202" y="1489337"/>
            <a:ext cx="203570" cy="63782"/>
          </a:xfrm>
          <a:custGeom>
            <a:avLst/>
            <a:gdLst/>
            <a:ahLst/>
            <a:cxnLst/>
            <a:rect l="l" t="t" r="r" b="b"/>
            <a:pathLst>
              <a:path w="203570" h="63782">
                <a:moveTo>
                  <a:pt x="203570" y="18830"/>
                </a:moveTo>
                <a:lnTo>
                  <a:pt x="202975" y="17919"/>
                </a:lnTo>
                <a:lnTo>
                  <a:pt x="202082" y="17616"/>
                </a:lnTo>
                <a:lnTo>
                  <a:pt x="200892" y="18223"/>
                </a:lnTo>
                <a:lnTo>
                  <a:pt x="194939" y="24601"/>
                </a:lnTo>
                <a:lnTo>
                  <a:pt x="188392" y="30676"/>
                </a:lnTo>
                <a:lnTo>
                  <a:pt x="181844" y="36143"/>
                </a:lnTo>
                <a:lnTo>
                  <a:pt x="174999" y="41002"/>
                </a:lnTo>
                <a:lnTo>
                  <a:pt x="168451" y="45558"/>
                </a:lnTo>
                <a:lnTo>
                  <a:pt x="161309" y="49203"/>
                </a:lnTo>
                <a:lnTo>
                  <a:pt x="154463" y="52240"/>
                </a:lnTo>
                <a:lnTo>
                  <a:pt x="147320" y="54670"/>
                </a:lnTo>
                <a:lnTo>
                  <a:pt x="140475" y="57100"/>
                </a:lnTo>
                <a:lnTo>
                  <a:pt x="133332" y="58619"/>
                </a:lnTo>
                <a:lnTo>
                  <a:pt x="126190" y="59833"/>
                </a:lnTo>
                <a:lnTo>
                  <a:pt x="119047" y="60441"/>
                </a:lnTo>
                <a:lnTo>
                  <a:pt x="111904" y="60745"/>
                </a:lnTo>
                <a:lnTo>
                  <a:pt x="104761" y="60441"/>
                </a:lnTo>
                <a:lnTo>
                  <a:pt x="98213" y="59833"/>
                </a:lnTo>
                <a:lnTo>
                  <a:pt x="91071" y="58922"/>
                </a:lnTo>
                <a:lnTo>
                  <a:pt x="84225" y="57404"/>
                </a:lnTo>
                <a:lnTo>
                  <a:pt x="77380" y="55885"/>
                </a:lnTo>
                <a:lnTo>
                  <a:pt x="70833" y="53455"/>
                </a:lnTo>
                <a:lnTo>
                  <a:pt x="64285" y="51025"/>
                </a:lnTo>
                <a:lnTo>
                  <a:pt x="58035" y="48292"/>
                </a:lnTo>
                <a:lnTo>
                  <a:pt x="51785" y="45558"/>
                </a:lnTo>
                <a:lnTo>
                  <a:pt x="45833" y="41914"/>
                </a:lnTo>
                <a:lnTo>
                  <a:pt x="40178" y="38269"/>
                </a:lnTo>
                <a:lnTo>
                  <a:pt x="34523" y="34320"/>
                </a:lnTo>
                <a:lnTo>
                  <a:pt x="28868" y="29765"/>
                </a:lnTo>
                <a:lnTo>
                  <a:pt x="23809" y="25512"/>
                </a:lnTo>
                <a:lnTo>
                  <a:pt x="19047" y="20653"/>
                </a:lnTo>
                <a:lnTo>
                  <a:pt x="14583" y="16097"/>
                </a:lnTo>
                <a:lnTo>
                  <a:pt x="10119" y="10934"/>
                </a:lnTo>
                <a:lnTo>
                  <a:pt x="5952" y="5467"/>
                </a:lnTo>
                <a:lnTo>
                  <a:pt x="2380" y="0"/>
                </a:lnTo>
                <a:lnTo>
                  <a:pt x="0" y="1822"/>
                </a:lnTo>
                <a:lnTo>
                  <a:pt x="3571" y="7289"/>
                </a:lnTo>
                <a:lnTo>
                  <a:pt x="7738" y="12756"/>
                </a:lnTo>
                <a:lnTo>
                  <a:pt x="12202" y="17919"/>
                </a:lnTo>
                <a:lnTo>
                  <a:pt x="16666" y="23083"/>
                </a:lnTo>
                <a:lnTo>
                  <a:pt x="22023" y="27942"/>
                </a:lnTo>
                <a:lnTo>
                  <a:pt x="27083" y="32194"/>
                </a:lnTo>
                <a:lnTo>
                  <a:pt x="32737" y="36750"/>
                </a:lnTo>
                <a:lnTo>
                  <a:pt x="38392" y="40699"/>
                </a:lnTo>
                <a:lnTo>
                  <a:pt x="44047" y="44343"/>
                </a:lnTo>
                <a:lnTo>
                  <a:pt x="50595" y="47988"/>
                </a:lnTo>
                <a:lnTo>
                  <a:pt x="56845" y="51329"/>
                </a:lnTo>
                <a:lnTo>
                  <a:pt x="63095" y="54063"/>
                </a:lnTo>
                <a:lnTo>
                  <a:pt x="69642" y="56492"/>
                </a:lnTo>
                <a:lnTo>
                  <a:pt x="76785" y="58922"/>
                </a:lnTo>
                <a:lnTo>
                  <a:pt x="83630" y="60441"/>
                </a:lnTo>
                <a:lnTo>
                  <a:pt x="90475" y="61960"/>
                </a:lnTo>
                <a:lnTo>
                  <a:pt x="97618" y="62871"/>
                </a:lnTo>
                <a:lnTo>
                  <a:pt x="104761" y="63478"/>
                </a:lnTo>
                <a:lnTo>
                  <a:pt x="111904" y="63782"/>
                </a:lnTo>
                <a:lnTo>
                  <a:pt x="119047" y="63478"/>
                </a:lnTo>
                <a:lnTo>
                  <a:pt x="126785" y="62871"/>
                </a:lnTo>
                <a:lnTo>
                  <a:pt x="133928" y="61656"/>
                </a:lnTo>
                <a:lnTo>
                  <a:pt x="141071" y="60137"/>
                </a:lnTo>
                <a:lnTo>
                  <a:pt x="148511" y="57707"/>
                </a:lnTo>
                <a:lnTo>
                  <a:pt x="155654" y="55278"/>
                </a:lnTo>
                <a:lnTo>
                  <a:pt x="162499" y="51633"/>
                </a:lnTo>
                <a:lnTo>
                  <a:pt x="169642" y="47988"/>
                </a:lnTo>
                <a:lnTo>
                  <a:pt x="176785" y="43432"/>
                </a:lnTo>
                <a:lnTo>
                  <a:pt x="183630" y="38573"/>
                </a:lnTo>
                <a:lnTo>
                  <a:pt x="190177" y="33106"/>
                </a:lnTo>
                <a:lnTo>
                  <a:pt x="196725" y="27031"/>
                </a:lnTo>
                <a:lnTo>
                  <a:pt x="202082" y="20653"/>
                </a:lnTo>
                <a:lnTo>
                  <a:pt x="203273" y="20045"/>
                </a:lnTo>
                <a:lnTo>
                  <a:pt x="203570" y="18830"/>
                </a:lnTo>
                <a:close/>
              </a:path>
            </a:pathLst>
          </a:custGeom>
          <a:solidFill>
            <a:srgbClr val="000000"/>
          </a:solidFill>
        </p:spPr>
        <p:txBody>
          <a:bodyPr wrap="square" lIns="0" tIns="0" rIns="0" bIns="0" rtlCol="0">
            <a:noAutofit/>
          </a:bodyPr>
          <a:lstStyle/>
          <a:p>
            <a:endParaRPr/>
          </a:p>
        </p:txBody>
      </p:sp>
      <p:sp>
        <p:nvSpPr>
          <p:cNvPr id="608" name="object 608"/>
          <p:cNvSpPr/>
          <p:nvPr/>
        </p:nvSpPr>
        <p:spPr>
          <a:xfrm>
            <a:off x="8088202" y="1488729"/>
            <a:ext cx="202082" cy="21260"/>
          </a:xfrm>
          <a:custGeom>
            <a:avLst/>
            <a:gdLst/>
            <a:ahLst/>
            <a:cxnLst/>
            <a:rect l="l" t="t" r="r" b="b"/>
            <a:pathLst>
              <a:path w="202082" h="21260">
                <a:moveTo>
                  <a:pt x="1190" y="0"/>
                </a:moveTo>
                <a:lnTo>
                  <a:pt x="2380" y="607"/>
                </a:lnTo>
                <a:lnTo>
                  <a:pt x="202082" y="18223"/>
                </a:lnTo>
                <a:lnTo>
                  <a:pt x="1190" y="0"/>
                </a:lnTo>
                <a:close/>
              </a:path>
              <a:path w="202082" h="21260">
                <a:moveTo>
                  <a:pt x="178" y="2065"/>
                </a:moveTo>
                <a:lnTo>
                  <a:pt x="297" y="2429"/>
                </a:lnTo>
                <a:lnTo>
                  <a:pt x="1190" y="3037"/>
                </a:lnTo>
                <a:lnTo>
                  <a:pt x="202082" y="21260"/>
                </a:lnTo>
                <a:lnTo>
                  <a:pt x="202082" y="18223"/>
                </a:lnTo>
                <a:lnTo>
                  <a:pt x="2380" y="607"/>
                </a:lnTo>
                <a:lnTo>
                  <a:pt x="1190" y="0"/>
                </a:lnTo>
                <a:lnTo>
                  <a:pt x="297" y="607"/>
                </a:lnTo>
                <a:lnTo>
                  <a:pt x="0" y="1518"/>
                </a:lnTo>
                <a:lnTo>
                  <a:pt x="178" y="2065"/>
                </a:lnTo>
                <a:close/>
              </a:path>
            </a:pathLst>
          </a:custGeom>
          <a:solidFill>
            <a:srgbClr val="000000"/>
          </a:solidFill>
        </p:spPr>
        <p:txBody>
          <a:bodyPr wrap="square" lIns="0" tIns="0" rIns="0" bIns="0" rtlCol="0">
            <a:noAutofit/>
          </a:bodyPr>
          <a:lstStyle/>
          <a:p>
            <a:endParaRPr/>
          </a:p>
        </p:txBody>
      </p:sp>
      <p:sp>
        <p:nvSpPr>
          <p:cNvPr id="609" name="object 609"/>
          <p:cNvSpPr/>
          <p:nvPr/>
        </p:nvSpPr>
        <p:spPr>
          <a:xfrm>
            <a:off x="8174808" y="532601"/>
            <a:ext cx="122618" cy="75020"/>
          </a:xfrm>
          <a:custGeom>
            <a:avLst/>
            <a:gdLst/>
            <a:ahLst/>
            <a:cxnLst/>
            <a:rect l="l" t="t" r="r" b="b"/>
            <a:pathLst>
              <a:path w="122618" h="75020">
                <a:moveTo>
                  <a:pt x="0" y="0"/>
                </a:moveTo>
                <a:lnTo>
                  <a:pt x="0" y="71982"/>
                </a:lnTo>
                <a:lnTo>
                  <a:pt x="3571" y="70464"/>
                </a:lnTo>
                <a:lnTo>
                  <a:pt x="6845" y="68945"/>
                </a:lnTo>
                <a:lnTo>
                  <a:pt x="10119" y="67730"/>
                </a:lnTo>
                <a:lnTo>
                  <a:pt x="13392" y="66515"/>
                </a:lnTo>
                <a:lnTo>
                  <a:pt x="16666" y="65301"/>
                </a:lnTo>
                <a:lnTo>
                  <a:pt x="19940" y="64389"/>
                </a:lnTo>
                <a:lnTo>
                  <a:pt x="23214" y="63478"/>
                </a:lnTo>
                <a:lnTo>
                  <a:pt x="26488" y="62871"/>
                </a:lnTo>
                <a:lnTo>
                  <a:pt x="30059" y="62263"/>
                </a:lnTo>
                <a:lnTo>
                  <a:pt x="33333" y="61960"/>
                </a:lnTo>
                <a:lnTo>
                  <a:pt x="36904" y="61656"/>
                </a:lnTo>
                <a:lnTo>
                  <a:pt x="44345" y="61656"/>
                </a:lnTo>
                <a:lnTo>
                  <a:pt x="48214" y="62263"/>
                </a:lnTo>
                <a:lnTo>
                  <a:pt x="52380" y="62871"/>
                </a:lnTo>
                <a:lnTo>
                  <a:pt x="56547" y="63782"/>
                </a:lnTo>
                <a:lnTo>
                  <a:pt x="122618" y="75020"/>
                </a:lnTo>
                <a:lnTo>
                  <a:pt x="56845" y="54063"/>
                </a:lnTo>
                <a:lnTo>
                  <a:pt x="52380" y="52544"/>
                </a:lnTo>
                <a:lnTo>
                  <a:pt x="47916" y="50418"/>
                </a:lnTo>
                <a:lnTo>
                  <a:pt x="43749" y="48292"/>
                </a:lnTo>
                <a:lnTo>
                  <a:pt x="39285" y="45558"/>
                </a:lnTo>
                <a:lnTo>
                  <a:pt x="35416" y="42825"/>
                </a:lnTo>
                <a:lnTo>
                  <a:pt x="31547" y="39484"/>
                </a:lnTo>
                <a:lnTo>
                  <a:pt x="27678" y="36143"/>
                </a:lnTo>
                <a:lnTo>
                  <a:pt x="24107" y="32498"/>
                </a:lnTo>
                <a:lnTo>
                  <a:pt x="20535" y="28853"/>
                </a:lnTo>
                <a:lnTo>
                  <a:pt x="16964" y="24905"/>
                </a:lnTo>
                <a:lnTo>
                  <a:pt x="13690" y="20653"/>
                </a:lnTo>
                <a:lnTo>
                  <a:pt x="10714" y="16704"/>
                </a:lnTo>
                <a:lnTo>
                  <a:pt x="7738" y="12452"/>
                </a:lnTo>
                <a:lnTo>
                  <a:pt x="5059" y="8200"/>
                </a:lnTo>
                <a:lnTo>
                  <a:pt x="2380" y="4252"/>
                </a:lnTo>
                <a:lnTo>
                  <a:pt x="0" y="0"/>
                </a:lnTo>
                <a:close/>
              </a:path>
            </a:pathLst>
          </a:custGeom>
          <a:solidFill>
            <a:srgbClr val="FFDF00"/>
          </a:solidFill>
        </p:spPr>
        <p:txBody>
          <a:bodyPr wrap="square" lIns="0" tIns="0" rIns="0" bIns="0" rtlCol="0">
            <a:noAutofit/>
          </a:bodyPr>
          <a:lstStyle/>
          <a:p>
            <a:endParaRPr/>
          </a:p>
        </p:txBody>
      </p:sp>
      <p:sp>
        <p:nvSpPr>
          <p:cNvPr id="610" name="object 610"/>
          <p:cNvSpPr/>
          <p:nvPr/>
        </p:nvSpPr>
        <p:spPr>
          <a:xfrm>
            <a:off x="8173619" y="531690"/>
            <a:ext cx="59523" cy="56492"/>
          </a:xfrm>
          <a:custGeom>
            <a:avLst/>
            <a:gdLst/>
            <a:ahLst/>
            <a:cxnLst/>
            <a:rect l="l" t="t" r="r" b="b"/>
            <a:pathLst>
              <a:path w="59523" h="56492">
                <a:moveTo>
                  <a:pt x="59523" y="55278"/>
                </a:moveTo>
                <a:lnTo>
                  <a:pt x="59226" y="54063"/>
                </a:lnTo>
                <a:lnTo>
                  <a:pt x="58333" y="53455"/>
                </a:lnTo>
                <a:lnTo>
                  <a:pt x="54166" y="51937"/>
                </a:lnTo>
                <a:lnTo>
                  <a:pt x="49702" y="50114"/>
                </a:lnTo>
                <a:lnTo>
                  <a:pt x="45535" y="47988"/>
                </a:lnTo>
                <a:lnTo>
                  <a:pt x="41368" y="45255"/>
                </a:lnTo>
                <a:lnTo>
                  <a:pt x="37499" y="42521"/>
                </a:lnTo>
                <a:lnTo>
                  <a:pt x="33630" y="39180"/>
                </a:lnTo>
                <a:lnTo>
                  <a:pt x="29761" y="35839"/>
                </a:lnTo>
                <a:lnTo>
                  <a:pt x="26488" y="32194"/>
                </a:lnTo>
                <a:lnTo>
                  <a:pt x="22916" y="28853"/>
                </a:lnTo>
                <a:lnTo>
                  <a:pt x="19345" y="24905"/>
                </a:lnTo>
                <a:lnTo>
                  <a:pt x="16071" y="20653"/>
                </a:lnTo>
                <a:lnTo>
                  <a:pt x="13095" y="16704"/>
                </a:lnTo>
                <a:lnTo>
                  <a:pt x="10119" y="12452"/>
                </a:lnTo>
                <a:lnTo>
                  <a:pt x="7440" y="8200"/>
                </a:lnTo>
                <a:lnTo>
                  <a:pt x="4761" y="4252"/>
                </a:lnTo>
                <a:lnTo>
                  <a:pt x="2380" y="0"/>
                </a:lnTo>
                <a:lnTo>
                  <a:pt x="0" y="1822"/>
                </a:lnTo>
                <a:lnTo>
                  <a:pt x="2380" y="6074"/>
                </a:lnTo>
                <a:lnTo>
                  <a:pt x="5059" y="10022"/>
                </a:lnTo>
                <a:lnTo>
                  <a:pt x="7738" y="14275"/>
                </a:lnTo>
                <a:lnTo>
                  <a:pt x="10714" y="18527"/>
                </a:lnTo>
                <a:lnTo>
                  <a:pt x="13690" y="22475"/>
                </a:lnTo>
                <a:lnTo>
                  <a:pt x="16964" y="26727"/>
                </a:lnTo>
                <a:lnTo>
                  <a:pt x="20535" y="30676"/>
                </a:lnTo>
                <a:lnTo>
                  <a:pt x="24107" y="34624"/>
                </a:lnTo>
                <a:lnTo>
                  <a:pt x="27976" y="38269"/>
                </a:lnTo>
                <a:lnTo>
                  <a:pt x="31845" y="41610"/>
                </a:lnTo>
                <a:lnTo>
                  <a:pt x="35714" y="44951"/>
                </a:lnTo>
                <a:lnTo>
                  <a:pt x="39583" y="47684"/>
                </a:lnTo>
                <a:lnTo>
                  <a:pt x="44345" y="50418"/>
                </a:lnTo>
                <a:lnTo>
                  <a:pt x="48511" y="52544"/>
                </a:lnTo>
                <a:lnTo>
                  <a:pt x="52976" y="54974"/>
                </a:lnTo>
                <a:lnTo>
                  <a:pt x="57737" y="56492"/>
                </a:lnTo>
                <a:lnTo>
                  <a:pt x="58928" y="56189"/>
                </a:lnTo>
                <a:lnTo>
                  <a:pt x="59523" y="55278"/>
                </a:lnTo>
                <a:close/>
              </a:path>
            </a:pathLst>
          </a:custGeom>
          <a:solidFill>
            <a:srgbClr val="000000"/>
          </a:solidFill>
        </p:spPr>
        <p:txBody>
          <a:bodyPr wrap="square" lIns="0" tIns="0" rIns="0" bIns="0" rtlCol="0">
            <a:noAutofit/>
          </a:bodyPr>
          <a:lstStyle/>
          <a:p>
            <a:endParaRPr/>
          </a:p>
        </p:txBody>
      </p:sp>
      <p:sp>
        <p:nvSpPr>
          <p:cNvPr id="611" name="object 611"/>
          <p:cNvSpPr/>
          <p:nvPr/>
        </p:nvSpPr>
        <p:spPr>
          <a:xfrm>
            <a:off x="8231357" y="585145"/>
            <a:ext cx="67559" cy="23994"/>
          </a:xfrm>
          <a:custGeom>
            <a:avLst/>
            <a:gdLst/>
            <a:ahLst/>
            <a:cxnLst/>
            <a:rect l="l" t="t" r="r" b="b"/>
            <a:pathLst>
              <a:path w="67559" h="23994">
                <a:moveTo>
                  <a:pt x="65773" y="23994"/>
                </a:moveTo>
                <a:lnTo>
                  <a:pt x="66368" y="20957"/>
                </a:lnTo>
                <a:lnTo>
                  <a:pt x="595" y="0"/>
                </a:lnTo>
                <a:lnTo>
                  <a:pt x="0" y="3037"/>
                </a:lnTo>
                <a:lnTo>
                  <a:pt x="65773" y="23994"/>
                </a:lnTo>
                <a:lnTo>
                  <a:pt x="66368" y="20957"/>
                </a:lnTo>
                <a:lnTo>
                  <a:pt x="65773" y="23994"/>
                </a:lnTo>
                <a:lnTo>
                  <a:pt x="66964" y="23690"/>
                </a:lnTo>
                <a:lnTo>
                  <a:pt x="67559" y="22779"/>
                </a:lnTo>
                <a:lnTo>
                  <a:pt x="67261" y="21564"/>
                </a:lnTo>
                <a:lnTo>
                  <a:pt x="66368" y="20957"/>
                </a:lnTo>
                <a:lnTo>
                  <a:pt x="65773" y="23994"/>
                </a:lnTo>
                <a:close/>
              </a:path>
            </a:pathLst>
          </a:custGeom>
          <a:solidFill>
            <a:srgbClr val="000000"/>
          </a:solidFill>
        </p:spPr>
        <p:txBody>
          <a:bodyPr wrap="square" lIns="0" tIns="0" rIns="0" bIns="0" rtlCol="0">
            <a:noAutofit/>
          </a:bodyPr>
          <a:lstStyle/>
          <a:p>
            <a:endParaRPr/>
          </a:p>
        </p:txBody>
      </p:sp>
      <p:sp>
        <p:nvSpPr>
          <p:cNvPr id="612" name="object 612"/>
          <p:cNvSpPr/>
          <p:nvPr/>
        </p:nvSpPr>
        <p:spPr>
          <a:xfrm>
            <a:off x="8230166" y="594866"/>
            <a:ext cx="67559" cy="14275"/>
          </a:xfrm>
          <a:custGeom>
            <a:avLst/>
            <a:gdLst/>
            <a:ahLst/>
            <a:cxnLst/>
            <a:rect l="l" t="t" r="r" b="b"/>
            <a:pathLst>
              <a:path w="67559" h="14275">
                <a:moveTo>
                  <a:pt x="892" y="3037"/>
                </a:moveTo>
                <a:lnTo>
                  <a:pt x="66964" y="14275"/>
                </a:lnTo>
                <a:lnTo>
                  <a:pt x="67559" y="11237"/>
                </a:lnTo>
                <a:lnTo>
                  <a:pt x="1488" y="0"/>
                </a:lnTo>
                <a:lnTo>
                  <a:pt x="297" y="303"/>
                </a:lnTo>
                <a:lnTo>
                  <a:pt x="0" y="1214"/>
                </a:lnTo>
                <a:lnTo>
                  <a:pt x="0" y="2429"/>
                </a:lnTo>
                <a:lnTo>
                  <a:pt x="892" y="3037"/>
                </a:lnTo>
                <a:close/>
              </a:path>
            </a:pathLst>
          </a:custGeom>
          <a:solidFill>
            <a:srgbClr val="000000"/>
          </a:solidFill>
        </p:spPr>
        <p:txBody>
          <a:bodyPr wrap="square" lIns="0" tIns="0" rIns="0" bIns="0" rtlCol="0">
            <a:noAutofit/>
          </a:bodyPr>
          <a:lstStyle/>
          <a:p>
            <a:endParaRPr/>
          </a:p>
        </p:txBody>
      </p:sp>
      <p:sp>
        <p:nvSpPr>
          <p:cNvPr id="613" name="object 613"/>
          <p:cNvSpPr/>
          <p:nvPr/>
        </p:nvSpPr>
        <p:spPr>
          <a:xfrm>
            <a:off x="8175405" y="604584"/>
            <a:ext cx="3571" cy="1518"/>
          </a:xfrm>
          <a:custGeom>
            <a:avLst/>
            <a:gdLst/>
            <a:ahLst/>
            <a:cxnLst/>
            <a:rect l="l" t="t" r="r" b="b"/>
            <a:pathLst>
              <a:path w="3571" h="1518">
                <a:moveTo>
                  <a:pt x="892" y="0"/>
                </a:moveTo>
                <a:lnTo>
                  <a:pt x="0" y="1518"/>
                </a:lnTo>
                <a:lnTo>
                  <a:pt x="3571" y="0"/>
                </a:lnTo>
                <a:lnTo>
                  <a:pt x="892" y="0"/>
                </a:lnTo>
                <a:close/>
              </a:path>
            </a:pathLst>
          </a:custGeom>
          <a:solidFill>
            <a:srgbClr val="000000"/>
          </a:solidFill>
        </p:spPr>
        <p:txBody>
          <a:bodyPr wrap="square" lIns="0" tIns="0" rIns="0" bIns="0" rtlCol="0">
            <a:noAutofit/>
          </a:bodyPr>
          <a:lstStyle/>
          <a:p>
            <a:endParaRPr/>
          </a:p>
        </p:txBody>
      </p:sp>
      <p:sp>
        <p:nvSpPr>
          <p:cNvPr id="614" name="object 614"/>
          <p:cNvSpPr/>
          <p:nvPr/>
        </p:nvSpPr>
        <p:spPr>
          <a:xfrm>
            <a:off x="8173321" y="592740"/>
            <a:ext cx="58333" cy="13363"/>
          </a:xfrm>
          <a:custGeom>
            <a:avLst/>
            <a:gdLst/>
            <a:ahLst/>
            <a:cxnLst/>
            <a:rect l="l" t="t" r="r" b="b"/>
            <a:pathLst>
              <a:path w="58333" h="13363">
                <a:moveTo>
                  <a:pt x="260" y="12035"/>
                </a:moveTo>
                <a:lnTo>
                  <a:pt x="892" y="13363"/>
                </a:lnTo>
                <a:lnTo>
                  <a:pt x="2083" y="13363"/>
                </a:lnTo>
                <a:lnTo>
                  <a:pt x="2976" y="11845"/>
                </a:lnTo>
                <a:lnTo>
                  <a:pt x="5654" y="11845"/>
                </a:lnTo>
                <a:lnTo>
                  <a:pt x="8928" y="10326"/>
                </a:lnTo>
                <a:lnTo>
                  <a:pt x="12202" y="9111"/>
                </a:lnTo>
                <a:lnTo>
                  <a:pt x="15476" y="7896"/>
                </a:lnTo>
                <a:lnTo>
                  <a:pt x="18749" y="6681"/>
                </a:lnTo>
                <a:lnTo>
                  <a:pt x="21726" y="5770"/>
                </a:lnTo>
                <a:lnTo>
                  <a:pt x="24999" y="4859"/>
                </a:lnTo>
                <a:lnTo>
                  <a:pt x="28273" y="4252"/>
                </a:lnTo>
                <a:lnTo>
                  <a:pt x="31845" y="3644"/>
                </a:lnTo>
                <a:lnTo>
                  <a:pt x="34821" y="3340"/>
                </a:lnTo>
                <a:lnTo>
                  <a:pt x="38392" y="3037"/>
                </a:lnTo>
                <a:lnTo>
                  <a:pt x="45833" y="3037"/>
                </a:lnTo>
                <a:lnTo>
                  <a:pt x="49404" y="3644"/>
                </a:lnTo>
                <a:lnTo>
                  <a:pt x="53571" y="4252"/>
                </a:lnTo>
                <a:lnTo>
                  <a:pt x="57737" y="5163"/>
                </a:lnTo>
                <a:lnTo>
                  <a:pt x="58333" y="2126"/>
                </a:lnTo>
                <a:lnTo>
                  <a:pt x="54166" y="1214"/>
                </a:lnTo>
                <a:lnTo>
                  <a:pt x="49999" y="607"/>
                </a:lnTo>
                <a:lnTo>
                  <a:pt x="45833" y="0"/>
                </a:lnTo>
                <a:lnTo>
                  <a:pt x="38392" y="0"/>
                </a:lnTo>
                <a:lnTo>
                  <a:pt x="34821" y="303"/>
                </a:lnTo>
                <a:lnTo>
                  <a:pt x="31249" y="607"/>
                </a:lnTo>
                <a:lnTo>
                  <a:pt x="27678" y="1214"/>
                </a:lnTo>
                <a:lnTo>
                  <a:pt x="24404" y="1822"/>
                </a:lnTo>
                <a:lnTo>
                  <a:pt x="21130" y="2733"/>
                </a:lnTo>
                <a:lnTo>
                  <a:pt x="17559" y="3644"/>
                </a:lnTo>
                <a:lnTo>
                  <a:pt x="14285" y="4859"/>
                </a:lnTo>
                <a:lnTo>
                  <a:pt x="11011" y="6074"/>
                </a:lnTo>
                <a:lnTo>
                  <a:pt x="7738" y="7289"/>
                </a:lnTo>
                <a:lnTo>
                  <a:pt x="4464" y="8808"/>
                </a:lnTo>
                <a:lnTo>
                  <a:pt x="892" y="10326"/>
                </a:lnTo>
                <a:lnTo>
                  <a:pt x="0" y="11237"/>
                </a:lnTo>
                <a:lnTo>
                  <a:pt x="260" y="12035"/>
                </a:lnTo>
                <a:close/>
              </a:path>
            </a:pathLst>
          </a:custGeom>
          <a:solidFill>
            <a:srgbClr val="000000"/>
          </a:solidFill>
        </p:spPr>
        <p:txBody>
          <a:bodyPr wrap="square" lIns="0" tIns="0" rIns="0" bIns="0" rtlCol="0">
            <a:noAutofit/>
          </a:bodyPr>
          <a:lstStyle/>
          <a:p>
            <a:endParaRPr/>
          </a:p>
        </p:txBody>
      </p:sp>
      <p:sp>
        <p:nvSpPr>
          <p:cNvPr id="615" name="object 615"/>
          <p:cNvSpPr/>
          <p:nvPr/>
        </p:nvSpPr>
        <p:spPr>
          <a:xfrm>
            <a:off x="8173320" y="531083"/>
            <a:ext cx="2976" cy="2429"/>
          </a:xfrm>
          <a:custGeom>
            <a:avLst/>
            <a:gdLst/>
            <a:ahLst/>
            <a:cxnLst/>
            <a:rect l="l" t="t" r="r" b="b"/>
            <a:pathLst>
              <a:path w="2976" h="2429">
                <a:moveTo>
                  <a:pt x="2435" y="690"/>
                </a:moveTo>
                <a:lnTo>
                  <a:pt x="1488" y="0"/>
                </a:lnTo>
                <a:lnTo>
                  <a:pt x="595" y="607"/>
                </a:lnTo>
                <a:lnTo>
                  <a:pt x="0" y="1518"/>
                </a:lnTo>
                <a:lnTo>
                  <a:pt x="297" y="2429"/>
                </a:lnTo>
                <a:lnTo>
                  <a:pt x="2976" y="1518"/>
                </a:lnTo>
                <a:lnTo>
                  <a:pt x="2435" y="690"/>
                </a:lnTo>
                <a:close/>
              </a:path>
            </a:pathLst>
          </a:custGeom>
          <a:solidFill>
            <a:srgbClr val="000000"/>
          </a:solidFill>
        </p:spPr>
        <p:txBody>
          <a:bodyPr wrap="square" lIns="0" tIns="0" rIns="0" bIns="0" rtlCol="0">
            <a:noAutofit/>
          </a:bodyPr>
          <a:lstStyle/>
          <a:p>
            <a:endParaRPr/>
          </a:p>
        </p:txBody>
      </p:sp>
      <p:sp>
        <p:nvSpPr>
          <p:cNvPr id="616" name="object 616"/>
          <p:cNvSpPr/>
          <p:nvPr/>
        </p:nvSpPr>
        <p:spPr>
          <a:xfrm>
            <a:off x="8173320" y="532601"/>
            <a:ext cx="2976" cy="71982"/>
          </a:xfrm>
          <a:custGeom>
            <a:avLst/>
            <a:gdLst/>
            <a:ahLst/>
            <a:cxnLst/>
            <a:rect l="l" t="t" r="r" b="b"/>
            <a:pathLst>
              <a:path w="2976" h="71982">
                <a:moveTo>
                  <a:pt x="2976" y="71982"/>
                </a:moveTo>
                <a:lnTo>
                  <a:pt x="2976" y="0"/>
                </a:lnTo>
                <a:lnTo>
                  <a:pt x="297" y="911"/>
                </a:lnTo>
                <a:lnTo>
                  <a:pt x="0" y="0"/>
                </a:lnTo>
                <a:lnTo>
                  <a:pt x="0" y="71982"/>
                </a:lnTo>
                <a:lnTo>
                  <a:pt x="2976" y="71982"/>
                </a:lnTo>
                <a:close/>
              </a:path>
            </a:pathLst>
          </a:custGeom>
          <a:solidFill>
            <a:srgbClr val="000000"/>
          </a:solidFill>
        </p:spPr>
        <p:txBody>
          <a:bodyPr wrap="square" lIns="0" tIns="0" rIns="0" bIns="0" rtlCol="0">
            <a:noAutofit/>
          </a:bodyPr>
          <a:lstStyle/>
          <a:p>
            <a:endParaRPr/>
          </a:p>
        </p:txBody>
      </p:sp>
      <p:sp>
        <p:nvSpPr>
          <p:cNvPr id="617" name="object 617"/>
          <p:cNvSpPr/>
          <p:nvPr/>
        </p:nvSpPr>
        <p:spPr>
          <a:xfrm>
            <a:off x="8146237" y="532297"/>
            <a:ext cx="55356" cy="71982"/>
          </a:xfrm>
          <a:custGeom>
            <a:avLst/>
            <a:gdLst/>
            <a:ahLst/>
            <a:cxnLst/>
            <a:rect l="l" t="t" r="r" b="b"/>
            <a:pathLst>
              <a:path w="55356" h="71982">
                <a:moveTo>
                  <a:pt x="27678" y="0"/>
                </a:moveTo>
                <a:lnTo>
                  <a:pt x="22023" y="607"/>
                </a:lnTo>
                <a:lnTo>
                  <a:pt x="16964" y="2733"/>
                </a:lnTo>
                <a:lnTo>
                  <a:pt x="12202" y="6074"/>
                </a:lnTo>
                <a:lnTo>
                  <a:pt x="8035" y="10630"/>
                </a:lnTo>
                <a:lnTo>
                  <a:pt x="4761" y="15793"/>
                </a:lnTo>
                <a:lnTo>
                  <a:pt x="2083" y="22171"/>
                </a:lnTo>
                <a:lnTo>
                  <a:pt x="595" y="28853"/>
                </a:lnTo>
                <a:lnTo>
                  <a:pt x="0" y="36143"/>
                </a:lnTo>
                <a:lnTo>
                  <a:pt x="595" y="43432"/>
                </a:lnTo>
                <a:lnTo>
                  <a:pt x="2083" y="50114"/>
                </a:lnTo>
                <a:lnTo>
                  <a:pt x="4761" y="56189"/>
                </a:lnTo>
                <a:lnTo>
                  <a:pt x="8035" y="61352"/>
                </a:lnTo>
                <a:lnTo>
                  <a:pt x="12202" y="65908"/>
                </a:lnTo>
                <a:lnTo>
                  <a:pt x="16964" y="69249"/>
                </a:lnTo>
                <a:lnTo>
                  <a:pt x="22023" y="71375"/>
                </a:lnTo>
                <a:lnTo>
                  <a:pt x="27678" y="71982"/>
                </a:lnTo>
                <a:lnTo>
                  <a:pt x="33333" y="71375"/>
                </a:lnTo>
                <a:lnTo>
                  <a:pt x="38392" y="69249"/>
                </a:lnTo>
                <a:lnTo>
                  <a:pt x="43154" y="65908"/>
                </a:lnTo>
                <a:lnTo>
                  <a:pt x="47321" y="61352"/>
                </a:lnTo>
                <a:lnTo>
                  <a:pt x="50595" y="56189"/>
                </a:lnTo>
                <a:lnTo>
                  <a:pt x="53273" y="50114"/>
                </a:lnTo>
                <a:lnTo>
                  <a:pt x="54761" y="43432"/>
                </a:lnTo>
                <a:lnTo>
                  <a:pt x="55356" y="36143"/>
                </a:lnTo>
                <a:lnTo>
                  <a:pt x="54761" y="28853"/>
                </a:lnTo>
                <a:lnTo>
                  <a:pt x="53273" y="22171"/>
                </a:lnTo>
                <a:lnTo>
                  <a:pt x="50595" y="15793"/>
                </a:lnTo>
                <a:lnTo>
                  <a:pt x="47321" y="10630"/>
                </a:lnTo>
                <a:lnTo>
                  <a:pt x="43154" y="6074"/>
                </a:lnTo>
                <a:lnTo>
                  <a:pt x="38392" y="2733"/>
                </a:lnTo>
                <a:lnTo>
                  <a:pt x="33333" y="607"/>
                </a:lnTo>
                <a:lnTo>
                  <a:pt x="27678" y="0"/>
                </a:lnTo>
                <a:close/>
              </a:path>
            </a:pathLst>
          </a:custGeom>
          <a:solidFill>
            <a:srgbClr val="FFBE00"/>
          </a:solidFill>
        </p:spPr>
        <p:txBody>
          <a:bodyPr wrap="square" lIns="0" tIns="0" rIns="0" bIns="0" rtlCol="0">
            <a:noAutofit/>
          </a:bodyPr>
          <a:lstStyle/>
          <a:p>
            <a:endParaRPr/>
          </a:p>
        </p:txBody>
      </p:sp>
      <p:sp>
        <p:nvSpPr>
          <p:cNvPr id="618" name="object 618"/>
          <p:cNvSpPr/>
          <p:nvPr/>
        </p:nvSpPr>
        <p:spPr>
          <a:xfrm>
            <a:off x="8173916" y="530780"/>
            <a:ext cx="29166" cy="37661"/>
          </a:xfrm>
          <a:custGeom>
            <a:avLst/>
            <a:gdLst/>
            <a:ahLst/>
            <a:cxnLst/>
            <a:rect l="l" t="t" r="r" b="b"/>
            <a:pathLst>
              <a:path w="29166" h="37661">
                <a:moveTo>
                  <a:pt x="5357" y="3644"/>
                </a:moveTo>
                <a:lnTo>
                  <a:pt x="10119" y="5467"/>
                </a:lnTo>
                <a:lnTo>
                  <a:pt x="14583" y="8808"/>
                </a:lnTo>
                <a:lnTo>
                  <a:pt x="18452" y="13060"/>
                </a:lnTo>
                <a:lnTo>
                  <a:pt x="21726" y="17919"/>
                </a:lnTo>
                <a:lnTo>
                  <a:pt x="24107" y="24298"/>
                </a:lnTo>
                <a:lnTo>
                  <a:pt x="25595" y="30676"/>
                </a:lnTo>
                <a:lnTo>
                  <a:pt x="26190" y="37661"/>
                </a:lnTo>
                <a:lnTo>
                  <a:pt x="29166" y="37661"/>
                </a:lnTo>
                <a:lnTo>
                  <a:pt x="28571" y="30068"/>
                </a:lnTo>
                <a:lnTo>
                  <a:pt x="27083" y="23083"/>
                </a:lnTo>
                <a:lnTo>
                  <a:pt x="24107" y="16704"/>
                </a:lnTo>
                <a:lnTo>
                  <a:pt x="20833" y="11237"/>
                </a:lnTo>
                <a:lnTo>
                  <a:pt x="16368" y="6378"/>
                </a:lnTo>
                <a:lnTo>
                  <a:pt x="11309" y="3037"/>
                </a:lnTo>
                <a:lnTo>
                  <a:pt x="5952" y="607"/>
                </a:lnTo>
                <a:lnTo>
                  <a:pt x="0" y="0"/>
                </a:lnTo>
                <a:lnTo>
                  <a:pt x="0" y="3037"/>
                </a:lnTo>
                <a:lnTo>
                  <a:pt x="5357" y="3644"/>
                </a:lnTo>
                <a:close/>
              </a:path>
            </a:pathLst>
          </a:custGeom>
          <a:solidFill>
            <a:srgbClr val="000000"/>
          </a:solidFill>
        </p:spPr>
        <p:txBody>
          <a:bodyPr wrap="square" lIns="0" tIns="0" rIns="0" bIns="0" rtlCol="0">
            <a:noAutofit/>
          </a:bodyPr>
          <a:lstStyle/>
          <a:p>
            <a:endParaRPr/>
          </a:p>
        </p:txBody>
      </p:sp>
      <p:sp>
        <p:nvSpPr>
          <p:cNvPr id="619" name="object 619"/>
          <p:cNvSpPr/>
          <p:nvPr/>
        </p:nvSpPr>
        <p:spPr>
          <a:xfrm>
            <a:off x="8173916" y="568441"/>
            <a:ext cx="29166" cy="37358"/>
          </a:xfrm>
          <a:custGeom>
            <a:avLst/>
            <a:gdLst/>
            <a:ahLst/>
            <a:cxnLst/>
            <a:rect l="l" t="t" r="r" b="b"/>
            <a:pathLst>
              <a:path w="29166" h="37358">
                <a:moveTo>
                  <a:pt x="0" y="34320"/>
                </a:moveTo>
                <a:lnTo>
                  <a:pt x="0" y="37358"/>
                </a:lnTo>
                <a:lnTo>
                  <a:pt x="5952" y="36750"/>
                </a:lnTo>
                <a:lnTo>
                  <a:pt x="11309" y="34320"/>
                </a:lnTo>
                <a:lnTo>
                  <a:pt x="16368" y="30980"/>
                </a:lnTo>
                <a:lnTo>
                  <a:pt x="20833" y="26120"/>
                </a:lnTo>
                <a:lnTo>
                  <a:pt x="24107" y="20653"/>
                </a:lnTo>
                <a:lnTo>
                  <a:pt x="27083" y="14578"/>
                </a:lnTo>
                <a:lnTo>
                  <a:pt x="28571" y="7593"/>
                </a:lnTo>
                <a:lnTo>
                  <a:pt x="29166" y="0"/>
                </a:lnTo>
                <a:lnTo>
                  <a:pt x="26190" y="0"/>
                </a:lnTo>
                <a:lnTo>
                  <a:pt x="25595" y="6985"/>
                </a:lnTo>
                <a:lnTo>
                  <a:pt x="24107" y="13363"/>
                </a:lnTo>
                <a:lnTo>
                  <a:pt x="21726" y="19438"/>
                </a:lnTo>
                <a:lnTo>
                  <a:pt x="18452" y="24298"/>
                </a:lnTo>
                <a:lnTo>
                  <a:pt x="14583" y="28550"/>
                </a:lnTo>
                <a:lnTo>
                  <a:pt x="10119" y="31891"/>
                </a:lnTo>
                <a:lnTo>
                  <a:pt x="5357" y="33713"/>
                </a:lnTo>
                <a:lnTo>
                  <a:pt x="0" y="34320"/>
                </a:lnTo>
                <a:close/>
              </a:path>
            </a:pathLst>
          </a:custGeom>
          <a:solidFill>
            <a:srgbClr val="000000"/>
          </a:solidFill>
        </p:spPr>
        <p:txBody>
          <a:bodyPr wrap="square" lIns="0" tIns="0" rIns="0" bIns="0" rtlCol="0">
            <a:noAutofit/>
          </a:bodyPr>
          <a:lstStyle/>
          <a:p>
            <a:endParaRPr/>
          </a:p>
        </p:txBody>
      </p:sp>
      <p:sp>
        <p:nvSpPr>
          <p:cNvPr id="620" name="object 620"/>
          <p:cNvSpPr/>
          <p:nvPr/>
        </p:nvSpPr>
        <p:spPr>
          <a:xfrm>
            <a:off x="8144749" y="568441"/>
            <a:ext cx="29166" cy="37358"/>
          </a:xfrm>
          <a:custGeom>
            <a:avLst/>
            <a:gdLst/>
            <a:ahLst/>
            <a:cxnLst/>
            <a:rect l="l" t="t" r="r" b="b"/>
            <a:pathLst>
              <a:path w="29166" h="37358">
                <a:moveTo>
                  <a:pt x="7440" y="19438"/>
                </a:moveTo>
                <a:lnTo>
                  <a:pt x="5059" y="13363"/>
                </a:lnTo>
                <a:lnTo>
                  <a:pt x="3571" y="6985"/>
                </a:lnTo>
                <a:lnTo>
                  <a:pt x="2976" y="0"/>
                </a:lnTo>
                <a:lnTo>
                  <a:pt x="0" y="0"/>
                </a:lnTo>
                <a:lnTo>
                  <a:pt x="595" y="7593"/>
                </a:lnTo>
                <a:lnTo>
                  <a:pt x="2083" y="14578"/>
                </a:lnTo>
                <a:lnTo>
                  <a:pt x="5059" y="20653"/>
                </a:lnTo>
                <a:lnTo>
                  <a:pt x="8333" y="26120"/>
                </a:lnTo>
                <a:lnTo>
                  <a:pt x="12797" y="30980"/>
                </a:lnTo>
                <a:lnTo>
                  <a:pt x="17857" y="34320"/>
                </a:lnTo>
                <a:lnTo>
                  <a:pt x="23214" y="36750"/>
                </a:lnTo>
                <a:lnTo>
                  <a:pt x="29166" y="37358"/>
                </a:lnTo>
                <a:lnTo>
                  <a:pt x="29166" y="34320"/>
                </a:lnTo>
                <a:lnTo>
                  <a:pt x="23809" y="33713"/>
                </a:lnTo>
                <a:lnTo>
                  <a:pt x="19047" y="31891"/>
                </a:lnTo>
                <a:lnTo>
                  <a:pt x="14583" y="28550"/>
                </a:lnTo>
                <a:lnTo>
                  <a:pt x="10714" y="24298"/>
                </a:lnTo>
                <a:lnTo>
                  <a:pt x="7440" y="19438"/>
                </a:lnTo>
                <a:close/>
              </a:path>
            </a:pathLst>
          </a:custGeom>
          <a:solidFill>
            <a:srgbClr val="000000"/>
          </a:solidFill>
        </p:spPr>
        <p:txBody>
          <a:bodyPr wrap="square" lIns="0" tIns="0" rIns="0" bIns="0" rtlCol="0">
            <a:noAutofit/>
          </a:bodyPr>
          <a:lstStyle/>
          <a:p>
            <a:endParaRPr/>
          </a:p>
        </p:txBody>
      </p:sp>
      <p:sp>
        <p:nvSpPr>
          <p:cNvPr id="621" name="object 621"/>
          <p:cNvSpPr/>
          <p:nvPr/>
        </p:nvSpPr>
        <p:spPr>
          <a:xfrm>
            <a:off x="8144749" y="530780"/>
            <a:ext cx="29166" cy="37661"/>
          </a:xfrm>
          <a:custGeom>
            <a:avLst/>
            <a:gdLst/>
            <a:ahLst/>
            <a:cxnLst/>
            <a:rect l="l" t="t" r="r" b="b"/>
            <a:pathLst>
              <a:path w="29166" h="37661">
                <a:moveTo>
                  <a:pt x="2976" y="37661"/>
                </a:moveTo>
                <a:lnTo>
                  <a:pt x="3571" y="30676"/>
                </a:lnTo>
                <a:lnTo>
                  <a:pt x="5059" y="24298"/>
                </a:lnTo>
                <a:lnTo>
                  <a:pt x="7440" y="17919"/>
                </a:lnTo>
                <a:lnTo>
                  <a:pt x="10714" y="13060"/>
                </a:lnTo>
                <a:lnTo>
                  <a:pt x="14583" y="8808"/>
                </a:lnTo>
                <a:lnTo>
                  <a:pt x="19047" y="5467"/>
                </a:lnTo>
                <a:lnTo>
                  <a:pt x="23809" y="3644"/>
                </a:lnTo>
                <a:lnTo>
                  <a:pt x="29166" y="3037"/>
                </a:lnTo>
                <a:lnTo>
                  <a:pt x="29166" y="0"/>
                </a:lnTo>
                <a:lnTo>
                  <a:pt x="23214" y="607"/>
                </a:lnTo>
                <a:lnTo>
                  <a:pt x="17857" y="3037"/>
                </a:lnTo>
                <a:lnTo>
                  <a:pt x="12797" y="6378"/>
                </a:lnTo>
                <a:lnTo>
                  <a:pt x="8333" y="11237"/>
                </a:lnTo>
                <a:lnTo>
                  <a:pt x="5059" y="16704"/>
                </a:lnTo>
                <a:lnTo>
                  <a:pt x="2083" y="23083"/>
                </a:lnTo>
                <a:lnTo>
                  <a:pt x="595" y="30068"/>
                </a:lnTo>
                <a:lnTo>
                  <a:pt x="0" y="37661"/>
                </a:lnTo>
                <a:lnTo>
                  <a:pt x="2976" y="37661"/>
                </a:lnTo>
                <a:close/>
              </a:path>
            </a:pathLst>
          </a:custGeom>
          <a:solidFill>
            <a:srgbClr val="000000"/>
          </a:solidFill>
        </p:spPr>
        <p:txBody>
          <a:bodyPr wrap="square" lIns="0" tIns="0" rIns="0" bIns="0" rtlCol="0">
            <a:noAutofit/>
          </a:bodyPr>
          <a:lstStyle/>
          <a:p>
            <a:endParaRPr/>
          </a:p>
        </p:txBody>
      </p:sp>
      <p:sp>
        <p:nvSpPr>
          <p:cNvPr id="622" name="object 622"/>
          <p:cNvSpPr/>
          <p:nvPr/>
        </p:nvSpPr>
        <p:spPr>
          <a:xfrm>
            <a:off x="8170939" y="559634"/>
            <a:ext cx="27380" cy="35839"/>
          </a:xfrm>
          <a:custGeom>
            <a:avLst/>
            <a:gdLst/>
            <a:ahLst/>
            <a:cxnLst/>
            <a:rect l="l" t="t" r="r" b="b"/>
            <a:pathLst>
              <a:path w="27380" h="35839">
                <a:moveTo>
                  <a:pt x="13690" y="0"/>
                </a:moveTo>
                <a:lnTo>
                  <a:pt x="11011" y="303"/>
                </a:lnTo>
                <a:lnTo>
                  <a:pt x="8333" y="1518"/>
                </a:lnTo>
                <a:lnTo>
                  <a:pt x="5952" y="3037"/>
                </a:lnTo>
                <a:lnTo>
                  <a:pt x="4166" y="5163"/>
                </a:lnTo>
                <a:lnTo>
                  <a:pt x="2380" y="7896"/>
                </a:lnTo>
                <a:lnTo>
                  <a:pt x="1190" y="10934"/>
                </a:lnTo>
                <a:lnTo>
                  <a:pt x="297" y="14275"/>
                </a:lnTo>
                <a:lnTo>
                  <a:pt x="0" y="17919"/>
                </a:lnTo>
                <a:lnTo>
                  <a:pt x="297" y="21564"/>
                </a:lnTo>
                <a:lnTo>
                  <a:pt x="1190" y="24905"/>
                </a:lnTo>
                <a:lnTo>
                  <a:pt x="2380" y="27942"/>
                </a:lnTo>
                <a:lnTo>
                  <a:pt x="4166" y="30372"/>
                </a:lnTo>
                <a:lnTo>
                  <a:pt x="5952" y="32802"/>
                </a:lnTo>
                <a:lnTo>
                  <a:pt x="8333" y="34320"/>
                </a:lnTo>
                <a:lnTo>
                  <a:pt x="11011" y="35535"/>
                </a:lnTo>
                <a:lnTo>
                  <a:pt x="13690" y="35839"/>
                </a:lnTo>
                <a:lnTo>
                  <a:pt x="16368" y="35535"/>
                </a:lnTo>
                <a:lnTo>
                  <a:pt x="19047" y="34320"/>
                </a:lnTo>
                <a:lnTo>
                  <a:pt x="21428" y="32802"/>
                </a:lnTo>
                <a:lnTo>
                  <a:pt x="23511" y="30372"/>
                </a:lnTo>
                <a:lnTo>
                  <a:pt x="24999" y="27942"/>
                </a:lnTo>
                <a:lnTo>
                  <a:pt x="26190" y="24905"/>
                </a:lnTo>
                <a:lnTo>
                  <a:pt x="27083" y="21564"/>
                </a:lnTo>
                <a:lnTo>
                  <a:pt x="27380" y="17919"/>
                </a:lnTo>
                <a:lnTo>
                  <a:pt x="27083" y="14275"/>
                </a:lnTo>
                <a:lnTo>
                  <a:pt x="26190" y="10934"/>
                </a:lnTo>
                <a:lnTo>
                  <a:pt x="24999" y="7896"/>
                </a:lnTo>
                <a:lnTo>
                  <a:pt x="23511" y="5163"/>
                </a:lnTo>
                <a:lnTo>
                  <a:pt x="21428" y="3037"/>
                </a:lnTo>
                <a:lnTo>
                  <a:pt x="19047" y="1518"/>
                </a:lnTo>
                <a:lnTo>
                  <a:pt x="16368" y="303"/>
                </a:lnTo>
                <a:lnTo>
                  <a:pt x="13690" y="0"/>
                </a:lnTo>
                <a:close/>
              </a:path>
            </a:pathLst>
          </a:custGeom>
          <a:solidFill>
            <a:srgbClr val="000000"/>
          </a:solidFill>
        </p:spPr>
        <p:txBody>
          <a:bodyPr wrap="square" lIns="0" tIns="0" rIns="0" bIns="0" rtlCol="0">
            <a:noAutofit/>
          </a:bodyPr>
          <a:lstStyle/>
          <a:p>
            <a:endParaRPr/>
          </a:p>
        </p:txBody>
      </p:sp>
      <p:sp>
        <p:nvSpPr>
          <p:cNvPr id="623" name="object 623"/>
          <p:cNvSpPr/>
          <p:nvPr/>
        </p:nvSpPr>
        <p:spPr>
          <a:xfrm>
            <a:off x="8184630" y="558114"/>
            <a:ext cx="15178" cy="19438"/>
          </a:xfrm>
          <a:custGeom>
            <a:avLst/>
            <a:gdLst/>
            <a:ahLst/>
            <a:cxnLst/>
            <a:rect l="l" t="t" r="r" b="b"/>
            <a:pathLst>
              <a:path w="15178" h="19438">
                <a:moveTo>
                  <a:pt x="0" y="0"/>
                </a:moveTo>
                <a:lnTo>
                  <a:pt x="0" y="3037"/>
                </a:lnTo>
                <a:lnTo>
                  <a:pt x="2380" y="3340"/>
                </a:lnTo>
                <a:lnTo>
                  <a:pt x="4761" y="4252"/>
                </a:lnTo>
                <a:lnTo>
                  <a:pt x="6845" y="5770"/>
                </a:lnTo>
                <a:lnTo>
                  <a:pt x="8630" y="7593"/>
                </a:lnTo>
                <a:lnTo>
                  <a:pt x="9821" y="10022"/>
                </a:lnTo>
                <a:lnTo>
                  <a:pt x="11011" y="13060"/>
                </a:lnTo>
                <a:lnTo>
                  <a:pt x="11904" y="16097"/>
                </a:lnTo>
                <a:lnTo>
                  <a:pt x="12202" y="19438"/>
                </a:lnTo>
                <a:lnTo>
                  <a:pt x="15178" y="19438"/>
                </a:lnTo>
                <a:lnTo>
                  <a:pt x="14880" y="15490"/>
                </a:lnTo>
                <a:lnTo>
                  <a:pt x="13988" y="11845"/>
                </a:lnTo>
                <a:lnTo>
                  <a:pt x="12797" y="8808"/>
                </a:lnTo>
                <a:lnTo>
                  <a:pt x="11011" y="5770"/>
                </a:lnTo>
                <a:lnTo>
                  <a:pt x="8630" y="3340"/>
                </a:lnTo>
                <a:lnTo>
                  <a:pt x="5952" y="1822"/>
                </a:lnTo>
                <a:lnTo>
                  <a:pt x="2976" y="303"/>
                </a:lnTo>
                <a:lnTo>
                  <a:pt x="0" y="0"/>
                </a:lnTo>
                <a:close/>
              </a:path>
            </a:pathLst>
          </a:custGeom>
          <a:solidFill>
            <a:srgbClr val="000000"/>
          </a:solidFill>
        </p:spPr>
        <p:txBody>
          <a:bodyPr wrap="square" lIns="0" tIns="0" rIns="0" bIns="0" rtlCol="0">
            <a:noAutofit/>
          </a:bodyPr>
          <a:lstStyle/>
          <a:p>
            <a:endParaRPr/>
          </a:p>
        </p:txBody>
      </p:sp>
      <p:sp>
        <p:nvSpPr>
          <p:cNvPr id="624" name="object 624"/>
          <p:cNvSpPr/>
          <p:nvPr/>
        </p:nvSpPr>
        <p:spPr>
          <a:xfrm>
            <a:off x="8184630" y="577552"/>
            <a:ext cx="15178" cy="19438"/>
          </a:xfrm>
          <a:custGeom>
            <a:avLst/>
            <a:gdLst/>
            <a:ahLst/>
            <a:cxnLst/>
            <a:rect l="l" t="t" r="r" b="b"/>
            <a:pathLst>
              <a:path w="15178" h="19438">
                <a:moveTo>
                  <a:pt x="11011" y="13363"/>
                </a:moveTo>
                <a:lnTo>
                  <a:pt x="12499" y="10630"/>
                </a:lnTo>
                <a:lnTo>
                  <a:pt x="13988" y="7593"/>
                </a:lnTo>
                <a:lnTo>
                  <a:pt x="14880" y="3948"/>
                </a:lnTo>
                <a:lnTo>
                  <a:pt x="15178" y="0"/>
                </a:lnTo>
                <a:lnTo>
                  <a:pt x="12202" y="0"/>
                </a:lnTo>
                <a:lnTo>
                  <a:pt x="11904" y="3340"/>
                </a:lnTo>
                <a:lnTo>
                  <a:pt x="11011" y="6378"/>
                </a:lnTo>
                <a:lnTo>
                  <a:pt x="10119" y="9415"/>
                </a:lnTo>
                <a:lnTo>
                  <a:pt x="8630" y="11541"/>
                </a:lnTo>
                <a:lnTo>
                  <a:pt x="6845" y="13667"/>
                </a:lnTo>
                <a:lnTo>
                  <a:pt x="4761" y="15186"/>
                </a:lnTo>
                <a:lnTo>
                  <a:pt x="2380" y="16097"/>
                </a:lnTo>
                <a:lnTo>
                  <a:pt x="0" y="16401"/>
                </a:lnTo>
                <a:lnTo>
                  <a:pt x="0" y="19438"/>
                </a:lnTo>
                <a:lnTo>
                  <a:pt x="2976" y="19134"/>
                </a:lnTo>
                <a:lnTo>
                  <a:pt x="5952" y="17616"/>
                </a:lnTo>
                <a:lnTo>
                  <a:pt x="8630" y="16097"/>
                </a:lnTo>
                <a:lnTo>
                  <a:pt x="11011" y="13363"/>
                </a:lnTo>
                <a:close/>
              </a:path>
            </a:pathLst>
          </a:custGeom>
          <a:solidFill>
            <a:srgbClr val="000000"/>
          </a:solidFill>
        </p:spPr>
        <p:txBody>
          <a:bodyPr wrap="square" lIns="0" tIns="0" rIns="0" bIns="0" rtlCol="0">
            <a:noAutofit/>
          </a:bodyPr>
          <a:lstStyle/>
          <a:p>
            <a:endParaRPr/>
          </a:p>
        </p:txBody>
      </p:sp>
      <p:sp>
        <p:nvSpPr>
          <p:cNvPr id="625" name="object 625"/>
          <p:cNvSpPr/>
          <p:nvPr/>
        </p:nvSpPr>
        <p:spPr>
          <a:xfrm>
            <a:off x="8169451" y="577552"/>
            <a:ext cx="15178" cy="19438"/>
          </a:xfrm>
          <a:custGeom>
            <a:avLst/>
            <a:gdLst/>
            <a:ahLst/>
            <a:cxnLst/>
            <a:rect l="l" t="t" r="r" b="b"/>
            <a:pathLst>
              <a:path w="15178" h="19438">
                <a:moveTo>
                  <a:pt x="297" y="3948"/>
                </a:moveTo>
                <a:lnTo>
                  <a:pt x="1190" y="7593"/>
                </a:lnTo>
                <a:lnTo>
                  <a:pt x="2678" y="10630"/>
                </a:lnTo>
                <a:lnTo>
                  <a:pt x="4464" y="13363"/>
                </a:lnTo>
                <a:lnTo>
                  <a:pt x="6547" y="16097"/>
                </a:lnTo>
                <a:lnTo>
                  <a:pt x="9226" y="17616"/>
                </a:lnTo>
                <a:lnTo>
                  <a:pt x="12202" y="19134"/>
                </a:lnTo>
                <a:lnTo>
                  <a:pt x="15178" y="19438"/>
                </a:lnTo>
                <a:lnTo>
                  <a:pt x="15178" y="16401"/>
                </a:lnTo>
                <a:lnTo>
                  <a:pt x="12797" y="16097"/>
                </a:lnTo>
                <a:lnTo>
                  <a:pt x="10416" y="15186"/>
                </a:lnTo>
                <a:lnTo>
                  <a:pt x="8333" y="13667"/>
                </a:lnTo>
                <a:lnTo>
                  <a:pt x="6845" y="11541"/>
                </a:lnTo>
                <a:lnTo>
                  <a:pt x="5059" y="9415"/>
                </a:lnTo>
                <a:lnTo>
                  <a:pt x="4166" y="6378"/>
                </a:lnTo>
                <a:lnTo>
                  <a:pt x="3273" y="3340"/>
                </a:lnTo>
                <a:lnTo>
                  <a:pt x="2976" y="0"/>
                </a:lnTo>
                <a:lnTo>
                  <a:pt x="0" y="0"/>
                </a:lnTo>
                <a:lnTo>
                  <a:pt x="297" y="3948"/>
                </a:lnTo>
                <a:close/>
              </a:path>
            </a:pathLst>
          </a:custGeom>
          <a:solidFill>
            <a:srgbClr val="000000"/>
          </a:solidFill>
        </p:spPr>
        <p:txBody>
          <a:bodyPr wrap="square" lIns="0" tIns="0" rIns="0" bIns="0" rtlCol="0">
            <a:noAutofit/>
          </a:bodyPr>
          <a:lstStyle/>
          <a:p>
            <a:endParaRPr/>
          </a:p>
        </p:txBody>
      </p:sp>
      <p:sp>
        <p:nvSpPr>
          <p:cNvPr id="626" name="object 626"/>
          <p:cNvSpPr/>
          <p:nvPr/>
        </p:nvSpPr>
        <p:spPr>
          <a:xfrm>
            <a:off x="8169451" y="558114"/>
            <a:ext cx="15178" cy="19438"/>
          </a:xfrm>
          <a:custGeom>
            <a:avLst/>
            <a:gdLst/>
            <a:ahLst/>
            <a:cxnLst/>
            <a:rect l="l" t="t" r="r" b="b"/>
            <a:pathLst>
              <a:path w="15178" h="19438">
                <a:moveTo>
                  <a:pt x="2678" y="8808"/>
                </a:moveTo>
                <a:lnTo>
                  <a:pt x="1190" y="11845"/>
                </a:lnTo>
                <a:lnTo>
                  <a:pt x="297" y="15490"/>
                </a:lnTo>
                <a:lnTo>
                  <a:pt x="0" y="19438"/>
                </a:lnTo>
                <a:lnTo>
                  <a:pt x="2976" y="19438"/>
                </a:lnTo>
                <a:lnTo>
                  <a:pt x="3273" y="16097"/>
                </a:lnTo>
                <a:lnTo>
                  <a:pt x="4166" y="13060"/>
                </a:lnTo>
                <a:lnTo>
                  <a:pt x="5059" y="10022"/>
                </a:lnTo>
                <a:lnTo>
                  <a:pt x="6845" y="7593"/>
                </a:lnTo>
                <a:lnTo>
                  <a:pt x="8333" y="5770"/>
                </a:lnTo>
                <a:lnTo>
                  <a:pt x="10416" y="4252"/>
                </a:lnTo>
                <a:lnTo>
                  <a:pt x="12797" y="3340"/>
                </a:lnTo>
                <a:lnTo>
                  <a:pt x="15178" y="3037"/>
                </a:lnTo>
                <a:lnTo>
                  <a:pt x="15178" y="0"/>
                </a:lnTo>
                <a:lnTo>
                  <a:pt x="12202" y="303"/>
                </a:lnTo>
                <a:lnTo>
                  <a:pt x="9226" y="1822"/>
                </a:lnTo>
                <a:lnTo>
                  <a:pt x="6547" y="3340"/>
                </a:lnTo>
                <a:lnTo>
                  <a:pt x="4464" y="5770"/>
                </a:lnTo>
                <a:lnTo>
                  <a:pt x="2678" y="8808"/>
                </a:lnTo>
                <a:close/>
              </a:path>
            </a:pathLst>
          </a:custGeom>
          <a:solidFill>
            <a:srgbClr val="000000"/>
          </a:solidFill>
        </p:spPr>
        <p:txBody>
          <a:bodyPr wrap="square" lIns="0" tIns="0" rIns="0" bIns="0" rtlCol="0">
            <a:noAutofit/>
          </a:bodyPr>
          <a:lstStyle/>
          <a:p>
            <a:endParaRPr/>
          </a:p>
        </p:txBody>
      </p:sp>
      <p:sp>
        <p:nvSpPr>
          <p:cNvPr id="627" name="object 627"/>
          <p:cNvSpPr/>
          <p:nvPr/>
        </p:nvSpPr>
        <p:spPr>
          <a:xfrm>
            <a:off x="8030464" y="546572"/>
            <a:ext cx="1000592" cy="740786"/>
          </a:xfrm>
          <a:custGeom>
            <a:avLst/>
            <a:gdLst/>
            <a:ahLst/>
            <a:cxnLst/>
            <a:rect l="l" t="t" r="r" b="b"/>
            <a:pathLst>
              <a:path w="1000592" h="740786">
                <a:moveTo>
                  <a:pt x="513093" y="740786"/>
                </a:moveTo>
                <a:lnTo>
                  <a:pt x="548212" y="740786"/>
                </a:lnTo>
                <a:lnTo>
                  <a:pt x="555653" y="739571"/>
                </a:lnTo>
                <a:lnTo>
                  <a:pt x="562498" y="735927"/>
                </a:lnTo>
                <a:lnTo>
                  <a:pt x="569641" y="730460"/>
                </a:lnTo>
                <a:lnTo>
                  <a:pt x="576188" y="723170"/>
                </a:lnTo>
                <a:lnTo>
                  <a:pt x="583033" y="714666"/>
                </a:lnTo>
                <a:lnTo>
                  <a:pt x="589581" y="705250"/>
                </a:lnTo>
                <a:lnTo>
                  <a:pt x="596426" y="694924"/>
                </a:lnTo>
                <a:lnTo>
                  <a:pt x="603271" y="684597"/>
                </a:lnTo>
                <a:lnTo>
                  <a:pt x="610414" y="673967"/>
                </a:lnTo>
                <a:lnTo>
                  <a:pt x="617557" y="663640"/>
                </a:lnTo>
                <a:lnTo>
                  <a:pt x="633033" y="645720"/>
                </a:lnTo>
                <a:lnTo>
                  <a:pt x="649998" y="632660"/>
                </a:lnTo>
                <a:lnTo>
                  <a:pt x="669045" y="627800"/>
                </a:lnTo>
                <a:lnTo>
                  <a:pt x="975592" y="627800"/>
                </a:lnTo>
                <a:lnTo>
                  <a:pt x="982437" y="627193"/>
                </a:lnTo>
                <a:lnTo>
                  <a:pt x="997913" y="612007"/>
                </a:lnTo>
                <a:lnTo>
                  <a:pt x="1000592" y="586797"/>
                </a:lnTo>
                <a:lnTo>
                  <a:pt x="1000592" y="147610"/>
                </a:lnTo>
                <a:lnTo>
                  <a:pt x="998806" y="120275"/>
                </a:lnTo>
                <a:lnTo>
                  <a:pt x="992556" y="95673"/>
                </a:lnTo>
                <a:lnTo>
                  <a:pt x="979163" y="79272"/>
                </a:lnTo>
                <a:lnTo>
                  <a:pt x="653867" y="1822"/>
                </a:lnTo>
                <a:lnTo>
                  <a:pt x="638390" y="0"/>
                </a:lnTo>
                <a:lnTo>
                  <a:pt x="622914" y="0"/>
                </a:lnTo>
                <a:lnTo>
                  <a:pt x="617260" y="303"/>
                </a:lnTo>
                <a:lnTo>
                  <a:pt x="611605" y="911"/>
                </a:lnTo>
                <a:lnTo>
                  <a:pt x="602081" y="2126"/>
                </a:lnTo>
                <a:lnTo>
                  <a:pt x="592557" y="3037"/>
                </a:lnTo>
                <a:lnTo>
                  <a:pt x="583033" y="4252"/>
                </a:lnTo>
                <a:lnTo>
                  <a:pt x="573510" y="4859"/>
                </a:lnTo>
                <a:lnTo>
                  <a:pt x="563688" y="5467"/>
                </a:lnTo>
                <a:lnTo>
                  <a:pt x="554164" y="6074"/>
                </a:lnTo>
                <a:lnTo>
                  <a:pt x="544641" y="6681"/>
                </a:lnTo>
                <a:lnTo>
                  <a:pt x="535117" y="6985"/>
                </a:lnTo>
                <a:lnTo>
                  <a:pt x="525296" y="7289"/>
                </a:lnTo>
                <a:lnTo>
                  <a:pt x="515772" y="7593"/>
                </a:lnTo>
                <a:lnTo>
                  <a:pt x="506248" y="7593"/>
                </a:lnTo>
                <a:lnTo>
                  <a:pt x="496427" y="7896"/>
                </a:lnTo>
                <a:lnTo>
                  <a:pt x="389879" y="7896"/>
                </a:lnTo>
                <a:lnTo>
                  <a:pt x="380058" y="8200"/>
                </a:lnTo>
                <a:lnTo>
                  <a:pt x="370236" y="8200"/>
                </a:lnTo>
                <a:lnTo>
                  <a:pt x="360415" y="8504"/>
                </a:lnTo>
                <a:lnTo>
                  <a:pt x="350594" y="8808"/>
                </a:lnTo>
                <a:lnTo>
                  <a:pt x="340772" y="9415"/>
                </a:lnTo>
                <a:lnTo>
                  <a:pt x="330951" y="10022"/>
                </a:lnTo>
                <a:lnTo>
                  <a:pt x="321129" y="10630"/>
                </a:lnTo>
                <a:lnTo>
                  <a:pt x="311308" y="11237"/>
                </a:lnTo>
                <a:lnTo>
                  <a:pt x="301487" y="12149"/>
                </a:lnTo>
                <a:lnTo>
                  <a:pt x="293153" y="13060"/>
                </a:lnTo>
                <a:lnTo>
                  <a:pt x="285118" y="13971"/>
                </a:lnTo>
                <a:lnTo>
                  <a:pt x="277677" y="15186"/>
                </a:lnTo>
                <a:lnTo>
                  <a:pt x="270237" y="16704"/>
                </a:lnTo>
                <a:lnTo>
                  <a:pt x="263094" y="18223"/>
                </a:lnTo>
                <a:lnTo>
                  <a:pt x="256546" y="20045"/>
                </a:lnTo>
                <a:lnTo>
                  <a:pt x="249999" y="21868"/>
                </a:lnTo>
                <a:lnTo>
                  <a:pt x="243749" y="23994"/>
                </a:lnTo>
                <a:lnTo>
                  <a:pt x="237499" y="26120"/>
                </a:lnTo>
                <a:lnTo>
                  <a:pt x="231546" y="28550"/>
                </a:lnTo>
                <a:lnTo>
                  <a:pt x="225892" y="30676"/>
                </a:lnTo>
                <a:lnTo>
                  <a:pt x="220237" y="33106"/>
                </a:lnTo>
                <a:lnTo>
                  <a:pt x="214582" y="35839"/>
                </a:lnTo>
                <a:lnTo>
                  <a:pt x="208927" y="38269"/>
                </a:lnTo>
                <a:lnTo>
                  <a:pt x="203570" y="40699"/>
                </a:lnTo>
                <a:lnTo>
                  <a:pt x="197916" y="43432"/>
                </a:lnTo>
                <a:lnTo>
                  <a:pt x="192261" y="45862"/>
                </a:lnTo>
                <a:lnTo>
                  <a:pt x="186606" y="48292"/>
                </a:lnTo>
                <a:lnTo>
                  <a:pt x="180951" y="51025"/>
                </a:lnTo>
                <a:lnTo>
                  <a:pt x="175297" y="53455"/>
                </a:lnTo>
                <a:lnTo>
                  <a:pt x="169344" y="55581"/>
                </a:lnTo>
                <a:lnTo>
                  <a:pt x="163392" y="58011"/>
                </a:lnTo>
                <a:lnTo>
                  <a:pt x="157142" y="60137"/>
                </a:lnTo>
                <a:lnTo>
                  <a:pt x="150594" y="62263"/>
                </a:lnTo>
                <a:lnTo>
                  <a:pt x="143749" y="64086"/>
                </a:lnTo>
                <a:lnTo>
                  <a:pt x="136904" y="65908"/>
                </a:lnTo>
                <a:lnTo>
                  <a:pt x="129761" y="67730"/>
                </a:lnTo>
                <a:lnTo>
                  <a:pt x="122023" y="69249"/>
                </a:lnTo>
                <a:lnTo>
                  <a:pt x="114285" y="70464"/>
                </a:lnTo>
                <a:lnTo>
                  <a:pt x="105952" y="71375"/>
                </a:lnTo>
                <a:lnTo>
                  <a:pt x="97321" y="72286"/>
                </a:lnTo>
                <a:lnTo>
                  <a:pt x="88094" y="72894"/>
                </a:lnTo>
                <a:lnTo>
                  <a:pt x="80356" y="74412"/>
                </a:lnTo>
                <a:lnTo>
                  <a:pt x="67856" y="80487"/>
                </a:lnTo>
                <a:lnTo>
                  <a:pt x="58928" y="91117"/>
                </a:lnTo>
                <a:lnTo>
                  <a:pt x="52976" y="106000"/>
                </a:lnTo>
                <a:lnTo>
                  <a:pt x="50595" y="114808"/>
                </a:lnTo>
                <a:lnTo>
                  <a:pt x="15476" y="314963"/>
                </a:lnTo>
                <a:lnTo>
                  <a:pt x="14285" y="318911"/>
                </a:lnTo>
                <a:lnTo>
                  <a:pt x="12202" y="322252"/>
                </a:lnTo>
                <a:lnTo>
                  <a:pt x="9523" y="325593"/>
                </a:lnTo>
                <a:lnTo>
                  <a:pt x="7142" y="328934"/>
                </a:lnTo>
                <a:lnTo>
                  <a:pt x="892" y="340476"/>
                </a:lnTo>
                <a:lnTo>
                  <a:pt x="0" y="722563"/>
                </a:lnTo>
                <a:lnTo>
                  <a:pt x="513093" y="740786"/>
                </a:lnTo>
                <a:close/>
              </a:path>
            </a:pathLst>
          </a:custGeom>
          <a:solidFill>
            <a:srgbClr val="FFFFFF"/>
          </a:solidFill>
        </p:spPr>
        <p:txBody>
          <a:bodyPr wrap="square" lIns="0" tIns="0" rIns="0" bIns="0" rtlCol="0">
            <a:noAutofit/>
          </a:bodyPr>
          <a:lstStyle/>
          <a:p>
            <a:endParaRPr/>
          </a:p>
        </p:txBody>
      </p:sp>
      <p:sp>
        <p:nvSpPr>
          <p:cNvPr id="628" name="object 628"/>
          <p:cNvSpPr/>
          <p:nvPr/>
        </p:nvSpPr>
        <p:spPr>
          <a:xfrm>
            <a:off x="8030465" y="1267617"/>
            <a:ext cx="514581" cy="21260"/>
          </a:xfrm>
          <a:custGeom>
            <a:avLst/>
            <a:gdLst/>
            <a:ahLst/>
            <a:cxnLst/>
            <a:rect l="l" t="t" r="r" b="b"/>
            <a:pathLst>
              <a:path w="514581" h="21260">
                <a:moveTo>
                  <a:pt x="513093" y="18223"/>
                </a:moveTo>
                <a:lnTo>
                  <a:pt x="0" y="0"/>
                </a:lnTo>
                <a:lnTo>
                  <a:pt x="0" y="3037"/>
                </a:lnTo>
                <a:lnTo>
                  <a:pt x="513093" y="21260"/>
                </a:lnTo>
                <a:lnTo>
                  <a:pt x="513986" y="20653"/>
                </a:lnTo>
                <a:lnTo>
                  <a:pt x="514581" y="19742"/>
                </a:lnTo>
                <a:lnTo>
                  <a:pt x="513986" y="18830"/>
                </a:lnTo>
                <a:lnTo>
                  <a:pt x="513093" y="18223"/>
                </a:lnTo>
                <a:close/>
              </a:path>
            </a:pathLst>
          </a:custGeom>
          <a:solidFill>
            <a:srgbClr val="000000"/>
          </a:solidFill>
        </p:spPr>
        <p:txBody>
          <a:bodyPr wrap="square" lIns="0" tIns="0" rIns="0" bIns="0" rtlCol="0">
            <a:noAutofit/>
          </a:bodyPr>
          <a:lstStyle/>
          <a:p>
            <a:endParaRPr/>
          </a:p>
        </p:txBody>
      </p:sp>
      <p:sp>
        <p:nvSpPr>
          <p:cNvPr id="629" name="object 629"/>
          <p:cNvSpPr/>
          <p:nvPr/>
        </p:nvSpPr>
        <p:spPr>
          <a:xfrm>
            <a:off x="8543558" y="1285841"/>
            <a:ext cx="36607" cy="3037"/>
          </a:xfrm>
          <a:custGeom>
            <a:avLst/>
            <a:gdLst/>
            <a:ahLst/>
            <a:cxnLst/>
            <a:rect l="l" t="t" r="r" b="b"/>
            <a:pathLst>
              <a:path w="36607" h="3037">
                <a:moveTo>
                  <a:pt x="35118" y="0"/>
                </a:moveTo>
                <a:lnTo>
                  <a:pt x="0" y="0"/>
                </a:lnTo>
                <a:lnTo>
                  <a:pt x="0" y="3037"/>
                </a:lnTo>
                <a:lnTo>
                  <a:pt x="35118" y="3037"/>
                </a:lnTo>
                <a:lnTo>
                  <a:pt x="36011" y="2429"/>
                </a:lnTo>
                <a:lnTo>
                  <a:pt x="36607" y="1518"/>
                </a:lnTo>
                <a:lnTo>
                  <a:pt x="36011" y="607"/>
                </a:lnTo>
                <a:lnTo>
                  <a:pt x="35118" y="0"/>
                </a:lnTo>
                <a:close/>
              </a:path>
            </a:pathLst>
          </a:custGeom>
          <a:solidFill>
            <a:srgbClr val="000000"/>
          </a:solidFill>
        </p:spPr>
        <p:txBody>
          <a:bodyPr wrap="square" lIns="0" tIns="0" rIns="0" bIns="0" rtlCol="0">
            <a:noAutofit/>
          </a:bodyPr>
          <a:lstStyle/>
          <a:p>
            <a:endParaRPr/>
          </a:p>
        </p:txBody>
      </p:sp>
      <p:sp>
        <p:nvSpPr>
          <p:cNvPr id="630" name="object 630"/>
          <p:cNvSpPr/>
          <p:nvPr/>
        </p:nvSpPr>
        <p:spPr>
          <a:xfrm>
            <a:off x="8578677" y="1172856"/>
            <a:ext cx="122321" cy="116023"/>
          </a:xfrm>
          <a:custGeom>
            <a:avLst/>
            <a:gdLst/>
            <a:ahLst/>
            <a:cxnLst/>
            <a:rect l="l" t="t" r="r" b="b"/>
            <a:pathLst>
              <a:path w="122321" h="116023">
                <a:moveTo>
                  <a:pt x="0" y="112985"/>
                </a:moveTo>
                <a:lnTo>
                  <a:pt x="0" y="116023"/>
                </a:lnTo>
                <a:lnTo>
                  <a:pt x="8035" y="114808"/>
                </a:lnTo>
                <a:lnTo>
                  <a:pt x="15178" y="110859"/>
                </a:lnTo>
                <a:lnTo>
                  <a:pt x="22321" y="105392"/>
                </a:lnTo>
                <a:lnTo>
                  <a:pt x="29166" y="97799"/>
                </a:lnTo>
                <a:lnTo>
                  <a:pt x="36011" y="89295"/>
                </a:lnTo>
                <a:lnTo>
                  <a:pt x="42559" y="79879"/>
                </a:lnTo>
                <a:lnTo>
                  <a:pt x="49404" y="69553"/>
                </a:lnTo>
                <a:lnTo>
                  <a:pt x="56249" y="59226"/>
                </a:lnTo>
                <a:lnTo>
                  <a:pt x="63392" y="48596"/>
                </a:lnTo>
                <a:lnTo>
                  <a:pt x="70535" y="38269"/>
                </a:lnTo>
                <a:lnTo>
                  <a:pt x="77975" y="28853"/>
                </a:lnTo>
                <a:lnTo>
                  <a:pt x="85714" y="20653"/>
                </a:lnTo>
                <a:lnTo>
                  <a:pt x="93749" y="13363"/>
                </a:lnTo>
                <a:lnTo>
                  <a:pt x="102380" y="7593"/>
                </a:lnTo>
                <a:lnTo>
                  <a:pt x="111309" y="4252"/>
                </a:lnTo>
                <a:lnTo>
                  <a:pt x="120832" y="3037"/>
                </a:lnTo>
                <a:lnTo>
                  <a:pt x="121725" y="2429"/>
                </a:lnTo>
                <a:lnTo>
                  <a:pt x="122321" y="1518"/>
                </a:lnTo>
                <a:lnTo>
                  <a:pt x="121725" y="607"/>
                </a:lnTo>
                <a:lnTo>
                  <a:pt x="120832" y="0"/>
                </a:lnTo>
                <a:lnTo>
                  <a:pt x="110713" y="1214"/>
                </a:lnTo>
                <a:lnTo>
                  <a:pt x="101190" y="5163"/>
                </a:lnTo>
                <a:lnTo>
                  <a:pt x="91964" y="10934"/>
                </a:lnTo>
                <a:lnTo>
                  <a:pt x="83928" y="18223"/>
                </a:lnTo>
                <a:lnTo>
                  <a:pt x="75595" y="27031"/>
                </a:lnTo>
                <a:lnTo>
                  <a:pt x="68154" y="36447"/>
                </a:lnTo>
                <a:lnTo>
                  <a:pt x="61011" y="46773"/>
                </a:lnTo>
                <a:lnTo>
                  <a:pt x="53868" y="57404"/>
                </a:lnTo>
                <a:lnTo>
                  <a:pt x="47023" y="67730"/>
                </a:lnTo>
                <a:lnTo>
                  <a:pt x="40178" y="78057"/>
                </a:lnTo>
                <a:lnTo>
                  <a:pt x="33630" y="87472"/>
                </a:lnTo>
                <a:lnTo>
                  <a:pt x="26785" y="95977"/>
                </a:lnTo>
                <a:lnTo>
                  <a:pt x="20535" y="102962"/>
                </a:lnTo>
                <a:lnTo>
                  <a:pt x="13392" y="108430"/>
                </a:lnTo>
                <a:lnTo>
                  <a:pt x="6845" y="111771"/>
                </a:lnTo>
                <a:lnTo>
                  <a:pt x="0" y="112985"/>
                </a:lnTo>
                <a:close/>
              </a:path>
            </a:pathLst>
          </a:custGeom>
          <a:solidFill>
            <a:srgbClr val="000000"/>
          </a:solidFill>
        </p:spPr>
        <p:txBody>
          <a:bodyPr wrap="square" lIns="0" tIns="0" rIns="0" bIns="0" rtlCol="0">
            <a:noAutofit/>
          </a:bodyPr>
          <a:lstStyle/>
          <a:p>
            <a:endParaRPr/>
          </a:p>
        </p:txBody>
      </p:sp>
      <p:sp>
        <p:nvSpPr>
          <p:cNvPr id="631" name="object 631"/>
          <p:cNvSpPr/>
          <p:nvPr/>
        </p:nvSpPr>
        <p:spPr>
          <a:xfrm>
            <a:off x="9006056" y="1131852"/>
            <a:ext cx="26488" cy="44040"/>
          </a:xfrm>
          <a:custGeom>
            <a:avLst/>
            <a:gdLst/>
            <a:ahLst/>
            <a:cxnLst/>
            <a:rect l="l" t="t" r="r" b="b"/>
            <a:pathLst>
              <a:path w="26488" h="44040">
                <a:moveTo>
                  <a:pt x="7142" y="43432"/>
                </a:moveTo>
                <a:lnTo>
                  <a:pt x="13095" y="41306"/>
                </a:lnTo>
                <a:lnTo>
                  <a:pt x="17559" y="37965"/>
                </a:lnTo>
                <a:lnTo>
                  <a:pt x="21428" y="33106"/>
                </a:lnTo>
                <a:lnTo>
                  <a:pt x="23809" y="27031"/>
                </a:lnTo>
                <a:lnTo>
                  <a:pt x="25297" y="19742"/>
                </a:lnTo>
                <a:lnTo>
                  <a:pt x="26190" y="11237"/>
                </a:lnTo>
                <a:lnTo>
                  <a:pt x="26488" y="1518"/>
                </a:lnTo>
                <a:lnTo>
                  <a:pt x="25892" y="607"/>
                </a:lnTo>
                <a:lnTo>
                  <a:pt x="24999" y="0"/>
                </a:lnTo>
                <a:lnTo>
                  <a:pt x="24107" y="607"/>
                </a:lnTo>
                <a:lnTo>
                  <a:pt x="23511" y="1518"/>
                </a:lnTo>
                <a:lnTo>
                  <a:pt x="23214" y="11237"/>
                </a:lnTo>
                <a:lnTo>
                  <a:pt x="22321" y="19134"/>
                </a:lnTo>
                <a:lnTo>
                  <a:pt x="20833" y="26424"/>
                </a:lnTo>
                <a:lnTo>
                  <a:pt x="19047" y="31891"/>
                </a:lnTo>
                <a:lnTo>
                  <a:pt x="15773" y="35535"/>
                </a:lnTo>
                <a:lnTo>
                  <a:pt x="11904" y="38876"/>
                </a:lnTo>
                <a:lnTo>
                  <a:pt x="6547" y="40395"/>
                </a:lnTo>
                <a:lnTo>
                  <a:pt x="0" y="41002"/>
                </a:lnTo>
                <a:lnTo>
                  <a:pt x="0" y="44040"/>
                </a:lnTo>
                <a:lnTo>
                  <a:pt x="7142" y="43432"/>
                </a:lnTo>
                <a:close/>
              </a:path>
            </a:pathLst>
          </a:custGeom>
          <a:solidFill>
            <a:srgbClr val="000000"/>
          </a:solidFill>
        </p:spPr>
        <p:txBody>
          <a:bodyPr wrap="square" lIns="0" tIns="0" rIns="0" bIns="0" rtlCol="0">
            <a:noAutofit/>
          </a:bodyPr>
          <a:lstStyle/>
          <a:p>
            <a:endParaRPr/>
          </a:p>
        </p:txBody>
      </p:sp>
      <p:sp>
        <p:nvSpPr>
          <p:cNvPr id="632" name="object 632"/>
          <p:cNvSpPr/>
          <p:nvPr/>
        </p:nvSpPr>
        <p:spPr>
          <a:xfrm>
            <a:off x="8994748" y="618860"/>
            <a:ext cx="37797" cy="75323"/>
          </a:xfrm>
          <a:custGeom>
            <a:avLst/>
            <a:gdLst/>
            <a:ahLst/>
            <a:cxnLst/>
            <a:rect l="l" t="t" r="r" b="b"/>
            <a:pathLst>
              <a:path w="37797" h="75323">
                <a:moveTo>
                  <a:pt x="0" y="1214"/>
                </a:moveTo>
                <a:lnTo>
                  <a:pt x="0" y="2429"/>
                </a:lnTo>
                <a:lnTo>
                  <a:pt x="892" y="3037"/>
                </a:lnTo>
                <a:lnTo>
                  <a:pt x="4464" y="3948"/>
                </a:lnTo>
                <a:lnTo>
                  <a:pt x="7738" y="5163"/>
                </a:lnTo>
                <a:lnTo>
                  <a:pt x="11011" y="6378"/>
                </a:lnTo>
                <a:lnTo>
                  <a:pt x="13988" y="8200"/>
                </a:lnTo>
                <a:lnTo>
                  <a:pt x="16964" y="10630"/>
                </a:lnTo>
                <a:lnTo>
                  <a:pt x="19642" y="13363"/>
                </a:lnTo>
                <a:lnTo>
                  <a:pt x="22321" y="16097"/>
                </a:lnTo>
                <a:lnTo>
                  <a:pt x="24702" y="19742"/>
                </a:lnTo>
                <a:lnTo>
                  <a:pt x="27083" y="23994"/>
                </a:lnTo>
                <a:lnTo>
                  <a:pt x="28868" y="28853"/>
                </a:lnTo>
                <a:lnTo>
                  <a:pt x="30357" y="34320"/>
                </a:lnTo>
                <a:lnTo>
                  <a:pt x="31845" y="40699"/>
                </a:lnTo>
                <a:lnTo>
                  <a:pt x="33035" y="48292"/>
                </a:lnTo>
                <a:lnTo>
                  <a:pt x="33928" y="56189"/>
                </a:lnTo>
                <a:lnTo>
                  <a:pt x="34523" y="65301"/>
                </a:lnTo>
                <a:lnTo>
                  <a:pt x="34821" y="75323"/>
                </a:lnTo>
                <a:lnTo>
                  <a:pt x="37797" y="75323"/>
                </a:lnTo>
                <a:lnTo>
                  <a:pt x="37499" y="65301"/>
                </a:lnTo>
                <a:lnTo>
                  <a:pt x="36904" y="56189"/>
                </a:lnTo>
                <a:lnTo>
                  <a:pt x="36011" y="47684"/>
                </a:lnTo>
                <a:lnTo>
                  <a:pt x="34821" y="40091"/>
                </a:lnTo>
                <a:lnTo>
                  <a:pt x="33333" y="33713"/>
                </a:lnTo>
                <a:lnTo>
                  <a:pt x="31845" y="27639"/>
                </a:lnTo>
                <a:lnTo>
                  <a:pt x="29464" y="22779"/>
                </a:lnTo>
                <a:lnTo>
                  <a:pt x="27083" y="17919"/>
                </a:lnTo>
                <a:lnTo>
                  <a:pt x="24702" y="14275"/>
                </a:lnTo>
                <a:lnTo>
                  <a:pt x="22023" y="10934"/>
                </a:lnTo>
                <a:lnTo>
                  <a:pt x="18749" y="8200"/>
                </a:lnTo>
                <a:lnTo>
                  <a:pt x="15773" y="5770"/>
                </a:lnTo>
                <a:lnTo>
                  <a:pt x="12202" y="3948"/>
                </a:lnTo>
                <a:lnTo>
                  <a:pt x="8928" y="2126"/>
                </a:lnTo>
                <a:lnTo>
                  <a:pt x="5059" y="911"/>
                </a:lnTo>
                <a:lnTo>
                  <a:pt x="1488" y="0"/>
                </a:lnTo>
                <a:lnTo>
                  <a:pt x="297" y="303"/>
                </a:lnTo>
                <a:lnTo>
                  <a:pt x="0" y="1214"/>
                </a:lnTo>
                <a:close/>
              </a:path>
            </a:pathLst>
          </a:custGeom>
          <a:solidFill>
            <a:srgbClr val="000000"/>
          </a:solidFill>
        </p:spPr>
        <p:txBody>
          <a:bodyPr wrap="square" lIns="0" tIns="0" rIns="0" bIns="0" rtlCol="0">
            <a:noAutofit/>
          </a:bodyPr>
          <a:lstStyle/>
          <a:p>
            <a:endParaRPr/>
          </a:p>
        </p:txBody>
      </p:sp>
      <p:sp>
        <p:nvSpPr>
          <p:cNvPr id="633" name="object 633"/>
          <p:cNvSpPr/>
          <p:nvPr/>
        </p:nvSpPr>
        <p:spPr>
          <a:xfrm>
            <a:off x="8683140" y="546876"/>
            <a:ext cx="313094" cy="75020"/>
          </a:xfrm>
          <a:custGeom>
            <a:avLst/>
            <a:gdLst/>
            <a:ahLst/>
            <a:cxnLst/>
            <a:rect l="l" t="t" r="r" b="b"/>
            <a:pathLst>
              <a:path w="313094" h="75020">
                <a:moveTo>
                  <a:pt x="892" y="3037"/>
                </a:moveTo>
                <a:lnTo>
                  <a:pt x="312499" y="75020"/>
                </a:lnTo>
                <a:lnTo>
                  <a:pt x="313094" y="71982"/>
                </a:lnTo>
                <a:lnTo>
                  <a:pt x="1488" y="0"/>
                </a:lnTo>
                <a:lnTo>
                  <a:pt x="297" y="303"/>
                </a:lnTo>
                <a:lnTo>
                  <a:pt x="0" y="1214"/>
                </a:lnTo>
                <a:lnTo>
                  <a:pt x="0" y="2429"/>
                </a:lnTo>
                <a:lnTo>
                  <a:pt x="892" y="3037"/>
                </a:lnTo>
                <a:close/>
              </a:path>
            </a:pathLst>
          </a:custGeom>
          <a:solidFill>
            <a:srgbClr val="000000"/>
          </a:solidFill>
        </p:spPr>
        <p:txBody>
          <a:bodyPr wrap="square" lIns="0" tIns="0" rIns="0" bIns="0" rtlCol="0">
            <a:noAutofit/>
          </a:bodyPr>
          <a:lstStyle/>
          <a:p>
            <a:endParaRPr/>
          </a:p>
        </p:txBody>
      </p:sp>
      <p:sp>
        <p:nvSpPr>
          <p:cNvPr id="634" name="object 634"/>
          <p:cNvSpPr/>
          <p:nvPr/>
        </p:nvSpPr>
        <p:spPr>
          <a:xfrm>
            <a:off x="8640880" y="545055"/>
            <a:ext cx="43749" cy="4859"/>
          </a:xfrm>
          <a:custGeom>
            <a:avLst/>
            <a:gdLst/>
            <a:ahLst/>
            <a:cxnLst/>
            <a:rect l="l" t="t" r="r" b="b"/>
            <a:pathLst>
              <a:path w="43749" h="4859">
                <a:moveTo>
                  <a:pt x="0" y="2429"/>
                </a:moveTo>
                <a:lnTo>
                  <a:pt x="297" y="3340"/>
                </a:lnTo>
                <a:lnTo>
                  <a:pt x="1190" y="3948"/>
                </a:lnTo>
                <a:lnTo>
                  <a:pt x="6845" y="3340"/>
                </a:lnTo>
                <a:lnTo>
                  <a:pt x="12499" y="3037"/>
                </a:lnTo>
                <a:lnTo>
                  <a:pt x="27976" y="3037"/>
                </a:lnTo>
                <a:lnTo>
                  <a:pt x="33035" y="3340"/>
                </a:lnTo>
                <a:lnTo>
                  <a:pt x="38095" y="3948"/>
                </a:lnTo>
                <a:lnTo>
                  <a:pt x="43154" y="4859"/>
                </a:lnTo>
                <a:lnTo>
                  <a:pt x="43749" y="1822"/>
                </a:lnTo>
                <a:lnTo>
                  <a:pt x="38690" y="911"/>
                </a:lnTo>
                <a:lnTo>
                  <a:pt x="33035" y="303"/>
                </a:lnTo>
                <a:lnTo>
                  <a:pt x="27976" y="0"/>
                </a:lnTo>
                <a:lnTo>
                  <a:pt x="12499" y="0"/>
                </a:lnTo>
                <a:lnTo>
                  <a:pt x="6845" y="303"/>
                </a:lnTo>
                <a:lnTo>
                  <a:pt x="1190" y="911"/>
                </a:lnTo>
                <a:lnTo>
                  <a:pt x="297" y="1518"/>
                </a:lnTo>
                <a:lnTo>
                  <a:pt x="0" y="2429"/>
                </a:lnTo>
                <a:close/>
              </a:path>
            </a:pathLst>
          </a:custGeom>
          <a:solidFill>
            <a:srgbClr val="000000"/>
          </a:solidFill>
        </p:spPr>
        <p:txBody>
          <a:bodyPr wrap="square" lIns="0" tIns="0" rIns="0" bIns="0" rtlCol="0">
            <a:noAutofit/>
          </a:bodyPr>
          <a:lstStyle/>
          <a:p>
            <a:endParaRPr/>
          </a:p>
        </p:txBody>
      </p:sp>
      <p:sp>
        <p:nvSpPr>
          <p:cNvPr id="635" name="object 635"/>
          <p:cNvSpPr/>
          <p:nvPr/>
        </p:nvSpPr>
        <p:spPr>
          <a:xfrm>
            <a:off x="8330760" y="545966"/>
            <a:ext cx="311606" cy="14275"/>
          </a:xfrm>
          <a:custGeom>
            <a:avLst/>
            <a:gdLst/>
            <a:ahLst/>
            <a:cxnLst/>
            <a:rect l="l" t="t" r="r" b="b"/>
            <a:pathLst>
              <a:path w="311606" h="14275">
                <a:moveTo>
                  <a:pt x="311606" y="3037"/>
                </a:moveTo>
                <a:lnTo>
                  <a:pt x="311010" y="0"/>
                </a:lnTo>
                <a:lnTo>
                  <a:pt x="301487" y="1214"/>
                </a:lnTo>
                <a:lnTo>
                  <a:pt x="291963" y="2126"/>
                </a:lnTo>
                <a:lnTo>
                  <a:pt x="282737" y="3340"/>
                </a:lnTo>
                <a:lnTo>
                  <a:pt x="273213" y="3948"/>
                </a:lnTo>
                <a:lnTo>
                  <a:pt x="263392" y="4555"/>
                </a:lnTo>
                <a:lnTo>
                  <a:pt x="253868" y="5163"/>
                </a:lnTo>
                <a:lnTo>
                  <a:pt x="244344" y="5770"/>
                </a:lnTo>
                <a:lnTo>
                  <a:pt x="234820" y="6074"/>
                </a:lnTo>
                <a:lnTo>
                  <a:pt x="224999" y="6378"/>
                </a:lnTo>
                <a:lnTo>
                  <a:pt x="215475" y="6681"/>
                </a:lnTo>
                <a:lnTo>
                  <a:pt x="205951" y="6681"/>
                </a:lnTo>
                <a:lnTo>
                  <a:pt x="196130" y="6985"/>
                </a:lnTo>
                <a:lnTo>
                  <a:pt x="89583" y="6985"/>
                </a:lnTo>
                <a:lnTo>
                  <a:pt x="79761" y="7289"/>
                </a:lnTo>
                <a:lnTo>
                  <a:pt x="69940" y="7289"/>
                </a:lnTo>
                <a:lnTo>
                  <a:pt x="60118" y="7593"/>
                </a:lnTo>
                <a:lnTo>
                  <a:pt x="50297" y="7896"/>
                </a:lnTo>
                <a:lnTo>
                  <a:pt x="40476" y="8504"/>
                </a:lnTo>
                <a:lnTo>
                  <a:pt x="30654" y="9111"/>
                </a:lnTo>
                <a:lnTo>
                  <a:pt x="20833" y="9719"/>
                </a:lnTo>
                <a:lnTo>
                  <a:pt x="11011" y="10326"/>
                </a:lnTo>
                <a:lnTo>
                  <a:pt x="1190" y="11237"/>
                </a:lnTo>
                <a:lnTo>
                  <a:pt x="297" y="11845"/>
                </a:lnTo>
                <a:lnTo>
                  <a:pt x="0" y="12756"/>
                </a:lnTo>
                <a:lnTo>
                  <a:pt x="297" y="13667"/>
                </a:lnTo>
                <a:lnTo>
                  <a:pt x="1190" y="14275"/>
                </a:lnTo>
                <a:lnTo>
                  <a:pt x="11011" y="13363"/>
                </a:lnTo>
                <a:lnTo>
                  <a:pt x="20833" y="12756"/>
                </a:lnTo>
                <a:lnTo>
                  <a:pt x="30654" y="12149"/>
                </a:lnTo>
                <a:lnTo>
                  <a:pt x="40476" y="11541"/>
                </a:lnTo>
                <a:lnTo>
                  <a:pt x="50297" y="10934"/>
                </a:lnTo>
                <a:lnTo>
                  <a:pt x="60118" y="10630"/>
                </a:lnTo>
                <a:lnTo>
                  <a:pt x="69940" y="10326"/>
                </a:lnTo>
                <a:lnTo>
                  <a:pt x="79761" y="10326"/>
                </a:lnTo>
                <a:lnTo>
                  <a:pt x="89583" y="10022"/>
                </a:lnTo>
                <a:lnTo>
                  <a:pt x="196130" y="10022"/>
                </a:lnTo>
                <a:lnTo>
                  <a:pt x="205951" y="9719"/>
                </a:lnTo>
                <a:lnTo>
                  <a:pt x="215475" y="9719"/>
                </a:lnTo>
                <a:lnTo>
                  <a:pt x="224999" y="9415"/>
                </a:lnTo>
                <a:lnTo>
                  <a:pt x="234820" y="9111"/>
                </a:lnTo>
                <a:lnTo>
                  <a:pt x="244344" y="8808"/>
                </a:lnTo>
                <a:lnTo>
                  <a:pt x="253868" y="8200"/>
                </a:lnTo>
                <a:lnTo>
                  <a:pt x="263392" y="7593"/>
                </a:lnTo>
                <a:lnTo>
                  <a:pt x="273213" y="6985"/>
                </a:lnTo>
                <a:lnTo>
                  <a:pt x="282737" y="6378"/>
                </a:lnTo>
                <a:lnTo>
                  <a:pt x="292558" y="5163"/>
                </a:lnTo>
                <a:lnTo>
                  <a:pt x="302082" y="4252"/>
                </a:lnTo>
                <a:lnTo>
                  <a:pt x="311606" y="3037"/>
                </a:lnTo>
                <a:close/>
              </a:path>
            </a:pathLst>
          </a:custGeom>
          <a:solidFill>
            <a:srgbClr val="000000"/>
          </a:solidFill>
        </p:spPr>
        <p:txBody>
          <a:bodyPr wrap="square" lIns="0" tIns="0" rIns="0" bIns="0" rtlCol="0">
            <a:noAutofit/>
          </a:bodyPr>
          <a:lstStyle/>
          <a:p>
            <a:endParaRPr/>
          </a:p>
        </p:txBody>
      </p:sp>
      <p:sp>
        <p:nvSpPr>
          <p:cNvPr id="636" name="object 636"/>
          <p:cNvSpPr/>
          <p:nvPr/>
        </p:nvSpPr>
        <p:spPr>
          <a:xfrm>
            <a:off x="8117368" y="557203"/>
            <a:ext cx="214582" cy="63782"/>
          </a:xfrm>
          <a:custGeom>
            <a:avLst/>
            <a:gdLst/>
            <a:ahLst/>
            <a:cxnLst/>
            <a:rect l="l" t="t" r="r" b="b"/>
            <a:pathLst>
              <a:path w="214582" h="63782">
                <a:moveTo>
                  <a:pt x="214582" y="3037"/>
                </a:moveTo>
                <a:lnTo>
                  <a:pt x="214582" y="0"/>
                </a:lnTo>
                <a:lnTo>
                  <a:pt x="205951" y="911"/>
                </a:lnTo>
                <a:lnTo>
                  <a:pt x="197916" y="1822"/>
                </a:lnTo>
                <a:lnTo>
                  <a:pt x="190475" y="3037"/>
                </a:lnTo>
                <a:lnTo>
                  <a:pt x="183035" y="4555"/>
                </a:lnTo>
                <a:lnTo>
                  <a:pt x="175892" y="6074"/>
                </a:lnTo>
                <a:lnTo>
                  <a:pt x="169344" y="7896"/>
                </a:lnTo>
                <a:lnTo>
                  <a:pt x="162797" y="9719"/>
                </a:lnTo>
                <a:lnTo>
                  <a:pt x="156249" y="11845"/>
                </a:lnTo>
                <a:lnTo>
                  <a:pt x="149999" y="13971"/>
                </a:lnTo>
                <a:lnTo>
                  <a:pt x="144047" y="16401"/>
                </a:lnTo>
                <a:lnTo>
                  <a:pt x="138392" y="18527"/>
                </a:lnTo>
                <a:lnTo>
                  <a:pt x="132737" y="20957"/>
                </a:lnTo>
                <a:lnTo>
                  <a:pt x="127082" y="23690"/>
                </a:lnTo>
                <a:lnTo>
                  <a:pt x="121428" y="26120"/>
                </a:lnTo>
                <a:lnTo>
                  <a:pt x="116071" y="28550"/>
                </a:lnTo>
                <a:lnTo>
                  <a:pt x="110416" y="31283"/>
                </a:lnTo>
                <a:lnTo>
                  <a:pt x="104761" y="33713"/>
                </a:lnTo>
                <a:lnTo>
                  <a:pt x="99106" y="36143"/>
                </a:lnTo>
                <a:lnTo>
                  <a:pt x="93452" y="38876"/>
                </a:lnTo>
                <a:lnTo>
                  <a:pt x="87797" y="41306"/>
                </a:lnTo>
                <a:lnTo>
                  <a:pt x="81844" y="43432"/>
                </a:lnTo>
                <a:lnTo>
                  <a:pt x="75892" y="45862"/>
                </a:lnTo>
                <a:lnTo>
                  <a:pt x="69642" y="47988"/>
                </a:lnTo>
                <a:lnTo>
                  <a:pt x="63392" y="50114"/>
                </a:lnTo>
                <a:lnTo>
                  <a:pt x="56547" y="51937"/>
                </a:lnTo>
                <a:lnTo>
                  <a:pt x="49702" y="53759"/>
                </a:lnTo>
                <a:lnTo>
                  <a:pt x="42559" y="55581"/>
                </a:lnTo>
                <a:lnTo>
                  <a:pt x="34821" y="57100"/>
                </a:lnTo>
                <a:lnTo>
                  <a:pt x="27083" y="58315"/>
                </a:lnTo>
                <a:lnTo>
                  <a:pt x="18749" y="59226"/>
                </a:lnTo>
                <a:lnTo>
                  <a:pt x="10416" y="60137"/>
                </a:lnTo>
                <a:lnTo>
                  <a:pt x="1190" y="60745"/>
                </a:lnTo>
                <a:lnTo>
                  <a:pt x="297" y="61352"/>
                </a:lnTo>
                <a:lnTo>
                  <a:pt x="0" y="62263"/>
                </a:lnTo>
                <a:lnTo>
                  <a:pt x="297" y="63174"/>
                </a:lnTo>
                <a:lnTo>
                  <a:pt x="1190" y="63782"/>
                </a:lnTo>
                <a:lnTo>
                  <a:pt x="10416" y="63174"/>
                </a:lnTo>
                <a:lnTo>
                  <a:pt x="19345" y="62263"/>
                </a:lnTo>
                <a:lnTo>
                  <a:pt x="27678" y="61352"/>
                </a:lnTo>
                <a:lnTo>
                  <a:pt x="35416" y="60137"/>
                </a:lnTo>
                <a:lnTo>
                  <a:pt x="43154" y="58619"/>
                </a:lnTo>
                <a:lnTo>
                  <a:pt x="50297" y="56796"/>
                </a:lnTo>
                <a:lnTo>
                  <a:pt x="57142" y="54974"/>
                </a:lnTo>
                <a:lnTo>
                  <a:pt x="63987" y="53151"/>
                </a:lnTo>
                <a:lnTo>
                  <a:pt x="70833" y="51025"/>
                </a:lnTo>
                <a:lnTo>
                  <a:pt x="77083" y="48899"/>
                </a:lnTo>
                <a:lnTo>
                  <a:pt x="83035" y="46470"/>
                </a:lnTo>
                <a:lnTo>
                  <a:pt x="88987" y="44343"/>
                </a:lnTo>
                <a:lnTo>
                  <a:pt x="94642" y="41914"/>
                </a:lnTo>
                <a:lnTo>
                  <a:pt x="100297" y="39180"/>
                </a:lnTo>
                <a:lnTo>
                  <a:pt x="105952" y="36750"/>
                </a:lnTo>
                <a:lnTo>
                  <a:pt x="111606" y="34320"/>
                </a:lnTo>
                <a:lnTo>
                  <a:pt x="117261" y="31587"/>
                </a:lnTo>
                <a:lnTo>
                  <a:pt x="122618" y="29157"/>
                </a:lnTo>
                <a:lnTo>
                  <a:pt x="128273" y="26727"/>
                </a:lnTo>
                <a:lnTo>
                  <a:pt x="133928" y="23994"/>
                </a:lnTo>
                <a:lnTo>
                  <a:pt x="139582" y="21564"/>
                </a:lnTo>
                <a:lnTo>
                  <a:pt x="145237" y="19438"/>
                </a:lnTo>
                <a:lnTo>
                  <a:pt x="151190" y="17008"/>
                </a:lnTo>
                <a:lnTo>
                  <a:pt x="157440" y="14882"/>
                </a:lnTo>
                <a:lnTo>
                  <a:pt x="163392" y="12756"/>
                </a:lnTo>
                <a:lnTo>
                  <a:pt x="169939" y="10934"/>
                </a:lnTo>
                <a:lnTo>
                  <a:pt x="176487" y="9111"/>
                </a:lnTo>
                <a:lnTo>
                  <a:pt x="183630" y="7593"/>
                </a:lnTo>
                <a:lnTo>
                  <a:pt x="191070" y="6074"/>
                </a:lnTo>
                <a:lnTo>
                  <a:pt x="198511" y="4859"/>
                </a:lnTo>
                <a:lnTo>
                  <a:pt x="206546" y="3948"/>
                </a:lnTo>
                <a:lnTo>
                  <a:pt x="214582" y="3037"/>
                </a:lnTo>
                <a:close/>
              </a:path>
            </a:pathLst>
          </a:custGeom>
          <a:solidFill>
            <a:srgbClr val="000000"/>
          </a:solidFill>
        </p:spPr>
        <p:txBody>
          <a:bodyPr wrap="square" lIns="0" tIns="0" rIns="0" bIns="0" rtlCol="0">
            <a:noAutofit/>
          </a:bodyPr>
          <a:lstStyle/>
          <a:p>
            <a:endParaRPr/>
          </a:p>
        </p:txBody>
      </p:sp>
      <p:sp>
        <p:nvSpPr>
          <p:cNvPr id="637" name="object 637"/>
          <p:cNvSpPr/>
          <p:nvPr/>
        </p:nvSpPr>
        <p:spPr>
          <a:xfrm>
            <a:off x="8079572" y="617949"/>
            <a:ext cx="38987" cy="44647"/>
          </a:xfrm>
          <a:custGeom>
            <a:avLst/>
            <a:gdLst/>
            <a:ahLst/>
            <a:cxnLst/>
            <a:rect l="l" t="t" r="r" b="b"/>
            <a:pathLst>
              <a:path w="38987" h="44647">
                <a:moveTo>
                  <a:pt x="2380" y="34320"/>
                </a:moveTo>
                <a:lnTo>
                  <a:pt x="0" y="43129"/>
                </a:lnTo>
                <a:lnTo>
                  <a:pt x="297" y="44343"/>
                </a:lnTo>
                <a:lnTo>
                  <a:pt x="1190" y="44647"/>
                </a:lnTo>
                <a:lnTo>
                  <a:pt x="2380" y="44647"/>
                </a:lnTo>
                <a:lnTo>
                  <a:pt x="2976" y="43736"/>
                </a:lnTo>
                <a:lnTo>
                  <a:pt x="5357" y="34928"/>
                </a:lnTo>
                <a:lnTo>
                  <a:pt x="8035" y="27335"/>
                </a:lnTo>
                <a:lnTo>
                  <a:pt x="11011" y="20653"/>
                </a:lnTo>
                <a:lnTo>
                  <a:pt x="15178" y="14882"/>
                </a:lnTo>
                <a:lnTo>
                  <a:pt x="19642" y="10326"/>
                </a:lnTo>
                <a:lnTo>
                  <a:pt x="24999" y="6985"/>
                </a:lnTo>
                <a:lnTo>
                  <a:pt x="31547" y="4555"/>
                </a:lnTo>
                <a:lnTo>
                  <a:pt x="38987" y="3037"/>
                </a:lnTo>
                <a:lnTo>
                  <a:pt x="38987" y="0"/>
                </a:lnTo>
                <a:lnTo>
                  <a:pt x="30952" y="1518"/>
                </a:lnTo>
                <a:lnTo>
                  <a:pt x="23809" y="3948"/>
                </a:lnTo>
                <a:lnTo>
                  <a:pt x="17857" y="7896"/>
                </a:lnTo>
                <a:lnTo>
                  <a:pt x="12797" y="13060"/>
                </a:lnTo>
                <a:lnTo>
                  <a:pt x="8630" y="18830"/>
                </a:lnTo>
                <a:lnTo>
                  <a:pt x="5059" y="26120"/>
                </a:lnTo>
                <a:lnTo>
                  <a:pt x="2380" y="34320"/>
                </a:lnTo>
                <a:close/>
              </a:path>
            </a:pathLst>
          </a:custGeom>
          <a:solidFill>
            <a:srgbClr val="000000"/>
          </a:solidFill>
        </p:spPr>
        <p:txBody>
          <a:bodyPr wrap="square" lIns="0" tIns="0" rIns="0" bIns="0" rtlCol="0">
            <a:noAutofit/>
          </a:bodyPr>
          <a:lstStyle/>
          <a:p>
            <a:endParaRPr/>
          </a:p>
        </p:txBody>
      </p:sp>
      <p:sp>
        <p:nvSpPr>
          <p:cNvPr id="638" name="object 638"/>
          <p:cNvSpPr/>
          <p:nvPr/>
        </p:nvSpPr>
        <p:spPr>
          <a:xfrm>
            <a:off x="8044453" y="661078"/>
            <a:ext cx="38095" cy="201673"/>
          </a:xfrm>
          <a:custGeom>
            <a:avLst/>
            <a:gdLst/>
            <a:ahLst/>
            <a:cxnLst/>
            <a:rect l="l" t="t" r="r" b="b"/>
            <a:pathLst>
              <a:path w="38095" h="201673">
                <a:moveTo>
                  <a:pt x="2976" y="200762"/>
                </a:moveTo>
                <a:lnTo>
                  <a:pt x="38095" y="607"/>
                </a:lnTo>
                <a:lnTo>
                  <a:pt x="35118" y="0"/>
                </a:lnTo>
                <a:lnTo>
                  <a:pt x="0" y="200155"/>
                </a:lnTo>
                <a:lnTo>
                  <a:pt x="297" y="201370"/>
                </a:lnTo>
                <a:lnTo>
                  <a:pt x="1190" y="201673"/>
                </a:lnTo>
                <a:lnTo>
                  <a:pt x="2380" y="201673"/>
                </a:lnTo>
                <a:lnTo>
                  <a:pt x="2976" y="200762"/>
                </a:lnTo>
                <a:close/>
              </a:path>
            </a:pathLst>
          </a:custGeom>
          <a:solidFill>
            <a:srgbClr val="000000"/>
          </a:solidFill>
        </p:spPr>
        <p:txBody>
          <a:bodyPr wrap="square" lIns="0" tIns="0" rIns="0" bIns="0" rtlCol="0">
            <a:noAutofit/>
          </a:bodyPr>
          <a:lstStyle/>
          <a:p>
            <a:endParaRPr/>
          </a:p>
        </p:txBody>
      </p:sp>
      <p:sp>
        <p:nvSpPr>
          <p:cNvPr id="639" name="object 639"/>
          <p:cNvSpPr/>
          <p:nvPr/>
        </p:nvSpPr>
        <p:spPr>
          <a:xfrm>
            <a:off x="8029273" y="861232"/>
            <a:ext cx="18154" cy="32194"/>
          </a:xfrm>
          <a:custGeom>
            <a:avLst/>
            <a:gdLst/>
            <a:ahLst/>
            <a:cxnLst/>
            <a:rect l="l" t="t" r="r" b="b"/>
            <a:pathLst>
              <a:path w="18154" h="32194">
                <a:moveTo>
                  <a:pt x="4464" y="16704"/>
                </a:moveTo>
                <a:lnTo>
                  <a:pt x="2083" y="20957"/>
                </a:lnTo>
                <a:lnTo>
                  <a:pt x="595" y="25512"/>
                </a:lnTo>
                <a:lnTo>
                  <a:pt x="0" y="30980"/>
                </a:lnTo>
                <a:lnTo>
                  <a:pt x="595" y="31891"/>
                </a:lnTo>
                <a:lnTo>
                  <a:pt x="1488" y="32194"/>
                </a:lnTo>
                <a:lnTo>
                  <a:pt x="2380" y="31891"/>
                </a:lnTo>
                <a:lnTo>
                  <a:pt x="2976" y="30980"/>
                </a:lnTo>
                <a:lnTo>
                  <a:pt x="3571" y="26120"/>
                </a:lnTo>
                <a:lnTo>
                  <a:pt x="5059" y="22171"/>
                </a:lnTo>
                <a:lnTo>
                  <a:pt x="6845" y="18527"/>
                </a:lnTo>
                <a:lnTo>
                  <a:pt x="9523" y="15186"/>
                </a:lnTo>
                <a:lnTo>
                  <a:pt x="11904" y="11845"/>
                </a:lnTo>
                <a:lnTo>
                  <a:pt x="14583" y="8504"/>
                </a:lnTo>
                <a:lnTo>
                  <a:pt x="16964" y="4859"/>
                </a:lnTo>
                <a:lnTo>
                  <a:pt x="18154" y="607"/>
                </a:lnTo>
                <a:lnTo>
                  <a:pt x="15178" y="0"/>
                </a:lnTo>
                <a:lnTo>
                  <a:pt x="13988" y="3644"/>
                </a:lnTo>
                <a:lnTo>
                  <a:pt x="12202" y="6681"/>
                </a:lnTo>
                <a:lnTo>
                  <a:pt x="9523" y="10022"/>
                </a:lnTo>
                <a:lnTo>
                  <a:pt x="7142" y="13363"/>
                </a:lnTo>
                <a:lnTo>
                  <a:pt x="4464" y="16704"/>
                </a:lnTo>
                <a:close/>
              </a:path>
            </a:pathLst>
          </a:custGeom>
          <a:solidFill>
            <a:srgbClr val="000000"/>
          </a:solidFill>
        </p:spPr>
        <p:txBody>
          <a:bodyPr wrap="square" lIns="0" tIns="0" rIns="0" bIns="0" rtlCol="0">
            <a:noAutofit/>
          </a:bodyPr>
          <a:lstStyle/>
          <a:p>
            <a:endParaRPr/>
          </a:p>
        </p:txBody>
      </p:sp>
      <p:sp>
        <p:nvSpPr>
          <p:cNvPr id="640" name="object 640"/>
          <p:cNvSpPr/>
          <p:nvPr/>
        </p:nvSpPr>
        <p:spPr>
          <a:xfrm>
            <a:off x="8030166" y="550521"/>
            <a:ext cx="602974" cy="736838"/>
          </a:xfrm>
          <a:custGeom>
            <a:avLst/>
            <a:gdLst/>
            <a:ahLst/>
            <a:cxnLst/>
            <a:rect l="l" t="t" r="r" b="b"/>
            <a:pathLst>
              <a:path w="602974" h="736838">
                <a:moveTo>
                  <a:pt x="568748" y="294310"/>
                </a:moveTo>
                <a:lnTo>
                  <a:pt x="563986" y="275782"/>
                </a:lnTo>
                <a:lnTo>
                  <a:pt x="599998" y="53151"/>
                </a:lnTo>
                <a:lnTo>
                  <a:pt x="600891" y="47684"/>
                </a:lnTo>
                <a:lnTo>
                  <a:pt x="601783" y="42521"/>
                </a:lnTo>
                <a:lnTo>
                  <a:pt x="602379" y="37661"/>
                </a:lnTo>
                <a:lnTo>
                  <a:pt x="602676" y="32498"/>
                </a:lnTo>
                <a:lnTo>
                  <a:pt x="602974" y="27942"/>
                </a:lnTo>
                <a:lnTo>
                  <a:pt x="602974" y="19134"/>
                </a:lnTo>
                <a:lnTo>
                  <a:pt x="602676" y="15490"/>
                </a:lnTo>
                <a:lnTo>
                  <a:pt x="602081" y="11845"/>
                </a:lnTo>
                <a:lnTo>
                  <a:pt x="601486" y="8808"/>
                </a:lnTo>
                <a:lnTo>
                  <a:pt x="600593" y="6074"/>
                </a:lnTo>
                <a:lnTo>
                  <a:pt x="599105" y="3644"/>
                </a:lnTo>
                <a:lnTo>
                  <a:pt x="597617" y="2126"/>
                </a:lnTo>
                <a:lnTo>
                  <a:pt x="595831" y="911"/>
                </a:lnTo>
                <a:lnTo>
                  <a:pt x="593748" y="0"/>
                </a:lnTo>
                <a:lnTo>
                  <a:pt x="591367" y="0"/>
                </a:lnTo>
                <a:lnTo>
                  <a:pt x="582736" y="911"/>
                </a:lnTo>
                <a:lnTo>
                  <a:pt x="574105" y="1518"/>
                </a:lnTo>
                <a:lnTo>
                  <a:pt x="565474" y="2126"/>
                </a:lnTo>
                <a:lnTo>
                  <a:pt x="556545" y="2429"/>
                </a:lnTo>
                <a:lnTo>
                  <a:pt x="547319" y="2733"/>
                </a:lnTo>
                <a:lnTo>
                  <a:pt x="538093" y="3037"/>
                </a:lnTo>
                <a:lnTo>
                  <a:pt x="528867" y="3340"/>
                </a:lnTo>
                <a:lnTo>
                  <a:pt x="519343" y="3644"/>
                </a:lnTo>
                <a:lnTo>
                  <a:pt x="509819" y="3644"/>
                </a:lnTo>
                <a:lnTo>
                  <a:pt x="499998" y="3948"/>
                </a:lnTo>
                <a:lnTo>
                  <a:pt x="410117" y="3948"/>
                </a:lnTo>
                <a:lnTo>
                  <a:pt x="399701" y="4252"/>
                </a:lnTo>
                <a:lnTo>
                  <a:pt x="389582" y="4252"/>
                </a:lnTo>
                <a:lnTo>
                  <a:pt x="379463" y="4555"/>
                </a:lnTo>
                <a:lnTo>
                  <a:pt x="369046" y="4555"/>
                </a:lnTo>
                <a:lnTo>
                  <a:pt x="358927" y="4859"/>
                </a:lnTo>
                <a:lnTo>
                  <a:pt x="348808" y="5467"/>
                </a:lnTo>
                <a:lnTo>
                  <a:pt x="338689" y="5770"/>
                </a:lnTo>
                <a:lnTo>
                  <a:pt x="328570" y="6378"/>
                </a:lnTo>
                <a:lnTo>
                  <a:pt x="318451" y="6985"/>
                </a:lnTo>
                <a:lnTo>
                  <a:pt x="308630" y="7593"/>
                </a:lnTo>
                <a:lnTo>
                  <a:pt x="298511" y="8504"/>
                </a:lnTo>
                <a:lnTo>
                  <a:pt x="288689" y="9415"/>
                </a:lnTo>
                <a:lnTo>
                  <a:pt x="278868" y="10630"/>
                </a:lnTo>
                <a:lnTo>
                  <a:pt x="266963" y="13060"/>
                </a:lnTo>
                <a:lnTo>
                  <a:pt x="255653" y="16401"/>
                </a:lnTo>
                <a:lnTo>
                  <a:pt x="244642" y="20045"/>
                </a:lnTo>
                <a:lnTo>
                  <a:pt x="233927" y="23994"/>
                </a:lnTo>
                <a:lnTo>
                  <a:pt x="223213" y="28246"/>
                </a:lnTo>
                <a:lnTo>
                  <a:pt x="212796" y="32802"/>
                </a:lnTo>
                <a:lnTo>
                  <a:pt x="202380" y="37661"/>
                </a:lnTo>
                <a:lnTo>
                  <a:pt x="191963" y="42217"/>
                </a:lnTo>
                <a:lnTo>
                  <a:pt x="180951" y="46773"/>
                </a:lnTo>
                <a:lnTo>
                  <a:pt x="169939" y="51329"/>
                </a:lnTo>
                <a:lnTo>
                  <a:pt x="158630" y="55581"/>
                </a:lnTo>
                <a:lnTo>
                  <a:pt x="146725" y="59226"/>
                </a:lnTo>
                <a:lnTo>
                  <a:pt x="134225" y="62567"/>
                </a:lnTo>
                <a:lnTo>
                  <a:pt x="121130" y="65301"/>
                </a:lnTo>
                <a:lnTo>
                  <a:pt x="107142" y="67427"/>
                </a:lnTo>
                <a:lnTo>
                  <a:pt x="92261" y="68945"/>
                </a:lnTo>
                <a:lnTo>
                  <a:pt x="83928" y="69249"/>
                </a:lnTo>
                <a:lnTo>
                  <a:pt x="76487" y="71679"/>
                </a:lnTo>
                <a:lnTo>
                  <a:pt x="64285" y="80487"/>
                </a:lnTo>
                <a:lnTo>
                  <a:pt x="59523" y="86865"/>
                </a:lnTo>
                <a:lnTo>
                  <a:pt x="55654" y="94154"/>
                </a:lnTo>
                <a:lnTo>
                  <a:pt x="52678" y="102051"/>
                </a:lnTo>
                <a:lnTo>
                  <a:pt x="50595" y="110252"/>
                </a:lnTo>
                <a:lnTo>
                  <a:pt x="16964" y="303421"/>
                </a:lnTo>
                <a:lnTo>
                  <a:pt x="16071" y="309192"/>
                </a:lnTo>
                <a:lnTo>
                  <a:pt x="13988" y="314356"/>
                </a:lnTo>
                <a:lnTo>
                  <a:pt x="11309" y="318911"/>
                </a:lnTo>
                <a:lnTo>
                  <a:pt x="8630" y="323164"/>
                </a:lnTo>
                <a:lnTo>
                  <a:pt x="5654" y="327112"/>
                </a:lnTo>
                <a:lnTo>
                  <a:pt x="3273" y="331060"/>
                </a:lnTo>
                <a:lnTo>
                  <a:pt x="1488" y="335313"/>
                </a:lnTo>
                <a:lnTo>
                  <a:pt x="595" y="339868"/>
                </a:lnTo>
                <a:lnTo>
                  <a:pt x="0" y="718918"/>
                </a:lnTo>
                <a:lnTo>
                  <a:pt x="509819" y="736838"/>
                </a:lnTo>
                <a:lnTo>
                  <a:pt x="550593" y="736838"/>
                </a:lnTo>
                <a:lnTo>
                  <a:pt x="553272" y="736230"/>
                </a:lnTo>
                <a:lnTo>
                  <a:pt x="564581" y="730763"/>
                </a:lnTo>
                <a:lnTo>
                  <a:pt x="566664" y="729245"/>
                </a:lnTo>
                <a:lnTo>
                  <a:pt x="568748" y="727119"/>
                </a:lnTo>
                <a:lnTo>
                  <a:pt x="568748" y="294310"/>
                </a:lnTo>
                <a:close/>
              </a:path>
            </a:pathLst>
          </a:custGeom>
          <a:solidFill>
            <a:srgbClr val="EFEFEF"/>
          </a:solidFill>
        </p:spPr>
        <p:txBody>
          <a:bodyPr wrap="square" lIns="0" tIns="0" rIns="0" bIns="0" rtlCol="0">
            <a:noAutofit/>
          </a:bodyPr>
          <a:lstStyle/>
          <a:p>
            <a:endParaRPr/>
          </a:p>
        </p:txBody>
      </p:sp>
      <p:sp>
        <p:nvSpPr>
          <p:cNvPr id="641" name="object 641"/>
          <p:cNvSpPr/>
          <p:nvPr/>
        </p:nvSpPr>
        <p:spPr>
          <a:xfrm>
            <a:off x="8047727" y="584538"/>
            <a:ext cx="762795" cy="284894"/>
          </a:xfrm>
          <a:custGeom>
            <a:avLst/>
            <a:gdLst/>
            <a:ahLst/>
            <a:cxnLst/>
            <a:rect l="l" t="t" r="r" b="b"/>
            <a:pathLst>
              <a:path w="762795" h="284894">
                <a:moveTo>
                  <a:pt x="597914" y="61960"/>
                </a:moveTo>
                <a:lnTo>
                  <a:pt x="573212" y="218986"/>
                </a:lnTo>
                <a:lnTo>
                  <a:pt x="572617" y="222934"/>
                </a:lnTo>
                <a:lnTo>
                  <a:pt x="572319" y="226883"/>
                </a:lnTo>
                <a:lnTo>
                  <a:pt x="572319" y="230224"/>
                </a:lnTo>
                <a:lnTo>
                  <a:pt x="575891" y="238424"/>
                </a:lnTo>
                <a:lnTo>
                  <a:pt x="752973" y="264545"/>
                </a:lnTo>
                <a:lnTo>
                  <a:pt x="756247" y="264545"/>
                </a:lnTo>
                <a:lnTo>
                  <a:pt x="762200" y="259077"/>
                </a:lnTo>
                <a:lnTo>
                  <a:pt x="762795" y="253914"/>
                </a:lnTo>
                <a:lnTo>
                  <a:pt x="762795" y="84131"/>
                </a:lnTo>
                <a:lnTo>
                  <a:pt x="761009" y="75323"/>
                </a:lnTo>
                <a:lnTo>
                  <a:pt x="752973" y="68945"/>
                </a:lnTo>
                <a:lnTo>
                  <a:pt x="619343" y="41610"/>
                </a:lnTo>
                <a:lnTo>
                  <a:pt x="614581" y="41002"/>
                </a:lnTo>
                <a:lnTo>
                  <a:pt x="610712" y="41610"/>
                </a:lnTo>
                <a:lnTo>
                  <a:pt x="602081" y="48899"/>
                </a:lnTo>
                <a:lnTo>
                  <a:pt x="599105" y="57100"/>
                </a:lnTo>
                <a:lnTo>
                  <a:pt x="597914" y="61960"/>
                </a:lnTo>
                <a:close/>
              </a:path>
              <a:path w="762795" h="284894">
                <a:moveTo>
                  <a:pt x="892" y="273960"/>
                </a:moveTo>
                <a:lnTo>
                  <a:pt x="7440" y="281857"/>
                </a:lnTo>
                <a:lnTo>
                  <a:pt x="16666" y="284894"/>
                </a:lnTo>
                <a:lnTo>
                  <a:pt x="190773" y="271226"/>
                </a:lnTo>
                <a:lnTo>
                  <a:pt x="199404" y="267582"/>
                </a:lnTo>
                <a:lnTo>
                  <a:pt x="205654" y="259989"/>
                </a:lnTo>
                <a:lnTo>
                  <a:pt x="242261" y="63782"/>
                </a:lnTo>
                <a:lnTo>
                  <a:pt x="242261" y="60745"/>
                </a:lnTo>
                <a:lnTo>
                  <a:pt x="237499" y="51937"/>
                </a:lnTo>
                <a:lnTo>
                  <a:pt x="228570" y="46773"/>
                </a:lnTo>
                <a:lnTo>
                  <a:pt x="225594" y="46773"/>
                </a:lnTo>
                <a:lnTo>
                  <a:pt x="47618" y="72590"/>
                </a:lnTo>
                <a:lnTo>
                  <a:pt x="39285" y="76235"/>
                </a:lnTo>
                <a:lnTo>
                  <a:pt x="33035" y="83828"/>
                </a:lnTo>
                <a:lnTo>
                  <a:pt x="0" y="267582"/>
                </a:lnTo>
                <a:lnTo>
                  <a:pt x="0" y="270923"/>
                </a:lnTo>
                <a:lnTo>
                  <a:pt x="892" y="273960"/>
                </a:lnTo>
                <a:close/>
              </a:path>
              <a:path w="762795" h="284894">
                <a:moveTo>
                  <a:pt x="516367" y="245714"/>
                </a:moveTo>
                <a:lnTo>
                  <a:pt x="527081" y="239335"/>
                </a:lnTo>
                <a:lnTo>
                  <a:pt x="533331" y="228401"/>
                </a:lnTo>
                <a:lnTo>
                  <a:pt x="565176" y="17008"/>
                </a:lnTo>
                <a:lnTo>
                  <a:pt x="565176" y="13971"/>
                </a:lnTo>
                <a:lnTo>
                  <a:pt x="557141" y="2733"/>
                </a:lnTo>
                <a:lnTo>
                  <a:pt x="551188" y="0"/>
                </a:lnTo>
                <a:lnTo>
                  <a:pt x="548510" y="0"/>
                </a:lnTo>
                <a:lnTo>
                  <a:pt x="281844" y="38573"/>
                </a:lnTo>
                <a:lnTo>
                  <a:pt x="271130" y="44647"/>
                </a:lnTo>
                <a:lnTo>
                  <a:pt x="264880" y="55581"/>
                </a:lnTo>
                <a:lnTo>
                  <a:pt x="228570" y="249662"/>
                </a:lnTo>
                <a:lnTo>
                  <a:pt x="228868" y="252395"/>
                </a:lnTo>
                <a:lnTo>
                  <a:pt x="236904" y="263330"/>
                </a:lnTo>
                <a:lnTo>
                  <a:pt x="245534" y="266671"/>
                </a:lnTo>
                <a:lnTo>
                  <a:pt x="516367" y="245714"/>
                </a:lnTo>
                <a:close/>
              </a:path>
            </a:pathLst>
          </a:custGeom>
          <a:solidFill>
            <a:srgbClr val="BEBEBE"/>
          </a:solidFill>
        </p:spPr>
        <p:txBody>
          <a:bodyPr wrap="square" lIns="0" tIns="0" rIns="0" bIns="0" rtlCol="0">
            <a:noAutofit/>
          </a:bodyPr>
          <a:lstStyle/>
          <a:p>
            <a:endParaRPr/>
          </a:p>
        </p:txBody>
      </p:sp>
      <p:sp>
        <p:nvSpPr>
          <p:cNvPr id="642" name="object 642"/>
          <p:cNvSpPr/>
          <p:nvPr/>
        </p:nvSpPr>
        <p:spPr>
          <a:xfrm>
            <a:off x="8329273" y="583019"/>
            <a:ext cx="267261" cy="41610"/>
          </a:xfrm>
          <a:custGeom>
            <a:avLst/>
            <a:gdLst/>
            <a:ahLst/>
            <a:cxnLst/>
            <a:rect l="l" t="t" r="r" b="b"/>
            <a:pathLst>
              <a:path w="267261" h="41610">
                <a:moveTo>
                  <a:pt x="266665" y="0"/>
                </a:moveTo>
                <a:lnTo>
                  <a:pt x="0" y="38573"/>
                </a:lnTo>
                <a:lnTo>
                  <a:pt x="595" y="41610"/>
                </a:lnTo>
                <a:lnTo>
                  <a:pt x="267261" y="3037"/>
                </a:lnTo>
                <a:lnTo>
                  <a:pt x="266665" y="0"/>
                </a:lnTo>
                <a:close/>
              </a:path>
            </a:pathLst>
          </a:custGeom>
          <a:solidFill>
            <a:srgbClr val="000000"/>
          </a:solidFill>
        </p:spPr>
        <p:txBody>
          <a:bodyPr wrap="square" lIns="0" tIns="0" rIns="0" bIns="0" rtlCol="0">
            <a:noAutofit/>
          </a:bodyPr>
          <a:lstStyle/>
          <a:p>
            <a:endParaRPr/>
          </a:p>
        </p:txBody>
      </p:sp>
      <p:sp>
        <p:nvSpPr>
          <p:cNvPr id="643" name="object 643"/>
          <p:cNvSpPr/>
          <p:nvPr/>
        </p:nvSpPr>
        <p:spPr>
          <a:xfrm>
            <a:off x="8595938" y="583019"/>
            <a:ext cx="18452" cy="18830"/>
          </a:xfrm>
          <a:custGeom>
            <a:avLst/>
            <a:gdLst/>
            <a:ahLst/>
            <a:cxnLst/>
            <a:rect l="l" t="t" r="r" b="b"/>
            <a:pathLst>
              <a:path w="18452" h="18830">
                <a:moveTo>
                  <a:pt x="595" y="3037"/>
                </a:moveTo>
                <a:lnTo>
                  <a:pt x="2678" y="3037"/>
                </a:lnTo>
                <a:lnTo>
                  <a:pt x="5357" y="4252"/>
                </a:lnTo>
                <a:lnTo>
                  <a:pt x="8035" y="5467"/>
                </a:lnTo>
                <a:lnTo>
                  <a:pt x="10416" y="7896"/>
                </a:lnTo>
                <a:lnTo>
                  <a:pt x="12797" y="10326"/>
                </a:lnTo>
                <a:lnTo>
                  <a:pt x="14583" y="13060"/>
                </a:lnTo>
                <a:lnTo>
                  <a:pt x="15476" y="15793"/>
                </a:lnTo>
                <a:lnTo>
                  <a:pt x="15476" y="18223"/>
                </a:lnTo>
                <a:lnTo>
                  <a:pt x="18452" y="18830"/>
                </a:lnTo>
                <a:lnTo>
                  <a:pt x="18452" y="15186"/>
                </a:lnTo>
                <a:lnTo>
                  <a:pt x="16964" y="11845"/>
                </a:lnTo>
                <a:lnTo>
                  <a:pt x="15178" y="8504"/>
                </a:lnTo>
                <a:lnTo>
                  <a:pt x="12797" y="5467"/>
                </a:lnTo>
                <a:lnTo>
                  <a:pt x="9821" y="3037"/>
                </a:lnTo>
                <a:lnTo>
                  <a:pt x="6547" y="1214"/>
                </a:lnTo>
                <a:lnTo>
                  <a:pt x="3273" y="0"/>
                </a:lnTo>
                <a:lnTo>
                  <a:pt x="0" y="0"/>
                </a:lnTo>
                <a:lnTo>
                  <a:pt x="595" y="3037"/>
                </a:lnTo>
                <a:close/>
              </a:path>
            </a:pathLst>
          </a:custGeom>
          <a:solidFill>
            <a:srgbClr val="000000"/>
          </a:solidFill>
        </p:spPr>
        <p:txBody>
          <a:bodyPr wrap="square" lIns="0" tIns="0" rIns="0" bIns="0" rtlCol="0">
            <a:noAutofit/>
          </a:bodyPr>
          <a:lstStyle/>
          <a:p>
            <a:endParaRPr/>
          </a:p>
        </p:txBody>
      </p:sp>
      <p:sp>
        <p:nvSpPr>
          <p:cNvPr id="644" name="object 644"/>
          <p:cNvSpPr/>
          <p:nvPr/>
        </p:nvSpPr>
        <p:spPr>
          <a:xfrm>
            <a:off x="8579570" y="601243"/>
            <a:ext cx="34821" cy="212000"/>
          </a:xfrm>
          <a:custGeom>
            <a:avLst/>
            <a:gdLst/>
            <a:ahLst/>
            <a:cxnLst/>
            <a:rect l="l" t="t" r="r" b="b"/>
            <a:pathLst>
              <a:path w="34821" h="212000">
                <a:moveTo>
                  <a:pt x="2976" y="212000"/>
                </a:moveTo>
                <a:lnTo>
                  <a:pt x="34821" y="607"/>
                </a:lnTo>
                <a:lnTo>
                  <a:pt x="31845" y="0"/>
                </a:lnTo>
                <a:lnTo>
                  <a:pt x="0" y="211393"/>
                </a:lnTo>
                <a:lnTo>
                  <a:pt x="2976" y="212000"/>
                </a:lnTo>
                <a:close/>
              </a:path>
            </a:pathLst>
          </a:custGeom>
          <a:solidFill>
            <a:srgbClr val="000000"/>
          </a:solidFill>
        </p:spPr>
        <p:txBody>
          <a:bodyPr wrap="square" lIns="0" tIns="0" rIns="0" bIns="0" rtlCol="0">
            <a:noAutofit/>
          </a:bodyPr>
          <a:lstStyle/>
          <a:p>
            <a:endParaRPr/>
          </a:p>
        </p:txBody>
      </p:sp>
      <p:sp>
        <p:nvSpPr>
          <p:cNvPr id="645" name="object 645"/>
          <p:cNvSpPr/>
          <p:nvPr/>
        </p:nvSpPr>
        <p:spPr>
          <a:xfrm>
            <a:off x="8564093" y="812636"/>
            <a:ext cx="18452" cy="19134"/>
          </a:xfrm>
          <a:custGeom>
            <a:avLst/>
            <a:gdLst/>
            <a:ahLst/>
            <a:cxnLst/>
            <a:rect l="l" t="t" r="r" b="b"/>
            <a:pathLst>
              <a:path w="18452" h="19134">
                <a:moveTo>
                  <a:pt x="3273" y="18527"/>
                </a:moveTo>
                <a:lnTo>
                  <a:pt x="6547" y="16704"/>
                </a:lnTo>
                <a:lnTo>
                  <a:pt x="9226" y="14882"/>
                </a:lnTo>
                <a:lnTo>
                  <a:pt x="11904" y="12149"/>
                </a:lnTo>
                <a:lnTo>
                  <a:pt x="14285" y="9415"/>
                </a:lnTo>
                <a:lnTo>
                  <a:pt x="16071" y="6681"/>
                </a:lnTo>
                <a:lnTo>
                  <a:pt x="17857" y="3644"/>
                </a:lnTo>
                <a:lnTo>
                  <a:pt x="18452" y="607"/>
                </a:lnTo>
                <a:lnTo>
                  <a:pt x="15476" y="0"/>
                </a:lnTo>
                <a:lnTo>
                  <a:pt x="14880" y="2429"/>
                </a:lnTo>
                <a:lnTo>
                  <a:pt x="13690" y="4859"/>
                </a:lnTo>
                <a:lnTo>
                  <a:pt x="11904" y="7593"/>
                </a:lnTo>
                <a:lnTo>
                  <a:pt x="9523" y="10326"/>
                </a:lnTo>
                <a:lnTo>
                  <a:pt x="7440" y="12452"/>
                </a:lnTo>
                <a:lnTo>
                  <a:pt x="4761" y="14275"/>
                </a:lnTo>
                <a:lnTo>
                  <a:pt x="2083" y="15490"/>
                </a:lnTo>
                <a:lnTo>
                  <a:pt x="0" y="16097"/>
                </a:lnTo>
                <a:lnTo>
                  <a:pt x="0" y="19134"/>
                </a:lnTo>
                <a:lnTo>
                  <a:pt x="3273" y="18527"/>
                </a:lnTo>
                <a:close/>
              </a:path>
            </a:pathLst>
          </a:custGeom>
          <a:solidFill>
            <a:srgbClr val="000000"/>
          </a:solidFill>
        </p:spPr>
        <p:txBody>
          <a:bodyPr wrap="square" lIns="0" tIns="0" rIns="0" bIns="0" rtlCol="0">
            <a:noAutofit/>
          </a:bodyPr>
          <a:lstStyle/>
          <a:p>
            <a:endParaRPr/>
          </a:p>
        </p:txBody>
      </p:sp>
      <p:sp>
        <p:nvSpPr>
          <p:cNvPr id="646" name="object 646"/>
          <p:cNvSpPr/>
          <p:nvPr/>
        </p:nvSpPr>
        <p:spPr>
          <a:xfrm>
            <a:off x="8293261" y="828733"/>
            <a:ext cx="270832" cy="23994"/>
          </a:xfrm>
          <a:custGeom>
            <a:avLst/>
            <a:gdLst/>
            <a:ahLst/>
            <a:cxnLst/>
            <a:rect l="l" t="t" r="r" b="b"/>
            <a:pathLst>
              <a:path w="270832" h="23994">
                <a:moveTo>
                  <a:pt x="0" y="23994"/>
                </a:moveTo>
                <a:lnTo>
                  <a:pt x="270832" y="3037"/>
                </a:lnTo>
                <a:lnTo>
                  <a:pt x="270832" y="0"/>
                </a:lnTo>
                <a:lnTo>
                  <a:pt x="0" y="20957"/>
                </a:lnTo>
                <a:lnTo>
                  <a:pt x="0" y="23994"/>
                </a:lnTo>
                <a:close/>
              </a:path>
            </a:pathLst>
          </a:custGeom>
          <a:solidFill>
            <a:srgbClr val="000000"/>
          </a:solidFill>
        </p:spPr>
        <p:txBody>
          <a:bodyPr wrap="square" lIns="0" tIns="0" rIns="0" bIns="0" rtlCol="0">
            <a:noAutofit/>
          </a:bodyPr>
          <a:lstStyle/>
          <a:p>
            <a:endParaRPr/>
          </a:p>
        </p:txBody>
      </p:sp>
      <p:sp>
        <p:nvSpPr>
          <p:cNvPr id="647" name="object 647"/>
          <p:cNvSpPr/>
          <p:nvPr/>
        </p:nvSpPr>
        <p:spPr>
          <a:xfrm>
            <a:off x="8274808" y="833897"/>
            <a:ext cx="18452" cy="18830"/>
          </a:xfrm>
          <a:custGeom>
            <a:avLst/>
            <a:gdLst/>
            <a:ahLst/>
            <a:cxnLst/>
            <a:rect l="l" t="t" r="r" b="b"/>
            <a:pathLst>
              <a:path w="18452" h="18830">
                <a:moveTo>
                  <a:pt x="297" y="3340"/>
                </a:moveTo>
                <a:lnTo>
                  <a:pt x="1190" y="6681"/>
                </a:lnTo>
                <a:lnTo>
                  <a:pt x="3273" y="9719"/>
                </a:lnTo>
                <a:lnTo>
                  <a:pt x="5952" y="12756"/>
                </a:lnTo>
                <a:lnTo>
                  <a:pt x="8928" y="15186"/>
                </a:lnTo>
                <a:lnTo>
                  <a:pt x="12202" y="17008"/>
                </a:lnTo>
                <a:lnTo>
                  <a:pt x="15476" y="18527"/>
                </a:lnTo>
                <a:lnTo>
                  <a:pt x="18452" y="18830"/>
                </a:lnTo>
                <a:lnTo>
                  <a:pt x="18452" y="15793"/>
                </a:lnTo>
                <a:lnTo>
                  <a:pt x="16071" y="15490"/>
                </a:lnTo>
                <a:lnTo>
                  <a:pt x="13392" y="14578"/>
                </a:lnTo>
                <a:lnTo>
                  <a:pt x="10714" y="12756"/>
                </a:lnTo>
                <a:lnTo>
                  <a:pt x="7738" y="10326"/>
                </a:lnTo>
                <a:lnTo>
                  <a:pt x="5654" y="7896"/>
                </a:lnTo>
                <a:lnTo>
                  <a:pt x="4166" y="5467"/>
                </a:lnTo>
                <a:lnTo>
                  <a:pt x="3273" y="2733"/>
                </a:lnTo>
                <a:lnTo>
                  <a:pt x="2976" y="607"/>
                </a:lnTo>
                <a:lnTo>
                  <a:pt x="0" y="0"/>
                </a:lnTo>
                <a:lnTo>
                  <a:pt x="297" y="3340"/>
                </a:lnTo>
                <a:close/>
              </a:path>
            </a:pathLst>
          </a:custGeom>
          <a:solidFill>
            <a:srgbClr val="000000"/>
          </a:solidFill>
        </p:spPr>
        <p:txBody>
          <a:bodyPr wrap="square" lIns="0" tIns="0" rIns="0" bIns="0" rtlCol="0">
            <a:noAutofit/>
          </a:bodyPr>
          <a:lstStyle/>
          <a:p>
            <a:endParaRPr/>
          </a:p>
        </p:txBody>
      </p:sp>
      <p:sp>
        <p:nvSpPr>
          <p:cNvPr id="648" name="object 648"/>
          <p:cNvSpPr/>
          <p:nvPr/>
        </p:nvSpPr>
        <p:spPr>
          <a:xfrm>
            <a:off x="8274809" y="639816"/>
            <a:ext cx="39285" cy="194688"/>
          </a:xfrm>
          <a:custGeom>
            <a:avLst/>
            <a:gdLst/>
            <a:ahLst/>
            <a:cxnLst/>
            <a:rect l="l" t="t" r="r" b="b"/>
            <a:pathLst>
              <a:path w="39285" h="194688">
                <a:moveTo>
                  <a:pt x="36309" y="0"/>
                </a:moveTo>
                <a:lnTo>
                  <a:pt x="0" y="194080"/>
                </a:lnTo>
                <a:lnTo>
                  <a:pt x="2976" y="194688"/>
                </a:lnTo>
                <a:lnTo>
                  <a:pt x="39285" y="607"/>
                </a:lnTo>
                <a:lnTo>
                  <a:pt x="36309" y="0"/>
                </a:lnTo>
                <a:close/>
              </a:path>
            </a:pathLst>
          </a:custGeom>
          <a:solidFill>
            <a:srgbClr val="000000"/>
          </a:solidFill>
        </p:spPr>
        <p:txBody>
          <a:bodyPr wrap="square" lIns="0" tIns="0" rIns="0" bIns="0" rtlCol="0">
            <a:noAutofit/>
          </a:bodyPr>
          <a:lstStyle/>
          <a:p>
            <a:endParaRPr/>
          </a:p>
        </p:txBody>
      </p:sp>
      <p:sp>
        <p:nvSpPr>
          <p:cNvPr id="649" name="object 649"/>
          <p:cNvSpPr/>
          <p:nvPr/>
        </p:nvSpPr>
        <p:spPr>
          <a:xfrm>
            <a:off x="8311119" y="621593"/>
            <a:ext cx="18749" cy="18830"/>
          </a:xfrm>
          <a:custGeom>
            <a:avLst/>
            <a:gdLst/>
            <a:ahLst/>
            <a:cxnLst/>
            <a:rect l="l" t="t" r="r" b="b"/>
            <a:pathLst>
              <a:path w="18749" h="18830">
                <a:moveTo>
                  <a:pt x="892" y="15186"/>
                </a:moveTo>
                <a:lnTo>
                  <a:pt x="0" y="18223"/>
                </a:lnTo>
                <a:lnTo>
                  <a:pt x="2976" y="18830"/>
                </a:lnTo>
                <a:lnTo>
                  <a:pt x="3869" y="16401"/>
                </a:lnTo>
                <a:lnTo>
                  <a:pt x="4761" y="13667"/>
                </a:lnTo>
                <a:lnTo>
                  <a:pt x="6547" y="11237"/>
                </a:lnTo>
                <a:lnTo>
                  <a:pt x="8928" y="8808"/>
                </a:lnTo>
                <a:lnTo>
                  <a:pt x="11011" y="6681"/>
                </a:lnTo>
                <a:lnTo>
                  <a:pt x="13988" y="4859"/>
                </a:lnTo>
                <a:lnTo>
                  <a:pt x="16368" y="3644"/>
                </a:lnTo>
                <a:lnTo>
                  <a:pt x="18749" y="3037"/>
                </a:lnTo>
                <a:lnTo>
                  <a:pt x="18154" y="0"/>
                </a:lnTo>
                <a:lnTo>
                  <a:pt x="15178" y="607"/>
                </a:lnTo>
                <a:lnTo>
                  <a:pt x="12202" y="2429"/>
                </a:lnTo>
                <a:lnTo>
                  <a:pt x="9226" y="4252"/>
                </a:lnTo>
                <a:lnTo>
                  <a:pt x="6547" y="6378"/>
                </a:lnTo>
                <a:lnTo>
                  <a:pt x="4166" y="9415"/>
                </a:lnTo>
                <a:lnTo>
                  <a:pt x="2380" y="12452"/>
                </a:lnTo>
                <a:lnTo>
                  <a:pt x="892" y="15186"/>
                </a:lnTo>
                <a:close/>
              </a:path>
            </a:pathLst>
          </a:custGeom>
          <a:solidFill>
            <a:srgbClr val="000000"/>
          </a:solidFill>
        </p:spPr>
        <p:txBody>
          <a:bodyPr wrap="square" lIns="0" tIns="0" rIns="0" bIns="0" rtlCol="0">
            <a:noAutofit/>
          </a:bodyPr>
          <a:lstStyle/>
          <a:p>
            <a:endParaRPr/>
          </a:p>
        </p:txBody>
      </p:sp>
      <p:sp>
        <p:nvSpPr>
          <p:cNvPr id="650" name="object 650"/>
          <p:cNvSpPr/>
          <p:nvPr/>
        </p:nvSpPr>
        <p:spPr>
          <a:xfrm>
            <a:off x="8095047" y="629794"/>
            <a:ext cx="178570" cy="28853"/>
          </a:xfrm>
          <a:custGeom>
            <a:avLst/>
            <a:gdLst/>
            <a:ahLst/>
            <a:cxnLst/>
            <a:rect l="l" t="t" r="r" b="b"/>
            <a:pathLst>
              <a:path w="178570" h="28853">
                <a:moveTo>
                  <a:pt x="177975" y="0"/>
                </a:moveTo>
                <a:lnTo>
                  <a:pt x="0" y="25816"/>
                </a:lnTo>
                <a:lnTo>
                  <a:pt x="595" y="28853"/>
                </a:lnTo>
                <a:lnTo>
                  <a:pt x="178570" y="3037"/>
                </a:lnTo>
                <a:lnTo>
                  <a:pt x="177975" y="0"/>
                </a:lnTo>
                <a:close/>
              </a:path>
            </a:pathLst>
          </a:custGeom>
          <a:solidFill>
            <a:srgbClr val="000000"/>
          </a:solidFill>
        </p:spPr>
        <p:txBody>
          <a:bodyPr wrap="square" lIns="0" tIns="0" rIns="0" bIns="0" rtlCol="0">
            <a:noAutofit/>
          </a:bodyPr>
          <a:lstStyle/>
          <a:p>
            <a:endParaRPr/>
          </a:p>
        </p:txBody>
      </p:sp>
      <p:sp>
        <p:nvSpPr>
          <p:cNvPr id="651" name="object 651"/>
          <p:cNvSpPr/>
          <p:nvPr/>
        </p:nvSpPr>
        <p:spPr>
          <a:xfrm>
            <a:off x="8273022" y="629793"/>
            <a:ext cx="18452" cy="18830"/>
          </a:xfrm>
          <a:custGeom>
            <a:avLst/>
            <a:gdLst/>
            <a:ahLst/>
            <a:cxnLst/>
            <a:rect l="l" t="t" r="r" b="b"/>
            <a:pathLst>
              <a:path w="18452" h="18830">
                <a:moveTo>
                  <a:pt x="595" y="3037"/>
                </a:moveTo>
                <a:lnTo>
                  <a:pt x="2976" y="3037"/>
                </a:lnTo>
                <a:lnTo>
                  <a:pt x="5952" y="4252"/>
                </a:lnTo>
                <a:lnTo>
                  <a:pt x="8630" y="5467"/>
                </a:lnTo>
                <a:lnTo>
                  <a:pt x="11011" y="7896"/>
                </a:lnTo>
                <a:lnTo>
                  <a:pt x="13392" y="10326"/>
                </a:lnTo>
                <a:lnTo>
                  <a:pt x="14583" y="12756"/>
                </a:lnTo>
                <a:lnTo>
                  <a:pt x="15476" y="15793"/>
                </a:lnTo>
                <a:lnTo>
                  <a:pt x="15476" y="18223"/>
                </a:lnTo>
                <a:lnTo>
                  <a:pt x="18452" y="18830"/>
                </a:lnTo>
                <a:lnTo>
                  <a:pt x="18452" y="15186"/>
                </a:lnTo>
                <a:lnTo>
                  <a:pt x="17559" y="11541"/>
                </a:lnTo>
                <a:lnTo>
                  <a:pt x="15773" y="8504"/>
                </a:lnTo>
                <a:lnTo>
                  <a:pt x="13392" y="5467"/>
                </a:lnTo>
                <a:lnTo>
                  <a:pt x="10416" y="3037"/>
                </a:lnTo>
                <a:lnTo>
                  <a:pt x="7142" y="1214"/>
                </a:lnTo>
                <a:lnTo>
                  <a:pt x="3571" y="0"/>
                </a:lnTo>
                <a:lnTo>
                  <a:pt x="0" y="0"/>
                </a:lnTo>
                <a:lnTo>
                  <a:pt x="595" y="3037"/>
                </a:lnTo>
                <a:close/>
              </a:path>
            </a:pathLst>
          </a:custGeom>
          <a:solidFill>
            <a:srgbClr val="000000"/>
          </a:solidFill>
        </p:spPr>
        <p:txBody>
          <a:bodyPr wrap="square" lIns="0" tIns="0" rIns="0" bIns="0" rtlCol="0">
            <a:noAutofit/>
          </a:bodyPr>
          <a:lstStyle/>
          <a:p>
            <a:endParaRPr/>
          </a:p>
        </p:txBody>
      </p:sp>
      <p:sp>
        <p:nvSpPr>
          <p:cNvPr id="652" name="object 652"/>
          <p:cNvSpPr/>
          <p:nvPr/>
        </p:nvSpPr>
        <p:spPr>
          <a:xfrm>
            <a:off x="8253976" y="648018"/>
            <a:ext cx="37499" cy="190739"/>
          </a:xfrm>
          <a:custGeom>
            <a:avLst/>
            <a:gdLst/>
            <a:ahLst/>
            <a:cxnLst/>
            <a:rect l="l" t="t" r="r" b="b"/>
            <a:pathLst>
              <a:path w="37499" h="190739">
                <a:moveTo>
                  <a:pt x="2976" y="190739"/>
                </a:moveTo>
                <a:lnTo>
                  <a:pt x="37499" y="607"/>
                </a:lnTo>
                <a:lnTo>
                  <a:pt x="34523" y="0"/>
                </a:lnTo>
                <a:lnTo>
                  <a:pt x="0" y="190132"/>
                </a:lnTo>
                <a:lnTo>
                  <a:pt x="2976" y="190739"/>
                </a:lnTo>
                <a:close/>
              </a:path>
            </a:pathLst>
          </a:custGeom>
          <a:solidFill>
            <a:srgbClr val="000000"/>
          </a:solidFill>
        </p:spPr>
        <p:txBody>
          <a:bodyPr wrap="square" lIns="0" tIns="0" rIns="0" bIns="0" rtlCol="0">
            <a:noAutofit/>
          </a:bodyPr>
          <a:lstStyle/>
          <a:p>
            <a:endParaRPr/>
          </a:p>
        </p:txBody>
      </p:sp>
      <p:sp>
        <p:nvSpPr>
          <p:cNvPr id="653" name="object 653"/>
          <p:cNvSpPr/>
          <p:nvPr/>
        </p:nvSpPr>
        <p:spPr>
          <a:xfrm>
            <a:off x="8238499" y="838149"/>
            <a:ext cx="18452" cy="19134"/>
          </a:xfrm>
          <a:custGeom>
            <a:avLst/>
            <a:gdLst/>
            <a:ahLst/>
            <a:cxnLst/>
            <a:rect l="l" t="t" r="r" b="b"/>
            <a:pathLst>
              <a:path w="18452" h="19134">
                <a:moveTo>
                  <a:pt x="2678" y="15490"/>
                </a:moveTo>
                <a:lnTo>
                  <a:pt x="0" y="16097"/>
                </a:lnTo>
                <a:lnTo>
                  <a:pt x="0" y="19134"/>
                </a:lnTo>
                <a:lnTo>
                  <a:pt x="3273" y="18527"/>
                </a:lnTo>
                <a:lnTo>
                  <a:pt x="6547" y="17008"/>
                </a:lnTo>
                <a:lnTo>
                  <a:pt x="9523" y="15186"/>
                </a:lnTo>
                <a:lnTo>
                  <a:pt x="12202" y="12756"/>
                </a:lnTo>
                <a:lnTo>
                  <a:pt x="14285" y="10022"/>
                </a:lnTo>
                <a:lnTo>
                  <a:pt x="16071" y="6985"/>
                </a:lnTo>
                <a:lnTo>
                  <a:pt x="17559" y="3948"/>
                </a:lnTo>
                <a:lnTo>
                  <a:pt x="18452" y="607"/>
                </a:lnTo>
                <a:lnTo>
                  <a:pt x="15476" y="0"/>
                </a:lnTo>
                <a:lnTo>
                  <a:pt x="14583" y="2733"/>
                </a:lnTo>
                <a:lnTo>
                  <a:pt x="13690" y="5770"/>
                </a:lnTo>
                <a:lnTo>
                  <a:pt x="11904" y="8200"/>
                </a:lnTo>
                <a:lnTo>
                  <a:pt x="9821" y="10934"/>
                </a:lnTo>
                <a:lnTo>
                  <a:pt x="7738" y="12756"/>
                </a:lnTo>
                <a:lnTo>
                  <a:pt x="5357" y="14578"/>
                </a:lnTo>
                <a:lnTo>
                  <a:pt x="2678" y="15490"/>
                </a:lnTo>
                <a:close/>
              </a:path>
            </a:pathLst>
          </a:custGeom>
          <a:solidFill>
            <a:srgbClr val="000000"/>
          </a:solidFill>
        </p:spPr>
        <p:txBody>
          <a:bodyPr wrap="square" lIns="0" tIns="0" rIns="0" bIns="0" rtlCol="0">
            <a:noAutofit/>
          </a:bodyPr>
          <a:lstStyle/>
          <a:p>
            <a:endParaRPr/>
          </a:p>
        </p:txBody>
      </p:sp>
      <p:sp>
        <p:nvSpPr>
          <p:cNvPr id="654" name="object 654"/>
          <p:cNvSpPr/>
          <p:nvPr/>
        </p:nvSpPr>
        <p:spPr>
          <a:xfrm>
            <a:off x="8064392" y="854246"/>
            <a:ext cx="174106" cy="16704"/>
          </a:xfrm>
          <a:custGeom>
            <a:avLst/>
            <a:gdLst/>
            <a:ahLst/>
            <a:cxnLst/>
            <a:rect l="l" t="t" r="r" b="b"/>
            <a:pathLst>
              <a:path w="174106" h="16704">
                <a:moveTo>
                  <a:pt x="0" y="16704"/>
                </a:moveTo>
                <a:lnTo>
                  <a:pt x="174106" y="3037"/>
                </a:lnTo>
                <a:lnTo>
                  <a:pt x="174106" y="0"/>
                </a:lnTo>
                <a:lnTo>
                  <a:pt x="0" y="13667"/>
                </a:lnTo>
                <a:lnTo>
                  <a:pt x="0" y="16704"/>
                </a:lnTo>
                <a:close/>
              </a:path>
            </a:pathLst>
          </a:custGeom>
          <a:solidFill>
            <a:srgbClr val="000000"/>
          </a:solidFill>
        </p:spPr>
        <p:txBody>
          <a:bodyPr wrap="square" lIns="0" tIns="0" rIns="0" bIns="0" rtlCol="0">
            <a:noAutofit/>
          </a:bodyPr>
          <a:lstStyle/>
          <a:p>
            <a:endParaRPr/>
          </a:p>
        </p:txBody>
      </p:sp>
      <p:sp>
        <p:nvSpPr>
          <p:cNvPr id="655" name="object 655"/>
          <p:cNvSpPr/>
          <p:nvPr/>
        </p:nvSpPr>
        <p:spPr>
          <a:xfrm>
            <a:off x="8046237" y="851817"/>
            <a:ext cx="18154" cy="19134"/>
          </a:xfrm>
          <a:custGeom>
            <a:avLst/>
            <a:gdLst/>
            <a:ahLst/>
            <a:cxnLst/>
            <a:rect l="l" t="t" r="r" b="b"/>
            <a:pathLst>
              <a:path w="18154" h="19134">
                <a:moveTo>
                  <a:pt x="5059" y="8808"/>
                </a:moveTo>
                <a:lnTo>
                  <a:pt x="3869" y="6074"/>
                </a:lnTo>
                <a:lnTo>
                  <a:pt x="2976" y="3340"/>
                </a:lnTo>
                <a:lnTo>
                  <a:pt x="2976" y="607"/>
                </a:lnTo>
                <a:lnTo>
                  <a:pt x="0" y="0"/>
                </a:lnTo>
                <a:lnTo>
                  <a:pt x="0" y="3948"/>
                </a:lnTo>
                <a:lnTo>
                  <a:pt x="892" y="7289"/>
                </a:lnTo>
                <a:lnTo>
                  <a:pt x="2678" y="10630"/>
                </a:lnTo>
                <a:lnTo>
                  <a:pt x="5357" y="13667"/>
                </a:lnTo>
                <a:lnTo>
                  <a:pt x="8035" y="15793"/>
                </a:lnTo>
                <a:lnTo>
                  <a:pt x="11309" y="17919"/>
                </a:lnTo>
                <a:lnTo>
                  <a:pt x="14583" y="18830"/>
                </a:lnTo>
                <a:lnTo>
                  <a:pt x="18154" y="19134"/>
                </a:lnTo>
                <a:lnTo>
                  <a:pt x="18154" y="16097"/>
                </a:lnTo>
                <a:lnTo>
                  <a:pt x="15178" y="15793"/>
                </a:lnTo>
                <a:lnTo>
                  <a:pt x="12499" y="14882"/>
                </a:lnTo>
                <a:lnTo>
                  <a:pt x="9821" y="13363"/>
                </a:lnTo>
                <a:lnTo>
                  <a:pt x="7142" y="11237"/>
                </a:lnTo>
                <a:lnTo>
                  <a:pt x="5059" y="8808"/>
                </a:lnTo>
                <a:close/>
              </a:path>
            </a:pathLst>
          </a:custGeom>
          <a:solidFill>
            <a:srgbClr val="000000"/>
          </a:solidFill>
        </p:spPr>
        <p:txBody>
          <a:bodyPr wrap="square" lIns="0" tIns="0" rIns="0" bIns="0" rtlCol="0">
            <a:noAutofit/>
          </a:bodyPr>
          <a:lstStyle/>
          <a:p>
            <a:endParaRPr/>
          </a:p>
        </p:txBody>
      </p:sp>
      <p:sp>
        <p:nvSpPr>
          <p:cNvPr id="656" name="object 656"/>
          <p:cNvSpPr/>
          <p:nvPr/>
        </p:nvSpPr>
        <p:spPr>
          <a:xfrm>
            <a:off x="8046237" y="674137"/>
            <a:ext cx="33928" cy="178286"/>
          </a:xfrm>
          <a:custGeom>
            <a:avLst/>
            <a:gdLst/>
            <a:ahLst/>
            <a:cxnLst/>
            <a:rect l="l" t="t" r="r" b="b"/>
            <a:pathLst>
              <a:path w="33928" h="178286">
                <a:moveTo>
                  <a:pt x="30952" y="0"/>
                </a:moveTo>
                <a:lnTo>
                  <a:pt x="0" y="177679"/>
                </a:lnTo>
                <a:lnTo>
                  <a:pt x="2976" y="178286"/>
                </a:lnTo>
                <a:lnTo>
                  <a:pt x="33928" y="607"/>
                </a:lnTo>
                <a:lnTo>
                  <a:pt x="30952" y="0"/>
                </a:lnTo>
                <a:close/>
              </a:path>
            </a:pathLst>
          </a:custGeom>
          <a:solidFill>
            <a:srgbClr val="000000"/>
          </a:solidFill>
        </p:spPr>
        <p:txBody>
          <a:bodyPr wrap="square" lIns="0" tIns="0" rIns="0" bIns="0" rtlCol="0">
            <a:noAutofit/>
          </a:bodyPr>
          <a:lstStyle/>
          <a:p>
            <a:endParaRPr/>
          </a:p>
        </p:txBody>
      </p:sp>
      <p:sp>
        <p:nvSpPr>
          <p:cNvPr id="657" name="object 657"/>
          <p:cNvSpPr/>
          <p:nvPr/>
        </p:nvSpPr>
        <p:spPr>
          <a:xfrm>
            <a:off x="8077190" y="655610"/>
            <a:ext cx="18452" cy="19134"/>
          </a:xfrm>
          <a:custGeom>
            <a:avLst/>
            <a:gdLst/>
            <a:ahLst/>
            <a:cxnLst/>
            <a:rect l="l" t="t" r="r" b="b"/>
            <a:pathLst>
              <a:path w="18452" h="19134">
                <a:moveTo>
                  <a:pt x="2976" y="19134"/>
                </a:moveTo>
                <a:lnTo>
                  <a:pt x="3869" y="16401"/>
                </a:lnTo>
                <a:lnTo>
                  <a:pt x="4761" y="13363"/>
                </a:lnTo>
                <a:lnTo>
                  <a:pt x="6547" y="10934"/>
                </a:lnTo>
                <a:lnTo>
                  <a:pt x="8630" y="8200"/>
                </a:lnTo>
                <a:lnTo>
                  <a:pt x="10714" y="6378"/>
                </a:lnTo>
                <a:lnTo>
                  <a:pt x="13095" y="4555"/>
                </a:lnTo>
                <a:lnTo>
                  <a:pt x="15773" y="3644"/>
                </a:lnTo>
                <a:lnTo>
                  <a:pt x="18452" y="3037"/>
                </a:lnTo>
                <a:lnTo>
                  <a:pt x="17857" y="0"/>
                </a:lnTo>
                <a:lnTo>
                  <a:pt x="14583" y="607"/>
                </a:lnTo>
                <a:lnTo>
                  <a:pt x="11904" y="2126"/>
                </a:lnTo>
                <a:lnTo>
                  <a:pt x="8928" y="3948"/>
                </a:lnTo>
                <a:lnTo>
                  <a:pt x="6249" y="6378"/>
                </a:lnTo>
                <a:lnTo>
                  <a:pt x="4166" y="9111"/>
                </a:lnTo>
                <a:lnTo>
                  <a:pt x="2380" y="12149"/>
                </a:lnTo>
                <a:lnTo>
                  <a:pt x="892" y="15186"/>
                </a:lnTo>
                <a:lnTo>
                  <a:pt x="0" y="18527"/>
                </a:lnTo>
                <a:lnTo>
                  <a:pt x="2976" y="19134"/>
                </a:lnTo>
                <a:close/>
              </a:path>
            </a:pathLst>
          </a:custGeom>
          <a:solidFill>
            <a:srgbClr val="000000"/>
          </a:solidFill>
        </p:spPr>
        <p:txBody>
          <a:bodyPr wrap="square" lIns="0" tIns="0" rIns="0" bIns="0" rtlCol="0">
            <a:noAutofit/>
          </a:bodyPr>
          <a:lstStyle/>
          <a:p>
            <a:endParaRPr/>
          </a:p>
        </p:txBody>
      </p:sp>
      <p:sp>
        <p:nvSpPr>
          <p:cNvPr id="658" name="object 658"/>
          <p:cNvSpPr/>
          <p:nvPr/>
        </p:nvSpPr>
        <p:spPr>
          <a:xfrm>
            <a:off x="8628676" y="823875"/>
            <a:ext cx="172320" cy="26727"/>
          </a:xfrm>
          <a:custGeom>
            <a:avLst/>
            <a:gdLst/>
            <a:ahLst/>
            <a:cxnLst/>
            <a:rect l="l" t="t" r="r" b="b"/>
            <a:pathLst>
              <a:path w="172320" h="26727">
                <a:moveTo>
                  <a:pt x="892" y="3037"/>
                </a:moveTo>
                <a:lnTo>
                  <a:pt x="171725" y="26727"/>
                </a:lnTo>
                <a:lnTo>
                  <a:pt x="172320" y="23690"/>
                </a:lnTo>
                <a:lnTo>
                  <a:pt x="1488" y="0"/>
                </a:lnTo>
                <a:lnTo>
                  <a:pt x="297" y="303"/>
                </a:lnTo>
                <a:lnTo>
                  <a:pt x="0" y="1214"/>
                </a:lnTo>
                <a:lnTo>
                  <a:pt x="0" y="2429"/>
                </a:lnTo>
                <a:lnTo>
                  <a:pt x="892" y="3037"/>
                </a:lnTo>
                <a:close/>
              </a:path>
            </a:pathLst>
          </a:custGeom>
          <a:solidFill>
            <a:srgbClr val="000000"/>
          </a:solidFill>
        </p:spPr>
        <p:txBody>
          <a:bodyPr wrap="square" lIns="0" tIns="0" rIns="0" bIns="0" rtlCol="0">
            <a:noAutofit/>
          </a:bodyPr>
          <a:lstStyle/>
          <a:p>
            <a:endParaRPr/>
          </a:p>
        </p:txBody>
      </p:sp>
      <p:sp>
        <p:nvSpPr>
          <p:cNvPr id="659" name="object 659"/>
          <p:cNvSpPr/>
          <p:nvPr/>
        </p:nvSpPr>
        <p:spPr>
          <a:xfrm>
            <a:off x="8618558" y="802007"/>
            <a:ext cx="11607" cy="24905"/>
          </a:xfrm>
          <a:custGeom>
            <a:avLst/>
            <a:gdLst/>
            <a:ahLst/>
            <a:cxnLst/>
            <a:rect l="l" t="t" r="r" b="b"/>
            <a:pathLst>
              <a:path w="11607" h="24905">
                <a:moveTo>
                  <a:pt x="8333" y="20957"/>
                </a:moveTo>
                <a:lnTo>
                  <a:pt x="5952" y="19742"/>
                </a:lnTo>
                <a:lnTo>
                  <a:pt x="4464" y="17919"/>
                </a:lnTo>
                <a:lnTo>
                  <a:pt x="3571" y="15793"/>
                </a:lnTo>
                <a:lnTo>
                  <a:pt x="2976" y="12756"/>
                </a:lnTo>
                <a:lnTo>
                  <a:pt x="2976" y="9415"/>
                </a:lnTo>
                <a:lnTo>
                  <a:pt x="3273" y="5770"/>
                </a:lnTo>
                <a:lnTo>
                  <a:pt x="3869" y="1822"/>
                </a:lnTo>
                <a:lnTo>
                  <a:pt x="3571" y="607"/>
                </a:lnTo>
                <a:lnTo>
                  <a:pt x="2678" y="0"/>
                </a:lnTo>
                <a:lnTo>
                  <a:pt x="1488" y="303"/>
                </a:lnTo>
                <a:lnTo>
                  <a:pt x="892" y="1214"/>
                </a:lnTo>
                <a:lnTo>
                  <a:pt x="297" y="5163"/>
                </a:lnTo>
                <a:lnTo>
                  <a:pt x="0" y="9415"/>
                </a:lnTo>
                <a:lnTo>
                  <a:pt x="0" y="12756"/>
                </a:lnTo>
                <a:lnTo>
                  <a:pt x="595" y="16401"/>
                </a:lnTo>
                <a:lnTo>
                  <a:pt x="2083" y="19742"/>
                </a:lnTo>
                <a:lnTo>
                  <a:pt x="4166" y="22171"/>
                </a:lnTo>
                <a:lnTo>
                  <a:pt x="7142" y="23994"/>
                </a:lnTo>
                <a:lnTo>
                  <a:pt x="11011" y="24905"/>
                </a:lnTo>
                <a:lnTo>
                  <a:pt x="11607" y="21868"/>
                </a:lnTo>
                <a:lnTo>
                  <a:pt x="8333" y="20957"/>
                </a:lnTo>
                <a:close/>
              </a:path>
            </a:pathLst>
          </a:custGeom>
          <a:solidFill>
            <a:srgbClr val="000000"/>
          </a:solidFill>
        </p:spPr>
        <p:txBody>
          <a:bodyPr wrap="square" lIns="0" tIns="0" rIns="0" bIns="0" rtlCol="0">
            <a:noAutofit/>
          </a:bodyPr>
          <a:lstStyle/>
          <a:p>
            <a:endParaRPr/>
          </a:p>
        </p:txBody>
      </p:sp>
      <p:sp>
        <p:nvSpPr>
          <p:cNvPr id="660" name="object 660"/>
          <p:cNvSpPr/>
          <p:nvPr/>
        </p:nvSpPr>
        <p:spPr>
          <a:xfrm>
            <a:off x="8619450" y="644979"/>
            <a:ext cx="27678" cy="158848"/>
          </a:xfrm>
          <a:custGeom>
            <a:avLst/>
            <a:gdLst/>
            <a:ahLst/>
            <a:cxnLst/>
            <a:rect l="l" t="t" r="r" b="b"/>
            <a:pathLst>
              <a:path w="27678" h="158848">
                <a:moveTo>
                  <a:pt x="24702" y="1214"/>
                </a:moveTo>
                <a:lnTo>
                  <a:pt x="0" y="158241"/>
                </a:lnTo>
                <a:lnTo>
                  <a:pt x="2976" y="158848"/>
                </a:lnTo>
                <a:lnTo>
                  <a:pt x="27678" y="1822"/>
                </a:lnTo>
                <a:lnTo>
                  <a:pt x="27380" y="607"/>
                </a:lnTo>
                <a:lnTo>
                  <a:pt x="26488" y="0"/>
                </a:lnTo>
                <a:lnTo>
                  <a:pt x="25297" y="303"/>
                </a:lnTo>
                <a:lnTo>
                  <a:pt x="24702" y="1214"/>
                </a:lnTo>
                <a:close/>
              </a:path>
            </a:pathLst>
          </a:custGeom>
          <a:solidFill>
            <a:srgbClr val="000000"/>
          </a:solidFill>
        </p:spPr>
        <p:txBody>
          <a:bodyPr wrap="square" lIns="0" tIns="0" rIns="0" bIns="0" rtlCol="0">
            <a:noAutofit/>
          </a:bodyPr>
          <a:lstStyle/>
          <a:p>
            <a:endParaRPr/>
          </a:p>
        </p:txBody>
      </p:sp>
      <p:sp>
        <p:nvSpPr>
          <p:cNvPr id="661" name="object 661"/>
          <p:cNvSpPr/>
          <p:nvPr/>
        </p:nvSpPr>
        <p:spPr>
          <a:xfrm>
            <a:off x="8644152" y="624023"/>
            <a:ext cx="24404" cy="22779"/>
          </a:xfrm>
          <a:custGeom>
            <a:avLst/>
            <a:gdLst/>
            <a:ahLst/>
            <a:cxnLst/>
            <a:rect l="l" t="t" r="r" b="b"/>
            <a:pathLst>
              <a:path w="24404" h="22779">
                <a:moveTo>
                  <a:pt x="4464" y="8504"/>
                </a:moveTo>
                <a:lnTo>
                  <a:pt x="2380" y="12452"/>
                </a:lnTo>
                <a:lnTo>
                  <a:pt x="1190" y="17312"/>
                </a:lnTo>
                <a:lnTo>
                  <a:pt x="0" y="22171"/>
                </a:lnTo>
                <a:lnTo>
                  <a:pt x="2976" y="22779"/>
                </a:lnTo>
                <a:lnTo>
                  <a:pt x="4166" y="17919"/>
                </a:lnTo>
                <a:lnTo>
                  <a:pt x="5357" y="13667"/>
                </a:lnTo>
                <a:lnTo>
                  <a:pt x="6845" y="10326"/>
                </a:lnTo>
                <a:lnTo>
                  <a:pt x="9226" y="6985"/>
                </a:lnTo>
                <a:lnTo>
                  <a:pt x="11904" y="4859"/>
                </a:lnTo>
                <a:lnTo>
                  <a:pt x="14583" y="3644"/>
                </a:lnTo>
                <a:lnTo>
                  <a:pt x="18154" y="3037"/>
                </a:lnTo>
                <a:lnTo>
                  <a:pt x="22618" y="3644"/>
                </a:lnTo>
                <a:lnTo>
                  <a:pt x="23809" y="3340"/>
                </a:lnTo>
                <a:lnTo>
                  <a:pt x="24404" y="2429"/>
                </a:lnTo>
                <a:lnTo>
                  <a:pt x="24107" y="1214"/>
                </a:lnTo>
                <a:lnTo>
                  <a:pt x="23214" y="607"/>
                </a:lnTo>
                <a:lnTo>
                  <a:pt x="18154" y="0"/>
                </a:lnTo>
                <a:lnTo>
                  <a:pt x="13988" y="607"/>
                </a:lnTo>
                <a:lnTo>
                  <a:pt x="10119" y="2429"/>
                </a:lnTo>
                <a:lnTo>
                  <a:pt x="6845" y="5163"/>
                </a:lnTo>
                <a:lnTo>
                  <a:pt x="4464" y="8504"/>
                </a:lnTo>
                <a:close/>
              </a:path>
            </a:pathLst>
          </a:custGeom>
          <a:solidFill>
            <a:srgbClr val="000000"/>
          </a:solidFill>
        </p:spPr>
        <p:txBody>
          <a:bodyPr wrap="square" lIns="0" tIns="0" rIns="0" bIns="0" rtlCol="0">
            <a:noAutofit/>
          </a:bodyPr>
          <a:lstStyle/>
          <a:p>
            <a:endParaRPr/>
          </a:p>
        </p:txBody>
      </p:sp>
      <p:sp>
        <p:nvSpPr>
          <p:cNvPr id="662" name="object 662"/>
          <p:cNvSpPr/>
          <p:nvPr/>
        </p:nvSpPr>
        <p:spPr>
          <a:xfrm>
            <a:off x="8666771" y="624631"/>
            <a:ext cx="132440" cy="29461"/>
          </a:xfrm>
          <a:custGeom>
            <a:avLst/>
            <a:gdLst/>
            <a:ahLst/>
            <a:cxnLst/>
            <a:rect l="l" t="t" r="r" b="b"/>
            <a:pathLst>
              <a:path w="132440" h="29461">
                <a:moveTo>
                  <a:pt x="131249" y="26424"/>
                </a:moveTo>
                <a:lnTo>
                  <a:pt x="595" y="0"/>
                </a:lnTo>
                <a:lnTo>
                  <a:pt x="0" y="3037"/>
                </a:lnTo>
                <a:lnTo>
                  <a:pt x="130654" y="29461"/>
                </a:lnTo>
                <a:lnTo>
                  <a:pt x="131844" y="29157"/>
                </a:lnTo>
                <a:lnTo>
                  <a:pt x="132440" y="28246"/>
                </a:lnTo>
                <a:lnTo>
                  <a:pt x="132142" y="27031"/>
                </a:lnTo>
                <a:lnTo>
                  <a:pt x="131249" y="26424"/>
                </a:lnTo>
                <a:close/>
              </a:path>
            </a:pathLst>
          </a:custGeom>
          <a:solidFill>
            <a:srgbClr val="000000"/>
          </a:solidFill>
        </p:spPr>
        <p:txBody>
          <a:bodyPr wrap="square" lIns="0" tIns="0" rIns="0" bIns="0" rtlCol="0">
            <a:noAutofit/>
          </a:bodyPr>
          <a:lstStyle/>
          <a:p>
            <a:endParaRPr/>
          </a:p>
        </p:txBody>
      </p:sp>
      <p:sp>
        <p:nvSpPr>
          <p:cNvPr id="663" name="object 663"/>
          <p:cNvSpPr/>
          <p:nvPr/>
        </p:nvSpPr>
        <p:spPr>
          <a:xfrm>
            <a:off x="8797427" y="651054"/>
            <a:ext cx="14583" cy="18830"/>
          </a:xfrm>
          <a:custGeom>
            <a:avLst/>
            <a:gdLst/>
            <a:ahLst/>
            <a:cxnLst/>
            <a:rect l="l" t="t" r="r" b="b"/>
            <a:pathLst>
              <a:path w="14583" h="18830">
                <a:moveTo>
                  <a:pt x="8928" y="3644"/>
                </a:moveTo>
                <a:lnTo>
                  <a:pt x="6547" y="2429"/>
                </a:lnTo>
                <a:lnTo>
                  <a:pt x="3869" y="911"/>
                </a:lnTo>
                <a:lnTo>
                  <a:pt x="595" y="0"/>
                </a:lnTo>
                <a:lnTo>
                  <a:pt x="0" y="3037"/>
                </a:lnTo>
                <a:lnTo>
                  <a:pt x="2678" y="3948"/>
                </a:lnTo>
                <a:lnTo>
                  <a:pt x="5357" y="4859"/>
                </a:lnTo>
                <a:lnTo>
                  <a:pt x="7142" y="6074"/>
                </a:lnTo>
                <a:lnTo>
                  <a:pt x="8630" y="7593"/>
                </a:lnTo>
                <a:lnTo>
                  <a:pt x="10119" y="9415"/>
                </a:lnTo>
                <a:lnTo>
                  <a:pt x="10714" y="11541"/>
                </a:lnTo>
                <a:lnTo>
                  <a:pt x="11309" y="14578"/>
                </a:lnTo>
                <a:lnTo>
                  <a:pt x="11607" y="17616"/>
                </a:lnTo>
                <a:lnTo>
                  <a:pt x="12202" y="18527"/>
                </a:lnTo>
                <a:lnTo>
                  <a:pt x="13095" y="18830"/>
                </a:lnTo>
                <a:lnTo>
                  <a:pt x="13988" y="18527"/>
                </a:lnTo>
                <a:lnTo>
                  <a:pt x="14583" y="17616"/>
                </a:lnTo>
                <a:lnTo>
                  <a:pt x="14285" y="13971"/>
                </a:lnTo>
                <a:lnTo>
                  <a:pt x="13690" y="10934"/>
                </a:lnTo>
                <a:lnTo>
                  <a:pt x="12499" y="8200"/>
                </a:lnTo>
                <a:lnTo>
                  <a:pt x="11011" y="5770"/>
                </a:lnTo>
                <a:lnTo>
                  <a:pt x="8928" y="3644"/>
                </a:lnTo>
                <a:close/>
              </a:path>
            </a:pathLst>
          </a:custGeom>
          <a:solidFill>
            <a:srgbClr val="000000"/>
          </a:solidFill>
        </p:spPr>
        <p:txBody>
          <a:bodyPr wrap="square" lIns="0" tIns="0" rIns="0" bIns="0" rtlCol="0">
            <a:noAutofit/>
          </a:bodyPr>
          <a:lstStyle/>
          <a:p>
            <a:endParaRPr/>
          </a:p>
        </p:txBody>
      </p:sp>
      <p:sp>
        <p:nvSpPr>
          <p:cNvPr id="664" name="object 664"/>
          <p:cNvSpPr/>
          <p:nvPr/>
        </p:nvSpPr>
        <p:spPr>
          <a:xfrm>
            <a:off x="8809033" y="668670"/>
            <a:ext cx="2976" cy="167960"/>
          </a:xfrm>
          <a:custGeom>
            <a:avLst/>
            <a:gdLst/>
            <a:ahLst/>
            <a:cxnLst/>
            <a:rect l="l" t="t" r="r" b="b"/>
            <a:pathLst>
              <a:path w="2976" h="167960">
                <a:moveTo>
                  <a:pt x="2976" y="166745"/>
                </a:moveTo>
                <a:lnTo>
                  <a:pt x="2976" y="0"/>
                </a:lnTo>
                <a:lnTo>
                  <a:pt x="0" y="0"/>
                </a:lnTo>
                <a:lnTo>
                  <a:pt x="0" y="166745"/>
                </a:lnTo>
                <a:lnTo>
                  <a:pt x="595" y="167656"/>
                </a:lnTo>
                <a:lnTo>
                  <a:pt x="1488" y="167960"/>
                </a:lnTo>
                <a:lnTo>
                  <a:pt x="2380" y="167656"/>
                </a:lnTo>
                <a:lnTo>
                  <a:pt x="2976" y="166745"/>
                </a:lnTo>
                <a:close/>
              </a:path>
            </a:pathLst>
          </a:custGeom>
          <a:solidFill>
            <a:srgbClr val="000000"/>
          </a:solidFill>
        </p:spPr>
        <p:txBody>
          <a:bodyPr wrap="square" lIns="0" tIns="0" rIns="0" bIns="0" rtlCol="0">
            <a:noAutofit/>
          </a:bodyPr>
          <a:lstStyle/>
          <a:p>
            <a:endParaRPr/>
          </a:p>
        </p:txBody>
      </p:sp>
      <p:sp>
        <p:nvSpPr>
          <p:cNvPr id="665" name="object 665"/>
          <p:cNvSpPr/>
          <p:nvPr/>
        </p:nvSpPr>
        <p:spPr>
          <a:xfrm>
            <a:off x="8799510" y="835415"/>
            <a:ext cx="12499" cy="15186"/>
          </a:xfrm>
          <a:custGeom>
            <a:avLst/>
            <a:gdLst/>
            <a:ahLst/>
            <a:cxnLst/>
            <a:rect l="l" t="t" r="r" b="b"/>
            <a:pathLst>
              <a:path w="12499" h="15186">
                <a:moveTo>
                  <a:pt x="0" y="13667"/>
                </a:moveTo>
                <a:lnTo>
                  <a:pt x="297" y="14578"/>
                </a:lnTo>
                <a:lnTo>
                  <a:pt x="1190" y="15186"/>
                </a:lnTo>
                <a:lnTo>
                  <a:pt x="4761" y="15186"/>
                </a:lnTo>
                <a:lnTo>
                  <a:pt x="7440" y="14578"/>
                </a:lnTo>
                <a:lnTo>
                  <a:pt x="9523" y="13060"/>
                </a:lnTo>
                <a:lnTo>
                  <a:pt x="11011" y="10934"/>
                </a:lnTo>
                <a:lnTo>
                  <a:pt x="11904" y="8504"/>
                </a:lnTo>
                <a:lnTo>
                  <a:pt x="12202" y="6074"/>
                </a:lnTo>
                <a:lnTo>
                  <a:pt x="12499" y="3037"/>
                </a:lnTo>
                <a:lnTo>
                  <a:pt x="12499" y="0"/>
                </a:lnTo>
                <a:lnTo>
                  <a:pt x="9523" y="0"/>
                </a:lnTo>
                <a:lnTo>
                  <a:pt x="9523" y="3037"/>
                </a:lnTo>
                <a:lnTo>
                  <a:pt x="9226" y="5467"/>
                </a:lnTo>
                <a:lnTo>
                  <a:pt x="8928" y="7896"/>
                </a:lnTo>
                <a:lnTo>
                  <a:pt x="8630" y="9719"/>
                </a:lnTo>
                <a:lnTo>
                  <a:pt x="7738" y="10630"/>
                </a:lnTo>
                <a:lnTo>
                  <a:pt x="6249" y="11541"/>
                </a:lnTo>
                <a:lnTo>
                  <a:pt x="4166" y="12149"/>
                </a:lnTo>
                <a:lnTo>
                  <a:pt x="1190" y="12149"/>
                </a:lnTo>
                <a:lnTo>
                  <a:pt x="297" y="12756"/>
                </a:lnTo>
                <a:lnTo>
                  <a:pt x="0" y="13667"/>
                </a:lnTo>
                <a:close/>
              </a:path>
            </a:pathLst>
          </a:custGeom>
          <a:solidFill>
            <a:srgbClr val="000000"/>
          </a:solidFill>
        </p:spPr>
        <p:txBody>
          <a:bodyPr wrap="square" lIns="0" tIns="0" rIns="0" bIns="0" rtlCol="0">
            <a:noAutofit/>
          </a:bodyPr>
          <a:lstStyle/>
          <a:p>
            <a:endParaRPr/>
          </a:p>
        </p:txBody>
      </p:sp>
      <p:sp>
        <p:nvSpPr>
          <p:cNvPr id="666" name="object 666"/>
          <p:cNvSpPr/>
          <p:nvPr/>
        </p:nvSpPr>
        <p:spPr>
          <a:xfrm>
            <a:off x="8053380" y="595472"/>
            <a:ext cx="754164" cy="265456"/>
          </a:xfrm>
          <a:custGeom>
            <a:avLst/>
            <a:gdLst/>
            <a:ahLst/>
            <a:cxnLst/>
            <a:rect l="l" t="t" r="r" b="b"/>
            <a:pathLst>
              <a:path w="754164" h="265456">
                <a:moveTo>
                  <a:pt x="576188" y="210481"/>
                </a:moveTo>
                <a:lnTo>
                  <a:pt x="577974" y="219289"/>
                </a:lnTo>
                <a:lnTo>
                  <a:pt x="585414" y="223542"/>
                </a:lnTo>
                <a:lnTo>
                  <a:pt x="745235" y="245714"/>
                </a:lnTo>
                <a:lnTo>
                  <a:pt x="748212" y="245714"/>
                </a:lnTo>
                <a:lnTo>
                  <a:pt x="753866" y="240854"/>
                </a:lnTo>
                <a:lnTo>
                  <a:pt x="754164" y="238424"/>
                </a:lnTo>
                <a:lnTo>
                  <a:pt x="754164" y="76842"/>
                </a:lnTo>
                <a:lnTo>
                  <a:pt x="752676" y="68338"/>
                </a:lnTo>
                <a:lnTo>
                  <a:pt x="745235" y="62871"/>
                </a:lnTo>
                <a:lnTo>
                  <a:pt x="620236" y="37054"/>
                </a:lnTo>
                <a:lnTo>
                  <a:pt x="615771" y="36447"/>
                </a:lnTo>
                <a:lnTo>
                  <a:pt x="612200" y="37054"/>
                </a:lnTo>
                <a:lnTo>
                  <a:pt x="606248" y="40699"/>
                </a:lnTo>
                <a:lnTo>
                  <a:pt x="602379" y="47381"/>
                </a:lnTo>
                <a:lnTo>
                  <a:pt x="599998" y="56189"/>
                </a:lnTo>
                <a:lnTo>
                  <a:pt x="577081" y="203192"/>
                </a:lnTo>
                <a:lnTo>
                  <a:pt x="576486" y="206837"/>
                </a:lnTo>
                <a:lnTo>
                  <a:pt x="576188" y="210481"/>
                </a:lnTo>
                <a:close/>
              </a:path>
              <a:path w="754164" h="265456">
                <a:moveTo>
                  <a:pt x="892" y="255433"/>
                </a:moveTo>
                <a:lnTo>
                  <a:pt x="4464" y="260596"/>
                </a:lnTo>
                <a:lnTo>
                  <a:pt x="9821" y="264241"/>
                </a:lnTo>
                <a:lnTo>
                  <a:pt x="15773" y="265456"/>
                </a:lnTo>
                <a:lnTo>
                  <a:pt x="178273" y="252699"/>
                </a:lnTo>
                <a:lnTo>
                  <a:pt x="181249" y="252092"/>
                </a:lnTo>
                <a:lnTo>
                  <a:pt x="183928" y="251181"/>
                </a:lnTo>
                <a:lnTo>
                  <a:pt x="186308" y="249358"/>
                </a:lnTo>
                <a:lnTo>
                  <a:pt x="188689" y="247536"/>
                </a:lnTo>
                <a:lnTo>
                  <a:pt x="193451" y="239639"/>
                </a:lnTo>
                <a:lnTo>
                  <a:pt x="226487" y="59530"/>
                </a:lnTo>
                <a:lnTo>
                  <a:pt x="226487" y="56492"/>
                </a:lnTo>
                <a:lnTo>
                  <a:pt x="221725" y="48292"/>
                </a:lnTo>
                <a:lnTo>
                  <a:pt x="213689" y="43432"/>
                </a:lnTo>
                <a:lnTo>
                  <a:pt x="210713" y="43432"/>
                </a:lnTo>
                <a:lnTo>
                  <a:pt x="44940" y="67730"/>
                </a:lnTo>
                <a:lnTo>
                  <a:pt x="36904" y="71071"/>
                </a:lnTo>
                <a:lnTo>
                  <a:pt x="30952" y="78057"/>
                </a:lnTo>
                <a:lnTo>
                  <a:pt x="0" y="249662"/>
                </a:lnTo>
                <a:lnTo>
                  <a:pt x="0" y="252395"/>
                </a:lnTo>
                <a:lnTo>
                  <a:pt x="892" y="255433"/>
                </a:lnTo>
                <a:close/>
              </a:path>
              <a:path w="754164" h="265456">
                <a:moveTo>
                  <a:pt x="233332" y="237817"/>
                </a:moveTo>
                <a:lnTo>
                  <a:pt x="242558" y="246928"/>
                </a:lnTo>
                <a:lnTo>
                  <a:pt x="247915" y="248447"/>
                </a:lnTo>
                <a:lnTo>
                  <a:pt x="499998" y="228705"/>
                </a:lnTo>
                <a:lnTo>
                  <a:pt x="510117" y="222934"/>
                </a:lnTo>
                <a:lnTo>
                  <a:pt x="515474" y="212607"/>
                </a:lnTo>
                <a:lnTo>
                  <a:pt x="545534" y="16097"/>
                </a:lnTo>
                <a:lnTo>
                  <a:pt x="545236" y="13363"/>
                </a:lnTo>
                <a:lnTo>
                  <a:pt x="537795" y="2733"/>
                </a:lnTo>
                <a:lnTo>
                  <a:pt x="532438" y="0"/>
                </a:lnTo>
                <a:lnTo>
                  <a:pt x="529760" y="0"/>
                </a:lnTo>
                <a:lnTo>
                  <a:pt x="281546" y="36143"/>
                </a:lnTo>
                <a:lnTo>
                  <a:pt x="272022" y="41914"/>
                </a:lnTo>
                <a:lnTo>
                  <a:pt x="266070" y="52240"/>
                </a:lnTo>
                <a:lnTo>
                  <a:pt x="232142" y="232350"/>
                </a:lnTo>
                <a:lnTo>
                  <a:pt x="232142" y="235083"/>
                </a:lnTo>
                <a:lnTo>
                  <a:pt x="233332" y="237817"/>
                </a:lnTo>
                <a:close/>
              </a:path>
            </a:pathLst>
          </a:custGeom>
          <a:solidFill>
            <a:srgbClr val="000000"/>
          </a:solidFill>
        </p:spPr>
        <p:txBody>
          <a:bodyPr wrap="square" lIns="0" tIns="0" rIns="0" bIns="0" rtlCol="0">
            <a:noAutofit/>
          </a:bodyPr>
          <a:lstStyle/>
          <a:p>
            <a:endParaRPr/>
          </a:p>
        </p:txBody>
      </p:sp>
      <p:sp>
        <p:nvSpPr>
          <p:cNvPr id="667" name="object 667"/>
          <p:cNvSpPr/>
          <p:nvPr/>
        </p:nvSpPr>
        <p:spPr>
          <a:xfrm>
            <a:off x="8334629" y="593954"/>
            <a:ext cx="248808" cy="39180"/>
          </a:xfrm>
          <a:custGeom>
            <a:avLst/>
            <a:gdLst/>
            <a:ahLst/>
            <a:cxnLst/>
            <a:rect l="l" t="t" r="r" b="b"/>
            <a:pathLst>
              <a:path w="248808" h="39180">
                <a:moveTo>
                  <a:pt x="248213" y="0"/>
                </a:moveTo>
                <a:lnTo>
                  <a:pt x="0" y="36143"/>
                </a:lnTo>
                <a:lnTo>
                  <a:pt x="595" y="39180"/>
                </a:lnTo>
                <a:lnTo>
                  <a:pt x="248808" y="3037"/>
                </a:lnTo>
                <a:lnTo>
                  <a:pt x="248213" y="0"/>
                </a:lnTo>
                <a:close/>
              </a:path>
            </a:pathLst>
          </a:custGeom>
          <a:solidFill>
            <a:srgbClr val="000000"/>
          </a:solidFill>
        </p:spPr>
        <p:txBody>
          <a:bodyPr wrap="square" lIns="0" tIns="0" rIns="0" bIns="0" rtlCol="0">
            <a:noAutofit/>
          </a:bodyPr>
          <a:lstStyle/>
          <a:p>
            <a:endParaRPr/>
          </a:p>
        </p:txBody>
      </p:sp>
      <p:sp>
        <p:nvSpPr>
          <p:cNvPr id="668" name="object 668"/>
          <p:cNvSpPr/>
          <p:nvPr/>
        </p:nvSpPr>
        <p:spPr>
          <a:xfrm>
            <a:off x="8582844" y="593955"/>
            <a:ext cx="17559" cy="17919"/>
          </a:xfrm>
          <a:custGeom>
            <a:avLst/>
            <a:gdLst/>
            <a:ahLst/>
            <a:cxnLst/>
            <a:rect l="l" t="t" r="r" b="b"/>
            <a:pathLst>
              <a:path w="17559" h="17919">
                <a:moveTo>
                  <a:pt x="595" y="3037"/>
                </a:moveTo>
                <a:lnTo>
                  <a:pt x="2678" y="3037"/>
                </a:lnTo>
                <a:lnTo>
                  <a:pt x="5059" y="3948"/>
                </a:lnTo>
                <a:lnTo>
                  <a:pt x="7440" y="5467"/>
                </a:lnTo>
                <a:lnTo>
                  <a:pt x="9821" y="7896"/>
                </a:lnTo>
                <a:lnTo>
                  <a:pt x="11904" y="10022"/>
                </a:lnTo>
                <a:lnTo>
                  <a:pt x="13392" y="12756"/>
                </a:lnTo>
                <a:lnTo>
                  <a:pt x="14285" y="15186"/>
                </a:lnTo>
                <a:lnTo>
                  <a:pt x="14583" y="17616"/>
                </a:lnTo>
                <a:lnTo>
                  <a:pt x="14583" y="17312"/>
                </a:lnTo>
                <a:lnTo>
                  <a:pt x="17559" y="17919"/>
                </a:lnTo>
                <a:lnTo>
                  <a:pt x="17559" y="17616"/>
                </a:lnTo>
                <a:lnTo>
                  <a:pt x="17261" y="14578"/>
                </a:lnTo>
                <a:lnTo>
                  <a:pt x="16368" y="11541"/>
                </a:lnTo>
                <a:lnTo>
                  <a:pt x="14285" y="8200"/>
                </a:lnTo>
                <a:lnTo>
                  <a:pt x="12202" y="5467"/>
                </a:lnTo>
                <a:lnTo>
                  <a:pt x="9226" y="3037"/>
                </a:lnTo>
                <a:lnTo>
                  <a:pt x="6249" y="1518"/>
                </a:lnTo>
                <a:lnTo>
                  <a:pt x="3273" y="0"/>
                </a:lnTo>
                <a:lnTo>
                  <a:pt x="0" y="0"/>
                </a:lnTo>
                <a:lnTo>
                  <a:pt x="595" y="3037"/>
                </a:lnTo>
                <a:close/>
              </a:path>
            </a:pathLst>
          </a:custGeom>
          <a:solidFill>
            <a:srgbClr val="000000"/>
          </a:solidFill>
        </p:spPr>
        <p:txBody>
          <a:bodyPr wrap="square" lIns="0" tIns="0" rIns="0" bIns="0" rtlCol="0">
            <a:noAutofit/>
          </a:bodyPr>
          <a:lstStyle/>
          <a:p>
            <a:endParaRPr/>
          </a:p>
        </p:txBody>
      </p:sp>
      <p:sp>
        <p:nvSpPr>
          <p:cNvPr id="669" name="object 669"/>
          <p:cNvSpPr/>
          <p:nvPr/>
        </p:nvSpPr>
        <p:spPr>
          <a:xfrm>
            <a:off x="8567368" y="611267"/>
            <a:ext cx="33035" cy="197117"/>
          </a:xfrm>
          <a:custGeom>
            <a:avLst/>
            <a:gdLst/>
            <a:ahLst/>
            <a:cxnLst/>
            <a:rect l="l" t="t" r="r" b="b"/>
            <a:pathLst>
              <a:path w="33035" h="197117">
                <a:moveTo>
                  <a:pt x="2976" y="196814"/>
                </a:moveTo>
                <a:lnTo>
                  <a:pt x="2976" y="197117"/>
                </a:lnTo>
                <a:lnTo>
                  <a:pt x="33035" y="607"/>
                </a:lnTo>
                <a:lnTo>
                  <a:pt x="30059" y="0"/>
                </a:lnTo>
                <a:lnTo>
                  <a:pt x="0" y="196510"/>
                </a:lnTo>
                <a:lnTo>
                  <a:pt x="0" y="196814"/>
                </a:lnTo>
                <a:lnTo>
                  <a:pt x="2976" y="196814"/>
                </a:lnTo>
                <a:close/>
              </a:path>
            </a:pathLst>
          </a:custGeom>
          <a:solidFill>
            <a:srgbClr val="000000"/>
          </a:solidFill>
        </p:spPr>
        <p:txBody>
          <a:bodyPr wrap="square" lIns="0" tIns="0" rIns="0" bIns="0" rtlCol="0">
            <a:noAutofit/>
          </a:bodyPr>
          <a:lstStyle/>
          <a:p>
            <a:endParaRPr/>
          </a:p>
        </p:txBody>
      </p:sp>
      <p:sp>
        <p:nvSpPr>
          <p:cNvPr id="670" name="object 670"/>
          <p:cNvSpPr/>
          <p:nvPr/>
        </p:nvSpPr>
        <p:spPr>
          <a:xfrm>
            <a:off x="8553379" y="808080"/>
            <a:ext cx="16964" cy="17616"/>
          </a:xfrm>
          <a:custGeom>
            <a:avLst/>
            <a:gdLst/>
            <a:ahLst/>
            <a:cxnLst/>
            <a:rect l="l" t="t" r="r" b="b"/>
            <a:pathLst>
              <a:path w="16964" h="17616">
                <a:moveTo>
                  <a:pt x="1785" y="13971"/>
                </a:moveTo>
                <a:lnTo>
                  <a:pt x="0" y="14578"/>
                </a:lnTo>
                <a:lnTo>
                  <a:pt x="0" y="17616"/>
                </a:lnTo>
                <a:lnTo>
                  <a:pt x="2976" y="17008"/>
                </a:lnTo>
                <a:lnTo>
                  <a:pt x="5654" y="15490"/>
                </a:lnTo>
                <a:lnTo>
                  <a:pt x="8630" y="13667"/>
                </a:lnTo>
                <a:lnTo>
                  <a:pt x="11309" y="11237"/>
                </a:lnTo>
                <a:lnTo>
                  <a:pt x="13095" y="8808"/>
                </a:lnTo>
                <a:lnTo>
                  <a:pt x="14880" y="5770"/>
                </a:lnTo>
                <a:lnTo>
                  <a:pt x="16368" y="3037"/>
                </a:lnTo>
                <a:lnTo>
                  <a:pt x="16964" y="0"/>
                </a:lnTo>
                <a:lnTo>
                  <a:pt x="13988" y="0"/>
                </a:lnTo>
                <a:lnTo>
                  <a:pt x="13392" y="1822"/>
                </a:lnTo>
                <a:lnTo>
                  <a:pt x="12499" y="4555"/>
                </a:lnTo>
                <a:lnTo>
                  <a:pt x="10714" y="6985"/>
                </a:lnTo>
                <a:lnTo>
                  <a:pt x="8928" y="9415"/>
                </a:lnTo>
                <a:lnTo>
                  <a:pt x="6845" y="11237"/>
                </a:lnTo>
                <a:lnTo>
                  <a:pt x="4464" y="13060"/>
                </a:lnTo>
                <a:lnTo>
                  <a:pt x="1785" y="13971"/>
                </a:lnTo>
                <a:close/>
              </a:path>
            </a:pathLst>
          </a:custGeom>
          <a:solidFill>
            <a:srgbClr val="000000"/>
          </a:solidFill>
        </p:spPr>
        <p:txBody>
          <a:bodyPr wrap="square" lIns="0" tIns="0" rIns="0" bIns="0" rtlCol="0">
            <a:noAutofit/>
          </a:bodyPr>
          <a:lstStyle/>
          <a:p>
            <a:endParaRPr/>
          </a:p>
        </p:txBody>
      </p:sp>
      <p:sp>
        <p:nvSpPr>
          <p:cNvPr id="671" name="object 671"/>
          <p:cNvSpPr/>
          <p:nvPr/>
        </p:nvSpPr>
        <p:spPr>
          <a:xfrm>
            <a:off x="8301296" y="822660"/>
            <a:ext cx="252082" cy="22779"/>
          </a:xfrm>
          <a:custGeom>
            <a:avLst/>
            <a:gdLst/>
            <a:ahLst/>
            <a:cxnLst/>
            <a:rect l="l" t="t" r="r" b="b"/>
            <a:pathLst>
              <a:path w="252082" h="22779">
                <a:moveTo>
                  <a:pt x="0" y="22779"/>
                </a:moveTo>
                <a:lnTo>
                  <a:pt x="252082" y="3037"/>
                </a:lnTo>
                <a:lnTo>
                  <a:pt x="252082" y="0"/>
                </a:lnTo>
                <a:lnTo>
                  <a:pt x="0" y="19742"/>
                </a:lnTo>
                <a:lnTo>
                  <a:pt x="0" y="22779"/>
                </a:lnTo>
                <a:close/>
              </a:path>
            </a:pathLst>
          </a:custGeom>
          <a:solidFill>
            <a:srgbClr val="000000"/>
          </a:solidFill>
        </p:spPr>
        <p:txBody>
          <a:bodyPr wrap="square" lIns="0" tIns="0" rIns="0" bIns="0" rtlCol="0">
            <a:noAutofit/>
          </a:bodyPr>
          <a:lstStyle/>
          <a:p>
            <a:endParaRPr/>
          </a:p>
        </p:txBody>
      </p:sp>
      <p:sp>
        <p:nvSpPr>
          <p:cNvPr id="672" name="object 672"/>
          <p:cNvSpPr/>
          <p:nvPr/>
        </p:nvSpPr>
        <p:spPr>
          <a:xfrm>
            <a:off x="8284035" y="827520"/>
            <a:ext cx="17261" cy="17919"/>
          </a:xfrm>
          <a:custGeom>
            <a:avLst/>
            <a:gdLst/>
            <a:ahLst/>
            <a:cxnLst/>
            <a:rect l="l" t="t" r="r" b="b"/>
            <a:pathLst>
              <a:path w="17261" h="17919">
                <a:moveTo>
                  <a:pt x="5357" y="7593"/>
                </a:moveTo>
                <a:lnTo>
                  <a:pt x="3869" y="5163"/>
                </a:lnTo>
                <a:lnTo>
                  <a:pt x="2976" y="2733"/>
                </a:lnTo>
                <a:lnTo>
                  <a:pt x="2976" y="607"/>
                </a:lnTo>
                <a:lnTo>
                  <a:pt x="0" y="0"/>
                </a:lnTo>
                <a:lnTo>
                  <a:pt x="0" y="3340"/>
                </a:lnTo>
                <a:lnTo>
                  <a:pt x="1488" y="6378"/>
                </a:lnTo>
                <a:lnTo>
                  <a:pt x="2976" y="9415"/>
                </a:lnTo>
                <a:lnTo>
                  <a:pt x="5654" y="12149"/>
                </a:lnTo>
                <a:lnTo>
                  <a:pt x="8035" y="14275"/>
                </a:lnTo>
                <a:lnTo>
                  <a:pt x="11309" y="16097"/>
                </a:lnTo>
                <a:lnTo>
                  <a:pt x="14285" y="17616"/>
                </a:lnTo>
                <a:lnTo>
                  <a:pt x="17261" y="17919"/>
                </a:lnTo>
                <a:lnTo>
                  <a:pt x="17261" y="14882"/>
                </a:lnTo>
                <a:lnTo>
                  <a:pt x="14880" y="14578"/>
                </a:lnTo>
                <a:lnTo>
                  <a:pt x="12499" y="13667"/>
                </a:lnTo>
                <a:lnTo>
                  <a:pt x="9821" y="11845"/>
                </a:lnTo>
                <a:lnTo>
                  <a:pt x="7440" y="9719"/>
                </a:lnTo>
                <a:lnTo>
                  <a:pt x="5357" y="7593"/>
                </a:lnTo>
                <a:close/>
              </a:path>
            </a:pathLst>
          </a:custGeom>
          <a:solidFill>
            <a:srgbClr val="000000"/>
          </a:solidFill>
        </p:spPr>
        <p:txBody>
          <a:bodyPr wrap="square" lIns="0" tIns="0" rIns="0" bIns="0" rtlCol="0">
            <a:noAutofit/>
          </a:bodyPr>
          <a:lstStyle/>
          <a:p>
            <a:endParaRPr/>
          </a:p>
        </p:txBody>
      </p:sp>
      <p:sp>
        <p:nvSpPr>
          <p:cNvPr id="673" name="object 673"/>
          <p:cNvSpPr/>
          <p:nvPr/>
        </p:nvSpPr>
        <p:spPr>
          <a:xfrm>
            <a:off x="8284034" y="647409"/>
            <a:ext cx="36904" cy="180716"/>
          </a:xfrm>
          <a:custGeom>
            <a:avLst/>
            <a:gdLst/>
            <a:ahLst/>
            <a:cxnLst/>
            <a:rect l="l" t="t" r="r" b="b"/>
            <a:pathLst>
              <a:path w="36904" h="180716">
                <a:moveTo>
                  <a:pt x="33928" y="0"/>
                </a:moveTo>
                <a:lnTo>
                  <a:pt x="0" y="180109"/>
                </a:lnTo>
                <a:lnTo>
                  <a:pt x="2976" y="180716"/>
                </a:lnTo>
                <a:lnTo>
                  <a:pt x="36904" y="607"/>
                </a:lnTo>
                <a:lnTo>
                  <a:pt x="33928" y="0"/>
                </a:lnTo>
                <a:close/>
              </a:path>
            </a:pathLst>
          </a:custGeom>
          <a:solidFill>
            <a:srgbClr val="000000"/>
          </a:solidFill>
        </p:spPr>
        <p:txBody>
          <a:bodyPr wrap="square" lIns="0" tIns="0" rIns="0" bIns="0" rtlCol="0">
            <a:noAutofit/>
          </a:bodyPr>
          <a:lstStyle/>
          <a:p>
            <a:endParaRPr/>
          </a:p>
        </p:txBody>
      </p:sp>
      <p:sp>
        <p:nvSpPr>
          <p:cNvPr id="674" name="object 674"/>
          <p:cNvSpPr/>
          <p:nvPr/>
        </p:nvSpPr>
        <p:spPr>
          <a:xfrm>
            <a:off x="8317964" y="630098"/>
            <a:ext cx="17261" cy="17919"/>
          </a:xfrm>
          <a:custGeom>
            <a:avLst/>
            <a:gdLst/>
            <a:ahLst/>
            <a:cxnLst/>
            <a:rect l="l" t="t" r="r" b="b"/>
            <a:pathLst>
              <a:path w="17261" h="17919">
                <a:moveTo>
                  <a:pt x="2976" y="17919"/>
                </a:moveTo>
                <a:lnTo>
                  <a:pt x="3869" y="15793"/>
                </a:lnTo>
                <a:lnTo>
                  <a:pt x="4761" y="13060"/>
                </a:lnTo>
                <a:lnTo>
                  <a:pt x="6547" y="10630"/>
                </a:lnTo>
                <a:lnTo>
                  <a:pt x="8630" y="8200"/>
                </a:lnTo>
                <a:lnTo>
                  <a:pt x="10416" y="6378"/>
                </a:lnTo>
                <a:lnTo>
                  <a:pt x="13095" y="4555"/>
                </a:lnTo>
                <a:lnTo>
                  <a:pt x="15178" y="3644"/>
                </a:lnTo>
                <a:lnTo>
                  <a:pt x="17261" y="3037"/>
                </a:lnTo>
                <a:lnTo>
                  <a:pt x="16666" y="0"/>
                </a:lnTo>
                <a:lnTo>
                  <a:pt x="13988" y="607"/>
                </a:lnTo>
                <a:lnTo>
                  <a:pt x="11309" y="2126"/>
                </a:lnTo>
                <a:lnTo>
                  <a:pt x="8630" y="3948"/>
                </a:lnTo>
                <a:lnTo>
                  <a:pt x="6249" y="6378"/>
                </a:lnTo>
                <a:lnTo>
                  <a:pt x="4166" y="8808"/>
                </a:lnTo>
                <a:lnTo>
                  <a:pt x="2380" y="11845"/>
                </a:lnTo>
                <a:lnTo>
                  <a:pt x="892" y="14578"/>
                </a:lnTo>
                <a:lnTo>
                  <a:pt x="0" y="17312"/>
                </a:lnTo>
                <a:lnTo>
                  <a:pt x="2976" y="17919"/>
                </a:lnTo>
                <a:close/>
              </a:path>
            </a:pathLst>
          </a:custGeom>
          <a:solidFill>
            <a:srgbClr val="000000"/>
          </a:solidFill>
        </p:spPr>
        <p:txBody>
          <a:bodyPr wrap="square" lIns="0" tIns="0" rIns="0" bIns="0" rtlCol="0">
            <a:noAutofit/>
          </a:bodyPr>
          <a:lstStyle/>
          <a:p>
            <a:endParaRPr/>
          </a:p>
        </p:txBody>
      </p:sp>
      <p:sp>
        <p:nvSpPr>
          <p:cNvPr id="675" name="object 675"/>
          <p:cNvSpPr/>
          <p:nvPr/>
        </p:nvSpPr>
        <p:spPr>
          <a:xfrm>
            <a:off x="8098023" y="637387"/>
            <a:ext cx="166368" cy="27335"/>
          </a:xfrm>
          <a:custGeom>
            <a:avLst/>
            <a:gdLst/>
            <a:ahLst/>
            <a:cxnLst/>
            <a:rect l="l" t="t" r="r" b="b"/>
            <a:pathLst>
              <a:path w="166368" h="27335">
                <a:moveTo>
                  <a:pt x="165773" y="0"/>
                </a:moveTo>
                <a:lnTo>
                  <a:pt x="0" y="24298"/>
                </a:lnTo>
                <a:lnTo>
                  <a:pt x="595" y="27335"/>
                </a:lnTo>
                <a:lnTo>
                  <a:pt x="166368" y="3037"/>
                </a:lnTo>
                <a:lnTo>
                  <a:pt x="165773" y="0"/>
                </a:lnTo>
                <a:close/>
              </a:path>
            </a:pathLst>
          </a:custGeom>
          <a:solidFill>
            <a:srgbClr val="000000"/>
          </a:solidFill>
        </p:spPr>
        <p:txBody>
          <a:bodyPr wrap="square" lIns="0" tIns="0" rIns="0" bIns="0" rtlCol="0">
            <a:noAutofit/>
          </a:bodyPr>
          <a:lstStyle/>
          <a:p>
            <a:endParaRPr/>
          </a:p>
        </p:txBody>
      </p:sp>
      <p:sp>
        <p:nvSpPr>
          <p:cNvPr id="676" name="object 676"/>
          <p:cNvSpPr/>
          <p:nvPr/>
        </p:nvSpPr>
        <p:spPr>
          <a:xfrm>
            <a:off x="8263797" y="637387"/>
            <a:ext cx="17559" cy="17919"/>
          </a:xfrm>
          <a:custGeom>
            <a:avLst/>
            <a:gdLst/>
            <a:ahLst/>
            <a:cxnLst/>
            <a:rect l="l" t="t" r="r" b="b"/>
            <a:pathLst>
              <a:path w="17559" h="17919">
                <a:moveTo>
                  <a:pt x="595" y="3037"/>
                </a:moveTo>
                <a:lnTo>
                  <a:pt x="2976" y="3037"/>
                </a:lnTo>
                <a:lnTo>
                  <a:pt x="5357" y="3948"/>
                </a:lnTo>
                <a:lnTo>
                  <a:pt x="8035" y="5467"/>
                </a:lnTo>
                <a:lnTo>
                  <a:pt x="10416" y="7593"/>
                </a:lnTo>
                <a:lnTo>
                  <a:pt x="12499" y="9719"/>
                </a:lnTo>
                <a:lnTo>
                  <a:pt x="13690" y="12149"/>
                </a:lnTo>
                <a:lnTo>
                  <a:pt x="14583" y="14882"/>
                </a:lnTo>
                <a:lnTo>
                  <a:pt x="14583" y="17312"/>
                </a:lnTo>
                <a:lnTo>
                  <a:pt x="17559" y="17919"/>
                </a:lnTo>
                <a:lnTo>
                  <a:pt x="17559" y="14275"/>
                </a:lnTo>
                <a:lnTo>
                  <a:pt x="16666" y="10934"/>
                </a:lnTo>
                <a:lnTo>
                  <a:pt x="14880" y="7896"/>
                </a:lnTo>
                <a:lnTo>
                  <a:pt x="12202" y="5163"/>
                </a:lnTo>
                <a:lnTo>
                  <a:pt x="9821" y="3037"/>
                </a:lnTo>
                <a:lnTo>
                  <a:pt x="6547" y="911"/>
                </a:lnTo>
                <a:lnTo>
                  <a:pt x="3571" y="0"/>
                </a:lnTo>
                <a:lnTo>
                  <a:pt x="0" y="0"/>
                </a:lnTo>
                <a:lnTo>
                  <a:pt x="595" y="3037"/>
                </a:lnTo>
                <a:close/>
              </a:path>
            </a:pathLst>
          </a:custGeom>
          <a:solidFill>
            <a:srgbClr val="000000"/>
          </a:solidFill>
        </p:spPr>
        <p:txBody>
          <a:bodyPr wrap="square" lIns="0" tIns="0" rIns="0" bIns="0" rtlCol="0">
            <a:noAutofit/>
          </a:bodyPr>
          <a:lstStyle/>
          <a:p>
            <a:endParaRPr/>
          </a:p>
        </p:txBody>
      </p:sp>
      <p:sp>
        <p:nvSpPr>
          <p:cNvPr id="677" name="object 677"/>
          <p:cNvSpPr/>
          <p:nvPr/>
        </p:nvSpPr>
        <p:spPr>
          <a:xfrm>
            <a:off x="8245939" y="654700"/>
            <a:ext cx="35416" cy="177983"/>
          </a:xfrm>
          <a:custGeom>
            <a:avLst/>
            <a:gdLst/>
            <a:ahLst/>
            <a:cxnLst/>
            <a:rect l="l" t="t" r="r" b="b"/>
            <a:pathLst>
              <a:path w="35416" h="177983">
                <a:moveTo>
                  <a:pt x="2976" y="177983"/>
                </a:moveTo>
                <a:lnTo>
                  <a:pt x="35416" y="607"/>
                </a:lnTo>
                <a:lnTo>
                  <a:pt x="32440" y="0"/>
                </a:lnTo>
                <a:lnTo>
                  <a:pt x="0" y="177375"/>
                </a:lnTo>
                <a:lnTo>
                  <a:pt x="2976" y="177983"/>
                </a:lnTo>
                <a:close/>
              </a:path>
            </a:pathLst>
          </a:custGeom>
          <a:solidFill>
            <a:srgbClr val="000000"/>
          </a:solidFill>
        </p:spPr>
        <p:txBody>
          <a:bodyPr wrap="square" lIns="0" tIns="0" rIns="0" bIns="0" rtlCol="0">
            <a:noAutofit/>
          </a:bodyPr>
          <a:lstStyle/>
          <a:p>
            <a:endParaRPr/>
          </a:p>
        </p:txBody>
      </p:sp>
      <p:sp>
        <p:nvSpPr>
          <p:cNvPr id="678" name="object 678"/>
          <p:cNvSpPr/>
          <p:nvPr/>
        </p:nvSpPr>
        <p:spPr>
          <a:xfrm>
            <a:off x="8231655" y="832074"/>
            <a:ext cx="17261" cy="17616"/>
          </a:xfrm>
          <a:custGeom>
            <a:avLst/>
            <a:gdLst/>
            <a:ahLst/>
            <a:cxnLst/>
            <a:rect l="l" t="t" r="r" b="b"/>
            <a:pathLst>
              <a:path w="17261" h="17616">
                <a:moveTo>
                  <a:pt x="2678" y="13971"/>
                </a:moveTo>
                <a:lnTo>
                  <a:pt x="0" y="14578"/>
                </a:lnTo>
                <a:lnTo>
                  <a:pt x="0" y="17616"/>
                </a:lnTo>
                <a:lnTo>
                  <a:pt x="3273" y="17008"/>
                </a:lnTo>
                <a:lnTo>
                  <a:pt x="6249" y="15793"/>
                </a:lnTo>
                <a:lnTo>
                  <a:pt x="8928" y="13971"/>
                </a:lnTo>
                <a:lnTo>
                  <a:pt x="11607" y="12149"/>
                </a:lnTo>
                <a:lnTo>
                  <a:pt x="13392" y="9415"/>
                </a:lnTo>
                <a:lnTo>
                  <a:pt x="15178" y="6378"/>
                </a:lnTo>
                <a:lnTo>
                  <a:pt x="16666" y="3644"/>
                </a:lnTo>
                <a:lnTo>
                  <a:pt x="17261" y="607"/>
                </a:lnTo>
                <a:lnTo>
                  <a:pt x="14285" y="0"/>
                </a:lnTo>
                <a:lnTo>
                  <a:pt x="13690" y="2429"/>
                </a:lnTo>
                <a:lnTo>
                  <a:pt x="12797" y="5163"/>
                </a:lnTo>
                <a:lnTo>
                  <a:pt x="11011" y="7593"/>
                </a:lnTo>
                <a:lnTo>
                  <a:pt x="9226" y="9719"/>
                </a:lnTo>
                <a:lnTo>
                  <a:pt x="7142" y="11541"/>
                </a:lnTo>
                <a:lnTo>
                  <a:pt x="5059" y="13363"/>
                </a:lnTo>
                <a:lnTo>
                  <a:pt x="2678" y="13971"/>
                </a:lnTo>
                <a:close/>
              </a:path>
            </a:pathLst>
          </a:custGeom>
          <a:solidFill>
            <a:srgbClr val="000000"/>
          </a:solidFill>
        </p:spPr>
        <p:txBody>
          <a:bodyPr wrap="square" lIns="0" tIns="0" rIns="0" bIns="0" rtlCol="0">
            <a:noAutofit/>
          </a:bodyPr>
          <a:lstStyle/>
          <a:p>
            <a:endParaRPr/>
          </a:p>
        </p:txBody>
      </p:sp>
      <p:sp>
        <p:nvSpPr>
          <p:cNvPr id="679" name="object 679"/>
          <p:cNvSpPr/>
          <p:nvPr/>
        </p:nvSpPr>
        <p:spPr>
          <a:xfrm>
            <a:off x="8069155" y="846654"/>
            <a:ext cx="162499" cy="15793"/>
          </a:xfrm>
          <a:custGeom>
            <a:avLst/>
            <a:gdLst/>
            <a:ahLst/>
            <a:cxnLst/>
            <a:rect l="l" t="t" r="r" b="b"/>
            <a:pathLst>
              <a:path w="162499" h="15793">
                <a:moveTo>
                  <a:pt x="0" y="15793"/>
                </a:moveTo>
                <a:lnTo>
                  <a:pt x="162499" y="3037"/>
                </a:lnTo>
                <a:lnTo>
                  <a:pt x="162499" y="0"/>
                </a:lnTo>
                <a:lnTo>
                  <a:pt x="0" y="12756"/>
                </a:lnTo>
                <a:lnTo>
                  <a:pt x="0" y="15793"/>
                </a:lnTo>
                <a:close/>
              </a:path>
            </a:pathLst>
          </a:custGeom>
          <a:solidFill>
            <a:srgbClr val="000000"/>
          </a:solidFill>
        </p:spPr>
        <p:txBody>
          <a:bodyPr wrap="square" lIns="0" tIns="0" rIns="0" bIns="0" rtlCol="0">
            <a:noAutofit/>
          </a:bodyPr>
          <a:lstStyle/>
          <a:p>
            <a:endParaRPr/>
          </a:p>
        </p:txBody>
      </p:sp>
      <p:sp>
        <p:nvSpPr>
          <p:cNvPr id="680" name="object 680"/>
          <p:cNvSpPr/>
          <p:nvPr/>
        </p:nvSpPr>
        <p:spPr>
          <a:xfrm>
            <a:off x="8051893" y="844831"/>
            <a:ext cx="17261" cy="17616"/>
          </a:xfrm>
          <a:custGeom>
            <a:avLst/>
            <a:gdLst/>
            <a:ahLst/>
            <a:cxnLst/>
            <a:rect l="l" t="t" r="r" b="b"/>
            <a:pathLst>
              <a:path w="17261" h="17616">
                <a:moveTo>
                  <a:pt x="6845" y="10022"/>
                </a:moveTo>
                <a:lnTo>
                  <a:pt x="5059" y="7896"/>
                </a:lnTo>
                <a:lnTo>
                  <a:pt x="3869" y="5467"/>
                </a:lnTo>
                <a:lnTo>
                  <a:pt x="2976" y="2733"/>
                </a:lnTo>
                <a:lnTo>
                  <a:pt x="2976" y="607"/>
                </a:lnTo>
                <a:lnTo>
                  <a:pt x="0" y="0"/>
                </a:lnTo>
                <a:lnTo>
                  <a:pt x="0" y="3340"/>
                </a:lnTo>
                <a:lnTo>
                  <a:pt x="892" y="6681"/>
                </a:lnTo>
                <a:lnTo>
                  <a:pt x="2678" y="9719"/>
                </a:lnTo>
                <a:lnTo>
                  <a:pt x="5059" y="12452"/>
                </a:lnTo>
                <a:lnTo>
                  <a:pt x="7738" y="14578"/>
                </a:lnTo>
                <a:lnTo>
                  <a:pt x="10714" y="16401"/>
                </a:lnTo>
                <a:lnTo>
                  <a:pt x="13988" y="17312"/>
                </a:lnTo>
                <a:lnTo>
                  <a:pt x="17261" y="17616"/>
                </a:lnTo>
                <a:lnTo>
                  <a:pt x="17261" y="14578"/>
                </a:lnTo>
                <a:lnTo>
                  <a:pt x="14583" y="14275"/>
                </a:lnTo>
                <a:lnTo>
                  <a:pt x="11904" y="13363"/>
                </a:lnTo>
                <a:lnTo>
                  <a:pt x="9523" y="12149"/>
                </a:lnTo>
                <a:lnTo>
                  <a:pt x="6845" y="10022"/>
                </a:lnTo>
                <a:close/>
              </a:path>
            </a:pathLst>
          </a:custGeom>
          <a:solidFill>
            <a:srgbClr val="000000"/>
          </a:solidFill>
        </p:spPr>
        <p:txBody>
          <a:bodyPr wrap="square" lIns="0" tIns="0" rIns="0" bIns="0" rtlCol="0">
            <a:noAutofit/>
          </a:bodyPr>
          <a:lstStyle/>
          <a:p>
            <a:endParaRPr/>
          </a:p>
        </p:txBody>
      </p:sp>
      <p:sp>
        <p:nvSpPr>
          <p:cNvPr id="681" name="object 681"/>
          <p:cNvSpPr/>
          <p:nvPr/>
        </p:nvSpPr>
        <p:spPr>
          <a:xfrm>
            <a:off x="8051892" y="678694"/>
            <a:ext cx="32142" cy="166745"/>
          </a:xfrm>
          <a:custGeom>
            <a:avLst/>
            <a:gdLst/>
            <a:ahLst/>
            <a:cxnLst/>
            <a:rect l="l" t="t" r="r" b="b"/>
            <a:pathLst>
              <a:path w="32142" h="166745">
                <a:moveTo>
                  <a:pt x="29166" y="0"/>
                </a:moveTo>
                <a:lnTo>
                  <a:pt x="0" y="166137"/>
                </a:lnTo>
                <a:lnTo>
                  <a:pt x="2976" y="166745"/>
                </a:lnTo>
                <a:lnTo>
                  <a:pt x="32142" y="607"/>
                </a:lnTo>
                <a:lnTo>
                  <a:pt x="29166" y="0"/>
                </a:lnTo>
                <a:close/>
              </a:path>
            </a:pathLst>
          </a:custGeom>
          <a:solidFill>
            <a:srgbClr val="000000"/>
          </a:solidFill>
        </p:spPr>
        <p:txBody>
          <a:bodyPr wrap="square" lIns="0" tIns="0" rIns="0" bIns="0" rtlCol="0">
            <a:noAutofit/>
          </a:bodyPr>
          <a:lstStyle/>
          <a:p>
            <a:endParaRPr/>
          </a:p>
        </p:txBody>
      </p:sp>
      <p:sp>
        <p:nvSpPr>
          <p:cNvPr id="682" name="object 682"/>
          <p:cNvSpPr/>
          <p:nvPr/>
        </p:nvSpPr>
        <p:spPr>
          <a:xfrm>
            <a:off x="8098024" y="661685"/>
            <a:ext cx="297" cy="53"/>
          </a:xfrm>
          <a:custGeom>
            <a:avLst/>
            <a:gdLst/>
            <a:ahLst/>
            <a:cxnLst/>
            <a:rect l="l" t="t" r="r" b="b"/>
            <a:pathLst>
              <a:path w="297" h="53">
                <a:moveTo>
                  <a:pt x="297" y="0"/>
                </a:moveTo>
                <a:lnTo>
                  <a:pt x="0" y="0"/>
                </a:lnTo>
                <a:lnTo>
                  <a:pt x="297" y="0"/>
                </a:lnTo>
                <a:close/>
              </a:path>
            </a:pathLst>
          </a:custGeom>
          <a:solidFill>
            <a:srgbClr val="000000"/>
          </a:solidFill>
        </p:spPr>
        <p:txBody>
          <a:bodyPr wrap="square" lIns="0" tIns="0" rIns="0" bIns="0" rtlCol="0">
            <a:noAutofit/>
          </a:bodyPr>
          <a:lstStyle/>
          <a:p>
            <a:endParaRPr/>
          </a:p>
        </p:txBody>
      </p:sp>
      <p:sp>
        <p:nvSpPr>
          <p:cNvPr id="683" name="object 683"/>
          <p:cNvSpPr/>
          <p:nvPr/>
        </p:nvSpPr>
        <p:spPr>
          <a:xfrm>
            <a:off x="8081060" y="661738"/>
            <a:ext cx="17559" cy="17562"/>
          </a:xfrm>
          <a:custGeom>
            <a:avLst/>
            <a:gdLst/>
            <a:ahLst/>
            <a:cxnLst/>
            <a:rect l="l" t="t" r="r" b="b"/>
            <a:pathLst>
              <a:path w="17559" h="17562">
                <a:moveTo>
                  <a:pt x="2976" y="17562"/>
                </a:moveTo>
                <a:lnTo>
                  <a:pt x="3571" y="15132"/>
                </a:lnTo>
                <a:lnTo>
                  <a:pt x="4464" y="12399"/>
                </a:lnTo>
                <a:lnTo>
                  <a:pt x="6249" y="9969"/>
                </a:lnTo>
                <a:lnTo>
                  <a:pt x="8035" y="7843"/>
                </a:lnTo>
                <a:lnTo>
                  <a:pt x="10119" y="6021"/>
                </a:lnTo>
                <a:lnTo>
                  <a:pt x="12202" y="4198"/>
                </a:lnTo>
                <a:lnTo>
                  <a:pt x="14583" y="3591"/>
                </a:lnTo>
                <a:lnTo>
                  <a:pt x="17261" y="2983"/>
                </a:lnTo>
                <a:lnTo>
                  <a:pt x="17559" y="2983"/>
                </a:lnTo>
                <a:lnTo>
                  <a:pt x="16974" y="0"/>
                </a:lnTo>
                <a:lnTo>
                  <a:pt x="13988" y="554"/>
                </a:lnTo>
                <a:lnTo>
                  <a:pt x="11011" y="1769"/>
                </a:lnTo>
                <a:lnTo>
                  <a:pt x="8333" y="3591"/>
                </a:lnTo>
                <a:lnTo>
                  <a:pt x="5654" y="5413"/>
                </a:lnTo>
                <a:lnTo>
                  <a:pt x="3869" y="8147"/>
                </a:lnTo>
                <a:lnTo>
                  <a:pt x="2083" y="11184"/>
                </a:lnTo>
                <a:lnTo>
                  <a:pt x="595" y="13918"/>
                </a:lnTo>
                <a:lnTo>
                  <a:pt x="0" y="16955"/>
                </a:lnTo>
                <a:lnTo>
                  <a:pt x="2976" y="17562"/>
                </a:lnTo>
                <a:close/>
              </a:path>
            </a:pathLst>
          </a:custGeom>
          <a:solidFill>
            <a:srgbClr val="000000"/>
          </a:solidFill>
        </p:spPr>
        <p:txBody>
          <a:bodyPr wrap="square" lIns="0" tIns="0" rIns="0" bIns="0" rtlCol="0">
            <a:noAutofit/>
          </a:bodyPr>
          <a:lstStyle/>
          <a:p>
            <a:endParaRPr/>
          </a:p>
        </p:txBody>
      </p:sp>
      <p:sp>
        <p:nvSpPr>
          <p:cNvPr id="684" name="object 684"/>
          <p:cNvSpPr/>
          <p:nvPr/>
        </p:nvSpPr>
        <p:spPr>
          <a:xfrm>
            <a:off x="8637606" y="817497"/>
            <a:ext cx="161309" cy="25209"/>
          </a:xfrm>
          <a:custGeom>
            <a:avLst/>
            <a:gdLst/>
            <a:ahLst/>
            <a:cxnLst/>
            <a:rect l="l" t="t" r="r" b="b"/>
            <a:pathLst>
              <a:path w="161309" h="25209">
                <a:moveTo>
                  <a:pt x="892" y="3037"/>
                </a:moveTo>
                <a:lnTo>
                  <a:pt x="160713" y="25209"/>
                </a:lnTo>
                <a:lnTo>
                  <a:pt x="161309" y="22171"/>
                </a:lnTo>
                <a:lnTo>
                  <a:pt x="1488" y="0"/>
                </a:lnTo>
                <a:lnTo>
                  <a:pt x="297" y="303"/>
                </a:lnTo>
                <a:lnTo>
                  <a:pt x="0" y="1214"/>
                </a:lnTo>
                <a:lnTo>
                  <a:pt x="0" y="2429"/>
                </a:lnTo>
                <a:lnTo>
                  <a:pt x="892" y="3037"/>
                </a:lnTo>
                <a:close/>
              </a:path>
            </a:pathLst>
          </a:custGeom>
          <a:solidFill>
            <a:srgbClr val="000000"/>
          </a:solidFill>
        </p:spPr>
        <p:txBody>
          <a:bodyPr wrap="square" lIns="0" tIns="0" rIns="0" bIns="0" rtlCol="0">
            <a:noAutofit/>
          </a:bodyPr>
          <a:lstStyle/>
          <a:p>
            <a:endParaRPr/>
          </a:p>
        </p:txBody>
      </p:sp>
      <p:sp>
        <p:nvSpPr>
          <p:cNvPr id="685" name="object 685"/>
          <p:cNvSpPr/>
          <p:nvPr/>
        </p:nvSpPr>
        <p:spPr>
          <a:xfrm>
            <a:off x="8628082" y="797146"/>
            <a:ext cx="11011" cy="23386"/>
          </a:xfrm>
          <a:custGeom>
            <a:avLst/>
            <a:gdLst/>
            <a:ahLst/>
            <a:cxnLst/>
            <a:rect l="l" t="t" r="r" b="b"/>
            <a:pathLst>
              <a:path w="11011" h="23386">
                <a:moveTo>
                  <a:pt x="1488" y="303"/>
                </a:moveTo>
                <a:lnTo>
                  <a:pt x="892" y="1214"/>
                </a:lnTo>
                <a:lnTo>
                  <a:pt x="297" y="4859"/>
                </a:lnTo>
                <a:lnTo>
                  <a:pt x="0" y="8808"/>
                </a:lnTo>
                <a:lnTo>
                  <a:pt x="297" y="12149"/>
                </a:lnTo>
                <a:lnTo>
                  <a:pt x="595" y="15490"/>
                </a:lnTo>
                <a:lnTo>
                  <a:pt x="2083" y="18527"/>
                </a:lnTo>
                <a:lnTo>
                  <a:pt x="4166" y="20957"/>
                </a:lnTo>
                <a:lnTo>
                  <a:pt x="6845" y="22475"/>
                </a:lnTo>
                <a:lnTo>
                  <a:pt x="10416" y="23386"/>
                </a:lnTo>
                <a:lnTo>
                  <a:pt x="11011" y="20349"/>
                </a:lnTo>
                <a:lnTo>
                  <a:pt x="8035" y="19438"/>
                </a:lnTo>
                <a:lnTo>
                  <a:pt x="5952" y="18527"/>
                </a:lnTo>
                <a:lnTo>
                  <a:pt x="4464" y="16704"/>
                </a:lnTo>
                <a:lnTo>
                  <a:pt x="3571" y="14882"/>
                </a:lnTo>
                <a:lnTo>
                  <a:pt x="3273" y="12149"/>
                </a:lnTo>
                <a:lnTo>
                  <a:pt x="2976" y="8808"/>
                </a:lnTo>
                <a:lnTo>
                  <a:pt x="3273" y="5467"/>
                </a:lnTo>
                <a:lnTo>
                  <a:pt x="3869" y="1822"/>
                </a:lnTo>
                <a:lnTo>
                  <a:pt x="3571" y="607"/>
                </a:lnTo>
                <a:lnTo>
                  <a:pt x="2678" y="0"/>
                </a:lnTo>
                <a:lnTo>
                  <a:pt x="1488" y="303"/>
                </a:lnTo>
                <a:close/>
              </a:path>
            </a:pathLst>
          </a:custGeom>
          <a:solidFill>
            <a:srgbClr val="000000"/>
          </a:solidFill>
        </p:spPr>
        <p:txBody>
          <a:bodyPr wrap="square" lIns="0" tIns="0" rIns="0" bIns="0" rtlCol="0">
            <a:noAutofit/>
          </a:bodyPr>
          <a:lstStyle/>
          <a:p>
            <a:endParaRPr/>
          </a:p>
        </p:txBody>
      </p:sp>
      <p:sp>
        <p:nvSpPr>
          <p:cNvPr id="686" name="object 686"/>
          <p:cNvSpPr/>
          <p:nvPr/>
        </p:nvSpPr>
        <p:spPr>
          <a:xfrm>
            <a:off x="8628974" y="650144"/>
            <a:ext cx="25892" cy="148825"/>
          </a:xfrm>
          <a:custGeom>
            <a:avLst/>
            <a:gdLst/>
            <a:ahLst/>
            <a:cxnLst/>
            <a:rect l="l" t="t" r="r" b="b"/>
            <a:pathLst>
              <a:path w="25892" h="148825">
                <a:moveTo>
                  <a:pt x="22916" y="1214"/>
                </a:moveTo>
                <a:lnTo>
                  <a:pt x="0" y="148218"/>
                </a:lnTo>
                <a:lnTo>
                  <a:pt x="2976" y="148825"/>
                </a:lnTo>
                <a:lnTo>
                  <a:pt x="25892" y="1822"/>
                </a:lnTo>
                <a:lnTo>
                  <a:pt x="25595" y="607"/>
                </a:lnTo>
                <a:lnTo>
                  <a:pt x="24702" y="0"/>
                </a:lnTo>
                <a:lnTo>
                  <a:pt x="23511" y="303"/>
                </a:lnTo>
                <a:lnTo>
                  <a:pt x="22916" y="1214"/>
                </a:lnTo>
                <a:close/>
              </a:path>
            </a:pathLst>
          </a:custGeom>
          <a:solidFill>
            <a:srgbClr val="000000"/>
          </a:solidFill>
        </p:spPr>
        <p:txBody>
          <a:bodyPr wrap="square" lIns="0" tIns="0" rIns="0" bIns="0" rtlCol="0">
            <a:noAutofit/>
          </a:bodyPr>
          <a:lstStyle/>
          <a:p>
            <a:endParaRPr/>
          </a:p>
        </p:txBody>
      </p:sp>
      <p:sp>
        <p:nvSpPr>
          <p:cNvPr id="687" name="object 687"/>
          <p:cNvSpPr/>
          <p:nvPr/>
        </p:nvSpPr>
        <p:spPr>
          <a:xfrm>
            <a:off x="8651890" y="630401"/>
            <a:ext cx="23214" cy="21564"/>
          </a:xfrm>
          <a:custGeom>
            <a:avLst/>
            <a:gdLst/>
            <a:ahLst/>
            <a:cxnLst/>
            <a:rect l="l" t="t" r="r" b="b"/>
            <a:pathLst>
              <a:path w="23214" h="21564">
                <a:moveTo>
                  <a:pt x="2976" y="21564"/>
                </a:moveTo>
                <a:lnTo>
                  <a:pt x="3869" y="17008"/>
                </a:lnTo>
                <a:lnTo>
                  <a:pt x="5357" y="13060"/>
                </a:lnTo>
                <a:lnTo>
                  <a:pt x="6845" y="9719"/>
                </a:lnTo>
                <a:lnTo>
                  <a:pt x="8928" y="6681"/>
                </a:lnTo>
                <a:lnTo>
                  <a:pt x="11309" y="4859"/>
                </a:lnTo>
                <a:lnTo>
                  <a:pt x="13988" y="3644"/>
                </a:lnTo>
                <a:lnTo>
                  <a:pt x="17261" y="3037"/>
                </a:lnTo>
                <a:lnTo>
                  <a:pt x="21428" y="3644"/>
                </a:lnTo>
                <a:lnTo>
                  <a:pt x="22618" y="3340"/>
                </a:lnTo>
                <a:lnTo>
                  <a:pt x="23214" y="2429"/>
                </a:lnTo>
                <a:lnTo>
                  <a:pt x="22916" y="1214"/>
                </a:lnTo>
                <a:lnTo>
                  <a:pt x="22023" y="607"/>
                </a:lnTo>
                <a:lnTo>
                  <a:pt x="17261" y="0"/>
                </a:lnTo>
                <a:lnTo>
                  <a:pt x="13392" y="607"/>
                </a:lnTo>
                <a:lnTo>
                  <a:pt x="9523" y="2429"/>
                </a:lnTo>
                <a:lnTo>
                  <a:pt x="6547" y="4859"/>
                </a:lnTo>
                <a:lnTo>
                  <a:pt x="4464" y="7896"/>
                </a:lnTo>
                <a:lnTo>
                  <a:pt x="2380" y="11845"/>
                </a:lnTo>
                <a:lnTo>
                  <a:pt x="892" y="16401"/>
                </a:lnTo>
                <a:lnTo>
                  <a:pt x="0" y="20957"/>
                </a:lnTo>
                <a:lnTo>
                  <a:pt x="2976" y="21564"/>
                </a:lnTo>
                <a:close/>
              </a:path>
            </a:pathLst>
          </a:custGeom>
          <a:solidFill>
            <a:srgbClr val="000000"/>
          </a:solidFill>
        </p:spPr>
        <p:txBody>
          <a:bodyPr wrap="square" lIns="0" tIns="0" rIns="0" bIns="0" rtlCol="0">
            <a:noAutofit/>
          </a:bodyPr>
          <a:lstStyle/>
          <a:p>
            <a:endParaRPr/>
          </a:p>
        </p:txBody>
      </p:sp>
      <p:sp>
        <p:nvSpPr>
          <p:cNvPr id="688" name="object 688"/>
          <p:cNvSpPr/>
          <p:nvPr/>
        </p:nvSpPr>
        <p:spPr>
          <a:xfrm>
            <a:off x="8673320" y="631008"/>
            <a:ext cx="123809" cy="27942"/>
          </a:xfrm>
          <a:custGeom>
            <a:avLst/>
            <a:gdLst/>
            <a:ahLst/>
            <a:cxnLst/>
            <a:rect l="l" t="t" r="r" b="b"/>
            <a:pathLst>
              <a:path w="123809" h="27942">
                <a:moveTo>
                  <a:pt x="122618" y="24905"/>
                </a:moveTo>
                <a:lnTo>
                  <a:pt x="595" y="0"/>
                </a:lnTo>
                <a:lnTo>
                  <a:pt x="0" y="3037"/>
                </a:lnTo>
                <a:lnTo>
                  <a:pt x="122023" y="27942"/>
                </a:lnTo>
                <a:lnTo>
                  <a:pt x="123213" y="27639"/>
                </a:lnTo>
                <a:lnTo>
                  <a:pt x="123809" y="26727"/>
                </a:lnTo>
                <a:lnTo>
                  <a:pt x="123511" y="25512"/>
                </a:lnTo>
                <a:lnTo>
                  <a:pt x="122618" y="24905"/>
                </a:lnTo>
                <a:close/>
              </a:path>
            </a:pathLst>
          </a:custGeom>
          <a:solidFill>
            <a:srgbClr val="000000"/>
          </a:solidFill>
        </p:spPr>
        <p:txBody>
          <a:bodyPr wrap="square" lIns="0" tIns="0" rIns="0" bIns="0" rtlCol="0">
            <a:noAutofit/>
          </a:bodyPr>
          <a:lstStyle/>
          <a:p>
            <a:endParaRPr/>
          </a:p>
        </p:txBody>
      </p:sp>
      <p:sp>
        <p:nvSpPr>
          <p:cNvPr id="689" name="object 689"/>
          <p:cNvSpPr/>
          <p:nvPr/>
        </p:nvSpPr>
        <p:spPr>
          <a:xfrm>
            <a:off x="8795342" y="655914"/>
            <a:ext cx="13690" cy="17616"/>
          </a:xfrm>
          <a:custGeom>
            <a:avLst/>
            <a:gdLst/>
            <a:ahLst/>
            <a:cxnLst/>
            <a:rect l="l" t="t" r="r" b="b"/>
            <a:pathLst>
              <a:path w="13690" h="17616">
                <a:moveTo>
                  <a:pt x="2678" y="3948"/>
                </a:moveTo>
                <a:lnTo>
                  <a:pt x="5059" y="4859"/>
                </a:lnTo>
                <a:lnTo>
                  <a:pt x="6845" y="5770"/>
                </a:lnTo>
                <a:lnTo>
                  <a:pt x="8333" y="6985"/>
                </a:lnTo>
                <a:lnTo>
                  <a:pt x="9523" y="8504"/>
                </a:lnTo>
                <a:lnTo>
                  <a:pt x="10119" y="10630"/>
                </a:lnTo>
                <a:lnTo>
                  <a:pt x="10416" y="13060"/>
                </a:lnTo>
                <a:lnTo>
                  <a:pt x="10714" y="16401"/>
                </a:lnTo>
                <a:lnTo>
                  <a:pt x="11309" y="17312"/>
                </a:lnTo>
                <a:lnTo>
                  <a:pt x="12202" y="17616"/>
                </a:lnTo>
                <a:lnTo>
                  <a:pt x="13095" y="17312"/>
                </a:lnTo>
                <a:lnTo>
                  <a:pt x="13690" y="16401"/>
                </a:lnTo>
                <a:lnTo>
                  <a:pt x="13392" y="13060"/>
                </a:lnTo>
                <a:lnTo>
                  <a:pt x="13095" y="10022"/>
                </a:lnTo>
                <a:lnTo>
                  <a:pt x="11904" y="7289"/>
                </a:lnTo>
                <a:lnTo>
                  <a:pt x="10714" y="5163"/>
                </a:lnTo>
                <a:lnTo>
                  <a:pt x="8630" y="3340"/>
                </a:lnTo>
                <a:lnTo>
                  <a:pt x="6249" y="1822"/>
                </a:lnTo>
                <a:lnTo>
                  <a:pt x="3869" y="911"/>
                </a:lnTo>
                <a:lnTo>
                  <a:pt x="595" y="0"/>
                </a:lnTo>
                <a:lnTo>
                  <a:pt x="0" y="3037"/>
                </a:lnTo>
                <a:lnTo>
                  <a:pt x="2678" y="3948"/>
                </a:lnTo>
                <a:close/>
              </a:path>
            </a:pathLst>
          </a:custGeom>
          <a:solidFill>
            <a:srgbClr val="000000"/>
          </a:solidFill>
        </p:spPr>
        <p:txBody>
          <a:bodyPr wrap="square" lIns="0" tIns="0" rIns="0" bIns="0" rtlCol="0">
            <a:noAutofit/>
          </a:bodyPr>
          <a:lstStyle/>
          <a:p>
            <a:endParaRPr/>
          </a:p>
        </p:txBody>
      </p:sp>
      <p:sp>
        <p:nvSpPr>
          <p:cNvPr id="690" name="object 690"/>
          <p:cNvSpPr/>
          <p:nvPr/>
        </p:nvSpPr>
        <p:spPr>
          <a:xfrm>
            <a:off x="8806057" y="672316"/>
            <a:ext cx="2976" cy="157329"/>
          </a:xfrm>
          <a:custGeom>
            <a:avLst/>
            <a:gdLst/>
            <a:ahLst/>
            <a:cxnLst/>
            <a:rect l="l" t="t" r="r" b="b"/>
            <a:pathLst>
              <a:path w="2976" h="157329">
                <a:moveTo>
                  <a:pt x="2976" y="156114"/>
                </a:moveTo>
                <a:lnTo>
                  <a:pt x="2976" y="0"/>
                </a:lnTo>
                <a:lnTo>
                  <a:pt x="0" y="0"/>
                </a:lnTo>
                <a:lnTo>
                  <a:pt x="0" y="156114"/>
                </a:lnTo>
                <a:lnTo>
                  <a:pt x="595" y="157026"/>
                </a:lnTo>
                <a:lnTo>
                  <a:pt x="1488" y="157329"/>
                </a:lnTo>
                <a:lnTo>
                  <a:pt x="2380" y="157026"/>
                </a:lnTo>
                <a:lnTo>
                  <a:pt x="2976" y="156114"/>
                </a:lnTo>
                <a:close/>
              </a:path>
            </a:pathLst>
          </a:custGeom>
          <a:solidFill>
            <a:srgbClr val="000000"/>
          </a:solidFill>
        </p:spPr>
        <p:txBody>
          <a:bodyPr wrap="square" lIns="0" tIns="0" rIns="0" bIns="0" rtlCol="0">
            <a:noAutofit/>
          </a:bodyPr>
          <a:lstStyle/>
          <a:p>
            <a:endParaRPr/>
          </a:p>
        </p:txBody>
      </p:sp>
      <p:sp>
        <p:nvSpPr>
          <p:cNvPr id="691" name="object 691"/>
          <p:cNvSpPr/>
          <p:nvPr/>
        </p:nvSpPr>
        <p:spPr>
          <a:xfrm>
            <a:off x="8797427" y="828431"/>
            <a:ext cx="11607" cy="14275"/>
          </a:xfrm>
          <a:custGeom>
            <a:avLst/>
            <a:gdLst/>
            <a:ahLst/>
            <a:cxnLst/>
            <a:rect l="l" t="t" r="r" b="b"/>
            <a:pathLst>
              <a:path w="11607" h="14275">
                <a:moveTo>
                  <a:pt x="5952" y="10630"/>
                </a:moveTo>
                <a:lnTo>
                  <a:pt x="3869" y="11237"/>
                </a:lnTo>
                <a:lnTo>
                  <a:pt x="1190" y="11237"/>
                </a:lnTo>
                <a:lnTo>
                  <a:pt x="297" y="11845"/>
                </a:lnTo>
                <a:lnTo>
                  <a:pt x="0" y="12756"/>
                </a:lnTo>
                <a:lnTo>
                  <a:pt x="297" y="13667"/>
                </a:lnTo>
                <a:lnTo>
                  <a:pt x="1190" y="14275"/>
                </a:lnTo>
                <a:lnTo>
                  <a:pt x="4464" y="14275"/>
                </a:lnTo>
                <a:lnTo>
                  <a:pt x="7142" y="13667"/>
                </a:lnTo>
                <a:lnTo>
                  <a:pt x="8928" y="12452"/>
                </a:lnTo>
                <a:lnTo>
                  <a:pt x="10416" y="10326"/>
                </a:lnTo>
                <a:lnTo>
                  <a:pt x="11309" y="8200"/>
                </a:lnTo>
                <a:lnTo>
                  <a:pt x="11607" y="5467"/>
                </a:lnTo>
                <a:lnTo>
                  <a:pt x="11607" y="0"/>
                </a:lnTo>
                <a:lnTo>
                  <a:pt x="8630" y="0"/>
                </a:lnTo>
                <a:lnTo>
                  <a:pt x="8630" y="5467"/>
                </a:lnTo>
                <a:lnTo>
                  <a:pt x="8333" y="7593"/>
                </a:lnTo>
                <a:lnTo>
                  <a:pt x="8035" y="9111"/>
                </a:lnTo>
                <a:lnTo>
                  <a:pt x="7142" y="10022"/>
                </a:lnTo>
                <a:lnTo>
                  <a:pt x="5952" y="10630"/>
                </a:lnTo>
                <a:close/>
              </a:path>
            </a:pathLst>
          </a:custGeom>
          <a:solidFill>
            <a:srgbClr val="000000"/>
          </a:solidFill>
        </p:spPr>
        <p:txBody>
          <a:bodyPr wrap="square" lIns="0" tIns="0" rIns="0" bIns="0" rtlCol="0">
            <a:noAutofit/>
          </a:bodyPr>
          <a:lstStyle/>
          <a:p>
            <a:endParaRPr/>
          </a:p>
        </p:txBody>
      </p:sp>
      <p:sp>
        <p:nvSpPr>
          <p:cNvPr id="692" name="object 692"/>
          <p:cNvSpPr/>
          <p:nvPr/>
        </p:nvSpPr>
        <p:spPr>
          <a:xfrm>
            <a:off x="8030465" y="1267617"/>
            <a:ext cx="514581" cy="21260"/>
          </a:xfrm>
          <a:custGeom>
            <a:avLst/>
            <a:gdLst/>
            <a:ahLst/>
            <a:cxnLst/>
            <a:rect l="l" t="t" r="r" b="b"/>
            <a:pathLst>
              <a:path w="514581" h="21260">
                <a:moveTo>
                  <a:pt x="513093" y="18223"/>
                </a:moveTo>
                <a:lnTo>
                  <a:pt x="0" y="0"/>
                </a:lnTo>
                <a:lnTo>
                  <a:pt x="0" y="3037"/>
                </a:lnTo>
                <a:lnTo>
                  <a:pt x="513093" y="21260"/>
                </a:lnTo>
                <a:lnTo>
                  <a:pt x="513986" y="20653"/>
                </a:lnTo>
                <a:lnTo>
                  <a:pt x="514581" y="19742"/>
                </a:lnTo>
                <a:lnTo>
                  <a:pt x="513986" y="18830"/>
                </a:lnTo>
                <a:lnTo>
                  <a:pt x="513093" y="18223"/>
                </a:lnTo>
                <a:close/>
              </a:path>
            </a:pathLst>
          </a:custGeom>
          <a:solidFill>
            <a:srgbClr val="000000"/>
          </a:solidFill>
        </p:spPr>
        <p:txBody>
          <a:bodyPr wrap="square" lIns="0" tIns="0" rIns="0" bIns="0" rtlCol="0">
            <a:noAutofit/>
          </a:bodyPr>
          <a:lstStyle/>
          <a:p>
            <a:endParaRPr/>
          </a:p>
        </p:txBody>
      </p:sp>
      <p:sp>
        <p:nvSpPr>
          <p:cNvPr id="693" name="object 693"/>
          <p:cNvSpPr/>
          <p:nvPr/>
        </p:nvSpPr>
        <p:spPr>
          <a:xfrm>
            <a:off x="8543558" y="1285841"/>
            <a:ext cx="36607" cy="3037"/>
          </a:xfrm>
          <a:custGeom>
            <a:avLst/>
            <a:gdLst/>
            <a:ahLst/>
            <a:cxnLst/>
            <a:rect l="l" t="t" r="r" b="b"/>
            <a:pathLst>
              <a:path w="36607" h="3037">
                <a:moveTo>
                  <a:pt x="35118" y="0"/>
                </a:moveTo>
                <a:lnTo>
                  <a:pt x="0" y="0"/>
                </a:lnTo>
                <a:lnTo>
                  <a:pt x="0" y="3037"/>
                </a:lnTo>
                <a:lnTo>
                  <a:pt x="35118" y="3037"/>
                </a:lnTo>
                <a:lnTo>
                  <a:pt x="36011" y="2429"/>
                </a:lnTo>
                <a:lnTo>
                  <a:pt x="36607" y="1518"/>
                </a:lnTo>
                <a:lnTo>
                  <a:pt x="36011" y="607"/>
                </a:lnTo>
                <a:lnTo>
                  <a:pt x="35118" y="0"/>
                </a:lnTo>
                <a:close/>
              </a:path>
            </a:pathLst>
          </a:custGeom>
          <a:solidFill>
            <a:srgbClr val="000000"/>
          </a:solidFill>
        </p:spPr>
        <p:txBody>
          <a:bodyPr wrap="square" lIns="0" tIns="0" rIns="0" bIns="0" rtlCol="0">
            <a:noAutofit/>
          </a:bodyPr>
          <a:lstStyle/>
          <a:p>
            <a:endParaRPr/>
          </a:p>
        </p:txBody>
      </p:sp>
      <p:sp>
        <p:nvSpPr>
          <p:cNvPr id="694" name="object 694"/>
          <p:cNvSpPr/>
          <p:nvPr/>
        </p:nvSpPr>
        <p:spPr>
          <a:xfrm>
            <a:off x="8578677" y="1172856"/>
            <a:ext cx="122321" cy="116023"/>
          </a:xfrm>
          <a:custGeom>
            <a:avLst/>
            <a:gdLst/>
            <a:ahLst/>
            <a:cxnLst/>
            <a:rect l="l" t="t" r="r" b="b"/>
            <a:pathLst>
              <a:path w="122321" h="116023">
                <a:moveTo>
                  <a:pt x="0" y="112985"/>
                </a:moveTo>
                <a:lnTo>
                  <a:pt x="0" y="116023"/>
                </a:lnTo>
                <a:lnTo>
                  <a:pt x="8035" y="114808"/>
                </a:lnTo>
                <a:lnTo>
                  <a:pt x="15178" y="110859"/>
                </a:lnTo>
                <a:lnTo>
                  <a:pt x="22321" y="105392"/>
                </a:lnTo>
                <a:lnTo>
                  <a:pt x="29166" y="97799"/>
                </a:lnTo>
                <a:lnTo>
                  <a:pt x="36011" y="89295"/>
                </a:lnTo>
                <a:lnTo>
                  <a:pt x="42559" y="79879"/>
                </a:lnTo>
                <a:lnTo>
                  <a:pt x="49404" y="69553"/>
                </a:lnTo>
                <a:lnTo>
                  <a:pt x="56249" y="59226"/>
                </a:lnTo>
                <a:lnTo>
                  <a:pt x="63392" y="48596"/>
                </a:lnTo>
                <a:lnTo>
                  <a:pt x="70535" y="38269"/>
                </a:lnTo>
                <a:lnTo>
                  <a:pt x="77975" y="28853"/>
                </a:lnTo>
                <a:lnTo>
                  <a:pt x="85714" y="20653"/>
                </a:lnTo>
                <a:lnTo>
                  <a:pt x="93749" y="13363"/>
                </a:lnTo>
                <a:lnTo>
                  <a:pt x="102380" y="7593"/>
                </a:lnTo>
                <a:lnTo>
                  <a:pt x="111309" y="4252"/>
                </a:lnTo>
                <a:lnTo>
                  <a:pt x="120832" y="3037"/>
                </a:lnTo>
                <a:lnTo>
                  <a:pt x="121725" y="2429"/>
                </a:lnTo>
                <a:lnTo>
                  <a:pt x="122321" y="1518"/>
                </a:lnTo>
                <a:lnTo>
                  <a:pt x="121725" y="607"/>
                </a:lnTo>
                <a:lnTo>
                  <a:pt x="120832" y="0"/>
                </a:lnTo>
                <a:lnTo>
                  <a:pt x="110713" y="1214"/>
                </a:lnTo>
                <a:lnTo>
                  <a:pt x="101190" y="5163"/>
                </a:lnTo>
                <a:lnTo>
                  <a:pt x="91964" y="10934"/>
                </a:lnTo>
                <a:lnTo>
                  <a:pt x="83928" y="18223"/>
                </a:lnTo>
                <a:lnTo>
                  <a:pt x="75595" y="27031"/>
                </a:lnTo>
                <a:lnTo>
                  <a:pt x="68154" y="36447"/>
                </a:lnTo>
                <a:lnTo>
                  <a:pt x="61011" y="46773"/>
                </a:lnTo>
                <a:lnTo>
                  <a:pt x="53868" y="57404"/>
                </a:lnTo>
                <a:lnTo>
                  <a:pt x="47023" y="67730"/>
                </a:lnTo>
                <a:lnTo>
                  <a:pt x="40178" y="78057"/>
                </a:lnTo>
                <a:lnTo>
                  <a:pt x="33630" y="87472"/>
                </a:lnTo>
                <a:lnTo>
                  <a:pt x="26785" y="95977"/>
                </a:lnTo>
                <a:lnTo>
                  <a:pt x="20535" y="102962"/>
                </a:lnTo>
                <a:lnTo>
                  <a:pt x="13392" y="108430"/>
                </a:lnTo>
                <a:lnTo>
                  <a:pt x="6845" y="111771"/>
                </a:lnTo>
                <a:lnTo>
                  <a:pt x="0" y="112985"/>
                </a:lnTo>
                <a:close/>
              </a:path>
            </a:pathLst>
          </a:custGeom>
          <a:solidFill>
            <a:srgbClr val="000000"/>
          </a:solidFill>
        </p:spPr>
        <p:txBody>
          <a:bodyPr wrap="square" lIns="0" tIns="0" rIns="0" bIns="0" rtlCol="0">
            <a:noAutofit/>
          </a:bodyPr>
          <a:lstStyle/>
          <a:p>
            <a:endParaRPr/>
          </a:p>
        </p:txBody>
      </p:sp>
      <p:sp>
        <p:nvSpPr>
          <p:cNvPr id="695" name="object 695"/>
          <p:cNvSpPr/>
          <p:nvPr/>
        </p:nvSpPr>
        <p:spPr>
          <a:xfrm>
            <a:off x="9006056" y="1131852"/>
            <a:ext cx="26488" cy="44040"/>
          </a:xfrm>
          <a:custGeom>
            <a:avLst/>
            <a:gdLst/>
            <a:ahLst/>
            <a:cxnLst/>
            <a:rect l="l" t="t" r="r" b="b"/>
            <a:pathLst>
              <a:path w="26488" h="44040">
                <a:moveTo>
                  <a:pt x="7142" y="43432"/>
                </a:moveTo>
                <a:lnTo>
                  <a:pt x="13095" y="41306"/>
                </a:lnTo>
                <a:lnTo>
                  <a:pt x="17559" y="37965"/>
                </a:lnTo>
                <a:lnTo>
                  <a:pt x="21428" y="33106"/>
                </a:lnTo>
                <a:lnTo>
                  <a:pt x="23809" y="27031"/>
                </a:lnTo>
                <a:lnTo>
                  <a:pt x="25297" y="19742"/>
                </a:lnTo>
                <a:lnTo>
                  <a:pt x="26190" y="11237"/>
                </a:lnTo>
                <a:lnTo>
                  <a:pt x="26488" y="1518"/>
                </a:lnTo>
                <a:lnTo>
                  <a:pt x="25892" y="607"/>
                </a:lnTo>
                <a:lnTo>
                  <a:pt x="24999" y="0"/>
                </a:lnTo>
                <a:lnTo>
                  <a:pt x="24107" y="607"/>
                </a:lnTo>
                <a:lnTo>
                  <a:pt x="23511" y="1518"/>
                </a:lnTo>
                <a:lnTo>
                  <a:pt x="23214" y="11237"/>
                </a:lnTo>
                <a:lnTo>
                  <a:pt x="22321" y="19134"/>
                </a:lnTo>
                <a:lnTo>
                  <a:pt x="20833" y="26424"/>
                </a:lnTo>
                <a:lnTo>
                  <a:pt x="19047" y="31891"/>
                </a:lnTo>
                <a:lnTo>
                  <a:pt x="15773" y="35535"/>
                </a:lnTo>
                <a:lnTo>
                  <a:pt x="11904" y="38876"/>
                </a:lnTo>
                <a:lnTo>
                  <a:pt x="6547" y="40395"/>
                </a:lnTo>
                <a:lnTo>
                  <a:pt x="0" y="41002"/>
                </a:lnTo>
                <a:lnTo>
                  <a:pt x="0" y="44040"/>
                </a:lnTo>
                <a:lnTo>
                  <a:pt x="7142" y="43432"/>
                </a:lnTo>
                <a:close/>
              </a:path>
            </a:pathLst>
          </a:custGeom>
          <a:solidFill>
            <a:srgbClr val="000000"/>
          </a:solidFill>
        </p:spPr>
        <p:txBody>
          <a:bodyPr wrap="square" lIns="0" tIns="0" rIns="0" bIns="0" rtlCol="0">
            <a:noAutofit/>
          </a:bodyPr>
          <a:lstStyle/>
          <a:p>
            <a:endParaRPr/>
          </a:p>
        </p:txBody>
      </p:sp>
      <p:sp>
        <p:nvSpPr>
          <p:cNvPr id="696" name="object 696"/>
          <p:cNvSpPr/>
          <p:nvPr/>
        </p:nvSpPr>
        <p:spPr>
          <a:xfrm>
            <a:off x="8994748" y="618860"/>
            <a:ext cx="37797" cy="75323"/>
          </a:xfrm>
          <a:custGeom>
            <a:avLst/>
            <a:gdLst/>
            <a:ahLst/>
            <a:cxnLst/>
            <a:rect l="l" t="t" r="r" b="b"/>
            <a:pathLst>
              <a:path w="37797" h="75323">
                <a:moveTo>
                  <a:pt x="0" y="1214"/>
                </a:moveTo>
                <a:lnTo>
                  <a:pt x="0" y="2429"/>
                </a:lnTo>
                <a:lnTo>
                  <a:pt x="892" y="3037"/>
                </a:lnTo>
                <a:lnTo>
                  <a:pt x="4464" y="3948"/>
                </a:lnTo>
                <a:lnTo>
                  <a:pt x="7738" y="5163"/>
                </a:lnTo>
                <a:lnTo>
                  <a:pt x="11011" y="6378"/>
                </a:lnTo>
                <a:lnTo>
                  <a:pt x="13988" y="8200"/>
                </a:lnTo>
                <a:lnTo>
                  <a:pt x="16964" y="10630"/>
                </a:lnTo>
                <a:lnTo>
                  <a:pt x="19642" y="13363"/>
                </a:lnTo>
                <a:lnTo>
                  <a:pt x="22321" y="16097"/>
                </a:lnTo>
                <a:lnTo>
                  <a:pt x="24702" y="19742"/>
                </a:lnTo>
                <a:lnTo>
                  <a:pt x="27083" y="23994"/>
                </a:lnTo>
                <a:lnTo>
                  <a:pt x="28868" y="28853"/>
                </a:lnTo>
                <a:lnTo>
                  <a:pt x="30357" y="34320"/>
                </a:lnTo>
                <a:lnTo>
                  <a:pt x="31845" y="40699"/>
                </a:lnTo>
                <a:lnTo>
                  <a:pt x="33035" y="48292"/>
                </a:lnTo>
                <a:lnTo>
                  <a:pt x="33928" y="56189"/>
                </a:lnTo>
                <a:lnTo>
                  <a:pt x="34523" y="65301"/>
                </a:lnTo>
                <a:lnTo>
                  <a:pt x="34821" y="75323"/>
                </a:lnTo>
                <a:lnTo>
                  <a:pt x="37797" y="75323"/>
                </a:lnTo>
                <a:lnTo>
                  <a:pt x="37499" y="65301"/>
                </a:lnTo>
                <a:lnTo>
                  <a:pt x="36904" y="56189"/>
                </a:lnTo>
                <a:lnTo>
                  <a:pt x="36011" y="47684"/>
                </a:lnTo>
                <a:lnTo>
                  <a:pt x="34821" y="40091"/>
                </a:lnTo>
                <a:lnTo>
                  <a:pt x="33333" y="33713"/>
                </a:lnTo>
                <a:lnTo>
                  <a:pt x="31845" y="27639"/>
                </a:lnTo>
                <a:lnTo>
                  <a:pt x="29464" y="22779"/>
                </a:lnTo>
                <a:lnTo>
                  <a:pt x="27083" y="17919"/>
                </a:lnTo>
                <a:lnTo>
                  <a:pt x="24702" y="14275"/>
                </a:lnTo>
                <a:lnTo>
                  <a:pt x="22023" y="10934"/>
                </a:lnTo>
                <a:lnTo>
                  <a:pt x="18749" y="8200"/>
                </a:lnTo>
                <a:lnTo>
                  <a:pt x="15773" y="5770"/>
                </a:lnTo>
                <a:lnTo>
                  <a:pt x="12202" y="3948"/>
                </a:lnTo>
                <a:lnTo>
                  <a:pt x="8928" y="2126"/>
                </a:lnTo>
                <a:lnTo>
                  <a:pt x="5059" y="911"/>
                </a:lnTo>
                <a:lnTo>
                  <a:pt x="1488" y="0"/>
                </a:lnTo>
                <a:lnTo>
                  <a:pt x="297" y="303"/>
                </a:lnTo>
                <a:lnTo>
                  <a:pt x="0" y="1214"/>
                </a:lnTo>
                <a:close/>
              </a:path>
            </a:pathLst>
          </a:custGeom>
          <a:solidFill>
            <a:srgbClr val="000000"/>
          </a:solidFill>
        </p:spPr>
        <p:txBody>
          <a:bodyPr wrap="square" lIns="0" tIns="0" rIns="0" bIns="0" rtlCol="0">
            <a:noAutofit/>
          </a:bodyPr>
          <a:lstStyle/>
          <a:p>
            <a:endParaRPr/>
          </a:p>
        </p:txBody>
      </p:sp>
      <p:sp>
        <p:nvSpPr>
          <p:cNvPr id="697" name="object 697"/>
          <p:cNvSpPr/>
          <p:nvPr/>
        </p:nvSpPr>
        <p:spPr>
          <a:xfrm>
            <a:off x="8683140" y="546876"/>
            <a:ext cx="313094" cy="75020"/>
          </a:xfrm>
          <a:custGeom>
            <a:avLst/>
            <a:gdLst/>
            <a:ahLst/>
            <a:cxnLst/>
            <a:rect l="l" t="t" r="r" b="b"/>
            <a:pathLst>
              <a:path w="313094" h="75020">
                <a:moveTo>
                  <a:pt x="892" y="3037"/>
                </a:moveTo>
                <a:lnTo>
                  <a:pt x="312499" y="75020"/>
                </a:lnTo>
                <a:lnTo>
                  <a:pt x="313094" y="71982"/>
                </a:lnTo>
                <a:lnTo>
                  <a:pt x="1488" y="0"/>
                </a:lnTo>
                <a:lnTo>
                  <a:pt x="297" y="303"/>
                </a:lnTo>
                <a:lnTo>
                  <a:pt x="0" y="1214"/>
                </a:lnTo>
                <a:lnTo>
                  <a:pt x="0" y="2429"/>
                </a:lnTo>
                <a:lnTo>
                  <a:pt x="892" y="3037"/>
                </a:lnTo>
                <a:close/>
              </a:path>
            </a:pathLst>
          </a:custGeom>
          <a:solidFill>
            <a:srgbClr val="000000"/>
          </a:solidFill>
        </p:spPr>
        <p:txBody>
          <a:bodyPr wrap="square" lIns="0" tIns="0" rIns="0" bIns="0" rtlCol="0">
            <a:noAutofit/>
          </a:bodyPr>
          <a:lstStyle/>
          <a:p>
            <a:endParaRPr/>
          </a:p>
        </p:txBody>
      </p:sp>
      <p:sp>
        <p:nvSpPr>
          <p:cNvPr id="698" name="object 698"/>
          <p:cNvSpPr/>
          <p:nvPr/>
        </p:nvSpPr>
        <p:spPr>
          <a:xfrm>
            <a:off x="8640880" y="545055"/>
            <a:ext cx="43749" cy="4859"/>
          </a:xfrm>
          <a:custGeom>
            <a:avLst/>
            <a:gdLst/>
            <a:ahLst/>
            <a:cxnLst/>
            <a:rect l="l" t="t" r="r" b="b"/>
            <a:pathLst>
              <a:path w="43749" h="4859">
                <a:moveTo>
                  <a:pt x="0" y="2429"/>
                </a:moveTo>
                <a:lnTo>
                  <a:pt x="297" y="3340"/>
                </a:lnTo>
                <a:lnTo>
                  <a:pt x="1190" y="3948"/>
                </a:lnTo>
                <a:lnTo>
                  <a:pt x="6845" y="3340"/>
                </a:lnTo>
                <a:lnTo>
                  <a:pt x="12499" y="3037"/>
                </a:lnTo>
                <a:lnTo>
                  <a:pt x="27976" y="3037"/>
                </a:lnTo>
                <a:lnTo>
                  <a:pt x="33035" y="3340"/>
                </a:lnTo>
                <a:lnTo>
                  <a:pt x="38095" y="3948"/>
                </a:lnTo>
                <a:lnTo>
                  <a:pt x="43154" y="4859"/>
                </a:lnTo>
                <a:lnTo>
                  <a:pt x="43749" y="1822"/>
                </a:lnTo>
                <a:lnTo>
                  <a:pt x="38690" y="911"/>
                </a:lnTo>
                <a:lnTo>
                  <a:pt x="33035" y="303"/>
                </a:lnTo>
                <a:lnTo>
                  <a:pt x="27976" y="0"/>
                </a:lnTo>
                <a:lnTo>
                  <a:pt x="12499" y="0"/>
                </a:lnTo>
                <a:lnTo>
                  <a:pt x="6845" y="303"/>
                </a:lnTo>
                <a:lnTo>
                  <a:pt x="1190" y="911"/>
                </a:lnTo>
                <a:lnTo>
                  <a:pt x="297" y="1518"/>
                </a:lnTo>
                <a:lnTo>
                  <a:pt x="0" y="2429"/>
                </a:lnTo>
                <a:close/>
              </a:path>
            </a:pathLst>
          </a:custGeom>
          <a:solidFill>
            <a:srgbClr val="000000"/>
          </a:solidFill>
        </p:spPr>
        <p:txBody>
          <a:bodyPr wrap="square" lIns="0" tIns="0" rIns="0" bIns="0" rtlCol="0">
            <a:noAutofit/>
          </a:bodyPr>
          <a:lstStyle/>
          <a:p>
            <a:endParaRPr/>
          </a:p>
        </p:txBody>
      </p:sp>
      <p:sp>
        <p:nvSpPr>
          <p:cNvPr id="699" name="object 699"/>
          <p:cNvSpPr/>
          <p:nvPr/>
        </p:nvSpPr>
        <p:spPr>
          <a:xfrm>
            <a:off x="8330760" y="545966"/>
            <a:ext cx="311606" cy="14275"/>
          </a:xfrm>
          <a:custGeom>
            <a:avLst/>
            <a:gdLst/>
            <a:ahLst/>
            <a:cxnLst/>
            <a:rect l="l" t="t" r="r" b="b"/>
            <a:pathLst>
              <a:path w="311606" h="14275">
                <a:moveTo>
                  <a:pt x="311606" y="3037"/>
                </a:moveTo>
                <a:lnTo>
                  <a:pt x="311010" y="0"/>
                </a:lnTo>
                <a:lnTo>
                  <a:pt x="301487" y="1214"/>
                </a:lnTo>
                <a:lnTo>
                  <a:pt x="291963" y="2126"/>
                </a:lnTo>
                <a:lnTo>
                  <a:pt x="282737" y="3340"/>
                </a:lnTo>
                <a:lnTo>
                  <a:pt x="273213" y="3948"/>
                </a:lnTo>
                <a:lnTo>
                  <a:pt x="263392" y="4555"/>
                </a:lnTo>
                <a:lnTo>
                  <a:pt x="253868" y="5163"/>
                </a:lnTo>
                <a:lnTo>
                  <a:pt x="244344" y="5770"/>
                </a:lnTo>
                <a:lnTo>
                  <a:pt x="234820" y="6074"/>
                </a:lnTo>
                <a:lnTo>
                  <a:pt x="224999" y="6378"/>
                </a:lnTo>
                <a:lnTo>
                  <a:pt x="215475" y="6681"/>
                </a:lnTo>
                <a:lnTo>
                  <a:pt x="205951" y="6681"/>
                </a:lnTo>
                <a:lnTo>
                  <a:pt x="196130" y="6985"/>
                </a:lnTo>
                <a:lnTo>
                  <a:pt x="89583" y="6985"/>
                </a:lnTo>
                <a:lnTo>
                  <a:pt x="79761" y="7289"/>
                </a:lnTo>
                <a:lnTo>
                  <a:pt x="69940" y="7289"/>
                </a:lnTo>
                <a:lnTo>
                  <a:pt x="60118" y="7593"/>
                </a:lnTo>
                <a:lnTo>
                  <a:pt x="50297" y="7896"/>
                </a:lnTo>
                <a:lnTo>
                  <a:pt x="40476" y="8504"/>
                </a:lnTo>
                <a:lnTo>
                  <a:pt x="30654" y="9111"/>
                </a:lnTo>
                <a:lnTo>
                  <a:pt x="20833" y="9719"/>
                </a:lnTo>
                <a:lnTo>
                  <a:pt x="11011" y="10326"/>
                </a:lnTo>
                <a:lnTo>
                  <a:pt x="1190" y="11237"/>
                </a:lnTo>
                <a:lnTo>
                  <a:pt x="297" y="11845"/>
                </a:lnTo>
                <a:lnTo>
                  <a:pt x="0" y="12756"/>
                </a:lnTo>
                <a:lnTo>
                  <a:pt x="297" y="13667"/>
                </a:lnTo>
                <a:lnTo>
                  <a:pt x="1190" y="14275"/>
                </a:lnTo>
                <a:lnTo>
                  <a:pt x="11011" y="13363"/>
                </a:lnTo>
                <a:lnTo>
                  <a:pt x="20833" y="12756"/>
                </a:lnTo>
                <a:lnTo>
                  <a:pt x="30654" y="12149"/>
                </a:lnTo>
                <a:lnTo>
                  <a:pt x="40476" y="11541"/>
                </a:lnTo>
                <a:lnTo>
                  <a:pt x="50297" y="10934"/>
                </a:lnTo>
                <a:lnTo>
                  <a:pt x="60118" y="10630"/>
                </a:lnTo>
                <a:lnTo>
                  <a:pt x="69940" y="10326"/>
                </a:lnTo>
                <a:lnTo>
                  <a:pt x="79761" y="10326"/>
                </a:lnTo>
                <a:lnTo>
                  <a:pt x="89583" y="10022"/>
                </a:lnTo>
                <a:lnTo>
                  <a:pt x="196130" y="10022"/>
                </a:lnTo>
                <a:lnTo>
                  <a:pt x="205951" y="9719"/>
                </a:lnTo>
                <a:lnTo>
                  <a:pt x="215475" y="9719"/>
                </a:lnTo>
                <a:lnTo>
                  <a:pt x="224999" y="9415"/>
                </a:lnTo>
                <a:lnTo>
                  <a:pt x="234820" y="9111"/>
                </a:lnTo>
                <a:lnTo>
                  <a:pt x="244344" y="8808"/>
                </a:lnTo>
                <a:lnTo>
                  <a:pt x="253868" y="8200"/>
                </a:lnTo>
                <a:lnTo>
                  <a:pt x="263392" y="7593"/>
                </a:lnTo>
                <a:lnTo>
                  <a:pt x="273213" y="6985"/>
                </a:lnTo>
                <a:lnTo>
                  <a:pt x="282737" y="6378"/>
                </a:lnTo>
                <a:lnTo>
                  <a:pt x="292558" y="5163"/>
                </a:lnTo>
                <a:lnTo>
                  <a:pt x="302082" y="4252"/>
                </a:lnTo>
                <a:lnTo>
                  <a:pt x="311606" y="3037"/>
                </a:lnTo>
                <a:close/>
              </a:path>
            </a:pathLst>
          </a:custGeom>
          <a:solidFill>
            <a:srgbClr val="000000"/>
          </a:solidFill>
        </p:spPr>
        <p:txBody>
          <a:bodyPr wrap="square" lIns="0" tIns="0" rIns="0" bIns="0" rtlCol="0">
            <a:noAutofit/>
          </a:bodyPr>
          <a:lstStyle/>
          <a:p>
            <a:endParaRPr/>
          </a:p>
        </p:txBody>
      </p:sp>
      <p:sp>
        <p:nvSpPr>
          <p:cNvPr id="700" name="object 700"/>
          <p:cNvSpPr/>
          <p:nvPr/>
        </p:nvSpPr>
        <p:spPr>
          <a:xfrm>
            <a:off x="8117368" y="557203"/>
            <a:ext cx="214582" cy="63782"/>
          </a:xfrm>
          <a:custGeom>
            <a:avLst/>
            <a:gdLst/>
            <a:ahLst/>
            <a:cxnLst/>
            <a:rect l="l" t="t" r="r" b="b"/>
            <a:pathLst>
              <a:path w="214582" h="63782">
                <a:moveTo>
                  <a:pt x="214582" y="3037"/>
                </a:moveTo>
                <a:lnTo>
                  <a:pt x="214582" y="0"/>
                </a:lnTo>
                <a:lnTo>
                  <a:pt x="205951" y="911"/>
                </a:lnTo>
                <a:lnTo>
                  <a:pt x="197916" y="1822"/>
                </a:lnTo>
                <a:lnTo>
                  <a:pt x="190475" y="3037"/>
                </a:lnTo>
                <a:lnTo>
                  <a:pt x="183035" y="4555"/>
                </a:lnTo>
                <a:lnTo>
                  <a:pt x="175892" y="6074"/>
                </a:lnTo>
                <a:lnTo>
                  <a:pt x="169344" y="7896"/>
                </a:lnTo>
                <a:lnTo>
                  <a:pt x="162797" y="9719"/>
                </a:lnTo>
                <a:lnTo>
                  <a:pt x="156249" y="11845"/>
                </a:lnTo>
                <a:lnTo>
                  <a:pt x="149999" y="13971"/>
                </a:lnTo>
                <a:lnTo>
                  <a:pt x="144047" y="16401"/>
                </a:lnTo>
                <a:lnTo>
                  <a:pt x="138392" y="18527"/>
                </a:lnTo>
                <a:lnTo>
                  <a:pt x="132737" y="20957"/>
                </a:lnTo>
                <a:lnTo>
                  <a:pt x="127082" y="23690"/>
                </a:lnTo>
                <a:lnTo>
                  <a:pt x="121428" y="26120"/>
                </a:lnTo>
                <a:lnTo>
                  <a:pt x="116071" y="28550"/>
                </a:lnTo>
                <a:lnTo>
                  <a:pt x="110416" y="31283"/>
                </a:lnTo>
                <a:lnTo>
                  <a:pt x="104761" y="33713"/>
                </a:lnTo>
                <a:lnTo>
                  <a:pt x="99106" y="36143"/>
                </a:lnTo>
                <a:lnTo>
                  <a:pt x="93452" y="38876"/>
                </a:lnTo>
                <a:lnTo>
                  <a:pt x="87797" y="41306"/>
                </a:lnTo>
                <a:lnTo>
                  <a:pt x="81844" y="43432"/>
                </a:lnTo>
                <a:lnTo>
                  <a:pt x="75892" y="45862"/>
                </a:lnTo>
                <a:lnTo>
                  <a:pt x="69642" y="47988"/>
                </a:lnTo>
                <a:lnTo>
                  <a:pt x="63392" y="50114"/>
                </a:lnTo>
                <a:lnTo>
                  <a:pt x="56547" y="51937"/>
                </a:lnTo>
                <a:lnTo>
                  <a:pt x="49702" y="53759"/>
                </a:lnTo>
                <a:lnTo>
                  <a:pt x="42559" y="55581"/>
                </a:lnTo>
                <a:lnTo>
                  <a:pt x="34821" y="57100"/>
                </a:lnTo>
                <a:lnTo>
                  <a:pt x="27083" y="58315"/>
                </a:lnTo>
                <a:lnTo>
                  <a:pt x="18749" y="59226"/>
                </a:lnTo>
                <a:lnTo>
                  <a:pt x="10416" y="60137"/>
                </a:lnTo>
                <a:lnTo>
                  <a:pt x="1190" y="60745"/>
                </a:lnTo>
                <a:lnTo>
                  <a:pt x="297" y="61352"/>
                </a:lnTo>
                <a:lnTo>
                  <a:pt x="0" y="62263"/>
                </a:lnTo>
                <a:lnTo>
                  <a:pt x="297" y="63174"/>
                </a:lnTo>
                <a:lnTo>
                  <a:pt x="1190" y="63782"/>
                </a:lnTo>
                <a:lnTo>
                  <a:pt x="10416" y="63174"/>
                </a:lnTo>
                <a:lnTo>
                  <a:pt x="19345" y="62263"/>
                </a:lnTo>
                <a:lnTo>
                  <a:pt x="27678" y="61352"/>
                </a:lnTo>
                <a:lnTo>
                  <a:pt x="35416" y="60137"/>
                </a:lnTo>
                <a:lnTo>
                  <a:pt x="43154" y="58619"/>
                </a:lnTo>
                <a:lnTo>
                  <a:pt x="50297" y="56796"/>
                </a:lnTo>
                <a:lnTo>
                  <a:pt x="57142" y="54974"/>
                </a:lnTo>
                <a:lnTo>
                  <a:pt x="63987" y="53151"/>
                </a:lnTo>
                <a:lnTo>
                  <a:pt x="70833" y="51025"/>
                </a:lnTo>
                <a:lnTo>
                  <a:pt x="77083" y="48899"/>
                </a:lnTo>
                <a:lnTo>
                  <a:pt x="83035" y="46470"/>
                </a:lnTo>
                <a:lnTo>
                  <a:pt x="88987" y="44343"/>
                </a:lnTo>
                <a:lnTo>
                  <a:pt x="94642" y="41914"/>
                </a:lnTo>
                <a:lnTo>
                  <a:pt x="100297" y="39180"/>
                </a:lnTo>
                <a:lnTo>
                  <a:pt x="105952" y="36750"/>
                </a:lnTo>
                <a:lnTo>
                  <a:pt x="111606" y="34320"/>
                </a:lnTo>
                <a:lnTo>
                  <a:pt x="117261" y="31587"/>
                </a:lnTo>
                <a:lnTo>
                  <a:pt x="122618" y="29157"/>
                </a:lnTo>
                <a:lnTo>
                  <a:pt x="128273" y="26727"/>
                </a:lnTo>
                <a:lnTo>
                  <a:pt x="133928" y="23994"/>
                </a:lnTo>
                <a:lnTo>
                  <a:pt x="139582" y="21564"/>
                </a:lnTo>
                <a:lnTo>
                  <a:pt x="145237" y="19438"/>
                </a:lnTo>
                <a:lnTo>
                  <a:pt x="151190" y="17008"/>
                </a:lnTo>
                <a:lnTo>
                  <a:pt x="157440" y="14882"/>
                </a:lnTo>
                <a:lnTo>
                  <a:pt x="163392" y="12756"/>
                </a:lnTo>
                <a:lnTo>
                  <a:pt x="169939" y="10934"/>
                </a:lnTo>
                <a:lnTo>
                  <a:pt x="176487" y="9111"/>
                </a:lnTo>
                <a:lnTo>
                  <a:pt x="183630" y="7593"/>
                </a:lnTo>
                <a:lnTo>
                  <a:pt x="191070" y="6074"/>
                </a:lnTo>
                <a:lnTo>
                  <a:pt x="198511" y="4859"/>
                </a:lnTo>
                <a:lnTo>
                  <a:pt x="206546" y="3948"/>
                </a:lnTo>
                <a:lnTo>
                  <a:pt x="214582" y="3037"/>
                </a:lnTo>
                <a:close/>
              </a:path>
            </a:pathLst>
          </a:custGeom>
          <a:solidFill>
            <a:srgbClr val="000000"/>
          </a:solidFill>
        </p:spPr>
        <p:txBody>
          <a:bodyPr wrap="square" lIns="0" tIns="0" rIns="0" bIns="0" rtlCol="0">
            <a:noAutofit/>
          </a:bodyPr>
          <a:lstStyle/>
          <a:p>
            <a:endParaRPr/>
          </a:p>
        </p:txBody>
      </p:sp>
      <p:sp>
        <p:nvSpPr>
          <p:cNvPr id="701" name="object 701"/>
          <p:cNvSpPr/>
          <p:nvPr/>
        </p:nvSpPr>
        <p:spPr>
          <a:xfrm>
            <a:off x="8079572" y="617949"/>
            <a:ext cx="38987" cy="44647"/>
          </a:xfrm>
          <a:custGeom>
            <a:avLst/>
            <a:gdLst/>
            <a:ahLst/>
            <a:cxnLst/>
            <a:rect l="l" t="t" r="r" b="b"/>
            <a:pathLst>
              <a:path w="38987" h="44647">
                <a:moveTo>
                  <a:pt x="2380" y="34320"/>
                </a:moveTo>
                <a:lnTo>
                  <a:pt x="0" y="43129"/>
                </a:lnTo>
                <a:lnTo>
                  <a:pt x="297" y="44343"/>
                </a:lnTo>
                <a:lnTo>
                  <a:pt x="1190" y="44647"/>
                </a:lnTo>
                <a:lnTo>
                  <a:pt x="2380" y="44647"/>
                </a:lnTo>
                <a:lnTo>
                  <a:pt x="2976" y="43736"/>
                </a:lnTo>
                <a:lnTo>
                  <a:pt x="5357" y="34928"/>
                </a:lnTo>
                <a:lnTo>
                  <a:pt x="8035" y="27335"/>
                </a:lnTo>
                <a:lnTo>
                  <a:pt x="11011" y="20653"/>
                </a:lnTo>
                <a:lnTo>
                  <a:pt x="15178" y="14882"/>
                </a:lnTo>
                <a:lnTo>
                  <a:pt x="19642" y="10326"/>
                </a:lnTo>
                <a:lnTo>
                  <a:pt x="24999" y="6985"/>
                </a:lnTo>
                <a:lnTo>
                  <a:pt x="31547" y="4555"/>
                </a:lnTo>
                <a:lnTo>
                  <a:pt x="38987" y="3037"/>
                </a:lnTo>
                <a:lnTo>
                  <a:pt x="38987" y="0"/>
                </a:lnTo>
                <a:lnTo>
                  <a:pt x="30952" y="1518"/>
                </a:lnTo>
                <a:lnTo>
                  <a:pt x="23809" y="3948"/>
                </a:lnTo>
                <a:lnTo>
                  <a:pt x="17857" y="7896"/>
                </a:lnTo>
                <a:lnTo>
                  <a:pt x="12797" y="13060"/>
                </a:lnTo>
                <a:lnTo>
                  <a:pt x="8630" y="18830"/>
                </a:lnTo>
                <a:lnTo>
                  <a:pt x="5059" y="26120"/>
                </a:lnTo>
                <a:lnTo>
                  <a:pt x="2380" y="34320"/>
                </a:lnTo>
                <a:close/>
              </a:path>
            </a:pathLst>
          </a:custGeom>
          <a:solidFill>
            <a:srgbClr val="000000"/>
          </a:solidFill>
        </p:spPr>
        <p:txBody>
          <a:bodyPr wrap="square" lIns="0" tIns="0" rIns="0" bIns="0" rtlCol="0">
            <a:noAutofit/>
          </a:bodyPr>
          <a:lstStyle/>
          <a:p>
            <a:endParaRPr/>
          </a:p>
        </p:txBody>
      </p:sp>
      <p:sp>
        <p:nvSpPr>
          <p:cNvPr id="702" name="object 702"/>
          <p:cNvSpPr/>
          <p:nvPr/>
        </p:nvSpPr>
        <p:spPr>
          <a:xfrm>
            <a:off x="8044453" y="661078"/>
            <a:ext cx="38095" cy="201673"/>
          </a:xfrm>
          <a:custGeom>
            <a:avLst/>
            <a:gdLst/>
            <a:ahLst/>
            <a:cxnLst/>
            <a:rect l="l" t="t" r="r" b="b"/>
            <a:pathLst>
              <a:path w="38095" h="201673">
                <a:moveTo>
                  <a:pt x="2976" y="200762"/>
                </a:moveTo>
                <a:lnTo>
                  <a:pt x="38095" y="607"/>
                </a:lnTo>
                <a:lnTo>
                  <a:pt x="35118" y="0"/>
                </a:lnTo>
                <a:lnTo>
                  <a:pt x="0" y="200155"/>
                </a:lnTo>
                <a:lnTo>
                  <a:pt x="297" y="201370"/>
                </a:lnTo>
                <a:lnTo>
                  <a:pt x="1190" y="201673"/>
                </a:lnTo>
                <a:lnTo>
                  <a:pt x="2380" y="201673"/>
                </a:lnTo>
                <a:lnTo>
                  <a:pt x="2976" y="200762"/>
                </a:lnTo>
                <a:close/>
              </a:path>
            </a:pathLst>
          </a:custGeom>
          <a:solidFill>
            <a:srgbClr val="000000"/>
          </a:solidFill>
        </p:spPr>
        <p:txBody>
          <a:bodyPr wrap="square" lIns="0" tIns="0" rIns="0" bIns="0" rtlCol="0">
            <a:noAutofit/>
          </a:bodyPr>
          <a:lstStyle/>
          <a:p>
            <a:endParaRPr/>
          </a:p>
        </p:txBody>
      </p:sp>
      <p:sp>
        <p:nvSpPr>
          <p:cNvPr id="703" name="object 703"/>
          <p:cNvSpPr/>
          <p:nvPr/>
        </p:nvSpPr>
        <p:spPr>
          <a:xfrm>
            <a:off x="8029273" y="861232"/>
            <a:ext cx="18154" cy="32194"/>
          </a:xfrm>
          <a:custGeom>
            <a:avLst/>
            <a:gdLst/>
            <a:ahLst/>
            <a:cxnLst/>
            <a:rect l="l" t="t" r="r" b="b"/>
            <a:pathLst>
              <a:path w="18154" h="32194">
                <a:moveTo>
                  <a:pt x="4464" y="16704"/>
                </a:moveTo>
                <a:lnTo>
                  <a:pt x="2083" y="20957"/>
                </a:lnTo>
                <a:lnTo>
                  <a:pt x="595" y="25512"/>
                </a:lnTo>
                <a:lnTo>
                  <a:pt x="0" y="30980"/>
                </a:lnTo>
                <a:lnTo>
                  <a:pt x="595" y="31891"/>
                </a:lnTo>
                <a:lnTo>
                  <a:pt x="1488" y="32194"/>
                </a:lnTo>
                <a:lnTo>
                  <a:pt x="2380" y="31891"/>
                </a:lnTo>
                <a:lnTo>
                  <a:pt x="2976" y="30980"/>
                </a:lnTo>
                <a:lnTo>
                  <a:pt x="3571" y="26120"/>
                </a:lnTo>
                <a:lnTo>
                  <a:pt x="5059" y="22171"/>
                </a:lnTo>
                <a:lnTo>
                  <a:pt x="6845" y="18527"/>
                </a:lnTo>
                <a:lnTo>
                  <a:pt x="9523" y="15186"/>
                </a:lnTo>
                <a:lnTo>
                  <a:pt x="11904" y="11845"/>
                </a:lnTo>
                <a:lnTo>
                  <a:pt x="14583" y="8504"/>
                </a:lnTo>
                <a:lnTo>
                  <a:pt x="16964" y="4859"/>
                </a:lnTo>
                <a:lnTo>
                  <a:pt x="18154" y="607"/>
                </a:lnTo>
                <a:lnTo>
                  <a:pt x="15178" y="0"/>
                </a:lnTo>
                <a:lnTo>
                  <a:pt x="13988" y="3644"/>
                </a:lnTo>
                <a:lnTo>
                  <a:pt x="12202" y="6681"/>
                </a:lnTo>
                <a:lnTo>
                  <a:pt x="9523" y="10022"/>
                </a:lnTo>
                <a:lnTo>
                  <a:pt x="7142" y="13363"/>
                </a:lnTo>
                <a:lnTo>
                  <a:pt x="4464" y="16704"/>
                </a:lnTo>
                <a:close/>
              </a:path>
            </a:pathLst>
          </a:custGeom>
          <a:solidFill>
            <a:srgbClr val="000000"/>
          </a:solidFill>
        </p:spPr>
        <p:txBody>
          <a:bodyPr wrap="square" lIns="0" tIns="0" rIns="0" bIns="0" rtlCol="0">
            <a:noAutofit/>
          </a:bodyPr>
          <a:lstStyle/>
          <a:p>
            <a:endParaRPr/>
          </a:p>
        </p:txBody>
      </p:sp>
      <p:sp>
        <p:nvSpPr>
          <p:cNvPr id="704" name="object 704"/>
          <p:cNvSpPr/>
          <p:nvPr/>
        </p:nvSpPr>
        <p:spPr>
          <a:xfrm>
            <a:off x="8032846" y="844528"/>
            <a:ext cx="566069" cy="172819"/>
          </a:xfrm>
          <a:custGeom>
            <a:avLst/>
            <a:gdLst/>
            <a:ahLst/>
            <a:cxnLst/>
            <a:rect l="l" t="t" r="r" b="b"/>
            <a:pathLst>
              <a:path w="566069" h="172819">
                <a:moveTo>
                  <a:pt x="0" y="47077"/>
                </a:moveTo>
                <a:lnTo>
                  <a:pt x="0" y="172819"/>
                </a:lnTo>
                <a:lnTo>
                  <a:pt x="566069" y="144877"/>
                </a:lnTo>
                <a:lnTo>
                  <a:pt x="566069" y="0"/>
                </a:lnTo>
                <a:lnTo>
                  <a:pt x="0" y="47077"/>
                </a:lnTo>
                <a:close/>
              </a:path>
            </a:pathLst>
          </a:custGeom>
          <a:solidFill>
            <a:srgbClr val="00BEBE"/>
          </a:solidFill>
        </p:spPr>
        <p:txBody>
          <a:bodyPr wrap="square" lIns="0" tIns="0" rIns="0" bIns="0" rtlCol="0">
            <a:noAutofit/>
          </a:bodyPr>
          <a:lstStyle/>
          <a:p>
            <a:endParaRPr/>
          </a:p>
        </p:txBody>
      </p:sp>
      <p:sp>
        <p:nvSpPr>
          <p:cNvPr id="705" name="object 705"/>
          <p:cNvSpPr/>
          <p:nvPr/>
        </p:nvSpPr>
        <p:spPr>
          <a:xfrm>
            <a:off x="8598915" y="844528"/>
            <a:ext cx="430951" cy="170693"/>
          </a:xfrm>
          <a:custGeom>
            <a:avLst/>
            <a:gdLst/>
            <a:ahLst/>
            <a:cxnLst/>
            <a:rect l="l" t="t" r="r" b="b"/>
            <a:pathLst>
              <a:path w="430951" h="170693">
                <a:moveTo>
                  <a:pt x="0" y="144573"/>
                </a:moveTo>
                <a:lnTo>
                  <a:pt x="430951" y="170693"/>
                </a:lnTo>
                <a:lnTo>
                  <a:pt x="430951" y="57100"/>
                </a:lnTo>
                <a:lnTo>
                  <a:pt x="0" y="0"/>
                </a:lnTo>
                <a:lnTo>
                  <a:pt x="0" y="144573"/>
                </a:lnTo>
                <a:close/>
              </a:path>
            </a:pathLst>
          </a:custGeom>
          <a:solidFill>
            <a:srgbClr val="00FFFF"/>
          </a:solidFill>
        </p:spPr>
        <p:txBody>
          <a:bodyPr wrap="square" lIns="0" tIns="0" rIns="0" bIns="0" rtlCol="0">
            <a:noAutofit/>
          </a:bodyPr>
          <a:lstStyle/>
          <a:p>
            <a:endParaRPr/>
          </a:p>
        </p:txBody>
      </p:sp>
      <p:sp>
        <p:nvSpPr>
          <p:cNvPr id="706" name="object 706"/>
          <p:cNvSpPr/>
          <p:nvPr/>
        </p:nvSpPr>
        <p:spPr>
          <a:xfrm>
            <a:off x="8817069" y="650751"/>
            <a:ext cx="212499" cy="230527"/>
          </a:xfrm>
          <a:custGeom>
            <a:avLst/>
            <a:gdLst/>
            <a:ahLst/>
            <a:cxnLst/>
            <a:rect l="l" t="t" r="r" b="b"/>
            <a:pathLst>
              <a:path w="212499" h="230527">
                <a:moveTo>
                  <a:pt x="297" y="0"/>
                </a:moveTo>
                <a:lnTo>
                  <a:pt x="0" y="201673"/>
                </a:lnTo>
                <a:lnTo>
                  <a:pt x="212499" y="230527"/>
                </a:lnTo>
                <a:lnTo>
                  <a:pt x="212201" y="42217"/>
                </a:lnTo>
                <a:lnTo>
                  <a:pt x="297" y="0"/>
                </a:lnTo>
                <a:close/>
              </a:path>
            </a:pathLst>
          </a:custGeom>
          <a:solidFill>
            <a:srgbClr val="FF0000"/>
          </a:solidFill>
        </p:spPr>
        <p:txBody>
          <a:bodyPr wrap="square" lIns="0" tIns="0" rIns="0" bIns="0" rtlCol="0">
            <a:noAutofit/>
          </a:bodyPr>
          <a:lstStyle/>
          <a:p>
            <a:endParaRPr/>
          </a:p>
        </p:txBody>
      </p:sp>
      <p:sp>
        <p:nvSpPr>
          <p:cNvPr id="707" name="object 707"/>
          <p:cNvSpPr/>
          <p:nvPr/>
        </p:nvSpPr>
        <p:spPr>
          <a:xfrm>
            <a:off x="8064096" y="718786"/>
            <a:ext cx="254463" cy="129083"/>
          </a:xfrm>
          <a:custGeom>
            <a:avLst/>
            <a:gdLst/>
            <a:ahLst/>
            <a:cxnLst/>
            <a:rect l="l" t="t" r="r" b="b"/>
            <a:pathLst>
              <a:path w="254463" h="129083">
                <a:moveTo>
                  <a:pt x="198808" y="8200"/>
                </a:moveTo>
                <a:lnTo>
                  <a:pt x="116368" y="0"/>
                </a:lnTo>
                <a:lnTo>
                  <a:pt x="116368" y="117845"/>
                </a:lnTo>
                <a:lnTo>
                  <a:pt x="151487" y="113593"/>
                </a:lnTo>
                <a:lnTo>
                  <a:pt x="154166" y="109948"/>
                </a:lnTo>
                <a:lnTo>
                  <a:pt x="156249" y="106911"/>
                </a:lnTo>
                <a:lnTo>
                  <a:pt x="158630" y="103874"/>
                </a:lnTo>
                <a:lnTo>
                  <a:pt x="161309" y="101140"/>
                </a:lnTo>
                <a:lnTo>
                  <a:pt x="164582" y="99318"/>
                </a:lnTo>
                <a:lnTo>
                  <a:pt x="169047" y="97495"/>
                </a:lnTo>
                <a:lnTo>
                  <a:pt x="174999" y="96584"/>
                </a:lnTo>
                <a:lnTo>
                  <a:pt x="182737" y="96281"/>
                </a:lnTo>
                <a:lnTo>
                  <a:pt x="198808" y="8200"/>
                </a:lnTo>
                <a:close/>
              </a:path>
              <a:path w="254463" h="129083">
                <a:moveTo>
                  <a:pt x="236011" y="79272"/>
                </a:moveTo>
                <a:lnTo>
                  <a:pt x="239582" y="77753"/>
                </a:lnTo>
                <a:lnTo>
                  <a:pt x="243154" y="76842"/>
                </a:lnTo>
                <a:lnTo>
                  <a:pt x="246725" y="76235"/>
                </a:lnTo>
                <a:lnTo>
                  <a:pt x="250594" y="75627"/>
                </a:lnTo>
                <a:lnTo>
                  <a:pt x="254463" y="75627"/>
                </a:lnTo>
                <a:lnTo>
                  <a:pt x="252677" y="31587"/>
                </a:lnTo>
                <a:lnTo>
                  <a:pt x="252380" y="27942"/>
                </a:lnTo>
                <a:lnTo>
                  <a:pt x="251784" y="24905"/>
                </a:lnTo>
                <a:lnTo>
                  <a:pt x="250892" y="22171"/>
                </a:lnTo>
                <a:lnTo>
                  <a:pt x="249701" y="19742"/>
                </a:lnTo>
                <a:lnTo>
                  <a:pt x="247915" y="17919"/>
                </a:lnTo>
                <a:lnTo>
                  <a:pt x="243749" y="15793"/>
                </a:lnTo>
                <a:lnTo>
                  <a:pt x="240773" y="15490"/>
                </a:lnTo>
                <a:lnTo>
                  <a:pt x="227677" y="86258"/>
                </a:lnTo>
                <a:lnTo>
                  <a:pt x="230058" y="83524"/>
                </a:lnTo>
                <a:lnTo>
                  <a:pt x="233035" y="81094"/>
                </a:lnTo>
                <a:lnTo>
                  <a:pt x="236011" y="79272"/>
                </a:lnTo>
                <a:close/>
              </a:path>
              <a:path w="254463" h="129083">
                <a:moveTo>
                  <a:pt x="99999" y="-2126"/>
                </a:moveTo>
                <a:lnTo>
                  <a:pt x="21428" y="-11237"/>
                </a:lnTo>
                <a:lnTo>
                  <a:pt x="0" y="112682"/>
                </a:lnTo>
                <a:lnTo>
                  <a:pt x="5357" y="112682"/>
                </a:lnTo>
                <a:lnTo>
                  <a:pt x="10416" y="112985"/>
                </a:lnTo>
                <a:lnTo>
                  <a:pt x="15773" y="113289"/>
                </a:lnTo>
                <a:lnTo>
                  <a:pt x="20833" y="113593"/>
                </a:lnTo>
                <a:lnTo>
                  <a:pt x="25892" y="114200"/>
                </a:lnTo>
                <a:lnTo>
                  <a:pt x="30952" y="114504"/>
                </a:lnTo>
                <a:lnTo>
                  <a:pt x="35714" y="115112"/>
                </a:lnTo>
                <a:lnTo>
                  <a:pt x="40773" y="116023"/>
                </a:lnTo>
                <a:lnTo>
                  <a:pt x="45535" y="116630"/>
                </a:lnTo>
                <a:lnTo>
                  <a:pt x="50297" y="117238"/>
                </a:lnTo>
                <a:lnTo>
                  <a:pt x="55059" y="118149"/>
                </a:lnTo>
                <a:lnTo>
                  <a:pt x="59821" y="118756"/>
                </a:lnTo>
                <a:lnTo>
                  <a:pt x="64583" y="119364"/>
                </a:lnTo>
                <a:lnTo>
                  <a:pt x="69345" y="119971"/>
                </a:lnTo>
                <a:lnTo>
                  <a:pt x="74106" y="120579"/>
                </a:lnTo>
                <a:lnTo>
                  <a:pt x="78868" y="121186"/>
                </a:lnTo>
                <a:lnTo>
                  <a:pt x="99999" y="119971"/>
                </a:lnTo>
                <a:lnTo>
                  <a:pt x="99999" y="-2126"/>
                </a:lnTo>
                <a:close/>
              </a:path>
            </a:pathLst>
          </a:custGeom>
          <a:solidFill>
            <a:srgbClr val="E4E4E4"/>
          </a:solidFill>
        </p:spPr>
        <p:txBody>
          <a:bodyPr wrap="square" lIns="0" tIns="0" rIns="0" bIns="0" rtlCol="0">
            <a:noAutofit/>
          </a:bodyPr>
          <a:lstStyle/>
          <a:p>
            <a:endParaRPr/>
          </a:p>
        </p:txBody>
      </p:sp>
      <p:sp>
        <p:nvSpPr>
          <p:cNvPr id="708" name="object 708"/>
          <p:cNvSpPr/>
          <p:nvPr/>
        </p:nvSpPr>
        <p:spPr>
          <a:xfrm>
            <a:off x="8162606" y="716659"/>
            <a:ext cx="2976" cy="123160"/>
          </a:xfrm>
          <a:custGeom>
            <a:avLst/>
            <a:gdLst/>
            <a:ahLst/>
            <a:cxnLst/>
            <a:rect l="l" t="t" r="r" b="b"/>
            <a:pathLst>
              <a:path w="2976" h="123160">
                <a:moveTo>
                  <a:pt x="2380" y="123008"/>
                </a:moveTo>
                <a:lnTo>
                  <a:pt x="2976" y="122097"/>
                </a:lnTo>
                <a:lnTo>
                  <a:pt x="2976" y="0"/>
                </a:lnTo>
                <a:lnTo>
                  <a:pt x="0" y="0"/>
                </a:lnTo>
                <a:lnTo>
                  <a:pt x="0" y="122097"/>
                </a:lnTo>
                <a:lnTo>
                  <a:pt x="1488" y="120579"/>
                </a:lnTo>
                <a:lnTo>
                  <a:pt x="1934" y="123160"/>
                </a:lnTo>
                <a:lnTo>
                  <a:pt x="2380" y="123008"/>
                </a:lnTo>
                <a:close/>
              </a:path>
            </a:pathLst>
          </a:custGeom>
          <a:solidFill>
            <a:srgbClr val="000000"/>
          </a:solidFill>
        </p:spPr>
        <p:txBody>
          <a:bodyPr wrap="square" lIns="0" tIns="0" rIns="0" bIns="0" rtlCol="0">
            <a:noAutofit/>
          </a:bodyPr>
          <a:lstStyle/>
          <a:p>
            <a:endParaRPr/>
          </a:p>
        </p:txBody>
      </p:sp>
      <p:sp>
        <p:nvSpPr>
          <p:cNvPr id="709" name="object 709"/>
          <p:cNvSpPr/>
          <p:nvPr/>
        </p:nvSpPr>
        <p:spPr>
          <a:xfrm>
            <a:off x="8162606" y="837239"/>
            <a:ext cx="1934" cy="2733"/>
          </a:xfrm>
          <a:custGeom>
            <a:avLst/>
            <a:gdLst/>
            <a:ahLst/>
            <a:cxnLst/>
            <a:rect l="l" t="t" r="r" b="b"/>
            <a:pathLst>
              <a:path w="1934" h="2733">
                <a:moveTo>
                  <a:pt x="1488" y="0"/>
                </a:moveTo>
                <a:lnTo>
                  <a:pt x="0" y="1518"/>
                </a:lnTo>
                <a:lnTo>
                  <a:pt x="595" y="2429"/>
                </a:lnTo>
                <a:lnTo>
                  <a:pt x="1488" y="2733"/>
                </a:lnTo>
                <a:lnTo>
                  <a:pt x="1934" y="2581"/>
                </a:lnTo>
                <a:lnTo>
                  <a:pt x="1488" y="0"/>
                </a:lnTo>
                <a:close/>
              </a:path>
            </a:pathLst>
          </a:custGeom>
          <a:solidFill>
            <a:srgbClr val="000000"/>
          </a:solidFill>
        </p:spPr>
        <p:txBody>
          <a:bodyPr wrap="square" lIns="0" tIns="0" rIns="0" bIns="0" rtlCol="0">
            <a:noAutofit/>
          </a:bodyPr>
          <a:lstStyle/>
          <a:p>
            <a:endParaRPr/>
          </a:p>
        </p:txBody>
      </p:sp>
      <p:sp>
        <p:nvSpPr>
          <p:cNvPr id="710" name="object 710"/>
          <p:cNvSpPr/>
          <p:nvPr/>
        </p:nvSpPr>
        <p:spPr>
          <a:xfrm>
            <a:off x="8141774" y="837238"/>
            <a:ext cx="22321" cy="4252"/>
          </a:xfrm>
          <a:custGeom>
            <a:avLst/>
            <a:gdLst/>
            <a:ahLst/>
            <a:cxnLst/>
            <a:rect l="l" t="t" r="r" b="b"/>
            <a:pathLst>
              <a:path w="22321" h="4252">
                <a:moveTo>
                  <a:pt x="0" y="2733"/>
                </a:moveTo>
                <a:lnTo>
                  <a:pt x="297" y="3644"/>
                </a:lnTo>
                <a:lnTo>
                  <a:pt x="1190" y="4252"/>
                </a:lnTo>
                <a:lnTo>
                  <a:pt x="22321" y="3037"/>
                </a:lnTo>
                <a:lnTo>
                  <a:pt x="22321" y="0"/>
                </a:lnTo>
                <a:lnTo>
                  <a:pt x="1190" y="1214"/>
                </a:lnTo>
                <a:lnTo>
                  <a:pt x="1488" y="1214"/>
                </a:lnTo>
                <a:lnTo>
                  <a:pt x="1190" y="1214"/>
                </a:lnTo>
                <a:lnTo>
                  <a:pt x="297" y="1822"/>
                </a:lnTo>
                <a:lnTo>
                  <a:pt x="0" y="2733"/>
                </a:lnTo>
                <a:close/>
              </a:path>
            </a:pathLst>
          </a:custGeom>
          <a:solidFill>
            <a:srgbClr val="000000"/>
          </a:solidFill>
        </p:spPr>
        <p:txBody>
          <a:bodyPr wrap="square" lIns="0" tIns="0" rIns="0" bIns="0" rtlCol="0">
            <a:noAutofit/>
          </a:bodyPr>
          <a:lstStyle/>
          <a:p>
            <a:endParaRPr/>
          </a:p>
        </p:txBody>
      </p:sp>
      <p:sp>
        <p:nvSpPr>
          <p:cNvPr id="711" name="object 711"/>
          <p:cNvSpPr/>
          <p:nvPr/>
        </p:nvSpPr>
        <p:spPr>
          <a:xfrm>
            <a:off x="8064096" y="829948"/>
            <a:ext cx="5357" cy="1822"/>
          </a:xfrm>
          <a:custGeom>
            <a:avLst/>
            <a:gdLst/>
            <a:ahLst/>
            <a:cxnLst/>
            <a:rect l="l" t="t" r="r" b="b"/>
            <a:pathLst>
              <a:path w="5357" h="1822">
                <a:moveTo>
                  <a:pt x="1488" y="1822"/>
                </a:moveTo>
                <a:lnTo>
                  <a:pt x="5357" y="0"/>
                </a:lnTo>
                <a:lnTo>
                  <a:pt x="0" y="0"/>
                </a:lnTo>
                <a:lnTo>
                  <a:pt x="1488" y="1822"/>
                </a:lnTo>
                <a:close/>
              </a:path>
            </a:pathLst>
          </a:custGeom>
          <a:solidFill>
            <a:srgbClr val="000000"/>
          </a:solidFill>
        </p:spPr>
        <p:txBody>
          <a:bodyPr wrap="square" lIns="0" tIns="0" rIns="0" bIns="0" rtlCol="0">
            <a:noAutofit/>
          </a:bodyPr>
          <a:lstStyle/>
          <a:p>
            <a:endParaRPr/>
          </a:p>
        </p:txBody>
      </p:sp>
      <p:sp>
        <p:nvSpPr>
          <p:cNvPr id="712" name="object 712"/>
          <p:cNvSpPr/>
          <p:nvPr/>
        </p:nvSpPr>
        <p:spPr>
          <a:xfrm>
            <a:off x="8062904" y="829949"/>
            <a:ext cx="80356" cy="11541"/>
          </a:xfrm>
          <a:custGeom>
            <a:avLst/>
            <a:gdLst/>
            <a:ahLst/>
            <a:cxnLst/>
            <a:rect l="l" t="t" r="r" b="b"/>
            <a:pathLst>
              <a:path w="80356" h="11541">
                <a:moveTo>
                  <a:pt x="1190" y="3037"/>
                </a:moveTo>
                <a:lnTo>
                  <a:pt x="6547" y="3037"/>
                </a:lnTo>
                <a:lnTo>
                  <a:pt x="11607" y="3340"/>
                </a:lnTo>
                <a:lnTo>
                  <a:pt x="16964" y="3644"/>
                </a:lnTo>
                <a:lnTo>
                  <a:pt x="22023" y="3948"/>
                </a:lnTo>
                <a:lnTo>
                  <a:pt x="27083" y="4555"/>
                </a:lnTo>
                <a:lnTo>
                  <a:pt x="32142" y="4859"/>
                </a:lnTo>
                <a:lnTo>
                  <a:pt x="36607" y="5467"/>
                </a:lnTo>
                <a:lnTo>
                  <a:pt x="41666" y="6378"/>
                </a:lnTo>
                <a:lnTo>
                  <a:pt x="46428" y="6985"/>
                </a:lnTo>
                <a:lnTo>
                  <a:pt x="51190" y="7593"/>
                </a:lnTo>
                <a:lnTo>
                  <a:pt x="55952" y="8504"/>
                </a:lnTo>
                <a:lnTo>
                  <a:pt x="60714" y="9111"/>
                </a:lnTo>
                <a:lnTo>
                  <a:pt x="65475" y="9719"/>
                </a:lnTo>
                <a:lnTo>
                  <a:pt x="70237" y="10326"/>
                </a:lnTo>
                <a:lnTo>
                  <a:pt x="74999" y="10934"/>
                </a:lnTo>
                <a:lnTo>
                  <a:pt x="79761" y="11541"/>
                </a:lnTo>
                <a:lnTo>
                  <a:pt x="80356" y="8504"/>
                </a:lnTo>
                <a:lnTo>
                  <a:pt x="75595" y="7896"/>
                </a:lnTo>
                <a:lnTo>
                  <a:pt x="70833" y="7289"/>
                </a:lnTo>
                <a:lnTo>
                  <a:pt x="66071" y="6681"/>
                </a:lnTo>
                <a:lnTo>
                  <a:pt x="61309" y="6074"/>
                </a:lnTo>
                <a:lnTo>
                  <a:pt x="56547" y="5467"/>
                </a:lnTo>
                <a:lnTo>
                  <a:pt x="51785" y="4555"/>
                </a:lnTo>
                <a:lnTo>
                  <a:pt x="47023" y="3948"/>
                </a:lnTo>
                <a:lnTo>
                  <a:pt x="42261" y="3340"/>
                </a:lnTo>
                <a:lnTo>
                  <a:pt x="37202" y="2429"/>
                </a:lnTo>
                <a:lnTo>
                  <a:pt x="32142" y="1822"/>
                </a:lnTo>
                <a:lnTo>
                  <a:pt x="27083" y="1518"/>
                </a:lnTo>
                <a:lnTo>
                  <a:pt x="22023" y="911"/>
                </a:lnTo>
                <a:lnTo>
                  <a:pt x="16964" y="607"/>
                </a:lnTo>
                <a:lnTo>
                  <a:pt x="11607" y="303"/>
                </a:lnTo>
                <a:lnTo>
                  <a:pt x="6547" y="0"/>
                </a:lnTo>
                <a:lnTo>
                  <a:pt x="2678" y="1822"/>
                </a:lnTo>
                <a:lnTo>
                  <a:pt x="1190" y="0"/>
                </a:lnTo>
                <a:lnTo>
                  <a:pt x="297" y="607"/>
                </a:lnTo>
                <a:lnTo>
                  <a:pt x="0" y="1518"/>
                </a:lnTo>
                <a:lnTo>
                  <a:pt x="297" y="2429"/>
                </a:lnTo>
                <a:lnTo>
                  <a:pt x="1190" y="3037"/>
                </a:lnTo>
                <a:close/>
              </a:path>
            </a:pathLst>
          </a:custGeom>
          <a:solidFill>
            <a:srgbClr val="000000"/>
          </a:solidFill>
        </p:spPr>
        <p:txBody>
          <a:bodyPr wrap="square" lIns="0" tIns="0" rIns="0" bIns="0" rtlCol="0">
            <a:noAutofit/>
          </a:bodyPr>
          <a:lstStyle/>
          <a:p>
            <a:endParaRPr/>
          </a:p>
        </p:txBody>
      </p:sp>
      <p:sp>
        <p:nvSpPr>
          <p:cNvPr id="713" name="object 713"/>
          <p:cNvSpPr/>
          <p:nvPr/>
        </p:nvSpPr>
        <p:spPr>
          <a:xfrm>
            <a:off x="8062606" y="706028"/>
            <a:ext cx="24404" cy="125742"/>
          </a:xfrm>
          <a:custGeom>
            <a:avLst/>
            <a:gdLst/>
            <a:ahLst/>
            <a:cxnLst/>
            <a:rect l="l" t="t" r="r" b="b"/>
            <a:pathLst>
              <a:path w="24404" h="125742">
                <a:moveTo>
                  <a:pt x="24107" y="607"/>
                </a:moveTo>
                <a:lnTo>
                  <a:pt x="23214" y="0"/>
                </a:lnTo>
                <a:lnTo>
                  <a:pt x="22618" y="3037"/>
                </a:lnTo>
                <a:lnTo>
                  <a:pt x="21428" y="1214"/>
                </a:lnTo>
                <a:lnTo>
                  <a:pt x="0" y="125134"/>
                </a:lnTo>
                <a:lnTo>
                  <a:pt x="2976" y="125742"/>
                </a:lnTo>
                <a:lnTo>
                  <a:pt x="24404" y="1822"/>
                </a:lnTo>
                <a:lnTo>
                  <a:pt x="24107" y="607"/>
                </a:lnTo>
                <a:close/>
              </a:path>
              <a:path w="24404" h="125742">
                <a:moveTo>
                  <a:pt x="23214" y="0"/>
                </a:moveTo>
                <a:lnTo>
                  <a:pt x="22023" y="303"/>
                </a:lnTo>
                <a:lnTo>
                  <a:pt x="21428" y="1214"/>
                </a:lnTo>
                <a:lnTo>
                  <a:pt x="22618" y="3037"/>
                </a:lnTo>
                <a:lnTo>
                  <a:pt x="23214" y="0"/>
                </a:lnTo>
                <a:close/>
              </a:path>
            </a:pathLst>
          </a:custGeom>
          <a:solidFill>
            <a:srgbClr val="000000"/>
          </a:solidFill>
        </p:spPr>
        <p:txBody>
          <a:bodyPr wrap="square" lIns="0" tIns="0" rIns="0" bIns="0" rtlCol="0">
            <a:noAutofit/>
          </a:bodyPr>
          <a:lstStyle/>
          <a:p>
            <a:endParaRPr/>
          </a:p>
        </p:txBody>
      </p:sp>
      <p:sp>
        <p:nvSpPr>
          <p:cNvPr id="714" name="object 714"/>
          <p:cNvSpPr/>
          <p:nvPr/>
        </p:nvSpPr>
        <p:spPr>
          <a:xfrm>
            <a:off x="8085225" y="706029"/>
            <a:ext cx="80356" cy="12149"/>
          </a:xfrm>
          <a:custGeom>
            <a:avLst/>
            <a:gdLst/>
            <a:ahLst/>
            <a:cxnLst/>
            <a:rect l="l" t="t" r="r" b="b"/>
            <a:pathLst>
              <a:path w="80356" h="12149">
                <a:moveTo>
                  <a:pt x="79166" y="9111"/>
                </a:moveTo>
                <a:lnTo>
                  <a:pt x="595" y="0"/>
                </a:lnTo>
                <a:lnTo>
                  <a:pt x="0" y="3037"/>
                </a:lnTo>
                <a:lnTo>
                  <a:pt x="78571" y="12149"/>
                </a:lnTo>
                <a:lnTo>
                  <a:pt x="79761" y="11845"/>
                </a:lnTo>
                <a:lnTo>
                  <a:pt x="80356" y="10934"/>
                </a:lnTo>
                <a:lnTo>
                  <a:pt x="80248" y="10492"/>
                </a:lnTo>
                <a:lnTo>
                  <a:pt x="80059" y="9719"/>
                </a:lnTo>
                <a:lnTo>
                  <a:pt x="79166" y="9111"/>
                </a:lnTo>
                <a:lnTo>
                  <a:pt x="77380" y="10630"/>
                </a:lnTo>
                <a:lnTo>
                  <a:pt x="79166" y="9111"/>
                </a:lnTo>
                <a:close/>
              </a:path>
            </a:pathLst>
          </a:custGeom>
          <a:solidFill>
            <a:srgbClr val="000000"/>
          </a:solidFill>
        </p:spPr>
        <p:txBody>
          <a:bodyPr wrap="square" lIns="0" tIns="0" rIns="0" bIns="0" rtlCol="0">
            <a:noAutofit/>
          </a:bodyPr>
          <a:lstStyle/>
          <a:p>
            <a:endParaRPr/>
          </a:p>
        </p:txBody>
      </p:sp>
      <p:sp>
        <p:nvSpPr>
          <p:cNvPr id="715" name="object 715"/>
          <p:cNvSpPr/>
          <p:nvPr/>
        </p:nvSpPr>
        <p:spPr>
          <a:xfrm>
            <a:off x="8180463" y="717267"/>
            <a:ext cx="83928" cy="11237"/>
          </a:xfrm>
          <a:custGeom>
            <a:avLst/>
            <a:gdLst/>
            <a:ahLst/>
            <a:cxnLst/>
            <a:rect l="l" t="t" r="r" b="b"/>
            <a:pathLst>
              <a:path w="83928" h="11237">
                <a:moveTo>
                  <a:pt x="82440" y="8200"/>
                </a:moveTo>
                <a:lnTo>
                  <a:pt x="0" y="0"/>
                </a:lnTo>
                <a:lnTo>
                  <a:pt x="0" y="3037"/>
                </a:lnTo>
                <a:lnTo>
                  <a:pt x="82440" y="11237"/>
                </a:lnTo>
                <a:lnTo>
                  <a:pt x="83333" y="10630"/>
                </a:lnTo>
                <a:lnTo>
                  <a:pt x="83818" y="9887"/>
                </a:lnTo>
                <a:lnTo>
                  <a:pt x="83928" y="9719"/>
                </a:lnTo>
                <a:lnTo>
                  <a:pt x="83333" y="8808"/>
                </a:lnTo>
                <a:lnTo>
                  <a:pt x="82440" y="8200"/>
                </a:lnTo>
                <a:lnTo>
                  <a:pt x="80952" y="9415"/>
                </a:lnTo>
                <a:lnTo>
                  <a:pt x="82440" y="8200"/>
                </a:lnTo>
                <a:close/>
              </a:path>
            </a:pathLst>
          </a:custGeom>
          <a:solidFill>
            <a:srgbClr val="000000"/>
          </a:solidFill>
        </p:spPr>
        <p:txBody>
          <a:bodyPr wrap="square" lIns="0" tIns="0" rIns="0" bIns="0" rtlCol="0">
            <a:noAutofit/>
          </a:bodyPr>
          <a:lstStyle/>
          <a:p>
            <a:endParaRPr/>
          </a:p>
        </p:txBody>
      </p:sp>
      <p:sp>
        <p:nvSpPr>
          <p:cNvPr id="716" name="object 716"/>
          <p:cNvSpPr/>
          <p:nvPr/>
        </p:nvSpPr>
        <p:spPr>
          <a:xfrm>
            <a:off x="8245345" y="726683"/>
            <a:ext cx="19047" cy="89599"/>
          </a:xfrm>
          <a:custGeom>
            <a:avLst/>
            <a:gdLst/>
            <a:ahLst/>
            <a:cxnLst/>
            <a:rect l="l" t="t" r="r" b="b"/>
            <a:pathLst>
              <a:path w="19047" h="89599">
                <a:moveTo>
                  <a:pt x="1488" y="86865"/>
                </a:moveTo>
                <a:lnTo>
                  <a:pt x="16071" y="0"/>
                </a:lnTo>
                <a:lnTo>
                  <a:pt x="0" y="88080"/>
                </a:lnTo>
                <a:lnTo>
                  <a:pt x="297" y="89295"/>
                </a:lnTo>
                <a:lnTo>
                  <a:pt x="1488" y="86865"/>
                </a:lnTo>
                <a:close/>
              </a:path>
              <a:path w="19047" h="89599">
                <a:moveTo>
                  <a:pt x="297" y="89295"/>
                </a:moveTo>
                <a:lnTo>
                  <a:pt x="1190" y="89599"/>
                </a:lnTo>
                <a:lnTo>
                  <a:pt x="2380" y="89599"/>
                </a:lnTo>
                <a:lnTo>
                  <a:pt x="2976" y="88687"/>
                </a:lnTo>
                <a:lnTo>
                  <a:pt x="19047" y="607"/>
                </a:lnTo>
                <a:lnTo>
                  <a:pt x="16071" y="0"/>
                </a:lnTo>
                <a:lnTo>
                  <a:pt x="1488" y="86865"/>
                </a:lnTo>
                <a:lnTo>
                  <a:pt x="297" y="89295"/>
                </a:lnTo>
                <a:close/>
              </a:path>
            </a:pathLst>
          </a:custGeom>
          <a:solidFill>
            <a:srgbClr val="000000"/>
          </a:solidFill>
        </p:spPr>
        <p:txBody>
          <a:bodyPr wrap="square" lIns="0" tIns="0" rIns="0" bIns="0" rtlCol="0">
            <a:noAutofit/>
          </a:bodyPr>
          <a:lstStyle/>
          <a:p>
            <a:endParaRPr/>
          </a:p>
        </p:txBody>
      </p:sp>
      <p:sp>
        <p:nvSpPr>
          <p:cNvPr id="717" name="object 717"/>
          <p:cNvSpPr/>
          <p:nvPr/>
        </p:nvSpPr>
        <p:spPr>
          <a:xfrm>
            <a:off x="8214095" y="813548"/>
            <a:ext cx="32737" cy="20349"/>
          </a:xfrm>
          <a:custGeom>
            <a:avLst/>
            <a:gdLst/>
            <a:ahLst/>
            <a:cxnLst/>
            <a:rect l="l" t="t" r="r" b="b"/>
            <a:pathLst>
              <a:path w="32737" h="20349">
                <a:moveTo>
                  <a:pt x="595" y="20045"/>
                </a:moveTo>
                <a:lnTo>
                  <a:pt x="1785" y="20349"/>
                </a:lnTo>
                <a:lnTo>
                  <a:pt x="1190" y="17312"/>
                </a:lnTo>
                <a:lnTo>
                  <a:pt x="1785" y="20349"/>
                </a:lnTo>
                <a:lnTo>
                  <a:pt x="2678" y="19742"/>
                </a:lnTo>
                <a:lnTo>
                  <a:pt x="5357" y="16097"/>
                </a:lnTo>
                <a:lnTo>
                  <a:pt x="7440" y="13060"/>
                </a:lnTo>
                <a:lnTo>
                  <a:pt x="9821" y="10022"/>
                </a:lnTo>
                <a:lnTo>
                  <a:pt x="12202" y="7593"/>
                </a:lnTo>
                <a:lnTo>
                  <a:pt x="15178" y="6074"/>
                </a:lnTo>
                <a:lnTo>
                  <a:pt x="19345" y="4252"/>
                </a:lnTo>
                <a:lnTo>
                  <a:pt x="24999" y="3340"/>
                </a:lnTo>
                <a:lnTo>
                  <a:pt x="32737" y="3037"/>
                </a:lnTo>
                <a:lnTo>
                  <a:pt x="32737" y="0"/>
                </a:lnTo>
                <a:lnTo>
                  <a:pt x="24999" y="303"/>
                </a:lnTo>
                <a:lnTo>
                  <a:pt x="18749" y="1214"/>
                </a:lnTo>
                <a:lnTo>
                  <a:pt x="13988" y="3037"/>
                </a:lnTo>
                <a:lnTo>
                  <a:pt x="10416" y="5163"/>
                </a:lnTo>
                <a:lnTo>
                  <a:pt x="7440" y="8200"/>
                </a:lnTo>
                <a:lnTo>
                  <a:pt x="5059" y="11237"/>
                </a:lnTo>
                <a:lnTo>
                  <a:pt x="2976" y="14275"/>
                </a:lnTo>
                <a:lnTo>
                  <a:pt x="297" y="17919"/>
                </a:lnTo>
                <a:lnTo>
                  <a:pt x="0" y="19134"/>
                </a:lnTo>
                <a:lnTo>
                  <a:pt x="595" y="20045"/>
                </a:lnTo>
                <a:close/>
              </a:path>
            </a:pathLst>
          </a:custGeom>
          <a:solidFill>
            <a:srgbClr val="000000"/>
          </a:solidFill>
        </p:spPr>
        <p:txBody>
          <a:bodyPr wrap="square" lIns="0" tIns="0" rIns="0" bIns="0" rtlCol="0">
            <a:noAutofit/>
          </a:bodyPr>
          <a:lstStyle/>
          <a:p>
            <a:endParaRPr/>
          </a:p>
        </p:txBody>
      </p:sp>
      <p:sp>
        <p:nvSpPr>
          <p:cNvPr id="718" name="object 718"/>
          <p:cNvSpPr/>
          <p:nvPr/>
        </p:nvSpPr>
        <p:spPr>
          <a:xfrm>
            <a:off x="8180761" y="833897"/>
            <a:ext cx="35118" cy="4252"/>
          </a:xfrm>
          <a:custGeom>
            <a:avLst/>
            <a:gdLst/>
            <a:ahLst/>
            <a:cxnLst/>
            <a:rect l="l" t="t" r="r" b="b"/>
            <a:pathLst>
              <a:path w="35118" h="4252">
                <a:moveTo>
                  <a:pt x="1190" y="2733"/>
                </a:moveTo>
                <a:lnTo>
                  <a:pt x="0" y="4252"/>
                </a:lnTo>
                <a:lnTo>
                  <a:pt x="35118" y="0"/>
                </a:lnTo>
                <a:lnTo>
                  <a:pt x="1190" y="2733"/>
                </a:lnTo>
                <a:close/>
              </a:path>
            </a:pathLst>
          </a:custGeom>
          <a:solidFill>
            <a:srgbClr val="000000"/>
          </a:solidFill>
        </p:spPr>
        <p:txBody>
          <a:bodyPr wrap="square" lIns="0" tIns="0" rIns="0" bIns="0" rtlCol="0">
            <a:noAutofit/>
          </a:bodyPr>
          <a:lstStyle/>
          <a:p>
            <a:endParaRPr/>
          </a:p>
        </p:txBody>
      </p:sp>
      <p:sp>
        <p:nvSpPr>
          <p:cNvPr id="719" name="object 719"/>
          <p:cNvSpPr/>
          <p:nvPr/>
        </p:nvSpPr>
        <p:spPr>
          <a:xfrm>
            <a:off x="8179274" y="830861"/>
            <a:ext cx="36607" cy="7289"/>
          </a:xfrm>
          <a:custGeom>
            <a:avLst/>
            <a:gdLst/>
            <a:ahLst/>
            <a:cxnLst/>
            <a:rect l="l" t="t" r="r" b="b"/>
            <a:pathLst>
              <a:path w="36607" h="7289">
                <a:moveTo>
                  <a:pt x="36607" y="3037"/>
                </a:moveTo>
                <a:lnTo>
                  <a:pt x="36011" y="0"/>
                </a:lnTo>
                <a:lnTo>
                  <a:pt x="892" y="4252"/>
                </a:lnTo>
                <a:lnTo>
                  <a:pt x="0" y="4859"/>
                </a:lnTo>
                <a:lnTo>
                  <a:pt x="0" y="6074"/>
                </a:lnTo>
                <a:lnTo>
                  <a:pt x="297" y="6985"/>
                </a:lnTo>
                <a:lnTo>
                  <a:pt x="1488" y="7289"/>
                </a:lnTo>
                <a:lnTo>
                  <a:pt x="2678" y="5770"/>
                </a:lnTo>
                <a:lnTo>
                  <a:pt x="36607" y="3037"/>
                </a:lnTo>
                <a:close/>
              </a:path>
            </a:pathLst>
          </a:custGeom>
          <a:solidFill>
            <a:srgbClr val="000000"/>
          </a:solidFill>
        </p:spPr>
        <p:txBody>
          <a:bodyPr wrap="square" lIns="0" tIns="0" rIns="0" bIns="0" rtlCol="0">
            <a:noAutofit/>
          </a:bodyPr>
          <a:lstStyle/>
          <a:p>
            <a:endParaRPr/>
          </a:p>
        </p:txBody>
      </p:sp>
      <p:sp>
        <p:nvSpPr>
          <p:cNvPr id="720" name="object 720"/>
          <p:cNvSpPr/>
          <p:nvPr/>
        </p:nvSpPr>
        <p:spPr>
          <a:xfrm>
            <a:off x="8178975" y="717266"/>
            <a:ext cx="2976" cy="119364"/>
          </a:xfrm>
          <a:custGeom>
            <a:avLst/>
            <a:gdLst/>
            <a:ahLst/>
            <a:cxnLst/>
            <a:rect l="l" t="t" r="r" b="b"/>
            <a:pathLst>
              <a:path w="2976" h="119364">
                <a:moveTo>
                  <a:pt x="2380" y="607"/>
                </a:moveTo>
                <a:lnTo>
                  <a:pt x="1488" y="0"/>
                </a:lnTo>
                <a:lnTo>
                  <a:pt x="1488" y="3037"/>
                </a:lnTo>
                <a:lnTo>
                  <a:pt x="0" y="1518"/>
                </a:lnTo>
                <a:lnTo>
                  <a:pt x="0" y="119364"/>
                </a:lnTo>
                <a:lnTo>
                  <a:pt x="2976" y="119364"/>
                </a:lnTo>
                <a:lnTo>
                  <a:pt x="2976" y="1518"/>
                </a:lnTo>
                <a:lnTo>
                  <a:pt x="2380" y="607"/>
                </a:lnTo>
                <a:close/>
              </a:path>
            </a:pathLst>
          </a:custGeom>
          <a:solidFill>
            <a:srgbClr val="000000"/>
          </a:solidFill>
        </p:spPr>
        <p:txBody>
          <a:bodyPr wrap="square" lIns="0" tIns="0" rIns="0" bIns="0" rtlCol="0">
            <a:noAutofit/>
          </a:bodyPr>
          <a:lstStyle/>
          <a:p>
            <a:endParaRPr/>
          </a:p>
        </p:txBody>
      </p:sp>
      <p:sp>
        <p:nvSpPr>
          <p:cNvPr id="721" name="object 721"/>
          <p:cNvSpPr/>
          <p:nvPr/>
        </p:nvSpPr>
        <p:spPr>
          <a:xfrm>
            <a:off x="8178975" y="717267"/>
            <a:ext cx="1488" cy="3037"/>
          </a:xfrm>
          <a:custGeom>
            <a:avLst/>
            <a:gdLst/>
            <a:ahLst/>
            <a:cxnLst/>
            <a:rect l="l" t="t" r="r" b="b"/>
            <a:pathLst>
              <a:path w="1488" h="3037">
                <a:moveTo>
                  <a:pt x="1488" y="0"/>
                </a:moveTo>
                <a:lnTo>
                  <a:pt x="595" y="607"/>
                </a:lnTo>
                <a:lnTo>
                  <a:pt x="0" y="1518"/>
                </a:lnTo>
                <a:lnTo>
                  <a:pt x="1488" y="3037"/>
                </a:lnTo>
                <a:lnTo>
                  <a:pt x="1488" y="0"/>
                </a:lnTo>
                <a:close/>
              </a:path>
            </a:pathLst>
          </a:custGeom>
          <a:solidFill>
            <a:srgbClr val="000000"/>
          </a:solidFill>
        </p:spPr>
        <p:txBody>
          <a:bodyPr wrap="square" lIns="0" tIns="0" rIns="0" bIns="0" rtlCol="0">
            <a:noAutofit/>
          </a:bodyPr>
          <a:lstStyle/>
          <a:p>
            <a:endParaRPr/>
          </a:p>
        </p:txBody>
      </p:sp>
      <p:sp>
        <p:nvSpPr>
          <p:cNvPr id="722" name="object 722"/>
          <p:cNvSpPr/>
          <p:nvPr/>
        </p:nvSpPr>
        <p:spPr>
          <a:xfrm>
            <a:off x="8290285" y="733971"/>
            <a:ext cx="16071" cy="72286"/>
          </a:xfrm>
          <a:custGeom>
            <a:avLst/>
            <a:gdLst/>
            <a:ahLst/>
            <a:cxnLst/>
            <a:rect l="l" t="t" r="r" b="b"/>
            <a:pathLst>
              <a:path w="16071" h="72286">
                <a:moveTo>
                  <a:pt x="2602" y="71948"/>
                </a:moveTo>
                <a:lnTo>
                  <a:pt x="2976" y="71375"/>
                </a:lnTo>
                <a:lnTo>
                  <a:pt x="297" y="70160"/>
                </a:lnTo>
                <a:lnTo>
                  <a:pt x="0" y="70768"/>
                </a:lnTo>
                <a:lnTo>
                  <a:pt x="297" y="71982"/>
                </a:lnTo>
                <a:lnTo>
                  <a:pt x="1190" y="72286"/>
                </a:lnTo>
                <a:lnTo>
                  <a:pt x="2380" y="72286"/>
                </a:lnTo>
                <a:lnTo>
                  <a:pt x="2602" y="71948"/>
                </a:lnTo>
                <a:close/>
              </a:path>
              <a:path w="16071" h="72286">
                <a:moveTo>
                  <a:pt x="13095" y="0"/>
                </a:moveTo>
                <a:lnTo>
                  <a:pt x="0" y="70768"/>
                </a:lnTo>
                <a:lnTo>
                  <a:pt x="297" y="70160"/>
                </a:lnTo>
                <a:lnTo>
                  <a:pt x="2976" y="71375"/>
                </a:lnTo>
                <a:lnTo>
                  <a:pt x="16071" y="607"/>
                </a:lnTo>
                <a:lnTo>
                  <a:pt x="13095" y="0"/>
                </a:lnTo>
                <a:close/>
              </a:path>
            </a:pathLst>
          </a:custGeom>
          <a:solidFill>
            <a:srgbClr val="000000"/>
          </a:solidFill>
        </p:spPr>
        <p:txBody>
          <a:bodyPr wrap="square" lIns="0" tIns="0" rIns="0" bIns="0" rtlCol="0">
            <a:noAutofit/>
          </a:bodyPr>
          <a:lstStyle/>
          <a:p>
            <a:endParaRPr/>
          </a:p>
        </p:txBody>
      </p:sp>
      <p:sp>
        <p:nvSpPr>
          <p:cNvPr id="723" name="object 723"/>
          <p:cNvSpPr/>
          <p:nvPr/>
        </p:nvSpPr>
        <p:spPr>
          <a:xfrm>
            <a:off x="8290582" y="792894"/>
            <a:ext cx="29464" cy="13060"/>
          </a:xfrm>
          <a:custGeom>
            <a:avLst/>
            <a:gdLst/>
            <a:ahLst/>
            <a:cxnLst/>
            <a:rect l="l" t="t" r="r" b="b"/>
            <a:pathLst>
              <a:path w="29464" h="13060">
                <a:moveTo>
                  <a:pt x="28868" y="2429"/>
                </a:moveTo>
                <a:lnTo>
                  <a:pt x="29464" y="1518"/>
                </a:lnTo>
                <a:lnTo>
                  <a:pt x="28868" y="607"/>
                </a:lnTo>
                <a:lnTo>
                  <a:pt x="27976" y="0"/>
                </a:lnTo>
                <a:lnTo>
                  <a:pt x="24107" y="0"/>
                </a:lnTo>
                <a:lnTo>
                  <a:pt x="19940" y="607"/>
                </a:lnTo>
                <a:lnTo>
                  <a:pt x="16368" y="1214"/>
                </a:lnTo>
                <a:lnTo>
                  <a:pt x="12499" y="2126"/>
                </a:lnTo>
                <a:lnTo>
                  <a:pt x="8928" y="3948"/>
                </a:lnTo>
                <a:lnTo>
                  <a:pt x="5654" y="5770"/>
                </a:lnTo>
                <a:lnTo>
                  <a:pt x="2678" y="8200"/>
                </a:lnTo>
                <a:lnTo>
                  <a:pt x="0" y="11237"/>
                </a:lnTo>
                <a:lnTo>
                  <a:pt x="2380" y="13060"/>
                </a:lnTo>
                <a:lnTo>
                  <a:pt x="4464" y="10630"/>
                </a:lnTo>
                <a:lnTo>
                  <a:pt x="7440" y="8200"/>
                </a:lnTo>
                <a:lnTo>
                  <a:pt x="10119" y="6378"/>
                </a:lnTo>
                <a:lnTo>
                  <a:pt x="13690" y="5163"/>
                </a:lnTo>
                <a:lnTo>
                  <a:pt x="16964" y="4252"/>
                </a:lnTo>
                <a:lnTo>
                  <a:pt x="20535" y="3644"/>
                </a:lnTo>
                <a:lnTo>
                  <a:pt x="24107" y="3037"/>
                </a:lnTo>
                <a:lnTo>
                  <a:pt x="27976" y="3037"/>
                </a:lnTo>
                <a:lnTo>
                  <a:pt x="26488" y="1518"/>
                </a:lnTo>
                <a:lnTo>
                  <a:pt x="27976" y="3037"/>
                </a:lnTo>
                <a:lnTo>
                  <a:pt x="28868" y="2429"/>
                </a:lnTo>
                <a:close/>
              </a:path>
            </a:pathLst>
          </a:custGeom>
          <a:solidFill>
            <a:srgbClr val="000000"/>
          </a:solidFill>
        </p:spPr>
        <p:txBody>
          <a:bodyPr wrap="square" lIns="0" tIns="0" rIns="0" bIns="0" rtlCol="0">
            <a:noAutofit/>
          </a:bodyPr>
          <a:lstStyle/>
          <a:p>
            <a:endParaRPr/>
          </a:p>
        </p:txBody>
      </p:sp>
      <p:sp>
        <p:nvSpPr>
          <p:cNvPr id="724" name="object 724"/>
          <p:cNvSpPr/>
          <p:nvPr/>
        </p:nvSpPr>
        <p:spPr>
          <a:xfrm>
            <a:off x="8315285" y="748854"/>
            <a:ext cx="4761" cy="45558"/>
          </a:xfrm>
          <a:custGeom>
            <a:avLst/>
            <a:gdLst/>
            <a:ahLst/>
            <a:cxnLst/>
            <a:rect l="l" t="t" r="r" b="b"/>
            <a:pathLst>
              <a:path w="4761" h="45558">
                <a:moveTo>
                  <a:pt x="0" y="1518"/>
                </a:moveTo>
                <a:lnTo>
                  <a:pt x="1785" y="45558"/>
                </a:lnTo>
                <a:lnTo>
                  <a:pt x="4761" y="45558"/>
                </a:lnTo>
                <a:lnTo>
                  <a:pt x="2976" y="1518"/>
                </a:lnTo>
                <a:lnTo>
                  <a:pt x="2380" y="607"/>
                </a:lnTo>
                <a:lnTo>
                  <a:pt x="1488" y="0"/>
                </a:lnTo>
                <a:lnTo>
                  <a:pt x="595" y="607"/>
                </a:lnTo>
                <a:lnTo>
                  <a:pt x="0" y="1518"/>
                </a:lnTo>
                <a:close/>
              </a:path>
            </a:pathLst>
          </a:custGeom>
          <a:solidFill>
            <a:srgbClr val="000000"/>
          </a:solidFill>
        </p:spPr>
        <p:txBody>
          <a:bodyPr wrap="square" lIns="0" tIns="0" rIns="0" bIns="0" rtlCol="0">
            <a:noAutofit/>
          </a:bodyPr>
          <a:lstStyle/>
          <a:p>
            <a:endParaRPr/>
          </a:p>
        </p:txBody>
      </p:sp>
      <p:sp>
        <p:nvSpPr>
          <p:cNvPr id="725" name="object 725"/>
          <p:cNvSpPr/>
          <p:nvPr/>
        </p:nvSpPr>
        <p:spPr>
          <a:xfrm>
            <a:off x="8304869" y="732756"/>
            <a:ext cx="3273" cy="1822"/>
          </a:xfrm>
          <a:custGeom>
            <a:avLst/>
            <a:gdLst/>
            <a:ahLst/>
            <a:cxnLst/>
            <a:rect l="l" t="t" r="r" b="b"/>
            <a:pathLst>
              <a:path w="3273" h="1822">
                <a:moveTo>
                  <a:pt x="0" y="0"/>
                </a:moveTo>
                <a:lnTo>
                  <a:pt x="1488" y="1822"/>
                </a:lnTo>
                <a:lnTo>
                  <a:pt x="3273" y="303"/>
                </a:lnTo>
                <a:lnTo>
                  <a:pt x="0" y="0"/>
                </a:lnTo>
                <a:close/>
              </a:path>
            </a:pathLst>
          </a:custGeom>
          <a:solidFill>
            <a:srgbClr val="000000"/>
          </a:solidFill>
        </p:spPr>
        <p:txBody>
          <a:bodyPr wrap="square" lIns="0" tIns="0" rIns="0" bIns="0" rtlCol="0">
            <a:noAutofit/>
          </a:bodyPr>
          <a:lstStyle/>
          <a:p>
            <a:endParaRPr/>
          </a:p>
        </p:txBody>
      </p:sp>
      <p:sp>
        <p:nvSpPr>
          <p:cNvPr id="726" name="object 726"/>
          <p:cNvSpPr/>
          <p:nvPr/>
        </p:nvSpPr>
        <p:spPr>
          <a:xfrm>
            <a:off x="8303678" y="732756"/>
            <a:ext cx="14583" cy="17616"/>
          </a:xfrm>
          <a:custGeom>
            <a:avLst/>
            <a:gdLst/>
            <a:ahLst/>
            <a:cxnLst/>
            <a:rect l="l" t="t" r="r" b="b"/>
            <a:pathLst>
              <a:path w="14583" h="17616">
                <a:moveTo>
                  <a:pt x="243" y="773"/>
                </a:moveTo>
                <a:lnTo>
                  <a:pt x="0" y="1518"/>
                </a:lnTo>
                <a:lnTo>
                  <a:pt x="297" y="2429"/>
                </a:lnTo>
                <a:lnTo>
                  <a:pt x="1190" y="3037"/>
                </a:lnTo>
                <a:lnTo>
                  <a:pt x="3869" y="3340"/>
                </a:lnTo>
                <a:lnTo>
                  <a:pt x="5952" y="3948"/>
                </a:lnTo>
                <a:lnTo>
                  <a:pt x="7440" y="5163"/>
                </a:lnTo>
                <a:lnTo>
                  <a:pt x="8928" y="6681"/>
                </a:lnTo>
                <a:lnTo>
                  <a:pt x="9821" y="8808"/>
                </a:lnTo>
                <a:lnTo>
                  <a:pt x="10714" y="11237"/>
                </a:lnTo>
                <a:lnTo>
                  <a:pt x="11309" y="14275"/>
                </a:lnTo>
                <a:lnTo>
                  <a:pt x="11607" y="17616"/>
                </a:lnTo>
                <a:lnTo>
                  <a:pt x="14583" y="17616"/>
                </a:lnTo>
                <a:lnTo>
                  <a:pt x="14285" y="13667"/>
                </a:lnTo>
                <a:lnTo>
                  <a:pt x="13690" y="10630"/>
                </a:lnTo>
                <a:lnTo>
                  <a:pt x="12797" y="7593"/>
                </a:lnTo>
                <a:lnTo>
                  <a:pt x="11309" y="4859"/>
                </a:lnTo>
                <a:lnTo>
                  <a:pt x="9226" y="2733"/>
                </a:lnTo>
                <a:lnTo>
                  <a:pt x="7142" y="1518"/>
                </a:lnTo>
                <a:lnTo>
                  <a:pt x="4464" y="303"/>
                </a:lnTo>
                <a:lnTo>
                  <a:pt x="2678" y="1822"/>
                </a:lnTo>
                <a:lnTo>
                  <a:pt x="1190" y="0"/>
                </a:lnTo>
                <a:lnTo>
                  <a:pt x="297" y="607"/>
                </a:lnTo>
                <a:lnTo>
                  <a:pt x="243" y="773"/>
                </a:lnTo>
                <a:close/>
              </a:path>
            </a:pathLst>
          </a:custGeom>
          <a:solidFill>
            <a:srgbClr val="000000"/>
          </a:solidFill>
        </p:spPr>
        <p:txBody>
          <a:bodyPr wrap="square" lIns="0" tIns="0" rIns="0" bIns="0" rtlCol="0">
            <a:noAutofit/>
          </a:bodyPr>
          <a:lstStyle/>
          <a:p>
            <a:endParaRPr/>
          </a:p>
        </p:txBody>
      </p:sp>
      <p:sp>
        <p:nvSpPr>
          <p:cNvPr id="727" name="object 727"/>
          <p:cNvSpPr/>
          <p:nvPr/>
        </p:nvSpPr>
        <p:spPr>
          <a:xfrm>
            <a:off x="8606951" y="638602"/>
            <a:ext cx="32737" cy="186791"/>
          </a:xfrm>
          <a:custGeom>
            <a:avLst/>
            <a:gdLst/>
            <a:ahLst/>
            <a:cxnLst/>
            <a:rect l="l" t="t" r="r" b="b"/>
            <a:pathLst>
              <a:path w="32737" h="186791">
                <a:moveTo>
                  <a:pt x="0" y="185272"/>
                </a:moveTo>
                <a:lnTo>
                  <a:pt x="297" y="186487"/>
                </a:lnTo>
                <a:lnTo>
                  <a:pt x="1190" y="186791"/>
                </a:lnTo>
                <a:lnTo>
                  <a:pt x="2380" y="186791"/>
                </a:lnTo>
                <a:lnTo>
                  <a:pt x="2976" y="185880"/>
                </a:lnTo>
                <a:lnTo>
                  <a:pt x="2678" y="184665"/>
                </a:lnTo>
                <a:lnTo>
                  <a:pt x="29761" y="0"/>
                </a:lnTo>
                <a:lnTo>
                  <a:pt x="0" y="185272"/>
                </a:lnTo>
                <a:close/>
              </a:path>
              <a:path w="32737" h="186791">
                <a:moveTo>
                  <a:pt x="29761" y="0"/>
                </a:moveTo>
                <a:lnTo>
                  <a:pt x="2678" y="184665"/>
                </a:lnTo>
                <a:lnTo>
                  <a:pt x="2976" y="185880"/>
                </a:lnTo>
                <a:lnTo>
                  <a:pt x="32737" y="607"/>
                </a:lnTo>
                <a:lnTo>
                  <a:pt x="29761" y="0"/>
                </a:lnTo>
                <a:close/>
              </a:path>
            </a:pathLst>
          </a:custGeom>
          <a:solidFill>
            <a:srgbClr val="000000"/>
          </a:solidFill>
        </p:spPr>
        <p:txBody>
          <a:bodyPr wrap="square" lIns="0" tIns="0" rIns="0" bIns="0" rtlCol="0">
            <a:noAutofit/>
          </a:bodyPr>
          <a:lstStyle/>
          <a:p>
            <a:endParaRPr/>
          </a:p>
        </p:txBody>
      </p:sp>
      <p:sp>
        <p:nvSpPr>
          <p:cNvPr id="728" name="object 728"/>
          <p:cNvSpPr/>
          <p:nvPr/>
        </p:nvSpPr>
        <p:spPr>
          <a:xfrm>
            <a:off x="8607248" y="823266"/>
            <a:ext cx="20238" cy="26424"/>
          </a:xfrm>
          <a:custGeom>
            <a:avLst/>
            <a:gdLst/>
            <a:ahLst/>
            <a:cxnLst/>
            <a:rect l="l" t="t" r="r" b="b"/>
            <a:pathLst>
              <a:path w="20238" h="26424">
                <a:moveTo>
                  <a:pt x="19940" y="23994"/>
                </a:moveTo>
                <a:lnTo>
                  <a:pt x="2380" y="0"/>
                </a:lnTo>
                <a:lnTo>
                  <a:pt x="0" y="1822"/>
                </a:lnTo>
                <a:lnTo>
                  <a:pt x="17559" y="25816"/>
                </a:lnTo>
                <a:lnTo>
                  <a:pt x="18749" y="26424"/>
                </a:lnTo>
                <a:lnTo>
                  <a:pt x="19642" y="26120"/>
                </a:lnTo>
                <a:lnTo>
                  <a:pt x="20238" y="25209"/>
                </a:lnTo>
                <a:lnTo>
                  <a:pt x="19940" y="23994"/>
                </a:lnTo>
                <a:lnTo>
                  <a:pt x="17261" y="24905"/>
                </a:lnTo>
                <a:lnTo>
                  <a:pt x="19940" y="23994"/>
                </a:lnTo>
                <a:close/>
              </a:path>
            </a:pathLst>
          </a:custGeom>
          <a:solidFill>
            <a:srgbClr val="000000"/>
          </a:solidFill>
        </p:spPr>
        <p:txBody>
          <a:bodyPr wrap="square" lIns="0" tIns="0" rIns="0" bIns="0" rtlCol="0">
            <a:noAutofit/>
          </a:bodyPr>
          <a:lstStyle/>
          <a:p>
            <a:endParaRPr/>
          </a:p>
        </p:txBody>
      </p:sp>
      <p:sp>
        <p:nvSpPr>
          <p:cNvPr id="729" name="object 729"/>
          <p:cNvSpPr/>
          <p:nvPr/>
        </p:nvSpPr>
        <p:spPr>
          <a:xfrm>
            <a:off x="8624510" y="848172"/>
            <a:ext cx="2976" cy="227186"/>
          </a:xfrm>
          <a:custGeom>
            <a:avLst/>
            <a:gdLst/>
            <a:ahLst/>
            <a:cxnLst/>
            <a:rect l="l" t="t" r="r" b="b"/>
            <a:pathLst>
              <a:path w="2976" h="227186">
                <a:moveTo>
                  <a:pt x="2976" y="225971"/>
                </a:moveTo>
                <a:lnTo>
                  <a:pt x="2976" y="0"/>
                </a:lnTo>
                <a:lnTo>
                  <a:pt x="0" y="0"/>
                </a:lnTo>
                <a:lnTo>
                  <a:pt x="0" y="225971"/>
                </a:lnTo>
                <a:lnTo>
                  <a:pt x="595" y="226883"/>
                </a:lnTo>
                <a:lnTo>
                  <a:pt x="1488" y="227186"/>
                </a:lnTo>
                <a:lnTo>
                  <a:pt x="2380" y="226883"/>
                </a:lnTo>
                <a:lnTo>
                  <a:pt x="2976" y="225971"/>
                </a:lnTo>
                <a:close/>
              </a:path>
            </a:pathLst>
          </a:custGeom>
          <a:solidFill>
            <a:srgbClr val="000000"/>
          </a:solidFill>
        </p:spPr>
        <p:txBody>
          <a:bodyPr wrap="square" lIns="0" tIns="0" rIns="0" bIns="0" rtlCol="0">
            <a:noAutofit/>
          </a:bodyPr>
          <a:lstStyle/>
          <a:p>
            <a:endParaRPr/>
          </a:p>
        </p:txBody>
      </p:sp>
      <p:sp>
        <p:nvSpPr>
          <p:cNvPr id="730" name="object 730"/>
          <p:cNvSpPr/>
          <p:nvPr/>
        </p:nvSpPr>
        <p:spPr>
          <a:xfrm>
            <a:off x="8624511" y="1074145"/>
            <a:ext cx="36011" cy="28853"/>
          </a:xfrm>
          <a:custGeom>
            <a:avLst/>
            <a:gdLst/>
            <a:ahLst/>
            <a:cxnLst/>
            <a:rect l="l" t="t" r="r" b="b"/>
            <a:pathLst>
              <a:path w="36011" h="28853">
                <a:moveTo>
                  <a:pt x="36011" y="27335"/>
                </a:moveTo>
                <a:lnTo>
                  <a:pt x="35416" y="26424"/>
                </a:lnTo>
                <a:lnTo>
                  <a:pt x="34523" y="25816"/>
                </a:lnTo>
                <a:lnTo>
                  <a:pt x="27083" y="25209"/>
                </a:lnTo>
                <a:lnTo>
                  <a:pt x="20238" y="23994"/>
                </a:lnTo>
                <a:lnTo>
                  <a:pt x="14880" y="22171"/>
                </a:lnTo>
                <a:lnTo>
                  <a:pt x="10714" y="19742"/>
                </a:lnTo>
                <a:lnTo>
                  <a:pt x="7440" y="16401"/>
                </a:lnTo>
                <a:lnTo>
                  <a:pt x="5059" y="11845"/>
                </a:lnTo>
                <a:lnTo>
                  <a:pt x="3571" y="6681"/>
                </a:lnTo>
                <a:lnTo>
                  <a:pt x="2976" y="0"/>
                </a:lnTo>
                <a:lnTo>
                  <a:pt x="0" y="0"/>
                </a:lnTo>
                <a:lnTo>
                  <a:pt x="595" y="7289"/>
                </a:lnTo>
                <a:lnTo>
                  <a:pt x="2083" y="13060"/>
                </a:lnTo>
                <a:lnTo>
                  <a:pt x="5059" y="18223"/>
                </a:lnTo>
                <a:lnTo>
                  <a:pt x="8928" y="22171"/>
                </a:lnTo>
                <a:lnTo>
                  <a:pt x="13690" y="25209"/>
                </a:lnTo>
                <a:lnTo>
                  <a:pt x="19642" y="27031"/>
                </a:lnTo>
                <a:lnTo>
                  <a:pt x="26488" y="28246"/>
                </a:lnTo>
                <a:lnTo>
                  <a:pt x="34523" y="28853"/>
                </a:lnTo>
                <a:lnTo>
                  <a:pt x="35416" y="28246"/>
                </a:lnTo>
                <a:lnTo>
                  <a:pt x="36011" y="27335"/>
                </a:lnTo>
                <a:close/>
              </a:path>
            </a:pathLst>
          </a:custGeom>
          <a:solidFill>
            <a:srgbClr val="000000"/>
          </a:solidFill>
        </p:spPr>
        <p:txBody>
          <a:bodyPr wrap="square" lIns="0" tIns="0" rIns="0" bIns="0" rtlCol="0">
            <a:noAutofit/>
          </a:bodyPr>
          <a:lstStyle/>
          <a:p>
            <a:endParaRPr/>
          </a:p>
        </p:txBody>
      </p:sp>
      <p:sp>
        <p:nvSpPr>
          <p:cNvPr id="731" name="object 731"/>
          <p:cNvSpPr/>
          <p:nvPr/>
        </p:nvSpPr>
        <p:spPr>
          <a:xfrm>
            <a:off x="8659033" y="1099960"/>
            <a:ext cx="138094" cy="6074"/>
          </a:xfrm>
          <a:custGeom>
            <a:avLst/>
            <a:gdLst/>
            <a:ahLst/>
            <a:cxnLst/>
            <a:rect l="l" t="t" r="r" b="b"/>
            <a:pathLst>
              <a:path w="138094" h="6074">
                <a:moveTo>
                  <a:pt x="136606" y="3037"/>
                </a:moveTo>
                <a:lnTo>
                  <a:pt x="0" y="0"/>
                </a:lnTo>
                <a:lnTo>
                  <a:pt x="0" y="3037"/>
                </a:lnTo>
                <a:lnTo>
                  <a:pt x="136606" y="6074"/>
                </a:lnTo>
                <a:lnTo>
                  <a:pt x="137499" y="5467"/>
                </a:lnTo>
                <a:lnTo>
                  <a:pt x="138094" y="4555"/>
                </a:lnTo>
                <a:lnTo>
                  <a:pt x="137499" y="3644"/>
                </a:lnTo>
                <a:lnTo>
                  <a:pt x="136606" y="3037"/>
                </a:lnTo>
                <a:close/>
              </a:path>
            </a:pathLst>
          </a:custGeom>
          <a:solidFill>
            <a:srgbClr val="000000"/>
          </a:solidFill>
        </p:spPr>
        <p:txBody>
          <a:bodyPr wrap="square" lIns="0" tIns="0" rIns="0" bIns="0" rtlCol="0">
            <a:noAutofit/>
          </a:bodyPr>
          <a:lstStyle/>
          <a:p>
            <a:endParaRPr/>
          </a:p>
        </p:txBody>
      </p:sp>
      <p:sp>
        <p:nvSpPr>
          <p:cNvPr id="732" name="object 732"/>
          <p:cNvSpPr/>
          <p:nvPr/>
        </p:nvSpPr>
        <p:spPr>
          <a:xfrm>
            <a:off x="8795641" y="1069589"/>
            <a:ext cx="30059" cy="36447"/>
          </a:xfrm>
          <a:custGeom>
            <a:avLst/>
            <a:gdLst/>
            <a:ahLst/>
            <a:cxnLst/>
            <a:rect l="l" t="t" r="r" b="b"/>
            <a:pathLst>
              <a:path w="30059" h="36447">
                <a:moveTo>
                  <a:pt x="6845" y="32802"/>
                </a:moveTo>
                <a:lnTo>
                  <a:pt x="0" y="33409"/>
                </a:lnTo>
                <a:lnTo>
                  <a:pt x="0" y="36447"/>
                </a:lnTo>
                <a:lnTo>
                  <a:pt x="7440" y="35839"/>
                </a:lnTo>
                <a:lnTo>
                  <a:pt x="13988" y="34624"/>
                </a:lnTo>
                <a:lnTo>
                  <a:pt x="19047" y="31587"/>
                </a:lnTo>
                <a:lnTo>
                  <a:pt x="23214" y="27942"/>
                </a:lnTo>
                <a:lnTo>
                  <a:pt x="26190" y="23083"/>
                </a:lnTo>
                <a:lnTo>
                  <a:pt x="28571" y="17008"/>
                </a:lnTo>
                <a:lnTo>
                  <a:pt x="29761" y="9719"/>
                </a:lnTo>
                <a:lnTo>
                  <a:pt x="30059" y="1518"/>
                </a:lnTo>
                <a:lnTo>
                  <a:pt x="29464" y="607"/>
                </a:lnTo>
                <a:lnTo>
                  <a:pt x="28571" y="0"/>
                </a:lnTo>
                <a:lnTo>
                  <a:pt x="27678" y="607"/>
                </a:lnTo>
                <a:lnTo>
                  <a:pt x="27083" y="1518"/>
                </a:lnTo>
                <a:lnTo>
                  <a:pt x="26785" y="9719"/>
                </a:lnTo>
                <a:lnTo>
                  <a:pt x="25595" y="16401"/>
                </a:lnTo>
                <a:lnTo>
                  <a:pt x="23809" y="21868"/>
                </a:lnTo>
                <a:lnTo>
                  <a:pt x="20833" y="26120"/>
                </a:lnTo>
                <a:lnTo>
                  <a:pt x="17261" y="29157"/>
                </a:lnTo>
                <a:lnTo>
                  <a:pt x="12797" y="31587"/>
                </a:lnTo>
                <a:lnTo>
                  <a:pt x="6845" y="32802"/>
                </a:lnTo>
                <a:close/>
              </a:path>
            </a:pathLst>
          </a:custGeom>
          <a:solidFill>
            <a:srgbClr val="000000"/>
          </a:solidFill>
        </p:spPr>
        <p:txBody>
          <a:bodyPr wrap="square" lIns="0" tIns="0" rIns="0" bIns="0" rtlCol="0">
            <a:noAutofit/>
          </a:bodyPr>
          <a:lstStyle/>
          <a:p>
            <a:endParaRPr/>
          </a:p>
        </p:txBody>
      </p:sp>
      <p:sp>
        <p:nvSpPr>
          <p:cNvPr id="733" name="object 733"/>
          <p:cNvSpPr/>
          <p:nvPr/>
        </p:nvSpPr>
        <p:spPr>
          <a:xfrm>
            <a:off x="8822427" y="872774"/>
            <a:ext cx="3273" cy="198332"/>
          </a:xfrm>
          <a:custGeom>
            <a:avLst/>
            <a:gdLst/>
            <a:ahLst/>
            <a:cxnLst/>
            <a:rect l="l" t="t" r="r" b="b"/>
            <a:pathLst>
              <a:path w="3273" h="198332">
                <a:moveTo>
                  <a:pt x="3273" y="198332"/>
                </a:moveTo>
                <a:lnTo>
                  <a:pt x="2976" y="1518"/>
                </a:lnTo>
                <a:lnTo>
                  <a:pt x="2380" y="607"/>
                </a:lnTo>
                <a:lnTo>
                  <a:pt x="1488" y="0"/>
                </a:lnTo>
                <a:lnTo>
                  <a:pt x="595" y="607"/>
                </a:lnTo>
                <a:lnTo>
                  <a:pt x="0" y="1518"/>
                </a:lnTo>
                <a:lnTo>
                  <a:pt x="297" y="198332"/>
                </a:lnTo>
                <a:lnTo>
                  <a:pt x="3273" y="198332"/>
                </a:lnTo>
                <a:close/>
              </a:path>
            </a:pathLst>
          </a:custGeom>
          <a:solidFill>
            <a:srgbClr val="000000"/>
          </a:solidFill>
        </p:spPr>
        <p:txBody>
          <a:bodyPr wrap="square" lIns="0" tIns="0" rIns="0" bIns="0" rtlCol="0">
            <a:noAutofit/>
          </a:bodyPr>
          <a:lstStyle/>
          <a:p>
            <a:endParaRPr/>
          </a:p>
        </p:txBody>
      </p:sp>
      <p:sp>
        <p:nvSpPr>
          <p:cNvPr id="734" name="object 734"/>
          <p:cNvSpPr/>
          <p:nvPr/>
        </p:nvSpPr>
        <p:spPr>
          <a:xfrm>
            <a:off x="8814093" y="850602"/>
            <a:ext cx="11309" cy="24298"/>
          </a:xfrm>
          <a:custGeom>
            <a:avLst/>
            <a:gdLst/>
            <a:ahLst/>
            <a:cxnLst/>
            <a:rect l="l" t="t" r="r" b="b"/>
            <a:pathLst>
              <a:path w="11309" h="24298">
                <a:moveTo>
                  <a:pt x="8333" y="24298"/>
                </a:moveTo>
                <a:lnTo>
                  <a:pt x="11309" y="23083"/>
                </a:lnTo>
                <a:lnTo>
                  <a:pt x="2976" y="911"/>
                </a:lnTo>
                <a:lnTo>
                  <a:pt x="2976" y="1518"/>
                </a:lnTo>
                <a:lnTo>
                  <a:pt x="2083" y="0"/>
                </a:lnTo>
                <a:lnTo>
                  <a:pt x="1190" y="0"/>
                </a:lnTo>
                <a:lnTo>
                  <a:pt x="0" y="911"/>
                </a:lnTo>
                <a:lnTo>
                  <a:pt x="0" y="2126"/>
                </a:lnTo>
                <a:lnTo>
                  <a:pt x="8333" y="24298"/>
                </a:lnTo>
                <a:close/>
              </a:path>
            </a:pathLst>
          </a:custGeom>
          <a:solidFill>
            <a:srgbClr val="000000"/>
          </a:solidFill>
        </p:spPr>
        <p:txBody>
          <a:bodyPr wrap="square" lIns="0" tIns="0" rIns="0" bIns="0" rtlCol="0">
            <a:noAutofit/>
          </a:bodyPr>
          <a:lstStyle/>
          <a:p>
            <a:endParaRPr/>
          </a:p>
        </p:txBody>
      </p:sp>
      <p:sp>
        <p:nvSpPr>
          <p:cNvPr id="735" name="object 735"/>
          <p:cNvSpPr/>
          <p:nvPr/>
        </p:nvSpPr>
        <p:spPr>
          <a:xfrm>
            <a:off x="8816176" y="850602"/>
            <a:ext cx="892" cy="1518"/>
          </a:xfrm>
          <a:custGeom>
            <a:avLst/>
            <a:gdLst/>
            <a:ahLst/>
            <a:cxnLst/>
            <a:rect l="l" t="t" r="r" b="b"/>
            <a:pathLst>
              <a:path w="892" h="1518">
                <a:moveTo>
                  <a:pt x="892" y="911"/>
                </a:moveTo>
                <a:lnTo>
                  <a:pt x="0" y="0"/>
                </a:lnTo>
                <a:lnTo>
                  <a:pt x="892" y="1518"/>
                </a:lnTo>
                <a:lnTo>
                  <a:pt x="892" y="911"/>
                </a:lnTo>
                <a:close/>
              </a:path>
            </a:pathLst>
          </a:custGeom>
          <a:solidFill>
            <a:srgbClr val="000000"/>
          </a:solidFill>
        </p:spPr>
        <p:txBody>
          <a:bodyPr wrap="square" lIns="0" tIns="0" rIns="0" bIns="0" rtlCol="0">
            <a:noAutofit/>
          </a:bodyPr>
          <a:lstStyle/>
          <a:p>
            <a:endParaRPr/>
          </a:p>
        </p:txBody>
      </p:sp>
      <p:sp>
        <p:nvSpPr>
          <p:cNvPr id="736" name="object 736"/>
          <p:cNvSpPr/>
          <p:nvPr/>
        </p:nvSpPr>
        <p:spPr>
          <a:xfrm>
            <a:off x="8814092" y="671100"/>
            <a:ext cx="2976" cy="181020"/>
          </a:xfrm>
          <a:custGeom>
            <a:avLst/>
            <a:gdLst/>
            <a:ahLst/>
            <a:cxnLst/>
            <a:rect l="l" t="t" r="r" b="b"/>
            <a:pathLst>
              <a:path w="2976" h="181020">
                <a:moveTo>
                  <a:pt x="0" y="1518"/>
                </a:moveTo>
                <a:lnTo>
                  <a:pt x="0" y="181020"/>
                </a:lnTo>
                <a:lnTo>
                  <a:pt x="2976" y="181020"/>
                </a:lnTo>
                <a:lnTo>
                  <a:pt x="2976" y="1518"/>
                </a:lnTo>
                <a:lnTo>
                  <a:pt x="2380" y="607"/>
                </a:lnTo>
                <a:lnTo>
                  <a:pt x="1488" y="0"/>
                </a:lnTo>
                <a:lnTo>
                  <a:pt x="595" y="607"/>
                </a:lnTo>
                <a:lnTo>
                  <a:pt x="0" y="1518"/>
                </a:lnTo>
                <a:close/>
              </a:path>
            </a:pathLst>
          </a:custGeom>
          <a:solidFill>
            <a:srgbClr val="000000"/>
          </a:solidFill>
        </p:spPr>
        <p:txBody>
          <a:bodyPr wrap="square" lIns="0" tIns="0" rIns="0" bIns="0" rtlCol="0">
            <a:noAutofit/>
          </a:bodyPr>
          <a:lstStyle/>
          <a:p>
            <a:endParaRPr/>
          </a:p>
        </p:txBody>
      </p:sp>
      <p:sp>
        <p:nvSpPr>
          <p:cNvPr id="737" name="object 737"/>
          <p:cNvSpPr/>
          <p:nvPr/>
        </p:nvSpPr>
        <p:spPr>
          <a:xfrm>
            <a:off x="8797128" y="645588"/>
            <a:ext cx="19940" cy="27031"/>
          </a:xfrm>
          <a:custGeom>
            <a:avLst/>
            <a:gdLst/>
            <a:ahLst/>
            <a:cxnLst/>
            <a:rect l="l" t="t" r="r" b="b"/>
            <a:pathLst>
              <a:path w="19940" h="27031">
                <a:moveTo>
                  <a:pt x="297" y="303"/>
                </a:moveTo>
                <a:lnTo>
                  <a:pt x="0" y="1214"/>
                </a:lnTo>
                <a:lnTo>
                  <a:pt x="0" y="2429"/>
                </a:lnTo>
                <a:lnTo>
                  <a:pt x="892" y="3037"/>
                </a:lnTo>
                <a:lnTo>
                  <a:pt x="5059" y="3948"/>
                </a:lnTo>
                <a:lnTo>
                  <a:pt x="8333" y="5163"/>
                </a:lnTo>
                <a:lnTo>
                  <a:pt x="11011" y="7289"/>
                </a:lnTo>
                <a:lnTo>
                  <a:pt x="13095" y="9415"/>
                </a:lnTo>
                <a:lnTo>
                  <a:pt x="14583" y="12452"/>
                </a:lnTo>
                <a:lnTo>
                  <a:pt x="16071" y="16097"/>
                </a:lnTo>
                <a:lnTo>
                  <a:pt x="16666" y="20957"/>
                </a:lnTo>
                <a:lnTo>
                  <a:pt x="16964" y="27031"/>
                </a:lnTo>
                <a:lnTo>
                  <a:pt x="19940" y="27031"/>
                </a:lnTo>
                <a:lnTo>
                  <a:pt x="19642" y="20957"/>
                </a:lnTo>
                <a:lnTo>
                  <a:pt x="19047" y="15490"/>
                </a:lnTo>
                <a:lnTo>
                  <a:pt x="17559" y="11237"/>
                </a:lnTo>
                <a:lnTo>
                  <a:pt x="15476" y="7593"/>
                </a:lnTo>
                <a:lnTo>
                  <a:pt x="12797" y="4859"/>
                </a:lnTo>
                <a:lnTo>
                  <a:pt x="9523" y="2733"/>
                </a:lnTo>
                <a:lnTo>
                  <a:pt x="5654" y="911"/>
                </a:lnTo>
                <a:lnTo>
                  <a:pt x="1488" y="0"/>
                </a:lnTo>
                <a:lnTo>
                  <a:pt x="297" y="303"/>
                </a:lnTo>
                <a:close/>
              </a:path>
            </a:pathLst>
          </a:custGeom>
          <a:solidFill>
            <a:srgbClr val="000000"/>
          </a:solidFill>
        </p:spPr>
        <p:txBody>
          <a:bodyPr wrap="square" lIns="0" tIns="0" rIns="0" bIns="0" rtlCol="0">
            <a:noAutofit/>
          </a:bodyPr>
          <a:lstStyle/>
          <a:p>
            <a:endParaRPr/>
          </a:p>
        </p:txBody>
      </p:sp>
      <p:sp>
        <p:nvSpPr>
          <p:cNvPr id="738" name="object 738"/>
          <p:cNvSpPr/>
          <p:nvPr/>
        </p:nvSpPr>
        <p:spPr>
          <a:xfrm>
            <a:off x="8664094" y="618860"/>
            <a:ext cx="134523" cy="29765"/>
          </a:xfrm>
          <a:custGeom>
            <a:avLst/>
            <a:gdLst/>
            <a:ahLst/>
            <a:cxnLst/>
            <a:rect l="l" t="t" r="r" b="b"/>
            <a:pathLst>
              <a:path w="134523" h="29765">
                <a:moveTo>
                  <a:pt x="892" y="3037"/>
                </a:moveTo>
                <a:lnTo>
                  <a:pt x="133928" y="29765"/>
                </a:lnTo>
                <a:lnTo>
                  <a:pt x="134523" y="26727"/>
                </a:lnTo>
                <a:lnTo>
                  <a:pt x="1488" y="0"/>
                </a:lnTo>
                <a:lnTo>
                  <a:pt x="297" y="303"/>
                </a:lnTo>
                <a:lnTo>
                  <a:pt x="0" y="1214"/>
                </a:lnTo>
                <a:lnTo>
                  <a:pt x="0" y="2429"/>
                </a:lnTo>
                <a:lnTo>
                  <a:pt x="892" y="3037"/>
                </a:lnTo>
                <a:close/>
              </a:path>
            </a:pathLst>
          </a:custGeom>
          <a:solidFill>
            <a:srgbClr val="000000"/>
          </a:solidFill>
        </p:spPr>
        <p:txBody>
          <a:bodyPr wrap="square" lIns="0" tIns="0" rIns="0" bIns="0" rtlCol="0">
            <a:noAutofit/>
          </a:bodyPr>
          <a:lstStyle/>
          <a:p>
            <a:endParaRPr/>
          </a:p>
        </p:txBody>
      </p:sp>
      <p:sp>
        <p:nvSpPr>
          <p:cNvPr id="739" name="object 739"/>
          <p:cNvSpPr/>
          <p:nvPr/>
        </p:nvSpPr>
        <p:spPr>
          <a:xfrm>
            <a:off x="8636712" y="618252"/>
            <a:ext cx="28868" cy="21868"/>
          </a:xfrm>
          <a:custGeom>
            <a:avLst/>
            <a:gdLst/>
            <a:ahLst/>
            <a:cxnLst/>
            <a:rect l="l" t="t" r="r" b="b"/>
            <a:pathLst>
              <a:path w="28868" h="21868">
                <a:moveTo>
                  <a:pt x="3869" y="10326"/>
                </a:moveTo>
                <a:lnTo>
                  <a:pt x="1488" y="14882"/>
                </a:lnTo>
                <a:lnTo>
                  <a:pt x="0" y="20349"/>
                </a:lnTo>
                <a:lnTo>
                  <a:pt x="297" y="21564"/>
                </a:lnTo>
                <a:lnTo>
                  <a:pt x="1190" y="21868"/>
                </a:lnTo>
                <a:lnTo>
                  <a:pt x="2380" y="21868"/>
                </a:lnTo>
                <a:lnTo>
                  <a:pt x="2976" y="20957"/>
                </a:lnTo>
                <a:lnTo>
                  <a:pt x="4464" y="16097"/>
                </a:lnTo>
                <a:lnTo>
                  <a:pt x="6249" y="12149"/>
                </a:lnTo>
                <a:lnTo>
                  <a:pt x="8928" y="8504"/>
                </a:lnTo>
                <a:lnTo>
                  <a:pt x="11904" y="6074"/>
                </a:lnTo>
                <a:lnTo>
                  <a:pt x="15476" y="4555"/>
                </a:lnTo>
                <a:lnTo>
                  <a:pt x="19345" y="3340"/>
                </a:lnTo>
                <a:lnTo>
                  <a:pt x="23511" y="3037"/>
                </a:lnTo>
                <a:lnTo>
                  <a:pt x="28273" y="3644"/>
                </a:lnTo>
                <a:lnTo>
                  <a:pt x="28868" y="607"/>
                </a:lnTo>
                <a:lnTo>
                  <a:pt x="23511" y="0"/>
                </a:lnTo>
                <a:lnTo>
                  <a:pt x="18749" y="303"/>
                </a:lnTo>
                <a:lnTo>
                  <a:pt x="14285" y="1518"/>
                </a:lnTo>
                <a:lnTo>
                  <a:pt x="10119" y="3644"/>
                </a:lnTo>
                <a:lnTo>
                  <a:pt x="6547" y="6681"/>
                </a:lnTo>
                <a:lnTo>
                  <a:pt x="3869" y="10326"/>
                </a:lnTo>
                <a:close/>
              </a:path>
            </a:pathLst>
          </a:custGeom>
          <a:solidFill>
            <a:srgbClr val="000000"/>
          </a:solidFill>
        </p:spPr>
        <p:txBody>
          <a:bodyPr wrap="square" lIns="0" tIns="0" rIns="0" bIns="0" rtlCol="0">
            <a:noAutofit/>
          </a:bodyPr>
          <a:lstStyle/>
          <a:p>
            <a:endParaRPr/>
          </a:p>
        </p:txBody>
      </p:sp>
      <p:sp>
        <p:nvSpPr>
          <p:cNvPr id="740" name="object 740"/>
          <p:cNvSpPr/>
          <p:nvPr/>
        </p:nvSpPr>
        <p:spPr>
          <a:xfrm>
            <a:off x="8029273" y="1114540"/>
            <a:ext cx="1190" cy="3037"/>
          </a:xfrm>
          <a:custGeom>
            <a:avLst/>
            <a:gdLst/>
            <a:ahLst/>
            <a:cxnLst/>
            <a:rect l="l" t="t" r="r" b="b"/>
            <a:pathLst>
              <a:path w="1190" h="3037">
                <a:moveTo>
                  <a:pt x="1190" y="0"/>
                </a:moveTo>
                <a:lnTo>
                  <a:pt x="297" y="607"/>
                </a:lnTo>
                <a:lnTo>
                  <a:pt x="0" y="1518"/>
                </a:lnTo>
                <a:lnTo>
                  <a:pt x="297" y="2429"/>
                </a:lnTo>
                <a:lnTo>
                  <a:pt x="1190" y="3037"/>
                </a:lnTo>
                <a:lnTo>
                  <a:pt x="1190" y="0"/>
                </a:lnTo>
                <a:close/>
              </a:path>
            </a:pathLst>
          </a:custGeom>
          <a:solidFill>
            <a:srgbClr val="000000"/>
          </a:solidFill>
        </p:spPr>
        <p:txBody>
          <a:bodyPr wrap="square" lIns="0" tIns="0" rIns="0" bIns="0" rtlCol="0">
            <a:noAutofit/>
          </a:bodyPr>
          <a:lstStyle/>
          <a:p>
            <a:endParaRPr/>
          </a:p>
        </p:txBody>
      </p:sp>
      <p:sp>
        <p:nvSpPr>
          <p:cNvPr id="741" name="object 741"/>
          <p:cNvSpPr/>
          <p:nvPr/>
        </p:nvSpPr>
        <p:spPr>
          <a:xfrm>
            <a:off x="8598915" y="1108466"/>
            <a:ext cx="432141" cy="11541"/>
          </a:xfrm>
          <a:custGeom>
            <a:avLst/>
            <a:gdLst/>
            <a:ahLst/>
            <a:cxnLst/>
            <a:rect l="l" t="t" r="r" b="b"/>
            <a:pathLst>
              <a:path w="432141" h="11541">
                <a:moveTo>
                  <a:pt x="432141" y="10022"/>
                </a:moveTo>
                <a:lnTo>
                  <a:pt x="432141" y="8504"/>
                </a:lnTo>
                <a:lnTo>
                  <a:pt x="0" y="0"/>
                </a:lnTo>
                <a:lnTo>
                  <a:pt x="0" y="3037"/>
                </a:lnTo>
                <a:lnTo>
                  <a:pt x="432141" y="11541"/>
                </a:lnTo>
                <a:lnTo>
                  <a:pt x="432141" y="10022"/>
                </a:lnTo>
                <a:close/>
              </a:path>
            </a:pathLst>
          </a:custGeom>
          <a:solidFill>
            <a:srgbClr val="000000"/>
          </a:solidFill>
        </p:spPr>
        <p:txBody>
          <a:bodyPr wrap="square" lIns="0" tIns="0" rIns="0" bIns="0" rtlCol="0">
            <a:noAutofit/>
          </a:bodyPr>
          <a:lstStyle/>
          <a:p>
            <a:endParaRPr/>
          </a:p>
        </p:txBody>
      </p:sp>
      <p:sp>
        <p:nvSpPr>
          <p:cNvPr id="742" name="object 742"/>
          <p:cNvSpPr/>
          <p:nvPr/>
        </p:nvSpPr>
        <p:spPr>
          <a:xfrm>
            <a:off x="9031056" y="1116970"/>
            <a:ext cx="1488" cy="3037"/>
          </a:xfrm>
          <a:custGeom>
            <a:avLst/>
            <a:gdLst/>
            <a:ahLst/>
            <a:cxnLst/>
            <a:rect l="l" t="t" r="r" b="b"/>
            <a:pathLst>
              <a:path w="1488" h="3037">
                <a:moveTo>
                  <a:pt x="0" y="3037"/>
                </a:moveTo>
                <a:lnTo>
                  <a:pt x="892" y="2429"/>
                </a:lnTo>
                <a:lnTo>
                  <a:pt x="1488" y="1518"/>
                </a:lnTo>
                <a:lnTo>
                  <a:pt x="892" y="607"/>
                </a:lnTo>
                <a:lnTo>
                  <a:pt x="0" y="0"/>
                </a:lnTo>
                <a:lnTo>
                  <a:pt x="0" y="3037"/>
                </a:lnTo>
                <a:close/>
              </a:path>
            </a:pathLst>
          </a:custGeom>
          <a:solidFill>
            <a:srgbClr val="000000"/>
          </a:solidFill>
        </p:spPr>
        <p:txBody>
          <a:bodyPr wrap="square" lIns="0" tIns="0" rIns="0" bIns="0" rtlCol="0">
            <a:noAutofit/>
          </a:bodyPr>
          <a:lstStyle/>
          <a:p>
            <a:endParaRPr/>
          </a:p>
        </p:txBody>
      </p:sp>
      <p:sp>
        <p:nvSpPr>
          <p:cNvPr id="743" name="object 743"/>
          <p:cNvSpPr/>
          <p:nvPr/>
        </p:nvSpPr>
        <p:spPr>
          <a:xfrm>
            <a:off x="8597426" y="1277944"/>
            <a:ext cx="2976" cy="1214"/>
          </a:xfrm>
          <a:custGeom>
            <a:avLst/>
            <a:gdLst/>
            <a:ahLst/>
            <a:cxnLst/>
            <a:rect l="l" t="t" r="r" b="b"/>
            <a:pathLst>
              <a:path w="2976" h="1214">
                <a:moveTo>
                  <a:pt x="0" y="0"/>
                </a:moveTo>
                <a:lnTo>
                  <a:pt x="595" y="911"/>
                </a:lnTo>
                <a:lnTo>
                  <a:pt x="1488" y="1214"/>
                </a:lnTo>
                <a:lnTo>
                  <a:pt x="2380" y="911"/>
                </a:lnTo>
                <a:lnTo>
                  <a:pt x="2976" y="0"/>
                </a:lnTo>
                <a:lnTo>
                  <a:pt x="0" y="0"/>
                </a:lnTo>
                <a:close/>
              </a:path>
            </a:pathLst>
          </a:custGeom>
          <a:solidFill>
            <a:srgbClr val="000000"/>
          </a:solidFill>
        </p:spPr>
        <p:txBody>
          <a:bodyPr wrap="square" lIns="0" tIns="0" rIns="0" bIns="0" rtlCol="0">
            <a:noAutofit/>
          </a:bodyPr>
          <a:lstStyle/>
          <a:p>
            <a:endParaRPr/>
          </a:p>
        </p:txBody>
      </p:sp>
      <p:sp>
        <p:nvSpPr>
          <p:cNvPr id="744" name="object 744"/>
          <p:cNvSpPr/>
          <p:nvPr/>
        </p:nvSpPr>
        <p:spPr>
          <a:xfrm>
            <a:off x="8592664" y="825089"/>
            <a:ext cx="7738" cy="19742"/>
          </a:xfrm>
          <a:custGeom>
            <a:avLst/>
            <a:gdLst/>
            <a:ahLst/>
            <a:cxnLst/>
            <a:rect l="l" t="t" r="r" b="b"/>
            <a:pathLst>
              <a:path w="7738" h="19742">
                <a:moveTo>
                  <a:pt x="4761" y="19742"/>
                </a:moveTo>
                <a:lnTo>
                  <a:pt x="7738" y="19134"/>
                </a:lnTo>
                <a:lnTo>
                  <a:pt x="2976" y="1214"/>
                </a:lnTo>
                <a:lnTo>
                  <a:pt x="2976" y="1822"/>
                </a:lnTo>
                <a:lnTo>
                  <a:pt x="2380" y="303"/>
                </a:lnTo>
                <a:lnTo>
                  <a:pt x="1190" y="0"/>
                </a:lnTo>
                <a:lnTo>
                  <a:pt x="297" y="607"/>
                </a:lnTo>
                <a:lnTo>
                  <a:pt x="0" y="1822"/>
                </a:lnTo>
                <a:lnTo>
                  <a:pt x="4761" y="19742"/>
                </a:lnTo>
                <a:close/>
              </a:path>
            </a:pathLst>
          </a:custGeom>
          <a:solidFill>
            <a:srgbClr val="000000"/>
          </a:solidFill>
        </p:spPr>
        <p:txBody>
          <a:bodyPr wrap="square" lIns="0" tIns="0" rIns="0" bIns="0" rtlCol="0">
            <a:noAutofit/>
          </a:bodyPr>
          <a:lstStyle/>
          <a:p>
            <a:endParaRPr/>
          </a:p>
        </p:txBody>
      </p:sp>
      <p:sp>
        <p:nvSpPr>
          <p:cNvPr id="745" name="object 745"/>
          <p:cNvSpPr/>
          <p:nvPr/>
        </p:nvSpPr>
        <p:spPr>
          <a:xfrm>
            <a:off x="8595046" y="825392"/>
            <a:ext cx="595" cy="1518"/>
          </a:xfrm>
          <a:custGeom>
            <a:avLst/>
            <a:gdLst/>
            <a:ahLst/>
            <a:cxnLst/>
            <a:rect l="l" t="t" r="r" b="b"/>
            <a:pathLst>
              <a:path w="595" h="1518">
                <a:moveTo>
                  <a:pt x="595" y="911"/>
                </a:moveTo>
                <a:lnTo>
                  <a:pt x="0" y="0"/>
                </a:lnTo>
                <a:lnTo>
                  <a:pt x="595" y="1518"/>
                </a:lnTo>
                <a:lnTo>
                  <a:pt x="595" y="911"/>
                </a:lnTo>
                <a:close/>
              </a:path>
            </a:pathLst>
          </a:custGeom>
          <a:solidFill>
            <a:srgbClr val="000000"/>
          </a:solidFill>
        </p:spPr>
        <p:txBody>
          <a:bodyPr wrap="square" lIns="0" tIns="0" rIns="0" bIns="0" rtlCol="0">
            <a:noAutofit/>
          </a:bodyPr>
          <a:lstStyle/>
          <a:p>
            <a:endParaRPr/>
          </a:p>
        </p:txBody>
      </p:sp>
      <p:sp>
        <p:nvSpPr>
          <p:cNvPr id="746" name="object 746"/>
          <p:cNvSpPr/>
          <p:nvPr/>
        </p:nvSpPr>
        <p:spPr>
          <a:xfrm>
            <a:off x="8592664" y="591221"/>
            <a:ext cx="40476" cy="235691"/>
          </a:xfrm>
          <a:custGeom>
            <a:avLst/>
            <a:gdLst/>
            <a:ahLst/>
            <a:cxnLst/>
            <a:rect l="l" t="t" r="r" b="b"/>
            <a:pathLst>
              <a:path w="40476" h="235691">
                <a:moveTo>
                  <a:pt x="37499" y="1214"/>
                </a:moveTo>
                <a:lnTo>
                  <a:pt x="0" y="235083"/>
                </a:lnTo>
                <a:lnTo>
                  <a:pt x="2976" y="235691"/>
                </a:lnTo>
                <a:lnTo>
                  <a:pt x="40476" y="1822"/>
                </a:lnTo>
                <a:lnTo>
                  <a:pt x="40178" y="607"/>
                </a:lnTo>
                <a:lnTo>
                  <a:pt x="39285" y="0"/>
                </a:lnTo>
                <a:lnTo>
                  <a:pt x="38095" y="303"/>
                </a:lnTo>
                <a:lnTo>
                  <a:pt x="37499" y="1214"/>
                </a:lnTo>
                <a:close/>
              </a:path>
            </a:pathLst>
          </a:custGeom>
          <a:solidFill>
            <a:srgbClr val="000000"/>
          </a:solidFill>
        </p:spPr>
        <p:txBody>
          <a:bodyPr wrap="square" lIns="0" tIns="0" rIns="0" bIns="0" rtlCol="0">
            <a:noAutofit/>
          </a:bodyPr>
          <a:lstStyle/>
          <a:p>
            <a:endParaRPr/>
          </a:p>
        </p:txBody>
      </p:sp>
      <p:sp>
        <p:nvSpPr>
          <p:cNvPr id="747" name="object 747"/>
          <p:cNvSpPr/>
          <p:nvPr/>
        </p:nvSpPr>
        <p:spPr>
          <a:xfrm>
            <a:off x="8629271" y="555988"/>
            <a:ext cx="5654" cy="37054"/>
          </a:xfrm>
          <a:custGeom>
            <a:avLst/>
            <a:gdLst/>
            <a:ahLst/>
            <a:cxnLst/>
            <a:rect l="l" t="t" r="r" b="b"/>
            <a:pathLst>
              <a:path w="5654" h="37054">
                <a:moveTo>
                  <a:pt x="2678" y="16401"/>
                </a:moveTo>
                <a:lnTo>
                  <a:pt x="2380" y="21260"/>
                </a:lnTo>
                <a:lnTo>
                  <a:pt x="2083" y="26727"/>
                </a:lnTo>
                <a:lnTo>
                  <a:pt x="1785" y="31587"/>
                </a:lnTo>
                <a:lnTo>
                  <a:pt x="892" y="36447"/>
                </a:lnTo>
                <a:lnTo>
                  <a:pt x="3869" y="37054"/>
                </a:lnTo>
                <a:lnTo>
                  <a:pt x="4761" y="32194"/>
                </a:lnTo>
                <a:lnTo>
                  <a:pt x="5059" y="26727"/>
                </a:lnTo>
                <a:lnTo>
                  <a:pt x="5357" y="21260"/>
                </a:lnTo>
                <a:lnTo>
                  <a:pt x="5654" y="16401"/>
                </a:lnTo>
                <a:lnTo>
                  <a:pt x="5357" y="11541"/>
                </a:lnTo>
                <a:lnTo>
                  <a:pt x="4761" y="6985"/>
                </a:lnTo>
                <a:lnTo>
                  <a:pt x="3869" y="3037"/>
                </a:lnTo>
                <a:lnTo>
                  <a:pt x="2380" y="0"/>
                </a:lnTo>
                <a:lnTo>
                  <a:pt x="0" y="1822"/>
                </a:lnTo>
                <a:lnTo>
                  <a:pt x="892" y="4252"/>
                </a:lnTo>
                <a:lnTo>
                  <a:pt x="1785" y="7593"/>
                </a:lnTo>
                <a:lnTo>
                  <a:pt x="2380" y="11541"/>
                </a:lnTo>
                <a:lnTo>
                  <a:pt x="2678" y="16401"/>
                </a:lnTo>
                <a:close/>
              </a:path>
            </a:pathLst>
          </a:custGeom>
          <a:solidFill>
            <a:srgbClr val="000000"/>
          </a:solidFill>
        </p:spPr>
        <p:txBody>
          <a:bodyPr wrap="square" lIns="0" tIns="0" rIns="0" bIns="0" rtlCol="0">
            <a:noAutofit/>
          </a:bodyPr>
          <a:lstStyle/>
          <a:p>
            <a:endParaRPr/>
          </a:p>
        </p:txBody>
      </p:sp>
      <p:sp>
        <p:nvSpPr>
          <p:cNvPr id="748" name="object 748"/>
          <p:cNvSpPr/>
          <p:nvPr/>
        </p:nvSpPr>
        <p:spPr>
          <a:xfrm>
            <a:off x="8628974" y="555381"/>
            <a:ext cx="2678" cy="2429"/>
          </a:xfrm>
          <a:custGeom>
            <a:avLst/>
            <a:gdLst/>
            <a:ahLst/>
            <a:cxnLst/>
            <a:rect l="l" t="t" r="r" b="b"/>
            <a:pathLst>
              <a:path w="2678" h="2429">
                <a:moveTo>
                  <a:pt x="2678" y="607"/>
                </a:moveTo>
                <a:lnTo>
                  <a:pt x="1785" y="0"/>
                </a:lnTo>
                <a:lnTo>
                  <a:pt x="595" y="303"/>
                </a:lnTo>
                <a:lnTo>
                  <a:pt x="0" y="1214"/>
                </a:lnTo>
                <a:lnTo>
                  <a:pt x="297" y="2429"/>
                </a:lnTo>
                <a:lnTo>
                  <a:pt x="2678" y="607"/>
                </a:lnTo>
                <a:close/>
              </a:path>
            </a:pathLst>
          </a:custGeom>
          <a:solidFill>
            <a:srgbClr val="000000"/>
          </a:solidFill>
        </p:spPr>
        <p:txBody>
          <a:bodyPr wrap="square" lIns="0" tIns="0" rIns="0" bIns="0" rtlCol="0">
            <a:noAutofit/>
          </a:bodyPr>
          <a:lstStyle/>
          <a:p>
            <a:endParaRPr/>
          </a:p>
        </p:txBody>
      </p:sp>
      <p:sp>
        <p:nvSpPr>
          <p:cNvPr id="749" name="object 749"/>
          <p:cNvSpPr/>
          <p:nvPr/>
        </p:nvSpPr>
        <p:spPr>
          <a:xfrm>
            <a:off x="8791771" y="644373"/>
            <a:ext cx="1488" cy="3037"/>
          </a:xfrm>
          <a:custGeom>
            <a:avLst/>
            <a:gdLst/>
            <a:ahLst/>
            <a:cxnLst/>
            <a:rect l="l" t="t" r="r" b="b"/>
            <a:pathLst>
              <a:path w="1488" h="3037">
                <a:moveTo>
                  <a:pt x="1488" y="0"/>
                </a:moveTo>
                <a:lnTo>
                  <a:pt x="297" y="303"/>
                </a:lnTo>
                <a:lnTo>
                  <a:pt x="0" y="1214"/>
                </a:lnTo>
                <a:lnTo>
                  <a:pt x="0" y="2429"/>
                </a:lnTo>
                <a:lnTo>
                  <a:pt x="892" y="3037"/>
                </a:lnTo>
                <a:lnTo>
                  <a:pt x="1488" y="0"/>
                </a:lnTo>
                <a:close/>
              </a:path>
            </a:pathLst>
          </a:custGeom>
          <a:solidFill>
            <a:srgbClr val="000000"/>
          </a:solidFill>
        </p:spPr>
        <p:txBody>
          <a:bodyPr wrap="square" lIns="0" tIns="0" rIns="0" bIns="0" rtlCol="0">
            <a:noAutofit/>
          </a:bodyPr>
          <a:lstStyle/>
          <a:p>
            <a:endParaRPr/>
          </a:p>
        </p:txBody>
      </p:sp>
      <p:sp>
        <p:nvSpPr>
          <p:cNvPr id="750" name="object 750"/>
          <p:cNvSpPr/>
          <p:nvPr/>
        </p:nvSpPr>
        <p:spPr>
          <a:xfrm>
            <a:off x="8792665" y="644372"/>
            <a:ext cx="238689" cy="50722"/>
          </a:xfrm>
          <a:custGeom>
            <a:avLst/>
            <a:gdLst/>
            <a:ahLst/>
            <a:cxnLst/>
            <a:rect l="l" t="t" r="r" b="b"/>
            <a:pathLst>
              <a:path w="238689" h="50722">
                <a:moveTo>
                  <a:pt x="238392" y="49203"/>
                </a:moveTo>
                <a:lnTo>
                  <a:pt x="238689" y="47684"/>
                </a:lnTo>
                <a:lnTo>
                  <a:pt x="595" y="0"/>
                </a:lnTo>
                <a:lnTo>
                  <a:pt x="0" y="3037"/>
                </a:lnTo>
                <a:lnTo>
                  <a:pt x="238094" y="50722"/>
                </a:lnTo>
                <a:lnTo>
                  <a:pt x="238392" y="49203"/>
                </a:lnTo>
                <a:close/>
              </a:path>
            </a:pathLst>
          </a:custGeom>
          <a:solidFill>
            <a:srgbClr val="000000"/>
          </a:solidFill>
        </p:spPr>
        <p:txBody>
          <a:bodyPr wrap="square" lIns="0" tIns="0" rIns="0" bIns="0" rtlCol="0">
            <a:noAutofit/>
          </a:bodyPr>
          <a:lstStyle/>
          <a:p>
            <a:endParaRPr/>
          </a:p>
        </p:txBody>
      </p:sp>
      <p:sp>
        <p:nvSpPr>
          <p:cNvPr id="751" name="object 751"/>
          <p:cNvSpPr/>
          <p:nvPr/>
        </p:nvSpPr>
        <p:spPr>
          <a:xfrm>
            <a:off x="9030759" y="692058"/>
            <a:ext cx="1785" cy="3037"/>
          </a:xfrm>
          <a:custGeom>
            <a:avLst/>
            <a:gdLst/>
            <a:ahLst/>
            <a:cxnLst/>
            <a:rect l="l" t="t" r="r" b="b"/>
            <a:pathLst>
              <a:path w="1785" h="3037">
                <a:moveTo>
                  <a:pt x="0" y="3037"/>
                </a:moveTo>
                <a:lnTo>
                  <a:pt x="1190" y="2733"/>
                </a:lnTo>
                <a:lnTo>
                  <a:pt x="1785" y="1822"/>
                </a:lnTo>
                <a:lnTo>
                  <a:pt x="1488" y="607"/>
                </a:lnTo>
                <a:lnTo>
                  <a:pt x="595" y="0"/>
                </a:lnTo>
                <a:lnTo>
                  <a:pt x="0" y="3037"/>
                </a:lnTo>
                <a:close/>
              </a:path>
            </a:pathLst>
          </a:custGeom>
          <a:solidFill>
            <a:srgbClr val="000000"/>
          </a:solidFill>
        </p:spPr>
        <p:txBody>
          <a:bodyPr wrap="square" lIns="0" tIns="0" rIns="0" bIns="0" rtlCol="0">
            <a:noAutofit/>
          </a:bodyPr>
          <a:lstStyle/>
          <a:p>
            <a:endParaRPr/>
          </a:p>
        </p:txBody>
      </p:sp>
      <p:sp>
        <p:nvSpPr>
          <p:cNvPr id="752" name="object 752"/>
          <p:cNvSpPr/>
          <p:nvPr/>
        </p:nvSpPr>
        <p:spPr>
          <a:xfrm>
            <a:off x="8882545" y="936861"/>
            <a:ext cx="64285" cy="11845"/>
          </a:xfrm>
          <a:custGeom>
            <a:avLst/>
            <a:gdLst/>
            <a:ahLst/>
            <a:cxnLst/>
            <a:rect l="l" t="t" r="r" b="b"/>
            <a:pathLst>
              <a:path w="64285" h="11845">
                <a:moveTo>
                  <a:pt x="64285" y="8808"/>
                </a:moveTo>
                <a:lnTo>
                  <a:pt x="595" y="0"/>
                </a:lnTo>
                <a:lnTo>
                  <a:pt x="0" y="3037"/>
                </a:lnTo>
                <a:lnTo>
                  <a:pt x="63690" y="11845"/>
                </a:lnTo>
                <a:lnTo>
                  <a:pt x="64285" y="8808"/>
                </a:lnTo>
                <a:close/>
              </a:path>
            </a:pathLst>
          </a:custGeom>
          <a:solidFill>
            <a:srgbClr val="000000"/>
          </a:solidFill>
        </p:spPr>
        <p:txBody>
          <a:bodyPr wrap="square" lIns="0" tIns="0" rIns="0" bIns="0" rtlCol="0">
            <a:noAutofit/>
          </a:bodyPr>
          <a:lstStyle/>
          <a:p>
            <a:endParaRPr/>
          </a:p>
        </p:txBody>
      </p:sp>
      <p:sp>
        <p:nvSpPr>
          <p:cNvPr id="753" name="object 753"/>
          <p:cNvSpPr/>
          <p:nvPr/>
        </p:nvSpPr>
        <p:spPr>
          <a:xfrm>
            <a:off x="8946236" y="945668"/>
            <a:ext cx="13095" cy="13060"/>
          </a:xfrm>
          <a:custGeom>
            <a:avLst/>
            <a:gdLst/>
            <a:ahLst/>
            <a:cxnLst/>
            <a:rect l="l" t="t" r="r" b="b"/>
            <a:pathLst>
              <a:path w="13095" h="13060">
                <a:moveTo>
                  <a:pt x="595" y="0"/>
                </a:moveTo>
                <a:lnTo>
                  <a:pt x="0" y="3037"/>
                </a:lnTo>
                <a:lnTo>
                  <a:pt x="2083" y="3340"/>
                </a:lnTo>
                <a:lnTo>
                  <a:pt x="3869" y="3948"/>
                </a:lnTo>
                <a:lnTo>
                  <a:pt x="5357" y="5163"/>
                </a:lnTo>
                <a:lnTo>
                  <a:pt x="7142" y="6681"/>
                </a:lnTo>
                <a:lnTo>
                  <a:pt x="8333" y="7896"/>
                </a:lnTo>
                <a:lnTo>
                  <a:pt x="9226" y="9415"/>
                </a:lnTo>
                <a:lnTo>
                  <a:pt x="9821" y="11237"/>
                </a:lnTo>
                <a:lnTo>
                  <a:pt x="10119" y="13060"/>
                </a:lnTo>
                <a:lnTo>
                  <a:pt x="13095" y="13060"/>
                </a:lnTo>
                <a:lnTo>
                  <a:pt x="12797" y="10630"/>
                </a:lnTo>
                <a:lnTo>
                  <a:pt x="12202" y="8200"/>
                </a:lnTo>
                <a:lnTo>
                  <a:pt x="10714" y="6074"/>
                </a:lnTo>
                <a:lnTo>
                  <a:pt x="8928" y="4252"/>
                </a:lnTo>
                <a:lnTo>
                  <a:pt x="7142" y="2733"/>
                </a:lnTo>
                <a:lnTo>
                  <a:pt x="5059" y="1518"/>
                </a:lnTo>
                <a:lnTo>
                  <a:pt x="2678" y="303"/>
                </a:lnTo>
                <a:lnTo>
                  <a:pt x="595" y="0"/>
                </a:lnTo>
                <a:close/>
              </a:path>
            </a:pathLst>
          </a:custGeom>
          <a:solidFill>
            <a:srgbClr val="000000"/>
          </a:solidFill>
        </p:spPr>
        <p:txBody>
          <a:bodyPr wrap="square" lIns="0" tIns="0" rIns="0" bIns="0" rtlCol="0">
            <a:noAutofit/>
          </a:bodyPr>
          <a:lstStyle/>
          <a:p>
            <a:endParaRPr/>
          </a:p>
        </p:txBody>
      </p:sp>
      <p:sp>
        <p:nvSpPr>
          <p:cNvPr id="754" name="object 754"/>
          <p:cNvSpPr/>
          <p:nvPr/>
        </p:nvSpPr>
        <p:spPr>
          <a:xfrm>
            <a:off x="8957842" y="958729"/>
            <a:ext cx="0" cy="135461"/>
          </a:xfrm>
          <a:custGeom>
            <a:avLst/>
            <a:gdLst/>
            <a:ahLst/>
            <a:cxnLst/>
            <a:rect l="l" t="t" r="r" b="b"/>
            <a:pathLst>
              <a:path h="135461">
                <a:moveTo>
                  <a:pt x="0" y="0"/>
                </a:moveTo>
                <a:lnTo>
                  <a:pt x="0" y="135461"/>
                </a:lnTo>
              </a:path>
            </a:pathLst>
          </a:custGeom>
          <a:ln w="4246">
            <a:solidFill>
              <a:srgbClr val="000000"/>
            </a:solidFill>
          </a:ln>
        </p:spPr>
        <p:txBody>
          <a:bodyPr wrap="square" lIns="0" tIns="0" rIns="0" bIns="0" rtlCol="0">
            <a:noAutofit/>
          </a:bodyPr>
          <a:lstStyle/>
          <a:p>
            <a:endParaRPr/>
          </a:p>
        </p:txBody>
      </p:sp>
      <p:sp>
        <p:nvSpPr>
          <p:cNvPr id="755" name="object 755"/>
          <p:cNvSpPr/>
          <p:nvPr/>
        </p:nvSpPr>
        <p:spPr>
          <a:xfrm>
            <a:off x="8946533" y="1094190"/>
            <a:ext cx="12797" cy="13060"/>
          </a:xfrm>
          <a:custGeom>
            <a:avLst/>
            <a:gdLst/>
            <a:ahLst/>
            <a:cxnLst/>
            <a:rect l="l" t="t" r="r" b="b"/>
            <a:pathLst>
              <a:path w="12797" h="13060">
                <a:moveTo>
                  <a:pt x="6845" y="10630"/>
                </a:moveTo>
                <a:lnTo>
                  <a:pt x="8928" y="9111"/>
                </a:lnTo>
                <a:lnTo>
                  <a:pt x="10416" y="6985"/>
                </a:lnTo>
                <a:lnTo>
                  <a:pt x="11904" y="4859"/>
                </a:lnTo>
                <a:lnTo>
                  <a:pt x="12499" y="2429"/>
                </a:lnTo>
                <a:lnTo>
                  <a:pt x="12797" y="0"/>
                </a:lnTo>
                <a:lnTo>
                  <a:pt x="9821" y="0"/>
                </a:lnTo>
                <a:lnTo>
                  <a:pt x="9523" y="1822"/>
                </a:lnTo>
                <a:lnTo>
                  <a:pt x="8928" y="3644"/>
                </a:lnTo>
                <a:lnTo>
                  <a:pt x="8035" y="5163"/>
                </a:lnTo>
                <a:lnTo>
                  <a:pt x="6547" y="6681"/>
                </a:lnTo>
                <a:lnTo>
                  <a:pt x="5059" y="8200"/>
                </a:lnTo>
                <a:lnTo>
                  <a:pt x="3571" y="9111"/>
                </a:lnTo>
                <a:lnTo>
                  <a:pt x="1785" y="9719"/>
                </a:lnTo>
                <a:lnTo>
                  <a:pt x="0" y="10022"/>
                </a:lnTo>
                <a:lnTo>
                  <a:pt x="0" y="13060"/>
                </a:lnTo>
                <a:lnTo>
                  <a:pt x="2380" y="12756"/>
                </a:lnTo>
                <a:lnTo>
                  <a:pt x="4761" y="12149"/>
                </a:lnTo>
                <a:lnTo>
                  <a:pt x="6845" y="10630"/>
                </a:lnTo>
                <a:close/>
              </a:path>
            </a:pathLst>
          </a:custGeom>
          <a:solidFill>
            <a:srgbClr val="000000"/>
          </a:solidFill>
        </p:spPr>
        <p:txBody>
          <a:bodyPr wrap="square" lIns="0" tIns="0" rIns="0" bIns="0" rtlCol="0">
            <a:noAutofit/>
          </a:bodyPr>
          <a:lstStyle/>
          <a:p>
            <a:endParaRPr/>
          </a:p>
        </p:txBody>
      </p:sp>
      <p:sp>
        <p:nvSpPr>
          <p:cNvPr id="756" name="object 756"/>
          <p:cNvSpPr/>
          <p:nvPr/>
        </p:nvSpPr>
        <p:spPr>
          <a:xfrm>
            <a:off x="8883140" y="1103301"/>
            <a:ext cx="63392" cy="3948"/>
          </a:xfrm>
          <a:custGeom>
            <a:avLst/>
            <a:gdLst/>
            <a:ahLst/>
            <a:cxnLst/>
            <a:rect l="l" t="t" r="r" b="b"/>
            <a:pathLst>
              <a:path w="63392" h="3948">
                <a:moveTo>
                  <a:pt x="0" y="3037"/>
                </a:moveTo>
                <a:lnTo>
                  <a:pt x="63392" y="3948"/>
                </a:lnTo>
                <a:lnTo>
                  <a:pt x="63392" y="911"/>
                </a:lnTo>
                <a:lnTo>
                  <a:pt x="0" y="0"/>
                </a:lnTo>
                <a:lnTo>
                  <a:pt x="0" y="3037"/>
                </a:lnTo>
                <a:close/>
              </a:path>
            </a:pathLst>
          </a:custGeom>
          <a:solidFill>
            <a:srgbClr val="000000"/>
          </a:solidFill>
        </p:spPr>
        <p:txBody>
          <a:bodyPr wrap="square" lIns="0" tIns="0" rIns="0" bIns="0" rtlCol="0">
            <a:noAutofit/>
          </a:bodyPr>
          <a:lstStyle/>
          <a:p>
            <a:endParaRPr/>
          </a:p>
        </p:txBody>
      </p:sp>
      <p:sp>
        <p:nvSpPr>
          <p:cNvPr id="757" name="object 757"/>
          <p:cNvSpPr/>
          <p:nvPr/>
        </p:nvSpPr>
        <p:spPr>
          <a:xfrm>
            <a:off x="8870343" y="1093278"/>
            <a:ext cx="12797" cy="13060"/>
          </a:xfrm>
          <a:custGeom>
            <a:avLst/>
            <a:gdLst/>
            <a:ahLst/>
            <a:cxnLst/>
            <a:rect l="l" t="t" r="r" b="b"/>
            <a:pathLst>
              <a:path w="12797" h="13060">
                <a:moveTo>
                  <a:pt x="3869" y="3340"/>
                </a:moveTo>
                <a:lnTo>
                  <a:pt x="3273" y="1518"/>
                </a:lnTo>
                <a:lnTo>
                  <a:pt x="2976" y="0"/>
                </a:lnTo>
                <a:lnTo>
                  <a:pt x="0" y="0"/>
                </a:lnTo>
                <a:lnTo>
                  <a:pt x="297" y="2126"/>
                </a:lnTo>
                <a:lnTo>
                  <a:pt x="892" y="4555"/>
                </a:lnTo>
                <a:lnTo>
                  <a:pt x="2380" y="6681"/>
                </a:lnTo>
                <a:lnTo>
                  <a:pt x="3869" y="8808"/>
                </a:lnTo>
                <a:lnTo>
                  <a:pt x="5952" y="10326"/>
                </a:lnTo>
                <a:lnTo>
                  <a:pt x="8035" y="11541"/>
                </a:lnTo>
                <a:lnTo>
                  <a:pt x="10416" y="12756"/>
                </a:lnTo>
                <a:lnTo>
                  <a:pt x="12797" y="13060"/>
                </a:lnTo>
                <a:lnTo>
                  <a:pt x="12797" y="10022"/>
                </a:lnTo>
                <a:lnTo>
                  <a:pt x="11011" y="9719"/>
                </a:lnTo>
                <a:lnTo>
                  <a:pt x="9226" y="9111"/>
                </a:lnTo>
                <a:lnTo>
                  <a:pt x="7738" y="7896"/>
                </a:lnTo>
                <a:lnTo>
                  <a:pt x="6249" y="6378"/>
                </a:lnTo>
                <a:lnTo>
                  <a:pt x="4761" y="4859"/>
                </a:lnTo>
                <a:lnTo>
                  <a:pt x="3869" y="3340"/>
                </a:lnTo>
                <a:close/>
              </a:path>
            </a:pathLst>
          </a:custGeom>
          <a:solidFill>
            <a:srgbClr val="000000"/>
          </a:solidFill>
        </p:spPr>
        <p:txBody>
          <a:bodyPr wrap="square" lIns="0" tIns="0" rIns="0" bIns="0" rtlCol="0">
            <a:noAutofit/>
          </a:bodyPr>
          <a:lstStyle/>
          <a:p>
            <a:endParaRPr/>
          </a:p>
        </p:txBody>
      </p:sp>
      <p:sp>
        <p:nvSpPr>
          <p:cNvPr id="758" name="object 758"/>
          <p:cNvSpPr/>
          <p:nvPr/>
        </p:nvSpPr>
        <p:spPr>
          <a:xfrm>
            <a:off x="8870045" y="949920"/>
            <a:ext cx="3273" cy="143358"/>
          </a:xfrm>
          <a:custGeom>
            <a:avLst/>
            <a:gdLst/>
            <a:ahLst/>
            <a:cxnLst/>
            <a:rect l="l" t="t" r="r" b="b"/>
            <a:pathLst>
              <a:path w="3273" h="143358">
                <a:moveTo>
                  <a:pt x="0" y="0"/>
                </a:moveTo>
                <a:lnTo>
                  <a:pt x="297" y="143358"/>
                </a:lnTo>
                <a:lnTo>
                  <a:pt x="3273" y="143358"/>
                </a:lnTo>
                <a:lnTo>
                  <a:pt x="2976" y="0"/>
                </a:lnTo>
                <a:lnTo>
                  <a:pt x="0" y="0"/>
                </a:lnTo>
                <a:close/>
              </a:path>
            </a:pathLst>
          </a:custGeom>
          <a:solidFill>
            <a:srgbClr val="000000"/>
          </a:solidFill>
        </p:spPr>
        <p:txBody>
          <a:bodyPr wrap="square" lIns="0" tIns="0" rIns="0" bIns="0" rtlCol="0">
            <a:noAutofit/>
          </a:bodyPr>
          <a:lstStyle/>
          <a:p>
            <a:endParaRPr/>
          </a:p>
        </p:txBody>
      </p:sp>
      <p:sp>
        <p:nvSpPr>
          <p:cNvPr id="759" name="object 759"/>
          <p:cNvSpPr/>
          <p:nvPr/>
        </p:nvSpPr>
        <p:spPr>
          <a:xfrm>
            <a:off x="8870045" y="936860"/>
            <a:ext cx="13095" cy="13060"/>
          </a:xfrm>
          <a:custGeom>
            <a:avLst/>
            <a:gdLst/>
            <a:ahLst/>
            <a:cxnLst/>
            <a:rect l="l" t="t" r="r" b="b"/>
            <a:pathLst>
              <a:path w="13095" h="13060">
                <a:moveTo>
                  <a:pt x="2976" y="13060"/>
                </a:moveTo>
                <a:lnTo>
                  <a:pt x="3273" y="11237"/>
                </a:lnTo>
                <a:lnTo>
                  <a:pt x="3869" y="9719"/>
                </a:lnTo>
                <a:lnTo>
                  <a:pt x="4761" y="7896"/>
                </a:lnTo>
                <a:lnTo>
                  <a:pt x="6249" y="6378"/>
                </a:lnTo>
                <a:lnTo>
                  <a:pt x="7738" y="4859"/>
                </a:lnTo>
                <a:lnTo>
                  <a:pt x="9226" y="3644"/>
                </a:lnTo>
                <a:lnTo>
                  <a:pt x="11011" y="3037"/>
                </a:lnTo>
                <a:lnTo>
                  <a:pt x="12499" y="3037"/>
                </a:lnTo>
                <a:lnTo>
                  <a:pt x="13095" y="0"/>
                </a:lnTo>
                <a:lnTo>
                  <a:pt x="10416" y="0"/>
                </a:lnTo>
                <a:lnTo>
                  <a:pt x="8035" y="1214"/>
                </a:lnTo>
                <a:lnTo>
                  <a:pt x="5952" y="2429"/>
                </a:lnTo>
                <a:lnTo>
                  <a:pt x="3869" y="3948"/>
                </a:lnTo>
                <a:lnTo>
                  <a:pt x="2380" y="6074"/>
                </a:lnTo>
                <a:lnTo>
                  <a:pt x="892" y="8504"/>
                </a:lnTo>
                <a:lnTo>
                  <a:pt x="297" y="10630"/>
                </a:lnTo>
                <a:lnTo>
                  <a:pt x="0" y="13060"/>
                </a:lnTo>
                <a:lnTo>
                  <a:pt x="2976" y="13060"/>
                </a:lnTo>
                <a:close/>
              </a:path>
            </a:pathLst>
          </a:custGeom>
          <a:solidFill>
            <a:srgbClr val="000000"/>
          </a:solidFill>
        </p:spPr>
        <p:txBody>
          <a:bodyPr wrap="square" lIns="0" tIns="0" rIns="0" bIns="0" rtlCol="0">
            <a:noAutofit/>
          </a:bodyPr>
          <a:lstStyle/>
          <a:p>
            <a:endParaRPr/>
          </a:p>
        </p:txBody>
      </p:sp>
      <p:sp>
        <p:nvSpPr>
          <p:cNvPr id="760" name="object 760"/>
          <p:cNvSpPr/>
          <p:nvPr/>
        </p:nvSpPr>
        <p:spPr>
          <a:xfrm>
            <a:off x="8565879" y="828127"/>
            <a:ext cx="2678" cy="2429"/>
          </a:xfrm>
          <a:custGeom>
            <a:avLst/>
            <a:gdLst/>
            <a:ahLst/>
            <a:cxnLst/>
            <a:rect l="l" t="t" r="r" b="b"/>
            <a:pathLst>
              <a:path w="2678" h="2429">
                <a:moveTo>
                  <a:pt x="2678" y="607"/>
                </a:moveTo>
                <a:lnTo>
                  <a:pt x="1785" y="0"/>
                </a:lnTo>
                <a:lnTo>
                  <a:pt x="595" y="303"/>
                </a:lnTo>
                <a:lnTo>
                  <a:pt x="0" y="1214"/>
                </a:lnTo>
                <a:lnTo>
                  <a:pt x="297" y="2429"/>
                </a:lnTo>
                <a:lnTo>
                  <a:pt x="2678" y="607"/>
                </a:lnTo>
                <a:close/>
              </a:path>
            </a:pathLst>
          </a:custGeom>
          <a:solidFill>
            <a:srgbClr val="000000"/>
          </a:solidFill>
        </p:spPr>
        <p:txBody>
          <a:bodyPr wrap="square" lIns="0" tIns="0" rIns="0" bIns="0" rtlCol="0">
            <a:noAutofit/>
          </a:bodyPr>
          <a:lstStyle/>
          <a:p>
            <a:endParaRPr/>
          </a:p>
        </p:txBody>
      </p:sp>
      <p:sp>
        <p:nvSpPr>
          <p:cNvPr id="761" name="object 761"/>
          <p:cNvSpPr/>
          <p:nvPr/>
        </p:nvSpPr>
        <p:spPr>
          <a:xfrm>
            <a:off x="8566177" y="828733"/>
            <a:ext cx="12499" cy="19134"/>
          </a:xfrm>
          <a:custGeom>
            <a:avLst/>
            <a:gdLst/>
            <a:ahLst/>
            <a:cxnLst/>
            <a:rect l="l" t="t" r="r" b="b"/>
            <a:pathLst>
              <a:path w="12499" h="19134">
                <a:moveTo>
                  <a:pt x="12202" y="16704"/>
                </a:moveTo>
                <a:lnTo>
                  <a:pt x="2380" y="0"/>
                </a:lnTo>
                <a:lnTo>
                  <a:pt x="0" y="1822"/>
                </a:lnTo>
                <a:lnTo>
                  <a:pt x="9821" y="18527"/>
                </a:lnTo>
                <a:lnTo>
                  <a:pt x="11011" y="19134"/>
                </a:lnTo>
                <a:lnTo>
                  <a:pt x="11904" y="18830"/>
                </a:lnTo>
                <a:lnTo>
                  <a:pt x="12499" y="17919"/>
                </a:lnTo>
                <a:lnTo>
                  <a:pt x="12202" y="16704"/>
                </a:lnTo>
                <a:lnTo>
                  <a:pt x="9523" y="17616"/>
                </a:lnTo>
                <a:lnTo>
                  <a:pt x="12202" y="16704"/>
                </a:lnTo>
                <a:close/>
              </a:path>
            </a:pathLst>
          </a:custGeom>
          <a:solidFill>
            <a:srgbClr val="000000"/>
          </a:solidFill>
        </p:spPr>
        <p:txBody>
          <a:bodyPr wrap="square" lIns="0" tIns="0" rIns="0" bIns="0" rtlCol="0">
            <a:noAutofit/>
          </a:bodyPr>
          <a:lstStyle/>
          <a:p>
            <a:endParaRPr/>
          </a:p>
        </p:txBody>
      </p:sp>
      <p:sp>
        <p:nvSpPr>
          <p:cNvPr id="762" name="object 762"/>
          <p:cNvSpPr/>
          <p:nvPr/>
        </p:nvSpPr>
        <p:spPr>
          <a:xfrm>
            <a:off x="8574510" y="1286448"/>
            <a:ext cx="2976" cy="1214"/>
          </a:xfrm>
          <a:custGeom>
            <a:avLst/>
            <a:gdLst/>
            <a:ahLst/>
            <a:cxnLst/>
            <a:rect l="l" t="t" r="r" b="b"/>
            <a:pathLst>
              <a:path w="2976" h="1214">
                <a:moveTo>
                  <a:pt x="0" y="0"/>
                </a:moveTo>
                <a:lnTo>
                  <a:pt x="595" y="911"/>
                </a:lnTo>
                <a:lnTo>
                  <a:pt x="1488" y="1214"/>
                </a:lnTo>
                <a:lnTo>
                  <a:pt x="2380" y="911"/>
                </a:lnTo>
                <a:lnTo>
                  <a:pt x="2976" y="0"/>
                </a:lnTo>
                <a:lnTo>
                  <a:pt x="0" y="0"/>
                </a:lnTo>
                <a:close/>
              </a:path>
            </a:pathLst>
          </a:custGeom>
          <a:solidFill>
            <a:srgbClr val="000000"/>
          </a:solidFill>
        </p:spPr>
        <p:txBody>
          <a:bodyPr wrap="square" lIns="0" tIns="0" rIns="0" bIns="0" rtlCol="0">
            <a:noAutofit/>
          </a:bodyPr>
          <a:lstStyle/>
          <a:p>
            <a:endParaRPr/>
          </a:p>
        </p:txBody>
      </p:sp>
      <p:sp>
        <p:nvSpPr>
          <p:cNvPr id="763" name="object 763"/>
          <p:cNvSpPr/>
          <p:nvPr/>
        </p:nvSpPr>
        <p:spPr>
          <a:xfrm>
            <a:off x="8163798" y="887049"/>
            <a:ext cx="202677" cy="386946"/>
          </a:xfrm>
          <a:custGeom>
            <a:avLst/>
            <a:gdLst/>
            <a:ahLst/>
            <a:cxnLst/>
            <a:rect l="l" t="t" r="r" b="b"/>
            <a:pathLst>
              <a:path w="202677" h="386946">
                <a:moveTo>
                  <a:pt x="202380" y="386946"/>
                </a:moveTo>
                <a:lnTo>
                  <a:pt x="202677" y="43129"/>
                </a:lnTo>
                <a:lnTo>
                  <a:pt x="195535" y="28550"/>
                </a:lnTo>
                <a:lnTo>
                  <a:pt x="184225" y="21260"/>
                </a:lnTo>
                <a:lnTo>
                  <a:pt x="169047" y="15186"/>
                </a:lnTo>
                <a:lnTo>
                  <a:pt x="151190" y="10630"/>
                </a:lnTo>
                <a:lnTo>
                  <a:pt x="132142" y="6985"/>
                </a:lnTo>
                <a:lnTo>
                  <a:pt x="122618" y="5467"/>
                </a:lnTo>
                <a:lnTo>
                  <a:pt x="113094" y="3948"/>
                </a:lnTo>
                <a:lnTo>
                  <a:pt x="103868" y="2429"/>
                </a:lnTo>
                <a:lnTo>
                  <a:pt x="94940" y="1214"/>
                </a:lnTo>
                <a:lnTo>
                  <a:pt x="86904" y="0"/>
                </a:lnTo>
                <a:lnTo>
                  <a:pt x="80654" y="2126"/>
                </a:lnTo>
                <a:lnTo>
                  <a:pt x="74106" y="4555"/>
                </a:lnTo>
                <a:lnTo>
                  <a:pt x="66964" y="6681"/>
                </a:lnTo>
                <a:lnTo>
                  <a:pt x="59821" y="9415"/>
                </a:lnTo>
                <a:lnTo>
                  <a:pt x="52678" y="12149"/>
                </a:lnTo>
                <a:lnTo>
                  <a:pt x="45535" y="14882"/>
                </a:lnTo>
                <a:lnTo>
                  <a:pt x="31547" y="20957"/>
                </a:lnTo>
                <a:lnTo>
                  <a:pt x="19047" y="27942"/>
                </a:lnTo>
                <a:lnTo>
                  <a:pt x="9226" y="35535"/>
                </a:lnTo>
                <a:lnTo>
                  <a:pt x="595" y="49203"/>
                </a:lnTo>
                <a:lnTo>
                  <a:pt x="0" y="54063"/>
                </a:lnTo>
                <a:lnTo>
                  <a:pt x="297" y="380568"/>
                </a:lnTo>
                <a:lnTo>
                  <a:pt x="202380" y="386946"/>
                </a:lnTo>
                <a:close/>
              </a:path>
            </a:pathLst>
          </a:custGeom>
          <a:solidFill>
            <a:srgbClr val="000000"/>
          </a:solidFill>
        </p:spPr>
        <p:txBody>
          <a:bodyPr wrap="square" lIns="0" tIns="0" rIns="0" bIns="0" rtlCol="0">
            <a:noAutofit/>
          </a:bodyPr>
          <a:lstStyle/>
          <a:p>
            <a:endParaRPr/>
          </a:p>
        </p:txBody>
      </p:sp>
      <p:sp>
        <p:nvSpPr>
          <p:cNvPr id="764" name="object 764"/>
          <p:cNvSpPr/>
          <p:nvPr/>
        </p:nvSpPr>
        <p:spPr>
          <a:xfrm>
            <a:off x="8162310" y="885530"/>
            <a:ext cx="88987" cy="56796"/>
          </a:xfrm>
          <a:custGeom>
            <a:avLst/>
            <a:gdLst/>
            <a:ahLst/>
            <a:cxnLst/>
            <a:rect l="l" t="t" r="r" b="b"/>
            <a:pathLst>
              <a:path w="88987" h="56796">
                <a:moveTo>
                  <a:pt x="595" y="50418"/>
                </a:moveTo>
                <a:lnTo>
                  <a:pt x="0" y="55581"/>
                </a:lnTo>
                <a:lnTo>
                  <a:pt x="595" y="56492"/>
                </a:lnTo>
                <a:lnTo>
                  <a:pt x="1488" y="56796"/>
                </a:lnTo>
                <a:lnTo>
                  <a:pt x="2380" y="56492"/>
                </a:lnTo>
                <a:lnTo>
                  <a:pt x="2976" y="55581"/>
                </a:lnTo>
                <a:lnTo>
                  <a:pt x="3571" y="51025"/>
                </a:lnTo>
                <a:lnTo>
                  <a:pt x="5059" y="46470"/>
                </a:lnTo>
                <a:lnTo>
                  <a:pt x="8035" y="42217"/>
                </a:lnTo>
                <a:lnTo>
                  <a:pt x="11607" y="38269"/>
                </a:lnTo>
                <a:lnTo>
                  <a:pt x="16071" y="34320"/>
                </a:lnTo>
                <a:lnTo>
                  <a:pt x="21428" y="30676"/>
                </a:lnTo>
                <a:lnTo>
                  <a:pt x="27083" y="27031"/>
                </a:lnTo>
                <a:lnTo>
                  <a:pt x="33630" y="23994"/>
                </a:lnTo>
                <a:lnTo>
                  <a:pt x="40476" y="20957"/>
                </a:lnTo>
                <a:lnTo>
                  <a:pt x="47618" y="17919"/>
                </a:lnTo>
                <a:lnTo>
                  <a:pt x="54761" y="15186"/>
                </a:lnTo>
                <a:lnTo>
                  <a:pt x="61904" y="12452"/>
                </a:lnTo>
                <a:lnTo>
                  <a:pt x="69047" y="9719"/>
                </a:lnTo>
                <a:lnTo>
                  <a:pt x="76190" y="7593"/>
                </a:lnTo>
                <a:lnTo>
                  <a:pt x="82737" y="5163"/>
                </a:lnTo>
                <a:lnTo>
                  <a:pt x="88987" y="3037"/>
                </a:lnTo>
                <a:lnTo>
                  <a:pt x="87797" y="0"/>
                </a:lnTo>
                <a:lnTo>
                  <a:pt x="81547" y="2126"/>
                </a:lnTo>
                <a:lnTo>
                  <a:pt x="74999" y="4555"/>
                </a:lnTo>
                <a:lnTo>
                  <a:pt x="67856" y="6681"/>
                </a:lnTo>
                <a:lnTo>
                  <a:pt x="60714" y="9415"/>
                </a:lnTo>
                <a:lnTo>
                  <a:pt x="53571" y="12149"/>
                </a:lnTo>
                <a:lnTo>
                  <a:pt x="46428" y="14882"/>
                </a:lnTo>
                <a:lnTo>
                  <a:pt x="39285" y="17919"/>
                </a:lnTo>
                <a:lnTo>
                  <a:pt x="32440" y="20957"/>
                </a:lnTo>
                <a:lnTo>
                  <a:pt x="25892" y="24601"/>
                </a:lnTo>
                <a:lnTo>
                  <a:pt x="19642" y="28246"/>
                </a:lnTo>
                <a:lnTo>
                  <a:pt x="14285" y="31891"/>
                </a:lnTo>
                <a:lnTo>
                  <a:pt x="9821" y="35839"/>
                </a:lnTo>
                <a:lnTo>
                  <a:pt x="5654" y="40395"/>
                </a:lnTo>
                <a:lnTo>
                  <a:pt x="2678" y="45255"/>
                </a:lnTo>
                <a:lnTo>
                  <a:pt x="595" y="50418"/>
                </a:lnTo>
                <a:close/>
              </a:path>
            </a:pathLst>
          </a:custGeom>
          <a:solidFill>
            <a:srgbClr val="000000"/>
          </a:solidFill>
        </p:spPr>
        <p:txBody>
          <a:bodyPr wrap="square" lIns="0" tIns="0" rIns="0" bIns="0" rtlCol="0">
            <a:noAutofit/>
          </a:bodyPr>
          <a:lstStyle/>
          <a:p>
            <a:endParaRPr/>
          </a:p>
        </p:txBody>
      </p:sp>
      <p:sp>
        <p:nvSpPr>
          <p:cNvPr id="765" name="object 765"/>
          <p:cNvSpPr/>
          <p:nvPr/>
        </p:nvSpPr>
        <p:spPr>
          <a:xfrm>
            <a:off x="8163649" y="1266099"/>
            <a:ext cx="1339" cy="2733"/>
          </a:xfrm>
          <a:custGeom>
            <a:avLst/>
            <a:gdLst/>
            <a:ahLst/>
            <a:cxnLst/>
            <a:rect l="l" t="t" r="r" b="b"/>
            <a:pathLst>
              <a:path w="1339" h="2733">
                <a:moveTo>
                  <a:pt x="446" y="0"/>
                </a:moveTo>
                <a:lnTo>
                  <a:pt x="0" y="2581"/>
                </a:lnTo>
                <a:lnTo>
                  <a:pt x="446" y="2733"/>
                </a:lnTo>
                <a:lnTo>
                  <a:pt x="1339" y="2429"/>
                </a:lnTo>
                <a:lnTo>
                  <a:pt x="446" y="0"/>
                </a:lnTo>
                <a:close/>
              </a:path>
            </a:pathLst>
          </a:custGeom>
          <a:solidFill>
            <a:srgbClr val="000000"/>
          </a:solidFill>
        </p:spPr>
        <p:txBody>
          <a:bodyPr wrap="square" lIns="0" tIns="0" rIns="0" bIns="0" rtlCol="0">
            <a:noAutofit/>
          </a:bodyPr>
          <a:lstStyle/>
          <a:p>
            <a:endParaRPr/>
          </a:p>
        </p:txBody>
      </p:sp>
      <p:sp>
        <p:nvSpPr>
          <p:cNvPr id="766" name="object 766"/>
          <p:cNvSpPr/>
          <p:nvPr/>
        </p:nvSpPr>
        <p:spPr>
          <a:xfrm>
            <a:off x="8164094" y="1266099"/>
            <a:ext cx="203570" cy="9415"/>
          </a:xfrm>
          <a:custGeom>
            <a:avLst/>
            <a:gdLst/>
            <a:ahLst/>
            <a:cxnLst/>
            <a:rect l="l" t="t" r="r" b="b"/>
            <a:pathLst>
              <a:path w="203570" h="9415">
                <a:moveTo>
                  <a:pt x="202975" y="8808"/>
                </a:moveTo>
                <a:lnTo>
                  <a:pt x="203570" y="7896"/>
                </a:lnTo>
                <a:lnTo>
                  <a:pt x="202975" y="6985"/>
                </a:lnTo>
                <a:lnTo>
                  <a:pt x="202082" y="6378"/>
                </a:lnTo>
                <a:lnTo>
                  <a:pt x="0" y="0"/>
                </a:lnTo>
                <a:lnTo>
                  <a:pt x="0" y="3037"/>
                </a:lnTo>
                <a:lnTo>
                  <a:pt x="202082" y="9415"/>
                </a:lnTo>
                <a:lnTo>
                  <a:pt x="200594" y="7896"/>
                </a:lnTo>
                <a:lnTo>
                  <a:pt x="202082" y="9415"/>
                </a:lnTo>
                <a:lnTo>
                  <a:pt x="202975" y="8808"/>
                </a:lnTo>
                <a:close/>
              </a:path>
            </a:pathLst>
          </a:custGeom>
          <a:solidFill>
            <a:srgbClr val="000000"/>
          </a:solidFill>
        </p:spPr>
        <p:txBody>
          <a:bodyPr wrap="square" lIns="0" tIns="0" rIns="0" bIns="0" rtlCol="0">
            <a:noAutofit/>
          </a:bodyPr>
          <a:lstStyle/>
          <a:p>
            <a:endParaRPr/>
          </a:p>
        </p:txBody>
      </p:sp>
      <p:sp>
        <p:nvSpPr>
          <p:cNvPr id="767" name="object 767"/>
          <p:cNvSpPr/>
          <p:nvPr/>
        </p:nvSpPr>
        <p:spPr>
          <a:xfrm>
            <a:off x="8251000" y="885531"/>
            <a:ext cx="8035" cy="3037"/>
          </a:xfrm>
          <a:custGeom>
            <a:avLst/>
            <a:gdLst/>
            <a:ahLst/>
            <a:cxnLst/>
            <a:rect l="l" t="t" r="r" b="b"/>
            <a:pathLst>
              <a:path w="8035" h="3037">
                <a:moveTo>
                  <a:pt x="0" y="0"/>
                </a:moveTo>
                <a:lnTo>
                  <a:pt x="297" y="3037"/>
                </a:lnTo>
                <a:lnTo>
                  <a:pt x="8035" y="1214"/>
                </a:lnTo>
                <a:lnTo>
                  <a:pt x="0" y="0"/>
                </a:lnTo>
                <a:close/>
              </a:path>
            </a:pathLst>
          </a:custGeom>
          <a:solidFill>
            <a:srgbClr val="000000"/>
          </a:solidFill>
        </p:spPr>
        <p:txBody>
          <a:bodyPr wrap="square" lIns="0" tIns="0" rIns="0" bIns="0" rtlCol="0">
            <a:noAutofit/>
          </a:bodyPr>
          <a:lstStyle/>
          <a:p>
            <a:endParaRPr/>
          </a:p>
        </p:txBody>
      </p:sp>
      <p:sp>
        <p:nvSpPr>
          <p:cNvPr id="768" name="object 768"/>
          <p:cNvSpPr/>
          <p:nvPr/>
        </p:nvSpPr>
        <p:spPr>
          <a:xfrm>
            <a:off x="8249511" y="885531"/>
            <a:ext cx="118452" cy="44647"/>
          </a:xfrm>
          <a:custGeom>
            <a:avLst/>
            <a:gdLst/>
            <a:ahLst/>
            <a:cxnLst/>
            <a:rect l="l" t="t" r="r" b="b"/>
            <a:pathLst>
              <a:path w="118452" h="44647">
                <a:moveTo>
                  <a:pt x="892" y="3037"/>
                </a:moveTo>
                <a:lnTo>
                  <a:pt x="8928" y="4252"/>
                </a:lnTo>
                <a:lnTo>
                  <a:pt x="17857" y="5467"/>
                </a:lnTo>
                <a:lnTo>
                  <a:pt x="27083" y="6985"/>
                </a:lnTo>
                <a:lnTo>
                  <a:pt x="36607" y="8504"/>
                </a:lnTo>
                <a:lnTo>
                  <a:pt x="46130" y="10022"/>
                </a:lnTo>
                <a:lnTo>
                  <a:pt x="55654" y="11541"/>
                </a:lnTo>
                <a:lnTo>
                  <a:pt x="65178" y="13667"/>
                </a:lnTo>
                <a:lnTo>
                  <a:pt x="74404" y="15793"/>
                </a:lnTo>
                <a:lnTo>
                  <a:pt x="83035" y="18223"/>
                </a:lnTo>
                <a:lnTo>
                  <a:pt x="90773" y="20957"/>
                </a:lnTo>
                <a:lnTo>
                  <a:pt x="97916" y="23994"/>
                </a:lnTo>
                <a:lnTo>
                  <a:pt x="103868" y="27335"/>
                </a:lnTo>
                <a:lnTo>
                  <a:pt x="108928" y="31283"/>
                </a:lnTo>
                <a:lnTo>
                  <a:pt x="112499" y="35232"/>
                </a:lnTo>
                <a:lnTo>
                  <a:pt x="114582" y="39788"/>
                </a:lnTo>
                <a:lnTo>
                  <a:pt x="115475" y="44647"/>
                </a:lnTo>
                <a:lnTo>
                  <a:pt x="118452" y="44647"/>
                </a:lnTo>
                <a:lnTo>
                  <a:pt x="117559" y="38573"/>
                </a:lnTo>
                <a:lnTo>
                  <a:pt x="114880" y="33409"/>
                </a:lnTo>
                <a:lnTo>
                  <a:pt x="110713" y="28853"/>
                </a:lnTo>
                <a:lnTo>
                  <a:pt x="105654" y="24905"/>
                </a:lnTo>
                <a:lnTo>
                  <a:pt x="99106" y="21564"/>
                </a:lnTo>
                <a:lnTo>
                  <a:pt x="91964" y="17919"/>
                </a:lnTo>
                <a:lnTo>
                  <a:pt x="83630" y="15186"/>
                </a:lnTo>
                <a:lnTo>
                  <a:pt x="74999" y="12756"/>
                </a:lnTo>
                <a:lnTo>
                  <a:pt x="65773" y="10630"/>
                </a:lnTo>
                <a:lnTo>
                  <a:pt x="56249" y="8504"/>
                </a:lnTo>
                <a:lnTo>
                  <a:pt x="46726" y="6985"/>
                </a:lnTo>
                <a:lnTo>
                  <a:pt x="37202" y="5467"/>
                </a:lnTo>
                <a:lnTo>
                  <a:pt x="27678" y="3948"/>
                </a:lnTo>
                <a:lnTo>
                  <a:pt x="18452" y="2429"/>
                </a:lnTo>
                <a:lnTo>
                  <a:pt x="9523" y="1214"/>
                </a:lnTo>
                <a:lnTo>
                  <a:pt x="1785" y="3037"/>
                </a:lnTo>
                <a:lnTo>
                  <a:pt x="1488" y="0"/>
                </a:lnTo>
                <a:lnTo>
                  <a:pt x="297" y="303"/>
                </a:lnTo>
                <a:lnTo>
                  <a:pt x="0" y="1214"/>
                </a:lnTo>
                <a:lnTo>
                  <a:pt x="0" y="2429"/>
                </a:lnTo>
                <a:lnTo>
                  <a:pt x="892" y="3037"/>
                </a:lnTo>
                <a:close/>
              </a:path>
            </a:pathLst>
          </a:custGeom>
          <a:solidFill>
            <a:srgbClr val="000000"/>
          </a:solidFill>
        </p:spPr>
        <p:txBody>
          <a:bodyPr wrap="square" lIns="0" tIns="0" rIns="0" bIns="0" rtlCol="0">
            <a:noAutofit/>
          </a:bodyPr>
          <a:lstStyle/>
          <a:p>
            <a:endParaRPr/>
          </a:p>
        </p:txBody>
      </p:sp>
      <p:sp>
        <p:nvSpPr>
          <p:cNvPr id="769" name="object 769"/>
          <p:cNvSpPr/>
          <p:nvPr/>
        </p:nvSpPr>
        <p:spPr>
          <a:xfrm>
            <a:off x="8154274" y="887049"/>
            <a:ext cx="202677" cy="386946"/>
          </a:xfrm>
          <a:custGeom>
            <a:avLst/>
            <a:gdLst/>
            <a:ahLst/>
            <a:cxnLst/>
            <a:rect l="l" t="t" r="r" b="b"/>
            <a:pathLst>
              <a:path w="202677" h="386946">
                <a:moveTo>
                  <a:pt x="202380" y="386946"/>
                </a:moveTo>
                <a:lnTo>
                  <a:pt x="202677" y="43129"/>
                </a:lnTo>
                <a:lnTo>
                  <a:pt x="195535" y="28550"/>
                </a:lnTo>
                <a:lnTo>
                  <a:pt x="184225" y="21260"/>
                </a:lnTo>
                <a:lnTo>
                  <a:pt x="169047" y="15186"/>
                </a:lnTo>
                <a:lnTo>
                  <a:pt x="151190" y="10630"/>
                </a:lnTo>
                <a:lnTo>
                  <a:pt x="132142" y="6985"/>
                </a:lnTo>
                <a:lnTo>
                  <a:pt x="122618" y="5467"/>
                </a:lnTo>
                <a:lnTo>
                  <a:pt x="113094" y="3948"/>
                </a:lnTo>
                <a:lnTo>
                  <a:pt x="103868" y="2429"/>
                </a:lnTo>
                <a:lnTo>
                  <a:pt x="94940" y="1214"/>
                </a:lnTo>
                <a:lnTo>
                  <a:pt x="86904" y="0"/>
                </a:lnTo>
                <a:lnTo>
                  <a:pt x="80654" y="2126"/>
                </a:lnTo>
                <a:lnTo>
                  <a:pt x="74106" y="4555"/>
                </a:lnTo>
                <a:lnTo>
                  <a:pt x="66964" y="6681"/>
                </a:lnTo>
                <a:lnTo>
                  <a:pt x="59821" y="9415"/>
                </a:lnTo>
                <a:lnTo>
                  <a:pt x="52678" y="12149"/>
                </a:lnTo>
                <a:lnTo>
                  <a:pt x="45535" y="14882"/>
                </a:lnTo>
                <a:lnTo>
                  <a:pt x="31547" y="20957"/>
                </a:lnTo>
                <a:lnTo>
                  <a:pt x="19047" y="27942"/>
                </a:lnTo>
                <a:lnTo>
                  <a:pt x="9226" y="35535"/>
                </a:lnTo>
                <a:lnTo>
                  <a:pt x="595" y="49203"/>
                </a:lnTo>
                <a:lnTo>
                  <a:pt x="0" y="54063"/>
                </a:lnTo>
                <a:lnTo>
                  <a:pt x="297" y="380568"/>
                </a:lnTo>
                <a:lnTo>
                  <a:pt x="202380" y="386946"/>
                </a:lnTo>
                <a:close/>
              </a:path>
            </a:pathLst>
          </a:custGeom>
          <a:solidFill>
            <a:srgbClr val="FFFFFF"/>
          </a:solidFill>
        </p:spPr>
        <p:txBody>
          <a:bodyPr wrap="square" lIns="0" tIns="0" rIns="0" bIns="0" rtlCol="0">
            <a:noAutofit/>
          </a:bodyPr>
          <a:lstStyle/>
          <a:p>
            <a:endParaRPr/>
          </a:p>
        </p:txBody>
      </p:sp>
      <p:sp>
        <p:nvSpPr>
          <p:cNvPr id="770" name="object 770"/>
          <p:cNvSpPr/>
          <p:nvPr/>
        </p:nvSpPr>
        <p:spPr>
          <a:xfrm>
            <a:off x="8152786" y="885530"/>
            <a:ext cx="88987" cy="56796"/>
          </a:xfrm>
          <a:custGeom>
            <a:avLst/>
            <a:gdLst/>
            <a:ahLst/>
            <a:cxnLst/>
            <a:rect l="l" t="t" r="r" b="b"/>
            <a:pathLst>
              <a:path w="88987" h="56796">
                <a:moveTo>
                  <a:pt x="595" y="50418"/>
                </a:moveTo>
                <a:lnTo>
                  <a:pt x="0" y="55581"/>
                </a:lnTo>
                <a:lnTo>
                  <a:pt x="595" y="56492"/>
                </a:lnTo>
                <a:lnTo>
                  <a:pt x="1488" y="56796"/>
                </a:lnTo>
                <a:lnTo>
                  <a:pt x="2380" y="56492"/>
                </a:lnTo>
                <a:lnTo>
                  <a:pt x="2976" y="55581"/>
                </a:lnTo>
                <a:lnTo>
                  <a:pt x="3571" y="51025"/>
                </a:lnTo>
                <a:lnTo>
                  <a:pt x="5059" y="46470"/>
                </a:lnTo>
                <a:lnTo>
                  <a:pt x="8035" y="42217"/>
                </a:lnTo>
                <a:lnTo>
                  <a:pt x="11607" y="38269"/>
                </a:lnTo>
                <a:lnTo>
                  <a:pt x="16071" y="34320"/>
                </a:lnTo>
                <a:lnTo>
                  <a:pt x="21428" y="30676"/>
                </a:lnTo>
                <a:lnTo>
                  <a:pt x="27083" y="27031"/>
                </a:lnTo>
                <a:lnTo>
                  <a:pt x="33630" y="23994"/>
                </a:lnTo>
                <a:lnTo>
                  <a:pt x="40476" y="20957"/>
                </a:lnTo>
                <a:lnTo>
                  <a:pt x="47618" y="17919"/>
                </a:lnTo>
                <a:lnTo>
                  <a:pt x="54761" y="15186"/>
                </a:lnTo>
                <a:lnTo>
                  <a:pt x="61904" y="12452"/>
                </a:lnTo>
                <a:lnTo>
                  <a:pt x="69047" y="9719"/>
                </a:lnTo>
                <a:lnTo>
                  <a:pt x="76190" y="7593"/>
                </a:lnTo>
                <a:lnTo>
                  <a:pt x="82737" y="5163"/>
                </a:lnTo>
                <a:lnTo>
                  <a:pt x="88987" y="3037"/>
                </a:lnTo>
                <a:lnTo>
                  <a:pt x="87797" y="0"/>
                </a:lnTo>
                <a:lnTo>
                  <a:pt x="81547" y="2126"/>
                </a:lnTo>
                <a:lnTo>
                  <a:pt x="74999" y="4555"/>
                </a:lnTo>
                <a:lnTo>
                  <a:pt x="67856" y="6681"/>
                </a:lnTo>
                <a:lnTo>
                  <a:pt x="60714" y="9415"/>
                </a:lnTo>
                <a:lnTo>
                  <a:pt x="53571" y="12149"/>
                </a:lnTo>
                <a:lnTo>
                  <a:pt x="46428" y="14882"/>
                </a:lnTo>
                <a:lnTo>
                  <a:pt x="39285" y="17919"/>
                </a:lnTo>
                <a:lnTo>
                  <a:pt x="32440" y="20957"/>
                </a:lnTo>
                <a:lnTo>
                  <a:pt x="25892" y="24601"/>
                </a:lnTo>
                <a:lnTo>
                  <a:pt x="19642" y="28246"/>
                </a:lnTo>
                <a:lnTo>
                  <a:pt x="14285" y="31891"/>
                </a:lnTo>
                <a:lnTo>
                  <a:pt x="9821" y="35839"/>
                </a:lnTo>
                <a:lnTo>
                  <a:pt x="5654" y="40395"/>
                </a:lnTo>
                <a:lnTo>
                  <a:pt x="2678" y="45255"/>
                </a:lnTo>
                <a:lnTo>
                  <a:pt x="595" y="50418"/>
                </a:lnTo>
                <a:close/>
              </a:path>
            </a:pathLst>
          </a:custGeom>
          <a:solidFill>
            <a:srgbClr val="000000"/>
          </a:solidFill>
        </p:spPr>
        <p:txBody>
          <a:bodyPr wrap="square" lIns="0" tIns="0" rIns="0" bIns="0" rtlCol="0">
            <a:noAutofit/>
          </a:bodyPr>
          <a:lstStyle/>
          <a:p>
            <a:endParaRPr/>
          </a:p>
        </p:txBody>
      </p:sp>
      <p:sp>
        <p:nvSpPr>
          <p:cNvPr id="771" name="object 771"/>
          <p:cNvSpPr/>
          <p:nvPr/>
        </p:nvSpPr>
        <p:spPr>
          <a:xfrm>
            <a:off x="8154125" y="1266099"/>
            <a:ext cx="1339" cy="2733"/>
          </a:xfrm>
          <a:custGeom>
            <a:avLst/>
            <a:gdLst/>
            <a:ahLst/>
            <a:cxnLst/>
            <a:rect l="l" t="t" r="r" b="b"/>
            <a:pathLst>
              <a:path w="1339" h="2733">
                <a:moveTo>
                  <a:pt x="446" y="0"/>
                </a:moveTo>
                <a:lnTo>
                  <a:pt x="0" y="2581"/>
                </a:lnTo>
                <a:lnTo>
                  <a:pt x="446" y="2733"/>
                </a:lnTo>
                <a:lnTo>
                  <a:pt x="1339" y="2429"/>
                </a:lnTo>
                <a:lnTo>
                  <a:pt x="446" y="0"/>
                </a:lnTo>
                <a:close/>
              </a:path>
            </a:pathLst>
          </a:custGeom>
          <a:solidFill>
            <a:srgbClr val="000000"/>
          </a:solidFill>
        </p:spPr>
        <p:txBody>
          <a:bodyPr wrap="square" lIns="0" tIns="0" rIns="0" bIns="0" rtlCol="0">
            <a:noAutofit/>
          </a:bodyPr>
          <a:lstStyle/>
          <a:p>
            <a:endParaRPr/>
          </a:p>
        </p:txBody>
      </p:sp>
      <p:sp>
        <p:nvSpPr>
          <p:cNvPr id="772" name="object 772"/>
          <p:cNvSpPr/>
          <p:nvPr/>
        </p:nvSpPr>
        <p:spPr>
          <a:xfrm>
            <a:off x="8154570" y="1266099"/>
            <a:ext cx="203570" cy="9415"/>
          </a:xfrm>
          <a:custGeom>
            <a:avLst/>
            <a:gdLst/>
            <a:ahLst/>
            <a:cxnLst/>
            <a:rect l="l" t="t" r="r" b="b"/>
            <a:pathLst>
              <a:path w="203570" h="9415">
                <a:moveTo>
                  <a:pt x="202975" y="8808"/>
                </a:moveTo>
                <a:lnTo>
                  <a:pt x="203570" y="7896"/>
                </a:lnTo>
                <a:lnTo>
                  <a:pt x="202975" y="6985"/>
                </a:lnTo>
                <a:lnTo>
                  <a:pt x="202082" y="6378"/>
                </a:lnTo>
                <a:lnTo>
                  <a:pt x="0" y="0"/>
                </a:lnTo>
                <a:lnTo>
                  <a:pt x="0" y="3037"/>
                </a:lnTo>
                <a:lnTo>
                  <a:pt x="202082" y="9415"/>
                </a:lnTo>
                <a:lnTo>
                  <a:pt x="200594" y="7896"/>
                </a:lnTo>
                <a:lnTo>
                  <a:pt x="202082" y="9415"/>
                </a:lnTo>
                <a:lnTo>
                  <a:pt x="202975" y="8808"/>
                </a:lnTo>
                <a:close/>
              </a:path>
            </a:pathLst>
          </a:custGeom>
          <a:solidFill>
            <a:srgbClr val="000000"/>
          </a:solidFill>
        </p:spPr>
        <p:txBody>
          <a:bodyPr wrap="square" lIns="0" tIns="0" rIns="0" bIns="0" rtlCol="0">
            <a:noAutofit/>
          </a:bodyPr>
          <a:lstStyle/>
          <a:p>
            <a:endParaRPr/>
          </a:p>
        </p:txBody>
      </p:sp>
      <p:sp>
        <p:nvSpPr>
          <p:cNvPr id="773" name="object 773"/>
          <p:cNvSpPr/>
          <p:nvPr/>
        </p:nvSpPr>
        <p:spPr>
          <a:xfrm>
            <a:off x="8241476" y="885531"/>
            <a:ext cx="8035" cy="3037"/>
          </a:xfrm>
          <a:custGeom>
            <a:avLst/>
            <a:gdLst/>
            <a:ahLst/>
            <a:cxnLst/>
            <a:rect l="l" t="t" r="r" b="b"/>
            <a:pathLst>
              <a:path w="8035" h="3037">
                <a:moveTo>
                  <a:pt x="0" y="0"/>
                </a:moveTo>
                <a:lnTo>
                  <a:pt x="297" y="3037"/>
                </a:lnTo>
                <a:lnTo>
                  <a:pt x="8035" y="1214"/>
                </a:lnTo>
                <a:lnTo>
                  <a:pt x="0" y="0"/>
                </a:lnTo>
                <a:close/>
              </a:path>
            </a:pathLst>
          </a:custGeom>
          <a:solidFill>
            <a:srgbClr val="000000"/>
          </a:solidFill>
        </p:spPr>
        <p:txBody>
          <a:bodyPr wrap="square" lIns="0" tIns="0" rIns="0" bIns="0" rtlCol="0">
            <a:noAutofit/>
          </a:bodyPr>
          <a:lstStyle/>
          <a:p>
            <a:endParaRPr/>
          </a:p>
        </p:txBody>
      </p:sp>
      <p:sp>
        <p:nvSpPr>
          <p:cNvPr id="774" name="object 774"/>
          <p:cNvSpPr/>
          <p:nvPr/>
        </p:nvSpPr>
        <p:spPr>
          <a:xfrm>
            <a:off x="8239987" y="885531"/>
            <a:ext cx="118452" cy="44647"/>
          </a:xfrm>
          <a:custGeom>
            <a:avLst/>
            <a:gdLst/>
            <a:ahLst/>
            <a:cxnLst/>
            <a:rect l="l" t="t" r="r" b="b"/>
            <a:pathLst>
              <a:path w="118452" h="44647">
                <a:moveTo>
                  <a:pt x="892" y="3037"/>
                </a:moveTo>
                <a:lnTo>
                  <a:pt x="8928" y="4252"/>
                </a:lnTo>
                <a:lnTo>
                  <a:pt x="17857" y="5467"/>
                </a:lnTo>
                <a:lnTo>
                  <a:pt x="27083" y="6985"/>
                </a:lnTo>
                <a:lnTo>
                  <a:pt x="36607" y="8504"/>
                </a:lnTo>
                <a:lnTo>
                  <a:pt x="46130" y="10022"/>
                </a:lnTo>
                <a:lnTo>
                  <a:pt x="55654" y="11541"/>
                </a:lnTo>
                <a:lnTo>
                  <a:pt x="65178" y="13667"/>
                </a:lnTo>
                <a:lnTo>
                  <a:pt x="74404" y="15793"/>
                </a:lnTo>
                <a:lnTo>
                  <a:pt x="83035" y="18223"/>
                </a:lnTo>
                <a:lnTo>
                  <a:pt x="90773" y="20957"/>
                </a:lnTo>
                <a:lnTo>
                  <a:pt x="97916" y="23994"/>
                </a:lnTo>
                <a:lnTo>
                  <a:pt x="103868" y="27335"/>
                </a:lnTo>
                <a:lnTo>
                  <a:pt x="108928" y="31283"/>
                </a:lnTo>
                <a:lnTo>
                  <a:pt x="112499" y="35232"/>
                </a:lnTo>
                <a:lnTo>
                  <a:pt x="114582" y="39788"/>
                </a:lnTo>
                <a:lnTo>
                  <a:pt x="115475" y="44647"/>
                </a:lnTo>
                <a:lnTo>
                  <a:pt x="118452" y="44647"/>
                </a:lnTo>
                <a:lnTo>
                  <a:pt x="117559" y="38573"/>
                </a:lnTo>
                <a:lnTo>
                  <a:pt x="114880" y="33409"/>
                </a:lnTo>
                <a:lnTo>
                  <a:pt x="110713" y="28853"/>
                </a:lnTo>
                <a:lnTo>
                  <a:pt x="105654" y="24905"/>
                </a:lnTo>
                <a:lnTo>
                  <a:pt x="99106" y="21564"/>
                </a:lnTo>
                <a:lnTo>
                  <a:pt x="91964" y="17919"/>
                </a:lnTo>
                <a:lnTo>
                  <a:pt x="83630" y="15186"/>
                </a:lnTo>
                <a:lnTo>
                  <a:pt x="74999" y="12756"/>
                </a:lnTo>
                <a:lnTo>
                  <a:pt x="65773" y="10630"/>
                </a:lnTo>
                <a:lnTo>
                  <a:pt x="56249" y="8504"/>
                </a:lnTo>
                <a:lnTo>
                  <a:pt x="46726" y="6985"/>
                </a:lnTo>
                <a:lnTo>
                  <a:pt x="37202" y="5467"/>
                </a:lnTo>
                <a:lnTo>
                  <a:pt x="27678" y="3948"/>
                </a:lnTo>
                <a:lnTo>
                  <a:pt x="18452" y="2429"/>
                </a:lnTo>
                <a:lnTo>
                  <a:pt x="9523" y="1214"/>
                </a:lnTo>
                <a:lnTo>
                  <a:pt x="1785" y="3037"/>
                </a:lnTo>
                <a:lnTo>
                  <a:pt x="1488" y="0"/>
                </a:lnTo>
                <a:lnTo>
                  <a:pt x="297" y="303"/>
                </a:lnTo>
                <a:lnTo>
                  <a:pt x="0" y="1214"/>
                </a:lnTo>
                <a:lnTo>
                  <a:pt x="0" y="2429"/>
                </a:lnTo>
                <a:lnTo>
                  <a:pt x="892" y="3037"/>
                </a:lnTo>
                <a:close/>
              </a:path>
            </a:pathLst>
          </a:custGeom>
          <a:solidFill>
            <a:srgbClr val="000000"/>
          </a:solidFill>
        </p:spPr>
        <p:txBody>
          <a:bodyPr wrap="square" lIns="0" tIns="0" rIns="0" bIns="0" rtlCol="0">
            <a:noAutofit/>
          </a:bodyPr>
          <a:lstStyle/>
          <a:p>
            <a:endParaRPr/>
          </a:p>
        </p:txBody>
      </p:sp>
      <p:sp>
        <p:nvSpPr>
          <p:cNvPr id="775" name="object 775"/>
          <p:cNvSpPr/>
          <p:nvPr/>
        </p:nvSpPr>
        <p:spPr>
          <a:xfrm>
            <a:off x="8163797" y="932609"/>
            <a:ext cx="179166" cy="328023"/>
          </a:xfrm>
          <a:custGeom>
            <a:avLst/>
            <a:gdLst/>
            <a:ahLst/>
            <a:cxnLst/>
            <a:rect l="l" t="t" r="r" b="b"/>
            <a:pathLst>
              <a:path w="179166" h="328023">
                <a:moveTo>
                  <a:pt x="179166" y="0"/>
                </a:moveTo>
                <a:lnTo>
                  <a:pt x="0" y="12149"/>
                </a:lnTo>
                <a:lnTo>
                  <a:pt x="297" y="321341"/>
                </a:lnTo>
                <a:lnTo>
                  <a:pt x="179166" y="328023"/>
                </a:lnTo>
                <a:lnTo>
                  <a:pt x="179166" y="0"/>
                </a:lnTo>
                <a:close/>
              </a:path>
            </a:pathLst>
          </a:custGeom>
          <a:solidFill>
            <a:srgbClr val="000000"/>
          </a:solidFill>
        </p:spPr>
        <p:txBody>
          <a:bodyPr wrap="square" lIns="0" tIns="0" rIns="0" bIns="0" rtlCol="0">
            <a:noAutofit/>
          </a:bodyPr>
          <a:lstStyle/>
          <a:p>
            <a:endParaRPr/>
          </a:p>
        </p:txBody>
      </p:sp>
      <p:sp>
        <p:nvSpPr>
          <p:cNvPr id="776" name="object 776"/>
          <p:cNvSpPr/>
          <p:nvPr/>
        </p:nvSpPr>
        <p:spPr>
          <a:xfrm>
            <a:off x="8164393" y="897073"/>
            <a:ext cx="90773" cy="44343"/>
          </a:xfrm>
          <a:custGeom>
            <a:avLst/>
            <a:gdLst/>
            <a:ahLst/>
            <a:cxnLst/>
            <a:rect l="l" t="t" r="r" b="b"/>
            <a:pathLst>
              <a:path w="90773" h="44343">
                <a:moveTo>
                  <a:pt x="60118" y="6985"/>
                </a:moveTo>
                <a:lnTo>
                  <a:pt x="71725" y="0"/>
                </a:lnTo>
                <a:lnTo>
                  <a:pt x="66964" y="2126"/>
                </a:lnTo>
                <a:lnTo>
                  <a:pt x="61606" y="4252"/>
                </a:lnTo>
                <a:lnTo>
                  <a:pt x="55952" y="6074"/>
                </a:lnTo>
                <a:lnTo>
                  <a:pt x="50297" y="8200"/>
                </a:lnTo>
                <a:lnTo>
                  <a:pt x="44642" y="10326"/>
                </a:lnTo>
                <a:lnTo>
                  <a:pt x="38690" y="12756"/>
                </a:lnTo>
                <a:lnTo>
                  <a:pt x="33035" y="14882"/>
                </a:lnTo>
                <a:lnTo>
                  <a:pt x="27380" y="17312"/>
                </a:lnTo>
                <a:lnTo>
                  <a:pt x="22321" y="20045"/>
                </a:lnTo>
                <a:lnTo>
                  <a:pt x="17261" y="22779"/>
                </a:lnTo>
                <a:lnTo>
                  <a:pt x="12797" y="25816"/>
                </a:lnTo>
                <a:lnTo>
                  <a:pt x="8928" y="28853"/>
                </a:lnTo>
                <a:lnTo>
                  <a:pt x="5357" y="32194"/>
                </a:lnTo>
                <a:lnTo>
                  <a:pt x="2678" y="36143"/>
                </a:lnTo>
                <a:lnTo>
                  <a:pt x="892" y="40091"/>
                </a:lnTo>
                <a:lnTo>
                  <a:pt x="0" y="44343"/>
                </a:lnTo>
                <a:lnTo>
                  <a:pt x="90773" y="37661"/>
                </a:lnTo>
                <a:lnTo>
                  <a:pt x="85118" y="37054"/>
                </a:lnTo>
                <a:lnTo>
                  <a:pt x="79166" y="36750"/>
                </a:lnTo>
                <a:lnTo>
                  <a:pt x="72618" y="36447"/>
                </a:lnTo>
                <a:lnTo>
                  <a:pt x="66368" y="35839"/>
                </a:lnTo>
                <a:lnTo>
                  <a:pt x="60118" y="35232"/>
                </a:lnTo>
                <a:lnTo>
                  <a:pt x="54166" y="34624"/>
                </a:lnTo>
                <a:lnTo>
                  <a:pt x="48809" y="33713"/>
                </a:lnTo>
                <a:lnTo>
                  <a:pt x="44642" y="32194"/>
                </a:lnTo>
                <a:lnTo>
                  <a:pt x="41368" y="30372"/>
                </a:lnTo>
                <a:lnTo>
                  <a:pt x="39583" y="28246"/>
                </a:lnTo>
                <a:lnTo>
                  <a:pt x="39583" y="25512"/>
                </a:lnTo>
                <a:lnTo>
                  <a:pt x="41368" y="21868"/>
                </a:lnTo>
                <a:lnTo>
                  <a:pt x="45237" y="17616"/>
                </a:lnTo>
                <a:lnTo>
                  <a:pt x="51190" y="12756"/>
                </a:lnTo>
                <a:lnTo>
                  <a:pt x="60118" y="6985"/>
                </a:lnTo>
                <a:close/>
              </a:path>
            </a:pathLst>
          </a:custGeom>
          <a:solidFill>
            <a:srgbClr val="000000"/>
          </a:solidFill>
        </p:spPr>
        <p:txBody>
          <a:bodyPr wrap="square" lIns="0" tIns="0" rIns="0" bIns="0" rtlCol="0">
            <a:noAutofit/>
          </a:bodyPr>
          <a:lstStyle/>
          <a:p>
            <a:endParaRPr/>
          </a:p>
        </p:txBody>
      </p:sp>
      <p:sp>
        <p:nvSpPr>
          <p:cNvPr id="777" name="object 777"/>
          <p:cNvSpPr/>
          <p:nvPr/>
        </p:nvSpPr>
        <p:spPr>
          <a:xfrm>
            <a:off x="8163797" y="932609"/>
            <a:ext cx="179166" cy="328023"/>
          </a:xfrm>
          <a:custGeom>
            <a:avLst/>
            <a:gdLst/>
            <a:ahLst/>
            <a:cxnLst/>
            <a:rect l="l" t="t" r="r" b="b"/>
            <a:pathLst>
              <a:path w="179166" h="328023">
                <a:moveTo>
                  <a:pt x="0" y="12149"/>
                </a:moveTo>
                <a:lnTo>
                  <a:pt x="179166" y="0"/>
                </a:lnTo>
                <a:lnTo>
                  <a:pt x="179166" y="328023"/>
                </a:lnTo>
                <a:lnTo>
                  <a:pt x="297" y="321341"/>
                </a:lnTo>
                <a:lnTo>
                  <a:pt x="0" y="12149"/>
                </a:lnTo>
              </a:path>
            </a:pathLst>
          </a:custGeom>
          <a:ln w="299">
            <a:solidFill>
              <a:srgbClr val="000000"/>
            </a:solidFill>
          </a:ln>
        </p:spPr>
        <p:txBody>
          <a:bodyPr wrap="square" lIns="0" tIns="0" rIns="0" bIns="0" rtlCol="0">
            <a:noAutofit/>
          </a:bodyPr>
          <a:lstStyle/>
          <a:p>
            <a:endParaRPr/>
          </a:p>
        </p:txBody>
      </p:sp>
      <p:sp>
        <p:nvSpPr>
          <p:cNvPr id="778" name="object 778"/>
          <p:cNvSpPr/>
          <p:nvPr/>
        </p:nvSpPr>
        <p:spPr>
          <a:xfrm>
            <a:off x="8164393" y="897073"/>
            <a:ext cx="90773" cy="44343"/>
          </a:xfrm>
          <a:custGeom>
            <a:avLst/>
            <a:gdLst/>
            <a:ahLst/>
            <a:cxnLst/>
            <a:rect l="l" t="t" r="r" b="b"/>
            <a:pathLst>
              <a:path w="90773" h="44343">
                <a:moveTo>
                  <a:pt x="71725" y="0"/>
                </a:moveTo>
                <a:lnTo>
                  <a:pt x="66964" y="2126"/>
                </a:lnTo>
                <a:lnTo>
                  <a:pt x="61606" y="4252"/>
                </a:lnTo>
                <a:lnTo>
                  <a:pt x="55952" y="6074"/>
                </a:lnTo>
                <a:lnTo>
                  <a:pt x="50297" y="8200"/>
                </a:lnTo>
                <a:lnTo>
                  <a:pt x="44642" y="10326"/>
                </a:lnTo>
                <a:lnTo>
                  <a:pt x="38690" y="12756"/>
                </a:lnTo>
                <a:lnTo>
                  <a:pt x="33035" y="14882"/>
                </a:lnTo>
                <a:lnTo>
                  <a:pt x="27380" y="17312"/>
                </a:lnTo>
                <a:lnTo>
                  <a:pt x="22321" y="20045"/>
                </a:lnTo>
                <a:lnTo>
                  <a:pt x="17261" y="22779"/>
                </a:lnTo>
                <a:lnTo>
                  <a:pt x="12797" y="25816"/>
                </a:lnTo>
                <a:lnTo>
                  <a:pt x="8928" y="28853"/>
                </a:lnTo>
                <a:lnTo>
                  <a:pt x="5357" y="32194"/>
                </a:lnTo>
                <a:lnTo>
                  <a:pt x="2678" y="36143"/>
                </a:lnTo>
                <a:lnTo>
                  <a:pt x="892" y="40091"/>
                </a:lnTo>
                <a:lnTo>
                  <a:pt x="0" y="44343"/>
                </a:lnTo>
                <a:lnTo>
                  <a:pt x="90773" y="37661"/>
                </a:lnTo>
                <a:lnTo>
                  <a:pt x="85118" y="37054"/>
                </a:lnTo>
                <a:lnTo>
                  <a:pt x="79166" y="36750"/>
                </a:lnTo>
                <a:lnTo>
                  <a:pt x="72618" y="36447"/>
                </a:lnTo>
                <a:lnTo>
                  <a:pt x="66368" y="35839"/>
                </a:lnTo>
                <a:lnTo>
                  <a:pt x="60118" y="35232"/>
                </a:lnTo>
                <a:lnTo>
                  <a:pt x="54166" y="34624"/>
                </a:lnTo>
                <a:lnTo>
                  <a:pt x="48809" y="33713"/>
                </a:lnTo>
                <a:lnTo>
                  <a:pt x="44642" y="32194"/>
                </a:lnTo>
                <a:lnTo>
                  <a:pt x="41368" y="30372"/>
                </a:lnTo>
                <a:lnTo>
                  <a:pt x="39583" y="28246"/>
                </a:lnTo>
                <a:lnTo>
                  <a:pt x="39583" y="25512"/>
                </a:lnTo>
                <a:lnTo>
                  <a:pt x="41368" y="21868"/>
                </a:lnTo>
                <a:lnTo>
                  <a:pt x="45237" y="17616"/>
                </a:lnTo>
                <a:lnTo>
                  <a:pt x="51190" y="12756"/>
                </a:lnTo>
                <a:lnTo>
                  <a:pt x="60118" y="6985"/>
                </a:lnTo>
                <a:lnTo>
                  <a:pt x="71725" y="0"/>
                </a:lnTo>
              </a:path>
            </a:pathLst>
          </a:custGeom>
          <a:ln w="302">
            <a:solidFill>
              <a:srgbClr val="000000"/>
            </a:solidFill>
          </a:ln>
        </p:spPr>
        <p:txBody>
          <a:bodyPr wrap="square" lIns="0" tIns="0" rIns="0" bIns="0" rtlCol="0">
            <a:noAutofit/>
          </a:bodyPr>
          <a:lstStyle/>
          <a:p>
            <a:endParaRPr/>
          </a:p>
        </p:txBody>
      </p:sp>
      <p:sp>
        <p:nvSpPr>
          <p:cNvPr id="779" name="object 779"/>
          <p:cNvSpPr/>
          <p:nvPr/>
        </p:nvSpPr>
        <p:spPr>
          <a:xfrm>
            <a:off x="8158142" y="1230563"/>
            <a:ext cx="5952" cy="12149"/>
          </a:xfrm>
          <a:custGeom>
            <a:avLst/>
            <a:gdLst/>
            <a:ahLst/>
            <a:cxnLst/>
            <a:rect l="l" t="t" r="r" b="b"/>
            <a:pathLst>
              <a:path w="5952" h="12149">
                <a:moveTo>
                  <a:pt x="5952" y="0"/>
                </a:moveTo>
                <a:lnTo>
                  <a:pt x="3273" y="303"/>
                </a:lnTo>
                <a:lnTo>
                  <a:pt x="1488" y="1822"/>
                </a:lnTo>
                <a:lnTo>
                  <a:pt x="297" y="3644"/>
                </a:lnTo>
                <a:lnTo>
                  <a:pt x="0" y="5770"/>
                </a:lnTo>
                <a:lnTo>
                  <a:pt x="0" y="8200"/>
                </a:lnTo>
                <a:lnTo>
                  <a:pt x="1190" y="10022"/>
                </a:lnTo>
                <a:lnTo>
                  <a:pt x="2976" y="11541"/>
                </a:lnTo>
                <a:lnTo>
                  <a:pt x="5357" y="12149"/>
                </a:lnTo>
                <a:lnTo>
                  <a:pt x="5952" y="0"/>
                </a:lnTo>
                <a:close/>
              </a:path>
            </a:pathLst>
          </a:custGeom>
          <a:solidFill>
            <a:srgbClr val="FFFFFF"/>
          </a:solidFill>
        </p:spPr>
        <p:txBody>
          <a:bodyPr wrap="square" lIns="0" tIns="0" rIns="0" bIns="0" rtlCol="0">
            <a:noAutofit/>
          </a:bodyPr>
          <a:lstStyle/>
          <a:p>
            <a:endParaRPr/>
          </a:p>
        </p:txBody>
      </p:sp>
      <p:sp>
        <p:nvSpPr>
          <p:cNvPr id="780" name="object 780"/>
          <p:cNvSpPr/>
          <p:nvPr/>
        </p:nvSpPr>
        <p:spPr>
          <a:xfrm>
            <a:off x="8163500" y="1230562"/>
            <a:ext cx="179761" cy="18830"/>
          </a:xfrm>
          <a:custGeom>
            <a:avLst/>
            <a:gdLst/>
            <a:ahLst/>
            <a:cxnLst/>
            <a:rect l="l" t="t" r="r" b="b"/>
            <a:pathLst>
              <a:path w="179761" h="18830">
                <a:moveTo>
                  <a:pt x="179463" y="12756"/>
                </a:moveTo>
                <a:lnTo>
                  <a:pt x="179761" y="6681"/>
                </a:lnTo>
                <a:lnTo>
                  <a:pt x="595" y="0"/>
                </a:lnTo>
                <a:lnTo>
                  <a:pt x="0" y="12149"/>
                </a:lnTo>
                <a:lnTo>
                  <a:pt x="179166" y="18830"/>
                </a:lnTo>
                <a:lnTo>
                  <a:pt x="179463" y="12756"/>
                </a:lnTo>
                <a:close/>
              </a:path>
            </a:pathLst>
          </a:custGeom>
          <a:solidFill>
            <a:srgbClr val="FFFFFF"/>
          </a:solidFill>
        </p:spPr>
        <p:txBody>
          <a:bodyPr wrap="square" lIns="0" tIns="0" rIns="0" bIns="0" rtlCol="0">
            <a:noAutofit/>
          </a:bodyPr>
          <a:lstStyle/>
          <a:p>
            <a:endParaRPr/>
          </a:p>
        </p:txBody>
      </p:sp>
      <p:sp>
        <p:nvSpPr>
          <p:cNvPr id="781" name="object 781"/>
          <p:cNvSpPr/>
          <p:nvPr/>
        </p:nvSpPr>
        <p:spPr>
          <a:xfrm>
            <a:off x="8342666" y="1237245"/>
            <a:ext cx="6249" cy="12149"/>
          </a:xfrm>
          <a:custGeom>
            <a:avLst/>
            <a:gdLst/>
            <a:ahLst/>
            <a:cxnLst/>
            <a:rect l="l" t="t" r="r" b="b"/>
            <a:pathLst>
              <a:path w="6249" h="12149">
                <a:moveTo>
                  <a:pt x="0" y="12149"/>
                </a:moveTo>
                <a:lnTo>
                  <a:pt x="2678" y="11845"/>
                </a:lnTo>
                <a:lnTo>
                  <a:pt x="4464" y="10326"/>
                </a:lnTo>
                <a:lnTo>
                  <a:pt x="5654" y="8504"/>
                </a:lnTo>
                <a:lnTo>
                  <a:pt x="6249" y="6378"/>
                </a:lnTo>
                <a:lnTo>
                  <a:pt x="5952" y="3948"/>
                </a:lnTo>
                <a:lnTo>
                  <a:pt x="4761" y="2126"/>
                </a:lnTo>
                <a:lnTo>
                  <a:pt x="2976" y="607"/>
                </a:lnTo>
                <a:lnTo>
                  <a:pt x="595" y="0"/>
                </a:lnTo>
                <a:lnTo>
                  <a:pt x="0" y="12149"/>
                </a:lnTo>
                <a:close/>
              </a:path>
            </a:pathLst>
          </a:custGeom>
          <a:solidFill>
            <a:srgbClr val="FFFFFF"/>
          </a:solidFill>
        </p:spPr>
        <p:txBody>
          <a:bodyPr wrap="square" lIns="0" tIns="0" rIns="0" bIns="0" rtlCol="0">
            <a:noAutofit/>
          </a:bodyPr>
          <a:lstStyle/>
          <a:p>
            <a:endParaRPr/>
          </a:p>
        </p:txBody>
      </p:sp>
      <p:sp>
        <p:nvSpPr>
          <p:cNvPr id="782" name="object 782"/>
          <p:cNvSpPr/>
          <p:nvPr/>
        </p:nvSpPr>
        <p:spPr>
          <a:xfrm>
            <a:off x="8158142" y="1210518"/>
            <a:ext cx="5952" cy="12149"/>
          </a:xfrm>
          <a:custGeom>
            <a:avLst/>
            <a:gdLst/>
            <a:ahLst/>
            <a:cxnLst/>
            <a:rect l="l" t="t" r="r" b="b"/>
            <a:pathLst>
              <a:path w="5952" h="12149">
                <a:moveTo>
                  <a:pt x="5952" y="0"/>
                </a:moveTo>
                <a:lnTo>
                  <a:pt x="3273" y="303"/>
                </a:lnTo>
                <a:lnTo>
                  <a:pt x="1488" y="1822"/>
                </a:lnTo>
                <a:lnTo>
                  <a:pt x="297" y="3644"/>
                </a:lnTo>
                <a:lnTo>
                  <a:pt x="0" y="5770"/>
                </a:lnTo>
                <a:lnTo>
                  <a:pt x="0" y="8200"/>
                </a:lnTo>
                <a:lnTo>
                  <a:pt x="1190" y="10022"/>
                </a:lnTo>
                <a:lnTo>
                  <a:pt x="2976" y="11541"/>
                </a:lnTo>
                <a:lnTo>
                  <a:pt x="5357" y="12149"/>
                </a:lnTo>
                <a:lnTo>
                  <a:pt x="5952" y="0"/>
                </a:lnTo>
                <a:close/>
              </a:path>
            </a:pathLst>
          </a:custGeom>
          <a:solidFill>
            <a:srgbClr val="FFFFFF"/>
          </a:solidFill>
        </p:spPr>
        <p:txBody>
          <a:bodyPr wrap="square" lIns="0" tIns="0" rIns="0" bIns="0" rtlCol="0">
            <a:noAutofit/>
          </a:bodyPr>
          <a:lstStyle/>
          <a:p>
            <a:endParaRPr/>
          </a:p>
        </p:txBody>
      </p:sp>
      <p:sp>
        <p:nvSpPr>
          <p:cNvPr id="783" name="object 783"/>
          <p:cNvSpPr/>
          <p:nvPr/>
        </p:nvSpPr>
        <p:spPr>
          <a:xfrm>
            <a:off x="8163500" y="1210518"/>
            <a:ext cx="179761" cy="17919"/>
          </a:xfrm>
          <a:custGeom>
            <a:avLst/>
            <a:gdLst/>
            <a:ahLst/>
            <a:cxnLst/>
            <a:rect l="l" t="t" r="r" b="b"/>
            <a:pathLst>
              <a:path w="179761" h="17919">
                <a:moveTo>
                  <a:pt x="179463" y="11845"/>
                </a:moveTo>
                <a:lnTo>
                  <a:pt x="179761" y="5770"/>
                </a:lnTo>
                <a:lnTo>
                  <a:pt x="595" y="0"/>
                </a:lnTo>
                <a:lnTo>
                  <a:pt x="0" y="12149"/>
                </a:lnTo>
                <a:lnTo>
                  <a:pt x="179166" y="17919"/>
                </a:lnTo>
                <a:lnTo>
                  <a:pt x="179463" y="11845"/>
                </a:lnTo>
                <a:close/>
              </a:path>
            </a:pathLst>
          </a:custGeom>
          <a:solidFill>
            <a:srgbClr val="FFFFFF"/>
          </a:solidFill>
        </p:spPr>
        <p:txBody>
          <a:bodyPr wrap="square" lIns="0" tIns="0" rIns="0" bIns="0" rtlCol="0">
            <a:noAutofit/>
          </a:bodyPr>
          <a:lstStyle/>
          <a:p>
            <a:endParaRPr/>
          </a:p>
        </p:txBody>
      </p:sp>
      <p:sp>
        <p:nvSpPr>
          <p:cNvPr id="784" name="object 784"/>
          <p:cNvSpPr/>
          <p:nvPr/>
        </p:nvSpPr>
        <p:spPr>
          <a:xfrm>
            <a:off x="8342666" y="1216288"/>
            <a:ext cx="6249" cy="12149"/>
          </a:xfrm>
          <a:custGeom>
            <a:avLst/>
            <a:gdLst/>
            <a:ahLst/>
            <a:cxnLst/>
            <a:rect l="l" t="t" r="r" b="b"/>
            <a:pathLst>
              <a:path w="6249" h="12149">
                <a:moveTo>
                  <a:pt x="0" y="12149"/>
                </a:moveTo>
                <a:lnTo>
                  <a:pt x="2678" y="11845"/>
                </a:lnTo>
                <a:lnTo>
                  <a:pt x="4464" y="10326"/>
                </a:lnTo>
                <a:lnTo>
                  <a:pt x="5654" y="8504"/>
                </a:lnTo>
                <a:lnTo>
                  <a:pt x="6249" y="6378"/>
                </a:lnTo>
                <a:lnTo>
                  <a:pt x="5952" y="3948"/>
                </a:lnTo>
                <a:lnTo>
                  <a:pt x="4761" y="2126"/>
                </a:lnTo>
                <a:lnTo>
                  <a:pt x="2976" y="607"/>
                </a:lnTo>
                <a:lnTo>
                  <a:pt x="595" y="0"/>
                </a:lnTo>
                <a:lnTo>
                  <a:pt x="0" y="12149"/>
                </a:lnTo>
                <a:close/>
              </a:path>
            </a:pathLst>
          </a:custGeom>
          <a:solidFill>
            <a:srgbClr val="FFFFFF"/>
          </a:solidFill>
        </p:spPr>
        <p:txBody>
          <a:bodyPr wrap="square" lIns="0" tIns="0" rIns="0" bIns="0" rtlCol="0">
            <a:noAutofit/>
          </a:bodyPr>
          <a:lstStyle/>
          <a:p>
            <a:endParaRPr/>
          </a:p>
        </p:txBody>
      </p:sp>
      <p:sp>
        <p:nvSpPr>
          <p:cNvPr id="785" name="object 785"/>
          <p:cNvSpPr/>
          <p:nvPr/>
        </p:nvSpPr>
        <p:spPr>
          <a:xfrm>
            <a:off x="8158142" y="1190775"/>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786" name="object 786"/>
          <p:cNvSpPr/>
          <p:nvPr/>
        </p:nvSpPr>
        <p:spPr>
          <a:xfrm>
            <a:off x="8163797" y="1190775"/>
            <a:ext cx="179166" cy="16401"/>
          </a:xfrm>
          <a:custGeom>
            <a:avLst/>
            <a:gdLst/>
            <a:ahLst/>
            <a:cxnLst/>
            <a:rect l="l" t="t" r="r" b="b"/>
            <a:pathLst>
              <a:path w="179166" h="16401">
                <a:moveTo>
                  <a:pt x="179166" y="10326"/>
                </a:moveTo>
                <a:lnTo>
                  <a:pt x="179166" y="4252"/>
                </a:lnTo>
                <a:lnTo>
                  <a:pt x="0" y="0"/>
                </a:lnTo>
                <a:lnTo>
                  <a:pt x="0" y="12149"/>
                </a:lnTo>
                <a:lnTo>
                  <a:pt x="179166" y="16401"/>
                </a:lnTo>
                <a:lnTo>
                  <a:pt x="179166" y="10326"/>
                </a:lnTo>
                <a:close/>
              </a:path>
            </a:pathLst>
          </a:custGeom>
          <a:solidFill>
            <a:srgbClr val="FFFFFF"/>
          </a:solidFill>
        </p:spPr>
        <p:txBody>
          <a:bodyPr wrap="square" lIns="0" tIns="0" rIns="0" bIns="0" rtlCol="0">
            <a:noAutofit/>
          </a:bodyPr>
          <a:lstStyle/>
          <a:p>
            <a:endParaRPr/>
          </a:p>
        </p:txBody>
      </p:sp>
      <p:sp>
        <p:nvSpPr>
          <p:cNvPr id="787" name="object 787"/>
          <p:cNvSpPr/>
          <p:nvPr/>
        </p:nvSpPr>
        <p:spPr>
          <a:xfrm>
            <a:off x="8342963" y="1195028"/>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788" name="object 788"/>
          <p:cNvSpPr/>
          <p:nvPr/>
        </p:nvSpPr>
        <p:spPr>
          <a:xfrm>
            <a:off x="8158142" y="1171337"/>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789" name="object 789"/>
          <p:cNvSpPr/>
          <p:nvPr/>
        </p:nvSpPr>
        <p:spPr>
          <a:xfrm>
            <a:off x="8163797" y="1171337"/>
            <a:ext cx="179166" cy="16401"/>
          </a:xfrm>
          <a:custGeom>
            <a:avLst/>
            <a:gdLst/>
            <a:ahLst/>
            <a:cxnLst/>
            <a:rect l="l" t="t" r="r" b="b"/>
            <a:pathLst>
              <a:path w="179166" h="16401">
                <a:moveTo>
                  <a:pt x="179166" y="10326"/>
                </a:moveTo>
                <a:lnTo>
                  <a:pt x="179166" y="4252"/>
                </a:lnTo>
                <a:lnTo>
                  <a:pt x="0" y="0"/>
                </a:lnTo>
                <a:lnTo>
                  <a:pt x="0" y="12149"/>
                </a:lnTo>
                <a:lnTo>
                  <a:pt x="179166" y="16401"/>
                </a:lnTo>
                <a:lnTo>
                  <a:pt x="179166" y="10326"/>
                </a:lnTo>
                <a:close/>
              </a:path>
            </a:pathLst>
          </a:custGeom>
          <a:solidFill>
            <a:srgbClr val="FFFFFF"/>
          </a:solidFill>
        </p:spPr>
        <p:txBody>
          <a:bodyPr wrap="square" lIns="0" tIns="0" rIns="0" bIns="0" rtlCol="0">
            <a:noAutofit/>
          </a:bodyPr>
          <a:lstStyle/>
          <a:p>
            <a:endParaRPr/>
          </a:p>
        </p:txBody>
      </p:sp>
      <p:sp>
        <p:nvSpPr>
          <p:cNvPr id="790" name="object 790"/>
          <p:cNvSpPr/>
          <p:nvPr/>
        </p:nvSpPr>
        <p:spPr>
          <a:xfrm>
            <a:off x="8342963" y="1175589"/>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791" name="object 791"/>
          <p:cNvSpPr/>
          <p:nvPr/>
        </p:nvSpPr>
        <p:spPr>
          <a:xfrm>
            <a:off x="8158142" y="1150076"/>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792" name="object 792"/>
          <p:cNvSpPr/>
          <p:nvPr/>
        </p:nvSpPr>
        <p:spPr>
          <a:xfrm>
            <a:off x="8163797" y="1150076"/>
            <a:ext cx="179166" cy="13971"/>
          </a:xfrm>
          <a:custGeom>
            <a:avLst/>
            <a:gdLst/>
            <a:ahLst/>
            <a:cxnLst/>
            <a:rect l="l" t="t" r="r" b="b"/>
            <a:pathLst>
              <a:path w="179166" h="13971">
                <a:moveTo>
                  <a:pt x="179166" y="7896"/>
                </a:moveTo>
                <a:lnTo>
                  <a:pt x="179166" y="1822"/>
                </a:lnTo>
                <a:lnTo>
                  <a:pt x="0" y="0"/>
                </a:lnTo>
                <a:lnTo>
                  <a:pt x="0" y="12149"/>
                </a:lnTo>
                <a:lnTo>
                  <a:pt x="179166" y="13971"/>
                </a:lnTo>
                <a:lnTo>
                  <a:pt x="179166" y="7896"/>
                </a:lnTo>
                <a:close/>
              </a:path>
            </a:pathLst>
          </a:custGeom>
          <a:solidFill>
            <a:srgbClr val="FFFFFF"/>
          </a:solidFill>
        </p:spPr>
        <p:txBody>
          <a:bodyPr wrap="square" lIns="0" tIns="0" rIns="0" bIns="0" rtlCol="0">
            <a:noAutofit/>
          </a:bodyPr>
          <a:lstStyle/>
          <a:p>
            <a:endParaRPr/>
          </a:p>
        </p:txBody>
      </p:sp>
      <p:sp>
        <p:nvSpPr>
          <p:cNvPr id="793" name="object 793"/>
          <p:cNvSpPr/>
          <p:nvPr/>
        </p:nvSpPr>
        <p:spPr>
          <a:xfrm>
            <a:off x="8342963" y="1151898"/>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794" name="object 794"/>
          <p:cNvSpPr/>
          <p:nvPr/>
        </p:nvSpPr>
        <p:spPr>
          <a:xfrm>
            <a:off x="8158440" y="1131549"/>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795" name="object 795"/>
          <p:cNvSpPr/>
          <p:nvPr/>
        </p:nvSpPr>
        <p:spPr>
          <a:xfrm>
            <a:off x="8164094" y="1131548"/>
            <a:ext cx="178868" cy="13060"/>
          </a:xfrm>
          <a:custGeom>
            <a:avLst/>
            <a:gdLst/>
            <a:ahLst/>
            <a:cxnLst/>
            <a:rect l="l" t="t" r="r" b="b"/>
            <a:pathLst>
              <a:path w="178868" h="13060">
                <a:moveTo>
                  <a:pt x="178868" y="6985"/>
                </a:moveTo>
                <a:lnTo>
                  <a:pt x="178868" y="911"/>
                </a:lnTo>
                <a:lnTo>
                  <a:pt x="0" y="0"/>
                </a:lnTo>
                <a:lnTo>
                  <a:pt x="0" y="12149"/>
                </a:lnTo>
                <a:lnTo>
                  <a:pt x="178868" y="13060"/>
                </a:lnTo>
                <a:lnTo>
                  <a:pt x="178868" y="6985"/>
                </a:lnTo>
                <a:close/>
              </a:path>
            </a:pathLst>
          </a:custGeom>
          <a:solidFill>
            <a:srgbClr val="FFFFFF"/>
          </a:solidFill>
        </p:spPr>
        <p:txBody>
          <a:bodyPr wrap="square" lIns="0" tIns="0" rIns="0" bIns="0" rtlCol="0">
            <a:noAutofit/>
          </a:bodyPr>
          <a:lstStyle/>
          <a:p>
            <a:endParaRPr/>
          </a:p>
        </p:txBody>
      </p:sp>
      <p:sp>
        <p:nvSpPr>
          <p:cNvPr id="796" name="object 796"/>
          <p:cNvSpPr/>
          <p:nvPr/>
        </p:nvSpPr>
        <p:spPr>
          <a:xfrm>
            <a:off x="8342963" y="1132460"/>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797" name="object 797"/>
          <p:cNvSpPr/>
          <p:nvPr/>
        </p:nvSpPr>
        <p:spPr>
          <a:xfrm>
            <a:off x="8158142" y="1113629"/>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798" name="object 798"/>
          <p:cNvSpPr/>
          <p:nvPr/>
        </p:nvSpPr>
        <p:spPr>
          <a:xfrm>
            <a:off x="8163797" y="1113629"/>
            <a:ext cx="179166" cy="12149"/>
          </a:xfrm>
          <a:custGeom>
            <a:avLst/>
            <a:gdLst/>
            <a:ahLst/>
            <a:cxnLst/>
            <a:rect l="l" t="t" r="r" b="b"/>
            <a:pathLst>
              <a:path w="179166" h="12149">
                <a:moveTo>
                  <a:pt x="179166" y="6074"/>
                </a:moveTo>
                <a:lnTo>
                  <a:pt x="179166" y="0"/>
                </a:lnTo>
                <a:lnTo>
                  <a:pt x="0" y="0"/>
                </a:lnTo>
                <a:lnTo>
                  <a:pt x="0" y="12149"/>
                </a:lnTo>
                <a:lnTo>
                  <a:pt x="179166" y="12149"/>
                </a:lnTo>
                <a:lnTo>
                  <a:pt x="179166" y="6074"/>
                </a:lnTo>
                <a:close/>
              </a:path>
            </a:pathLst>
          </a:custGeom>
          <a:solidFill>
            <a:srgbClr val="FFFFFF"/>
          </a:solidFill>
        </p:spPr>
        <p:txBody>
          <a:bodyPr wrap="square" lIns="0" tIns="0" rIns="0" bIns="0" rtlCol="0">
            <a:noAutofit/>
          </a:bodyPr>
          <a:lstStyle/>
          <a:p>
            <a:endParaRPr/>
          </a:p>
        </p:txBody>
      </p:sp>
      <p:sp>
        <p:nvSpPr>
          <p:cNvPr id="799" name="object 799"/>
          <p:cNvSpPr/>
          <p:nvPr/>
        </p:nvSpPr>
        <p:spPr>
          <a:xfrm>
            <a:off x="8342963" y="1113629"/>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800" name="object 800"/>
          <p:cNvSpPr/>
          <p:nvPr/>
        </p:nvSpPr>
        <p:spPr>
          <a:xfrm>
            <a:off x="8158142" y="979382"/>
            <a:ext cx="5952" cy="12149"/>
          </a:xfrm>
          <a:custGeom>
            <a:avLst/>
            <a:gdLst/>
            <a:ahLst/>
            <a:cxnLst/>
            <a:rect l="l" t="t" r="r" b="b"/>
            <a:pathLst>
              <a:path w="5952" h="12149">
                <a:moveTo>
                  <a:pt x="5357" y="0"/>
                </a:moveTo>
                <a:lnTo>
                  <a:pt x="2976" y="607"/>
                </a:lnTo>
                <a:lnTo>
                  <a:pt x="1190" y="2126"/>
                </a:lnTo>
                <a:lnTo>
                  <a:pt x="0" y="3948"/>
                </a:lnTo>
                <a:lnTo>
                  <a:pt x="0" y="6378"/>
                </a:lnTo>
                <a:lnTo>
                  <a:pt x="297" y="8504"/>
                </a:lnTo>
                <a:lnTo>
                  <a:pt x="1488" y="10326"/>
                </a:lnTo>
                <a:lnTo>
                  <a:pt x="3273" y="11845"/>
                </a:lnTo>
                <a:lnTo>
                  <a:pt x="5952" y="12149"/>
                </a:lnTo>
                <a:lnTo>
                  <a:pt x="5357" y="0"/>
                </a:lnTo>
                <a:close/>
              </a:path>
            </a:pathLst>
          </a:custGeom>
          <a:solidFill>
            <a:srgbClr val="FFFFFF"/>
          </a:solidFill>
        </p:spPr>
        <p:txBody>
          <a:bodyPr wrap="square" lIns="0" tIns="0" rIns="0" bIns="0" rtlCol="0">
            <a:noAutofit/>
          </a:bodyPr>
          <a:lstStyle/>
          <a:p>
            <a:endParaRPr/>
          </a:p>
        </p:txBody>
      </p:sp>
      <p:sp>
        <p:nvSpPr>
          <p:cNvPr id="801" name="object 801"/>
          <p:cNvSpPr/>
          <p:nvPr/>
        </p:nvSpPr>
        <p:spPr>
          <a:xfrm>
            <a:off x="8163500" y="973004"/>
            <a:ext cx="179761" cy="18527"/>
          </a:xfrm>
          <a:custGeom>
            <a:avLst/>
            <a:gdLst/>
            <a:ahLst/>
            <a:cxnLst/>
            <a:rect l="l" t="t" r="r" b="b"/>
            <a:pathLst>
              <a:path w="179761" h="18527">
                <a:moveTo>
                  <a:pt x="179463" y="6074"/>
                </a:moveTo>
                <a:lnTo>
                  <a:pt x="179166" y="0"/>
                </a:lnTo>
                <a:lnTo>
                  <a:pt x="0" y="6378"/>
                </a:lnTo>
                <a:lnTo>
                  <a:pt x="595" y="18527"/>
                </a:lnTo>
                <a:lnTo>
                  <a:pt x="179761" y="12149"/>
                </a:lnTo>
                <a:lnTo>
                  <a:pt x="179463" y="6074"/>
                </a:lnTo>
                <a:close/>
              </a:path>
            </a:pathLst>
          </a:custGeom>
          <a:solidFill>
            <a:srgbClr val="FFFFFF"/>
          </a:solidFill>
        </p:spPr>
        <p:txBody>
          <a:bodyPr wrap="square" lIns="0" tIns="0" rIns="0" bIns="0" rtlCol="0">
            <a:noAutofit/>
          </a:bodyPr>
          <a:lstStyle/>
          <a:p>
            <a:endParaRPr/>
          </a:p>
        </p:txBody>
      </p:sp>
      <p:sp>
        <p:nvSpPr>
          <p:cNvPr id="802" name="object 802"/>
          <p:cNvSpPr/>
          <p:nvPr/>
        </p:nvSpPr>
        <p:spPr>
          <a:xfrm>
            <a:off x="8342666" y="973004"/>
            <a:ext cx="6249" cy="12149"/>
          </a:xfrm>
          <a:custGeom>
            <a:avLst/>
            <a:gdLst/>
            <a:ahLst/>
            <a:cxnLst/>
            <a:rect l="l" t="t" r="r" b="b"/>
            <a:pathLst>
              <a:path w="6249" h="12149">
                <a:moveTo>
                  <a:pt x="595" y="12149"/>
                </a:moveTo>
                <a:lnTo>
                  <a:pt x="2976" y="11541"/>
                </a:lnTo>
                <a:lnTo>
                  <a:pt x="4761" y="10022"/>
                </a:lnTo>
                <a:lnTo>
                  <a:pt x="5952" y="8200"/>
                </a:lnTo>
                <a:lnTo>
                  <a:pt x="6249" y="5770"/>
                </a:lnTo>
                <a:lnTo>
                  <a:pt x="5654" y="3644"/>
                </a:lnTo>
                <a:lnTo>
                  <a:pt x="4464" y="1822"/>
                </a:lnTo>
                <a:lnTo>
                  <a:pt x="2678" y="303"/>
                </a:lnTo>
                <a:lnTo>
                  <a:pt x="0" y="0"/>
                </a:lnTo>
                <a:lnTo>
                  <a:pt x="595" y="12149"/>
                </a:lnTo>
                <a:close/>
              </a:path>
            </a:pathLst>
          </a:custGeom>
          <a:solidFill>
            <a:srgbClr val="FFFFFF"/>
          </a:solidFill>
        </p:spPr>
        <p:txBody>
          <a:bodyPr wrap="square" lIns="0" tIns="0" rIns="0" bIns="0" rtlCol="0">
            <a:noAutofit/>
          </a:bodyPr>
          <a:lstStyle/>
          <a:p>
            <a:endParaRPr/>
          </a:p>
        </p:txBody>
      </p:sp>
      <p:sp>
        <p:nvSpPr>
          <p:cNvPr id="803" name="object 803"/>
          <p:cNvSpPr/>
          <p:nvPr/>
        </p:nvSpPr>
        <p:spPr>
          <a:xfrm>
            <a:off x="8158142" y="999732"/>
            <a:ext cx="5952" cy="12149"/>
          </a:xfrm>
          <a:custGeom>
            <a:avLst/>
            <a:gdLst/>
            <a:ahLst/>
            <a:cxnLst/>
            <a:rect l="l" t="t" r="r" b="b"/>
            <a:pathLst>
              <a:path w="5952" h="12149">
                <a:moveTo>
                  <a:pt x="5357" y="0"/>
                </a:moveTo>
                <a:lnTo>
                  <a:pt x="2976" y="607"/>
                </a:lnTo>
                <a:lnTo>
                  <a:pt x="1190" y="2126"/>
                </a:lnTo>
                <a:lnTo>
                  <a:pt x="0" y="3948"/>
                </a:lnTo>
                <a:lnTo>
                  <a:pt x="0" y="6378"/>
                </a:lnTo>
                <a:lnTo>
                  <a:pt x="297" y="8504"/>
                </a:lnTo>
                <a:lnTo>
                  <a:pt x="1488" y="10326"/>
                </a:lnTo>
                <a:lnTo>
                  <a:pt x="3273" y="11845"/>
                </a:lnTo>
                <a:lnTo>
                  <a:pt x="5952" y="12149"/>
                </a:lnTo>
                <a:lnTo>
                  <a:pt x="5357" y="0"/>
                </a:lnTo>
                <a:close/>
              </a:path>
            </a:pathLst>
          </a:custGeom>
          <a:solidFill>
            <a:srgbClr val="FFFFFF"/>
          </a:solidFill>
        </p:spPr>
        <p:txBody>
          <a:bodyPr wrap="square" lIns="0" tIns="0" rIns="0" bIns="0" rtlCol="0">
            <a:noAutofit/>
          </a:bodyPr>
          <a:lstStyle/>
          <a:p>
            <a:endParaRPr/>
          </a:p>
        </p:txBody>
      </p:sp>
      <p:sp>
        <p:nvSpPr>
          <p:cNvPr id="804" name="object 804"/>
          <p:cNvSpPr/>
          <p:nvPr/>
        </p:nvSpPr>
        <p:spPr>
          <a:xfrm>
            <a:off x="8163500" y="993961"/>
            <a:ext cx="179761" cy="17919"/>
          </a:xfrm>
          <a:custGeom>
            <a:avLst/>
            <a:gdLst/>
            <a:ahLst/>
            <a:cxnLst/>
            <a:rect l="l" t="t" r="r" b="b"/>
            <a:pathLst>
              <a:path w="179761" h="17919">
                <a:moveTo>
                  <a:pt x="179463" y="6074"/>
                </a:moveTo>
                <a:lnTo>
                  <a:pt x="179166" y="0"/>
                </a:lnTo>
                <a:lnTo>
                  <a:pt x="0" y="5770"/>
                </a:lnTo>
                <a:lnTo>
                  <a:pt x="595" y="17919"/>
                </a:lnTo>
                <a:lnTo>
                  <a:pt x="179761" y="12149"/>
                </a:lnTo>
                <a:lnTo>
                  <a:pt x="179463" y="6074"/>
                </a:lnTo>
                <a:close/>
              </a:path>
            </a:pathLst>
          </a:custGeom>
          <a:solidFill>
            <a:srgbClr val="FFFFFF"/>
          </a:solidFill>
        </p:spPr>
        <p:txBody>
          <a:bodyPr wrap="square" lIns="0" tIns="0" rIns="0" bIns="0" rtlCol="0">
            <a:noAutofit/>
          </a:bodyPr>
          <a:lstStyle/>
          <a:p>
            <a:endParaRPr/>
          </a:p>
        </p:txBody>
      </p:sp>
      <p:sp>
        <p:nvSpPr>
          <p:cNvPr id="805" name="object 805"/>
          <p:cNvSpPr/>
          <p:nvPr/>
        </p:nvSpPr>
        <p:spPr>
          <a:xfrm>
            <a:off x="8342666" y="993961"/>
            <a:ext cx="6249" cy="12149"/>
          </a:xfrm>
          <a:custGeom>
            <a:avLst/>
            <a:gdLst/>
            <a:ahLst/>
            <a:cxnLst/>
            <a:rect l="l" t="t" r="r" b="b"/>
            <a:pathLst>
              <a:path w="6249" h="12149">
                <a:moveTo>
                  <a:pt x="595" y="12149"/>
                </a:moveTo>
                <a:lnTo>
                  <a:pt x="2976" y="11541"/>
                </a:lnTo>
                <a:lnTo>
                  <a:pt x="4761" y="10022"/>
                </a:lnTo>
                <a:lnTo>
                  <a:pt x="5952" y="8200"/>
                </a:lnTo>
                <a:lnTo>
                  <a:pt x="6249" y="5770"/>
                </a:lnTo>
                <a:lnTo>
                  <a:pt x="5654" y="3644"/>
                </a:lnTo>
                <a:lnTo>
                  <a:pt x="4464" y="1822"/>
                </a:lnTo>
                <a:lnTo>
                  <a:pt x="2678" y="303"/>
                </a:lnTo>
                <a:lnTo>
                  <a:pt x="0" y="0"/>
                </a:lnTo>
                <a:lnTo>
                  <a:pt x="595" y="12149"/>
                </a:lnTo>
                <a:close/>
              </a:path>
            </a:pathLst>
          </a:custGeom>
          <a:solidFill>
            <a:srgbClr val="FFFFFF"/>
          </a:solidFill>
        </p:spPr>
        <p:txBody>
          <a:bodyPr wrap="square" lIns="0" tIns="0" rIns="0" bIns="0" rtlCol="0">
            <a:noAutofit/>
          </a:bodyPr>
          <a:lstStyle/>
          <a:p>
            <a:endParaRPr/>
          </a:p>
        </p:txBody>
      </p:sp>
      <p:sp>
        <p:nvSpPr>
          <p:cNvPr id="806" name="object 806"/>
          <p:cNvSpPr/>
          <p:nvPr/>
        </p:nvSpPr>
        <p:spPr>
          <a:xfrm>
            <a:off x="8158142" y="1019170"/>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807" name="object 807"/>
          <p:cNvSpPr/>
          <p:nvPr/>
        </p:nvSpPr>
        <p:spPr>
          <a:xfrm>
            <a:off x="8163797" y="1015222"/>
            <a:ext cx="179166" cy="16097"/>
          </a:xfrm>
          <a:custGeom>
            <a:avLst/>
            <a:gdLst/>
            <a:ahLst/>
            <a:cxnLst/>
            <a:rect l="l" t="t" r="r" b="b"/>
            <a:pathLst>
              <a:path w="179166" h="16097">
                <a:moveTo>
                  <a:pt x="179166" y="6074"/>
                </a:moveTo>
                <a:lnTo>
                  <a:pt x="179166" y="0"/>
                </a:lnTo>
                <a:lnTo>
                  <a:pt x="0" y="3948"/>
                </a:lnTo>
                <a:lnTo>
                  <a:pt x="0" y="16097"/>
                </a:lnTo>
                <a:lnTo>
                  <a:pt x="179166" y="12149"/>
                </a:lnTo>
                <a:lnTo>
                  <a:pt x="179166" y="6074"/>
                </a:lnTo>
                <a:close/>
              </a:path>
            </a:pathLst>
          </a:custGeom>
          <a:solidFill>
            <a:srgbClr val="FFFFFF"/>
          </a:solidFill>
        </p:spPr>
        <p:txBody>
          <a:bodyPr wrap="square" lIns="0" tIns="0" rIns="0" bIns="0" rtlCol="0">
            <a:noAutofit/>
          </a:bodyPr>
          <a:lstStyle/>
          <a:p>
            <a:endParaRPr/>
          </a:p>
        </p:txBody>
      </p:sp>
      <p:sp>
        <p:nvSpPr>
          <p:cNvPr id="808" name="object 808"/>
          <p:cNvSpPr/>
          <p:nvPr/>
        </p:nvSpPr>
        <p:spPr>
          <a:xfrm>
            <a:off x="8342963" y="1015222"/>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809" name="object 809"/>
          <p:cNvSpPr/>
          <p:nvPr/>
        </p:nvSpPr>
        <p:spPr>
          <a:xfrm>
            <a:off x="8158142" y="1038913"/>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810" name="object 810"/>
          <p:cNvSpPr/>
          <p:nvPr/>
        </p:nvSpPr>
        <p:spPr>
          <a:xfrm>
            <a:off x="8163797" y="1034660"/>
            <a:ext cx="179166" cy="16401"/>
          </a:xfrm>
          <a:custGeom>
            <a:avLst/>
            <a:gdLst/>
            <a:ahLst/>
            <a:cxnLst/>
            <a:rect l="l" t="t" r="r" b="b"/>
            <a:pathLst>
              <a:path w="179166" h="16401">
                <a:moveTo>
                  <a:pt x="179166" y="6074"/>
                </a:moveTo>
                <a:lnTo>
                  <a:pt x="179166" y="0"/>
                </a:lnTo>
                <a:lnTo>
                  <a:pt x="0" y="4252"/>
                </a:lnTo>
                <a:lnTo>
                  <a:pt x="0" y="16401"/>
                </a:lnTo>
                <a:lnTo>
                  <a:pt x="179166" y="12149"/>
                </a:lnTo>
                <a:lnTo>
                  <a:pt x="179166" y="6074"/>
                </a:lnTo>
                <a:close/>
              </a:path>
            </a:pathLst>
          </a:custGeom>
          <a:solidFill>
            <a:srgbClr val="FFFFFF"/>
          </a:solidFill>
        </p:spPr>
        <p:txBody>
          <a:bodyPr wrap="square" lIns="0" tIns="0" rIns="0" bIns="0" rtlCol="0">
            <a:noAutofit/>
          </a:bodyPr>
          <a:lstStyle/>
          <a:p>
            <a:endParaRPr/>
          </a:p>
        </p:txBody>
      </p:sp>
      <p:sp>
        <p:nvSpPr>
          <p:cNvPr id="811" name="object 811"/>
          <p:cNvSpPr/>
          <p:nvPr/>
        </p:nvSpPr>
        <p:spPr>
          <a:xfrm>
            <a:off x="8342963" y="1034660"/>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812" name="object 812"/>
          <p:cNvSpPr/>
          <p:nvPr/>
        </p:nvSpPr>
        <p:spPr>
          <a:xfrm>
            <a:off x="8158142" y="1059870"/>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813" name="object 813"/>
          <p:cNvSpPr/>
          <p:nvPr/>
        </p:nvSpPr>
        <p:spPr>
          <a:xfrm>
            <a:off x="8163797" y="1058047"/>
            <a:ext cx="179166" cy="13971"/>
          </a:xfrm>
          <a:custGeom>
            <a:avLst/>
            <a:gdLst/>
            <a:ahLst/>
            <a:cxnLst/>
            <a:rect l="l" t="t" r="r" b="b"/>
            <a:pathLst>
              <a:path w="179166" h="13971">
                <a:moveTo>
                  <a:pt x="179166" y="6074"/>
                </a:moveTo>
                <a:lnTo>
                  <a:pt x="179166" y="0"/>
                </a:lnTo>
                <a:lnTo>
                  <a:pt x="0" y="1822"/>
                </a:lnTo>
                <a:lnTo>
                  <a:pt x="0" y="13971"/>
                </a:lnTo>
                <a:lnTo>
                  <a:pt x="179166" y="12149"/>
                </a:lnTo>
                <a:lnTo>
                  <a:pt x="179166" y="6074"/>
                </a:lnTo>
                <a:close/>
              </a:path>
            </a:pathLst>
          </a:custGeom>
          <a:solidFill>
            <a:srgbClr val="FFFFFF"/>
          </a:solidFill>
        </p:spPr>
        <p:txBody>
          <a:bodyPr wrap="square" lIns="0" tIns="0" rIns="0" bIns="0" rtlCol="0">
            <a:noAutofit/>
          </a:bodyPr>
          <a:lstStyle/>
          <a:p>
            <a:endParaRPr/>
          </a:p>
        </p:txBody>
      </p:sp>
      <p:sp>
        <p:nvSpPr>
          <p:cNvPr id="814" name="object 814"/>
          <p:cNvSpPr/>
          <p:nvPr/>
        </p:nvSpPr>
        <p:spPr>
          <a:xfrm>
            <a:off x="8342963" y="1058047"/>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815" name="object 815"/>
          <p:cNvSpPr/>
          <p:nvPr/>
        </p:nvSpPr>
        <p:spPr>
          <a:xfrm>
            <a:off x="8158440" y="1078397"/>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816" name="object 816"/>
          <p:cNvSpPr/>
          <p:nvPr/>
        </p:nvSpPr>
        <p:spPr>
          <a:xfrm>
            <a:off x="8164094" y="1077788"/>
            <a:ext cx="178868" cy="12756"/>
          </a:xfrm>
          <a:custGeom>
            <a:avLst/>
            <a:gdLst/>
            <a:ahLst/>
            <a:cxnLst/>
            <a:rect l="l" t="t" r="r" b="b"/>
            <a:pathLst>
              <a:path w="178868" h="12756">
                <a:moveTo>
                  <a:pt x="178868" y="6074"/>
                </a:moveTo>
                <a:lnTo>
                  <a:pt x="178868" y="0"/>
                </a:lnTo>
                <a:lnTo>
                  <a:pt x="0" y="607"/>
                </a:lnTo>
                <a:lnTo>
                  <a:pt x="0" y="12756"/>
                </a:lnTo>
                <a:lnTo>
                  <a:pt x="178868" y="12149"/>
                </a:lnTo>
                <a:lnTo>
                  <a:pt x="178868" y="6074"/>
                </a:lnTo>
                <a:close/>
              </a:path>
            </a:pathLst>
          </a:custGeom>
          <a:solidFill>
            <a:srgbClr val="FFFFFF"/>
          </a:solidFill>
        </p:spPr>
        <p:txBody>
          <a:bodyPr wrap="square" lIns="0" tIns="0" rIns="0" bIns="0" rtlCol="0">
            <a:noAutofit/>
          </a:bodyPr>
          <a:lstStyle/>
          <a:p>
            <a:endParaRPr/>
          </a:p>
        </p:txBody>
      </p:sp>
      <p:sp>
        <p:nvSpPr>
          <p:cNvPr id="817" name="object 817"/>
          <p:cNvSpPr/>
          <p:nvPr/>
        </p:nvSpPr>
        <p:spPr>
          <a:xfrm>
            <a:off x="8342963" y="1077789"/>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818" name="object 818"/>
          <p:cNvSpPr/>
          <p:nvPr/>
        </p:nvSpPr>
        <p:spPr>
          <a:xfrm>
            <a:off x="8158142" y="1096317"/>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FFFFFF"/>
          </a:solidFill>
        </p:spPr>
        <p:txBody>
          <a:bodyPr wrap="square" lIns="0" tIns="0" rIns="0" bIns="0" rtlCol="0">
            <a:noAutofit/>
          </a:bodyPr>
          <a:lstStyle/>
          <a:p>
            <a:endParaRPr/>
          </a:p>
        </p:txBody>
      </p:sp>
      <p:sp>
        <p:nvSpPr>
          <p:cNvPr id="819" name="object 819"/>
          <p:cNvSpPr/>
          <p:nvPr/>
        </p:nvSpPr>
        <p:spPr>
          <a:xfrm>
            <a:off x="8163797" y="1096317"/>
            <a:ext cx="179166" cy="12149"/>
          </a:xfrm>
          <a:custGeom>
            <a:avLst/>
            <a:gdLst/>
            <a:ahLst/>
            <a:cxnLst/>
            <a:rect l="l" t="t" r="r" b="b"/>
            <a:pathLst>
              <a:path w="179166" h="12149">
                <a:moveTo>
                  <a:pt x="179166" y="6074"/>
                </a:moveTo>
                <a:lnTo>
                  <a:pt x="179166" y="0"/>
                </a:lnTo>
                <a:lnTo>
                  <a:pt x="0" y="0"/>
                </a:lnTo>
                <a:lnTo>
                  <a:pt x="0" y="12149"/>
                </a:lnTo>
                <a:lnTo>
                  <a:pt x="179166" y="12149"/>
                </a:lnTo>
                <a:lnTo>
                  <a:pt x="179166" y="6074"/>
                </a:lnTo>
                <a:close/>
              </a:path>
            </a:pathLst>
          </a:custGeom>
          <a:solidFill>
            <a:srgbClr val="FFFFFF"/>
          </a:solidFill>
        </p:spPr>
        <p:txBody>
          <a:bodyPr wrap="square" lIns="0" tIns="0" rIns="0" bIns="0" rtlCol="0">
            <a:noAutofit/>
          </a:bodyPr>
          <a:lstStyle/>
          <a:p>
            <a:endParaRPr/>
          </a:p>
        </p:txBody>
      </p:sp>
      <p:sp>
        <p:nvSpPr>
          <p:cNvPr id="820" name="object 820"/>
          <p:cNvSpPr/>
          <p:nvPr/>
        </p:nvSpPr>
        <p:spPr>
          <a:xfrm>
            <a:off x="8342963" y="1096317"/>
            <a:ext cx="5952" cy="12149"/>
          </a:xfrm>
          <a:custGeom>
            <a:avLst/>
            <a:gdLst/>
            <a:ahLst/>
            <a:cxnLst/>
            <a:rect l="l" t="t" r="r" b="b"/>
            <a:pathLst>
              <a:path w="5952" h="12149">
                <a:moveTo>
                  <a:pt x="0" y="12149"/>
                </a:moveTo>
                <a:lnTo>
                  <a:pt x="2678" y="11541"/>
                </a:lnTo>
                <a:lnTo>
                  <a:pt x="4464" y="10326"/>
                </a:lnTo>
                <a:lnTo>
                  <a:pt x="5357" y="8200"/>
                </a:lnTo>
                <a:lnTo>
                  <a:pt x="5952" y="6074"/>
                </a:lnTo>
                <a:lnTo>
                  <a:pt x="5357" y="3948"/>
                </a:lnTo>
                <a:lnTo>
                  <a:pt x="4464" y="1822"/>
                </a:lnTo>
                <a:lnTo>
                  <a:pt x="2678" y="607"/>
                </a:lnTo>
                <a:lnTo>
                  <a:pt x="0" y="0"/>
                </a:lnTo>
                <a:lnTo>
                  <a:pt x="0" y="12149"/>
                </a:lnTo>
                <a:close/>
              </a:path>
            </a:pathLst>
          </a:custGeom>
          <a:solidFill>
            <a:srgbClr val="FFFFFF"/>
          </a:solidFill>
        </p:spPr>
        <p:txBody>
          <a:bodyPr wrap="square" lIns="0" tIns="0" rIns="0" bIns="0" rtlCol="0">
            <a:noAutofit/>
          </a:bodyPr>
          <a:lstStyle/>
          <a:p>
            <a:endParaRPr/>
          </a:p>
        </p:txBody>
      </p:sp>
      <p:sp>
        <p:nvSpPr>
          <p:cNvPr id="821" name="object 821"/>
          <p:cNvSpPr/>
          <p:nvPr/>
        </p:nvSpPr>
        <p:spPr>
          <a:xfrm>
            <a:off x="8158142" y="961463"/>
            <a:ext cx="5952" cy="12149"/>
          </a:xfrm>
          <a:custGeom>
            <a:avLst/>
            <a:gdLst/>
            <a:ahLst/>
            <a:cxnLst/>
            <a:rect l="l" t="t" r="r" b="b"/>
            <a:pathLst>
              <a:path w="5952" h="12149">
                <a:moveTo>
                  <a:pt x="5357" y="0"/>
                </a:moveTo>
                <a:lnTo>
                  <a:pt x="2976" y="607"/>
                </a:lnTo>
                <a:lnTo>
                  <a:pt x="1190" y="2126"/>
                </a:lnTo>
                <a:lnTo>
                  <a:pt x="0" y="3948"/>
                </a:lnTo>
                <a:lnTo>
                  <a:pt x="0" y="6378"/>
                </a:lnTo>
                <a:lnTo>
                  <a:pt x="297" y="8504"/>
                </a:lnTo>
                <a:lnTo>
                  <a:pt x="1488" y="10326"/>
                </a:lnTo>
                <a:lnTo>
                  <a:pt x="3273" y="11845"/>
                </a:lnTo>
                <a:lnTo>
                  <a:pt x="5952" y="12149"/>
                </a:lnTo>
                <a:lnTo>
                  <a:pt x="5357" y="0"/>
                </a:lnTo>
                <a:close/>
              </a:path>
            </a:pathLst>
          </a:custGeom>
          <a:solidFill>
            <a:srgbClr val="FFFFFF"/>
          </a:solidFill>
        </p:spPr>
        <p:txBody>
          <a:bodyPr wrap="square" lIns="0" tIns="0" rIns="0" bIns="0" rtlCol="0">
            <a:noAutofit/>
          </a:bodyPr>
          <a:lstStyle/>
          <a:p>
            <a:endParaRPr/>
          </a:p>
        </p:txBody>
      </p:sp>
      <p:sp>
        <p:nvSpPr>
          <p:cNvPr id="822" name="object 822"/>
          <p:cNvSpPr/>
          <p:nvPr/>
        </p:nvSpPr>
        <p:spPr>
          <a:xfrm>
            <a:off x="8163500" y="952350"/>
            <a:ext cx="179761" cy="21260"/>
          </a:xfrm>
          <a:custGeom>
            <a:avLst/>
            <a:gdLst/>
            <a:ahLst/>
            <a:cxnLst/>
            <a:rect l="l" t="t" r="r" b="b"/>
            <a:pathLst>
              <a:path w="179761" h="21260">
                <a:moveTo>
                  <a:pt x="179463" y="6074"/>
                </a:moveTo>
                <a:lnTo>
                  <a:pt x="179166" y="0"/>
                </a:lnTo>
                <a:lnTo>
                  <a:pt x="0" y="9111"/>
                </a:lnTo>
                <a:lnTo>
                  <a:pt x="595" y="21260"/>
                </a:lnTo>
                <a:lnTo>
                  <a:pt x="179761" y="12149"/>
                </a:lnTo>
                <a:lnTo>
                  <a:pt x="179463" y="6074"/>
                </a:lnTo>
                <a:close/>
              </a:path>
            </a:pathLst>
          </a:custGeom>
          <a:solidFill>
            <a:srgbClr val="FFFFFF"/>
          </a:solidFill>
        </p:spPr>
        <p:txBody>
          <a:bodyPr wrap="square" lIns="0" tIns="0" rIns="0" bIns="0" rtlCol="0">
            <a:noAutofit/>
          </a:bodyPr>
          <a:lstStyle/>
          <a:p>
            <a:endParaRPr/>
          </a:p>
        </p:txBody>
      </p:sp>
      <p:sp>
        <p:nvSpPr>
          <p:cNvPr id="823" name="object 823"/>
          <p:cNvSpPr/>
          <p:nvPr/>
        </p:nvSpPr>
        <p:spPr>
          <a:xfrm>
            <a:off x="8342666" y="952351"/>
            <a:ext cx="6249" cy="12149"/>
          </a:xfrm>
          <a:custGeom>
            <a:avLst/>
            <a:gdLst/>
            <a:ahLst/>
            <a:cxnLst/>
            <a:rect l="l" t="t" r="r" b="b"/>
            <a:pathLst>
              <a:path w="6249" h="12149">
                <a:moveTo>
                  <a:pt x="595" y="12149"/>
                </a:moveTo>
                <a:lnTo>
                  <a:pt x="2976" y="11541"/>
                </a:lnTo>
                <a:lnTo>
                  <a:pt x="4761" y="10022"/>
                </a:lnTo>
                <a:lnTo>
                  <a:pt x="5952" y="8200"/>
                </a:lnTo>
                <a:lnTo>
                  <a:pt x="6249" y="5770"/>
                </a:lnTo>
                <a:lnTo>
                  <a:pt x="5654" y="3644"/>
                </a:lnTo>
                <a:lnTo>
                  <a:pt x="4464" y="1822"/>
                </a:lnTo>
                <a:lnTo>
                  <a:pt x="2678" y="303"/>
                </a:lnTo>
                <a:lnTo>
                  <a:pt x="0" y="0"/>
                </a:lnTo>
                <a:lnTo>
                  <a:pt x="595" y="12149"/>
                </a:lnTo>
                <a:close/>
              </a:path>
            </a:pathLst>
          </a:custGeom>
          <a:solidFill>
            <a:srgbClr val="FFFFFF"/>
          </a:solidFill>
        </p:spPr>
        <p:txBody>
          <a:bodyPr wrap="square" lIns="0" tIns="0" rIns="0" bIns="0" rtlCol="0">
            <a:noAutofit/>
          </a:bodyPr>
          <a:lstStyle/>
          <a:p>
            <a:endParaRPr/>
          </a:p>
        </p:txBody>
      </p:sp>
      <p:sp>
        <p:nvSpPr>
          <p:cNvPr id="824" name="object 824"/>
          <p:cNvSpPr/>
          <p:nvPr/>
        </p:nvSpPr>
        <p:spPr>
          <a:xfrm>
            <a:off x="8158142" y="943239"/>
            <a:ext cx="5952" cy="12149"/>
          </a:xfrm>
          <a:custGeom>
            <a:avLst/>
            <a:gdLst/>
            <a:ahLst/>
            <a:cxnLst/>
            <a:rect l="l" t="t" r="r" b="b"/>
            <a:pathLst>
              <a:path w="5952" h="12149">
                <a:moveTo>
                  <a:pt x="5357" y="0"/>
                </a:moveTo>
                <a:lnTo>
                  <a:pt x="2976" y="607"/>
                </a:lnTo>
                <a:lnTo>
                  <a:pt x="1190" y="2126"/>
                </a:lnTo>
                <a:lnTo>
                  <a:pt x="0" y="3948"/>
                </a:lnTo>
                <a:lnTo>
                  <a:pt x="0" y="6378"/>
                </a:lnTo>
                <a:lnTo>
                  <a:pt x="297" y="8504"/>
                </a:lnTo>
                <a:lnTo>
                  <a:pt x="1488" y="10326"/>
                </a:lnTo>
                <a:lnTo>
                  <a:pt x="3273" y="11845"/>
                </a:lnTo>
                <a:lnTo>
                  <a:pt x="5952" y="12149"/>
                </a:lnTo>
                <a:lnTo>
                  <a:pt x="5357" y="0"/>
                </a:lnTo>
                <a:close/>
              </a:path>
            </a:pathLst>
          </a:custGeom>
          <a:solidFill>
            <a:srgbClr val="FFFFFF"/>
          </a:solidFill>
        </p:spPr>
        <p:txBody>
          <a:bodyPr wrap="square" lIns="0" tIns="0" rIns="0" bIns="0" rtlCol="0">
            <a:noAutofit/>
          </a:bodyPr>
          <a:lstStyle/>
          <a:p>
            <a:endParaRPr/>
          </a:p>
        </p:txBody>
      </p:sp>
      <p:sp>
        <p:nvSpPr>
          <p:cNvPr id="825" name="object 825"/>
          <p:cNvSpPr/>
          <p:nvPr/>
        </p:nvSpPr>
        <p:spPr>
          <a:xfrm>
            <a:off x="8163500" y="931696"/>
            <a:ext cx="179761" cy="23690"/>
          </a:xfrm>
          <a:custGeom>
            <a:avLst/>
            <a:gdLst/>
            <a:ahLst/>
            <a:cxnLst/>
            <a:rect l="l" t="t" r="r" b="b"/>
            <a:pathLst>
              <a:path w="179761" h="23690">
                <a:moveTo>
                  <a:pt x="179463" y="6074"/>
                </a:moveTo>
                <a:lnTo>
                  <a:pt x="179166" y="0"/>
                </a:lnTo>
                <a:lnTo>
                  <a:pt x="0" y="11541"/>
                </a:lnTo>
                <a:lnTo>
                  <a:pt x="595" y="23690"/>
                </a:lnTo>
                <a:lnTo>
                  <a:pt x="179761" y="12149"/>
                </a:lnTo>
                <a:lnTo>
                  <a:pt x="179463" y="6074"/>
                </a:lnTo>
                <a:close/>
              </a:path>
            </a:pathLst>
          </a:custGeom>
          <a:solidFill>
            <a:srgbClr val="FFFFFF"/>
          </a:solidFill>
        </p:spPr>
        <p:txBody>
          <a:bodyPr wrap="square" lIns="0" tIns="0" rIns="0" bIns="0" rtlCol="0">
            <a:noAutofit/>
          </a:bodyPr>
          <a:lstStyle/>
          <a:p>
            <a:endParaRPr/>
          </a:p>
        </p:txBody>
      </p:sp>
      <p:sp>
        <p:nvSpPr>
          <p:cNvPr id="826" name="object 826"/>
          <p:cNvSpPr/>
          <p:nvPr/>
        </p:nvSpPr>
        <p:spPr>
          <a:xfrm>
            <a:off x="8342666" y="931697"/>
            <a:ext cx="6249" cy="12149"/>
          </a:xfrm>
          <a:custGeom>
            <a:avLst/>
            <a:gdLst/>
            <a:ahLst/>
            <a:cxnLst/>
            <a:rect l="l" t="t" r="r" b="b"/>
            <a:pathLst>
              <a:path w="6249" h="12149">
                <a:moveTo>
                  <a:pt x="595" y="12149"/>
                </a:moveTo>
                <a:lnTo>
                  <a:pt x="2976" y="11541"/>
                </a:lnTo>
                <a:lnTo>
                  <a:pt x="4761" y="10022"/>
                </a:lnTo>
                <a:lnTo>
                  <a:pt x="5952" y="8200"/>
                </a:lnTo>
                <a:lnTo>
                  <a:pt x="6249" y="5770"/>
                </a:lnTo>
                <a:lnTo>
                  <a:pt x="5654" y="3644"/>
                </a:lnTo>
                <a:lnTo>
                  <a:pt x="4464" y="1822"/>
                </a:lnTo>
                <a:lnTo>
                  <a:pt x="2678" y="303"/>
                </a:lnTo>
                <a:lnTo>
                  <a:pt x="0" y="0"/>
                </a:lnTo>
                <a:lnTo>
                  <a:pt x="595" y="12149"/>
                </a:lnTo>
                <a:close/>
              </a:path>
            </a:pathLst>
          </a:custGeom>
          <a:solidFill>
            <a:srgbClr val="FFFFFF"/>
          </a:solidFill>
        </p:spPr>
        <p:txBody>
          <a:bodyPr wrap="square" lIns="0" tIns="0" rIns="0" bIns="0" rtlCol="0">
            <a:noAutofit/>
          </a:bodyPr>
          <a:lstStyle/>
          <a:p>
            <a:endParaRPr/>
          </a:p>
        </p:txBody>
      </p:sp>
      <p:sp>
        <p:nvSpPr>
          <p:cNvPr id="827" name="object 827"/>
          <p:cNvSpPr/>
          <p:nvPr/>
        </p:nvSpPr>
        <p:spPr>
          <a:xfrm>
            <a:off x="8005464" y="1268225"/>
            <a:ext cx="543450" cy="142143"/>
          </a:xfrm>
          <a:custGeom>
            <a:avLst/>
            <a:gdLst/>
            <a:ahLst/>
            <a:cxnLst/>
            <a:rect l="l" t="t" r="r" b="b"/>
            <a:pathLst>
              <a:path w="543450" h="142143">
                <a:moveTo>
                  <a:pt x="0" y="0"/>
                </a:moveTo>
                <a:lnTo>
                  <a:pt x="0" y="111467"/>
                </a:lnTo>
                <a:lnTo>
                  <a:pt x="542855" y="142143"/>
                </a:lnTo>
                <a:lnTo>
                  <a:pt x="543450" y="20045"/>
                </a:lnTo>
                <a:lnTo>
                  <a:pt x="0" y="0"/>
                </a:lnTo>
                <a:close/>
              </a:path>
            </a:pathLst>
          </a:custGeom>
          <a:solidFill>
            <a:srgbClr val="BEBEBE"/>
          </a:solidFill>
        </p:spPr>
        <p:txBody>
          <a:bodyPr wrap="square" lIns="0" tIns="0" rIns="0" bIns="0" rtlCol="0">
            <a:noAutofit/>
          </a:bodyPr>
          <a:lstStyle/>
          <a:p>
            <a:endParaRPr/>
          </a:p>
        </p:txBody>
      </p:sp>
      <p:sp>
        <p:nvSpPr>
          <p:cNvPr id="828" name="object 828"/>
          <p:cNvSpPr/>
          <p:nvPr/>
        </p:nvSpPr>
        <p:spPr>
          <a:xfrm>
            <a:off x="8003976" y="1268224"/>
            <a:ext cx="2976" cy="112682"/>
          </a:xfrm>
          <a:custGeom>
            <a:avLst/>
            <a:gdLst/>
            <a:ahLst/>
            <a:cxnLst/>
            <a:rect l="l" t="t" r="r" b="b"/>
            <a:pathLst>
              <a:path w="2976" h="112682">
                <a:moveTo>
                  <a:pt x="1041" y="112530"/>
                </a:moveTo>
                <a:lnTo>
                  <a:pt x="1488" y="112682"/>
                </a:lnTo>
                <a:lnTo>
                  <a:pt x="1488" y="109948"/>
                </a:lnTo>
                <a:lnTo>
                  <a:pt x="2976" y="0"/>
                </a:lnTo>
                <a:lnTo>
                  <a:pt x="0" y="0"/>
                </a:lnTo>
                <a:lnTo>
                  <a:pt x="0" y="111467"/>
                </a:lnTo>
                <a:lnTo>
                  <a:pt x="595" y="112378"/>
                </a:lnTo>
                <a:lnTo>
                  <a:pt x="1041" y="112530"/>
                </a:lnTo>
                <a:close/>
              </a:path>
            </a:pathLst>
          </a:custGeom>
          <a:solidFill>
            <a:srgbClr val="000000"/>
          </a:solidFill>
        </p:spPr>
        <p:txBody>
          <a:bodyPr wrap="square" lIns="0" tIns="0" rIns="0" bIns="0" rtlCol="0">
            <a:noAutofit/>
          </a:bodyPr>
          <a:lstStyle/>
          <a:p>
            <a:endParaRPr/>
          </a:p>
        </p:txBody>
      </p:sp>
      <p:sp>
        <p:nvSpPr>
          <p:cNvPr id="829" name="object 829"/>
          <p:cNvSpPr/>
          <p:nvPr/>
        </p:nvSpPr>
        <p:spPr>
          <a:xfrm>
            <a:off x="8005464" y="1268224"/>
            <a:ext cx="1488" cy="112682"/>
          </a:xfrm>
          <a:custGeom>
            <a:avLst/>
            <a:gdLst/>
            <a:ahLst/>
            <a:cxnLst/>
            <a:rect l="l" t="t" r="r" b="b"/>
            <a:pathLst>
              <a:path w="1488" h="112682">
                <a:moveTo>
                  <a:pt x="0" y="109948"/>
                </a:moveTo>
                <a:lnTo>
                  <a:pt x="0" y="112682"/>
                </a:lnTo>
                <a:lnTo>
                  <a:pt x="892" y="112378"/>
                </a:lnTo>
                <a:lnTo>
                  <a:pt x="1488" y="111467"/>
                </a:lnTo>
                <a:lnTo>
                  <a:pt x="1488" y="0"/>
                </a:lnTo>
                <a:lnTo>
                  <a:pt x="0" y="109948"/>
                </a:lnTo>
                <a:close/>
              </a:path>
            </a:pathLst>
          </a:custGeom>
          <a:solidFill>
            <a:srgbClr val="000000"/>
          </a:solidFill>
        </p:spPr>
        <p:txBody>
          <a:bodyPr wrap="square" lIns="0" tIns="0" rIns="0" bIns="0" rtlCol="0">
            <a:noAutofit/>
          </a:bodyPr>
          <a:lstStyle/>
          <a:p>
            <a:endParaRPr/>
          </a:p>
        </p:txBody>
      </p:sp>
      <p:sp>
        <p:nvSpPr>
          <p:cNvPr id="830" name="object 830"/>
          <p:cNvSpPr/>
          <p:nvPr/>
        </p:nvSpPr>
        <p:spPr>
          <a:xfrm>
            <a:off x="8005465" y="1378174"/>
            <a:ext cx="544343" cy="33713"/>
          </a:xfrm>
          <a:custGeom>
            <a:avLst/>
            <a:gdLst/>
            <a:ahLst/>
            <a:cxnLst/>
            <a:rect l="l" t="t" r="r" b="b"/>
            <a:pathLst>
              <a:path w="544343" h="33713">
                <a:moveTo>
                  <a:pt x="543748" y="33106"/>
                </a:moveTo>
                <a:lnTo>
                  <a:pt x="544343" y="32194"/>
                </a:lnTo>
                <a:lnTo>
                  <a:pt x="543748" y="31283"/>
                </a:lnTo>
                <a:lnTo>
                  <a:pt x="542855" y="30676"/>
                </a:lnTo>
                <a:lnTo>
                  <a:pt x="0" y="0"/>
                </a:lnTo>
                <a:lnTo>
                  <a:pt x="0" y="3037"/>
                </a:lnTo>
                <a:lnTo>
                  <a:pt x="542855" y="33713"/>
                </a:lnTo>
                <a:lnTo>
                  <a:pt x="541367" y="32194"/>
                </a:lnTo>
                <a:lnTo>
                  <a:pt x="542855" y="33713"/>
                </a:lnTo>
                <a:lnTo>
                  <a:pt x="543748" y="33106"/>
                </a:lnTo>
                <a:close/>
              </a:path>
            </a:pathLst>
          </a:custGeom>
          <a:solidFill>
            <a:srgbClr val="000000"/>
          </a:solidFill>
        </p:spPr>
        <p:txBody>
          <a:bodyPr wrap="square" lIns="0" tIns="0" rIns="0" bIns="0" rtlCol="0">
            <a:noAutofit/>
          </a:bodyPr>
          <a:lstStyle/>
          <a:p>
            <a:endParaRPr/>
          </a:p>
        </p:txBody>
      </p:sp>
      <p:sp>
        <p:nvSpPr>
          <p:cNvPr id="831" name="object 831"/>
          <p:cNvSpPr/>
          <p:nvPr/>
        </p:nvSpPr>
        <p:spPr>
          <a:xfrm>
            <a:off x="8548022" y="1286753"/>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832" name="object 832"/>
          <p:cNvSpPr/>
          <p:nvPr/>
        </p:nvSpPr>
        <p:spPr>
          <a:xfrm>
            <a:off x="8546832" y="1286752"/>
            <a:ext cx="3571" cy="123616"/>
          </a:xfrm>
          <a:custGeom>
            <a:avLst/>
            <a:gdLst/>
            <a:ahLst/>
            <a:cxnLst/>
            <a:rect l="l" t="t" r="r" b="b"/>
            <a:pathLst>
              <a:path w="3571" h="123616">
                <a:moveTo>
                  <a:pt x="1190" y="607"/>
                </a:moveTo>
                <a:lnTo>
                  <a:pt x="595" y="1518"/>
                </a:lnTo>
                <a:lnTo>
                  <a:pt x="0" y="123616"/>
                </a:lnTo>
                <a:lnTo>
                  <a:pt x="2976" y="123616"/>
                </a:lnTo>
                <a:lnTo>
                  <a:pt x="3571" y="1518"/>
                </a:lnTo>
                <a:lnTo>
                  <a:pt x="2976" y="607"/>
                </a:lnTo>
                <a:lnTo>
                  <a:pt x="2083" y="0"/>
                </a:lnTo>
                <a:lnTo>
                  <a:pt x="2083" y="3037"/>
                </a:lnTo>
                <a:lnTo>
                  <a:pt x="1190" y="607"/>
                </a:lnTo>
                <a:close/>
              </a:path>
            </a:pathLst>
          </a:custGeom>
          <a:solidFill>
            <a:srgbClr val="000000"/>
          </a:solidFill>
        </p:spPr>
        <p:txBody>
          <a:bodyPr wrap="square" lIns="0" tIns="0" rIns="0" bIns="0" rtlCol="0">
            <a:noAutofit/>
          </a:bodyPr>
          <a:lstStyle/>
          <a:p>
            <a:endParaRPr/>
          </a:p>
        </p:txBody>
      </p:sp>
      <p:sp>
        <p:nvSpPr>
          <p:cNvPr id="833" name="object 833"/>
          <p:cNvSpPr/>
          <p:nvPr/>
        </p:nvSpPr>
        <p:spPr>
          <a:xfrm>
            <a:off x="8004274" y="1266707"/>
            <a:ext cx="544641" cy="23083"/>
          </a:xfrm>
          <a:custGeom>
            <a:avLst/>
            <a:gdLst/>
            <a:ahLst/>
            <a:cxnLst/>
            <a:rect l="l" t="t" r="r" b="b"/>
            <a:pathLst>
              <a:path w="544641" h="23083">
                <a:moveTo>
                  <a:pt x="148" y="1063"/>
                </a:moveTo>
                <a:lnTo>
                  <a:pt x="0" y="1518"/>
                </a:lnTo>
                <a:lnTo>
                  <a:pt x="297" y="2429"/>
                </a:lnTo>
                <a:lnTo>
                  <a:pt x="1190" y="3037"/>
                </a:lnTo>
                <a:lnTo>
                  <a:pt x="544641" y="23083"/>
                </a:lnTo>
                <a:lnTo>
                  <a:pt x="544641" y="20045"/>
                </a:lnTo>
                <a:lnTo>
                  <a:pt x="2678" y="1518"/>
                </a:lnTo>
                <a:lnTo>
                  <a:pt x="1190" y="0"/>
                </a:lnTo>
                <a:lnTo>
                  <a:pt x="297" y="607"/>
                </a:lnTo>
                <a:lnTo>
                  <a:pt x="148" y="1063"/>
                </a:lnTo>
                <a:close/>
              </a:path>
              <a:path w="544641" h="23083">
                <a:moveTo>
                  <a:pt x="1190" y="0"/>
                </a:moveTo>
                <a:lnTo>
                  <a:pt x="2678" y="1518"/>
                </a:lnTo>
                <a:lnTo>
                  <a:pt x="544641" y="20045"/>
                </a:lnTo>
                <a:lnTo>
                  <a:pt x="1190" y="0"/>
                </a:lnTo>
                <a:close/>
              </a:path>
            </a:pathLst>
          </a:custGeom>
          <a:solidFill>
            <a:srgbClr val="000000"/>
          </a:solidFill>
        </p:spPr>
        <p:txBody>
          <a:bodyPr wrap="square" lIns="0" tIns="0" rIns="0" bIns="0" rtlCol="0">
            <a:noAutofit/>
          </a:bodyPr>
          <a:lstStyle/>
          <a:p>
            <a:endParaRPr/>
          </a:p>
        </p:txBody>
      </p:sp>
      <p:sp>
        <p:nvSpPr>
          <p:cNvPr id="834" name="object 834"/>
          <p:cNvSpPr/>
          <p:nvPr/>
        </p:nvSpPr>
        <p:spPr>
          <a:xfrm>
            <a:off x="8051893" y="1383034"/>
            <a:ext cx="427379" cy="144877"/>
          </a:xfrm>
          <a:custGeom>
            <a:avLst/>
            <a:gdLst/>
            <a:ahLst/>
            <a:cxnLst/>
            <a:rect l="l" t="t" r="r" b="b"/>
            <a:pathLst>
              <a:path w="427379" h="144877">
                <a:moveTo>
                  <a:pt x="12797" y="0"/>
                </a:moveTo>
                <a:lnTo>
                  <a:pt x="0" y="105089"/>
                </a:lnTo>
                <a:lnTo>
                  <a:pt x="414582" y="144877"/>
                </a:lnTo>
                <a:lnTo>
                  <a:pt x="427379" y="23386"/>
                </a:lnTo>
                <a:lnTo>
                  <a:pt x="12797" y="0"/>
                </a:lnTo>
                <a:close/>
              </a:path>
            </a:pathLst>
          </a:custGeom>
          <a:solidFill>
            <a:srgbClr val="404040"/>
          </a:solidFill>
        </p:spPr>
        <p:txBody>
          <a:bodyPr wrap="square" lIns="0" tIns="0" rIns="0" bIns="0" rtlCol="0">
            <a:noAutofit/>
          </a:bodyPr>
          <a:lstStyle/>
          <a:p>
            <a:endParaRPr/>
          </a:p>
        </p:txBody>
      </p:sp>
      <p:sp>
        <p:nvSpPr>
          <p:cNvPr id="835" name="object 835"/>
          <p:cNvSpPr/>
          <p:nvPr/>
        </p:nvSpPr>
        <p:spPr>
          <a:xfrm>
            <a:off x="8050404" y="1382730"/>
            <a:ext cx="2976" cy="106607"/>
          </a:xfrm>
          <a:custGeom>
            <a:avLst/>
            <a:gdLst/>
            <a:ahLst/>
            <a:cxnLst/>
            <a:rect l="l" t="t" r="r" b="b"/>
            <a:pathLst>
              <a:path w="2976" h="106607">
                <a:moveTo>
                  <a:pt x="1488" y="103874"/>
                </a:moveTo>
                <a:lnTo>
                  <a:pt x="1240" y="106607"/>
                </a:lnTo>
                <a:lnTo>
                  <a:pt x="2380" y="106607"/>
                </a:lnTo>
                <a:lnTo>
                  <a:pt x="2976" y="105696"/>
                </a:lnTo>
                <a:lnTo>
                  <a:pt x="1488" y="103874"/>
                </a:lnTo>
                <a:close/>
              </a:path>
              <a:path w="2976" h="106607">
                <a:moveTo>
                  <a:pt x="2976" y="105696"/>
                </a:moveTo>
                <a:lnTo>
                  <a:pt x="15773" y="607"/>
                </a:lnTo>
                <a:lnTo>
                  <a:pt x="12797" y="0"/>
                </a:lnTo>
                <a:lnTo>
                  <a:pt x="0" y="105089"/>
                </a:lnTo>
                <a:lnTo>
                  <a:pt x="297" y="106303"/>
                </a:lnTo>
                <a:lnTo>
                  <a:pt x="1190" y="106607"/>
                </a:lnTo>
                <a:lnTo>
                  <a:pt x="1488" y="103874"/>
                </a:lnTo>
                <a:lnTo>
                  <a:pt x="2976" y="105696"/>
                </a:lnTo>
                <a:close/>
              </a:path>
            </a:pathLst>
          </a:custGeom>
          <a:solidFill>
            <a:srgbClr val="000000"/>
          </a:solidFill>
        </p:spPr>
        <p:txBody>
          <a:bodyPr wrap="square" lIns="0" tIns="0" rIns="0" bIns="0" rtlCol="0">
            <a:noAutofit/>
          </a:bodyPr>
          <a:lstStyle/>
          <a:p>
            <a:endParaRPr/>
          </a:p>
        </p:txBody>
      </p:sp>
      <p:sp>
        <p:nvSpPr>
          <p:cNvPr id="836" name="object 836"/>
          <p:cNvSpPr/>
          <p:nvPr/>
        </p:nvSpPr>
        <p:spPr>
          <a:xfrm>
            <a:off x="8051892" y="1486604"/>
            <a:ext cx="416070" cy="42825"/>
          </a:xfrm>
          <a:custGeom>
            <a:avLst/>
            <a:gdLst/>
            <a:ahLst/>
            <a:cxnLst/>
            <a:rect l="l" t="t" r="r" b="b"/>
            <a:pathLst>
              <a:path w="416070" h="42825">
                <a:moveTo>
                  <a:pt x="416070" y="41306"/>
                </a:moveTo>
                <a:lnTo>
                  <a:pt x="415474" y="40395"/>
                </a:lnTo>
                <a:lnTo>
                  <a:pt x="414582" y="39788"/>
                </a:lnTo>
                <a:lnTo>
                  <a:pt x="413093" y="41002"/>
                </a:lnTo>
                <a:lnTo>
                  <a:pt x="414582" y="39788"/>
                </a:lnTo>
                <a:lnTo>
                  <a:pt x="0" y="0"/>
                </a:lnTo>
                <a:lnTo>
                  <a:pt x="0" y="3037"/>
                </a:lnTo>
                <a:lnTo>
                  <a:pt x="414582" y="42825"/>
                </a:lnTo>
                <a:lnTo>
                  <a:pt x="415474" y="42217"/>
                </a:lnTo>
                <a:lnTo>
                  <a:pt x="415645" y="41957"/>
                </a:lnTo>
                <a:lnTo>
                  <a:pt x="416070" y="41306"/>
                </a:lnTo>
                <a:close/>
              </a:path>
            </a:pathLst>
          </a:custGeom>
          <a:solidFill>
            <a:srgbClr val="000000"/>
          </a:solidFill>
        </p:spPr>
        <p:txBody>
          <a:bodyPr wrap="square" lIns="0" tIns="0" rIns="0" bIns="0" rtlCol="0">
            <a:noAutofit/>
          </a:bodyPr>
          <a:lstStyle/>
          <a:p>
            <a:endParaRPr/>
          </a:p>
        </p:txBody>
      </p:sp>
      <p:sp>
        <p:nvSpPr>
          <p:cNvPr id="837" name="object 837"/>
          <p:cNvSpPr/>
          <p:nvPr/>
        </p:nvSpPr>
        <p:spPr>
          <a:xfrm>
            <a:off x="8464987" y="1404901"/>
            <a:ext cx="15773" cy="123312"/>
          </a:xfrm>
          <a:custGeom>
            <a:avLst/>
            <a:gdLst/>
            <a:ahLst/>
            <a:cxnLst/>
            <a:rect l="l" t="t" r="r" b="b"/>
            <a:pathLst>
              <a:path w="15773" h="123312">
                <a:moveTo>
                  <a:pt x="14285" y="3037"/>
                </a:moveTo>
                <a:lnTo>
                  <a:pt x="14336" y="62"/>
                </a:lnTo>
                <a:lnTo>
                  <a:pt x="13392" y="303"/>
                </a:lnTo>
                <a:lnTo>
                  <a:pt x="12797" y="1214"/>
                </a:lnTo>
                <a:lnTo>
                  <a:pt x="0" y="122705"/>
                </a:lnTo>
                <a:lnTo>
                  <a:pt x="2976" y="123312"/>
                </a:lnTo>
                <a:lnTo>
                  <a:pt x="15773" y="1822"/>
                </a:lnTo>
                <a:lnTo>
                  <a:pt x="15476" y="607"/>
                </a:lnTo>
                <a:lnTo>
                  <a:pt x="14583" y="0"/>
                </a:lnTo>
                <a:lnTo>
                  <a:pt x="14336" y="62"/>
                </a:lnTo>
                <a:lnTo>
                  <a:pt x="14285" y="3037"/>
                </a:lnTo>
                <a:close/>
              </a:path>
            </a:pathLst>
          </a:custGeom>
          <a:solidFill>
            <a:srgbClr val="000000"/>
          </a:solidFill>
        </p:spPr>
        <p:txBody>
          <a:bodyPr wrap="square" lIns="0" tIns="0" rIns="0" bIns="0" rtlCol="0">
            <a:noAutofit/>
          </a:bodyPr>
          <a:lstStyle/>
          <a:p>
            <a:endParaRPr/>
          </a:p>
        </p:txBody>
      </p:sp>
      <p:sp>
        <p:nvSpPr>
          <p:cNvPr id="838" name="object 838"/>
          <p:cNvSpPr/>
          <p:nvPr/>
        </p:nvSpPr>
        <p:spPr>
          <a:xfrm>
            <a:off x="8063499" y="1381514"/>
            <a:ext cx="415772" cy="26424"/>
          </a:xfrm>
          <a:custGeom>
            <a:avLst/>
            <a:gdLst/>
            <a:ahLst/>
            <a:cxnLst/>
            <a:rect l="l" t="t" r="r" b="b"/>
            <a:pathLst>
              <a:path w="415772" h="26424">
                <a:moveTo>
                  <a:pt x="243" y="773"/>
                </a:moveTo>
                <a:lnTo>
                  <a:pt x="0" y="1518"/>
                </a:lnTo>
                <a:lnTo>
                  <a:pt x="297" y="2429"/>
                </a:lnTo>
                <a:lnTo>
                  <a:pt x="1190" y="3037"/>
                </a:lnTo>
                <a:lnTo>
                  <a:pt x="415772" y="26424"/>
                </a:lnTo>
                <a:lnTo>
                  <a:pt x="415772" y="23386"/>
                </a:lnTo>
                <a:lnTo>
                  <a:pt x="2678" y="1822"/>
                </a:lnTo>
                <a:lnTo>
                  <a:pt x="1190" y="0"/>
                </a:lnTo>
                <a:lnTo>
                  <a:pt x="297" y="607"/>
                </a:lnTo>
                <a:lnTo>
                  <a:pt x="243" y="773"/>
                </a:lnTo>
                <a:close/>
              </a:path>
              <a:path w="415772" h="26424">
                <a:moveTo>
                  <a:pt x="1190" y="0"/>
                </a:moveTo>
                <a:lnTo>
                  <a:pt x="2678" y="1822"/>
                </a:lnTo>
                <a:lnTo>
                  <a:pt x="415772" y="23386"/>
                </a:lnTo>
                <a:lnTo>
                  <a:pt x="1190" y="0"/>
                </a:lnTo>
                <a:close/>
              </a:path>
            </a:pathLst>
          </a:custGeom>
          <a:solidFill>
            <a:srgbClr val="000000"/>
          </a:solidFill>
        </p:spPr>
        <p:txBody>
          <a:bodyPr wrap="square" lIns="0" tIns="0" rIns="0" bIns="0" rtlCol="0">
            <a:noAutofit/>
          </a:bodyPr>
          <a:lstStyle/>
          <a:p>
            <a:endParaRPr/>
          </a:p>
        </p:txBody>
      </p:sp>
      <p:sp>
        <p:nvSpPr>
          <p:cNvPr id="839" name="object 839"/>
          <p:cNvSpPr/>
          <p:nvPr/>
        </p:nvSpPr>
        <p:spPr>
          <a:xfrm>
            <a:off x="8444452" y="1149771"/>
            <a:ext cx="119047" cy="107518"/>
          </a:xfrm>
          <a:custGeom>
            <a:avLst/>
            <a:gdLst/>
            <a:ahLst/>
            <a:cxnLst/>
            <a:rect l="l" t="t" r="r" b="b"/>
            <a:pathLst>
              <a:path w="119047" h="107518">
                <a:moveTo>
                  <a:pt x="33630" y="0"/>
                </a:moveTo>
                <a:lnTo>
                  <a:pt x="26785" y="607"/>
                </a:lnTo>
                <a:lnTo>
                  <a:pt x="20535" y="2733"/>
                </a:lnTo>
                <a:lnTo>
                  <a:pt x="14880" y="5770"/>
                </a:lnTo>
                <a:lnTo>
                  <a:pt x="9821" y="10022"/>
                </a:lnTo>
                <a:lnTo>
                  <a:pt x="5654" y="15186"/>
                </a:lnTo>
                <a:lnTo>
                  <a:pt x="2678" y="20957"/>
                </a:lnTo>
                <a:lnTo>
                  <a:pt x="595" y="27335"/>
                </a:lnTo>
                <a:lnTo>
                  <a:pt x="0" y="34320"/>
                </a:lnTo>
                <a:lnTo>
                  <a:pt x="0" y="71982"/>
                </a:lnTo>
                <a:lnTo>
                  <a:pt x="595" y="78968"/>
                </a:lnTo>
                <a:lnTo>
                  <a:pt x="2678" y="85346"/>
                </a:lnTo>
                <a:lnTo>
                  <a:pt x="5952" y="91117"/>
                </a:lnTo>
                <a:lnTo>
                  <a:pt x="10119" y="96281"/>
                </a:lnTo>
                <a:lnTo>
                  <a:pt x="14880" y="100229"/>
                </a:lnTo>
                <a:lnTo>
                  <a:pt x="20833" y="103570"/>
                </a:lnTo>
                <a:lnTo>
                  <a:pt x="27083" y="105392"/>
                </a:lnTo>
                <a:lnTo>
                  <a:pt x="33630" y="106303"/>
                </a:lnTo>
                <a:lnTo>
                  <a:pt x="85416" y="107518"/>
                </a:lnTo>
                <a:lnTo>
                  <a:pt x="91964" y="106911"/>
                </a:lnTo>
                <a:lnTo>
                  <a:pt x="98213" y="105089"/>
                </a:lnTo>
                <a:lnTo>
                  <a:pt x="103868" y="101748"/>
                </a:lnTo>
                <a:lnTo>
                  <a:pt x="108928" y="97495"/>
                </a:lnTo>
                <a:lnTo>
                  <a:pt x="113094" y="92636"/>
                </a:lnTo>
                <a:lnTo>
                  <a:pt x="116368" y="86561"/>
                </a:lnTo>
                <a:lnTo>
                  <a:pt x="118452" y="80183"/>
                </a:lnTo>
                <a:lnTo>
                  <a:pt x="119047" y="73197"/>
                </a:lnTo>
                <a:lnTo>
                  <a:pt x="119047" y="34320"/>
                </a:lnTo>
                <a:lnTo>
                  <a:pt x="118452" y="27335"/>
                </a:lnTo>
                <a:lnTo>
                  <a:pt x="116368" y="20957"/>
                </a:lnTo>
                <a:lnTo>
                  <a:pt x="113392" y="15186"/>
                </a:lnTo>
                <a:lnTo>
                  <a:pt x="109225" y="10022"/>
                </a:lnTo>
                <a:lnTo>
                  <a:pt x="104166" y="5770"/>
                </a:lnTo>
                <a:lnTo>
                  <a:pt x="98511" y="2733"/>
                </a:lnTo>
                <a:lnTo>
                  <a:pt x="92261" y="607"/>
                </a:lnTo>
                <a:lnTo>
                  <a:pt x="85416" y="0"/>
                </a:lnTo>
                <a:lnTo>
                  <a:pt x="33630" y="0"/>
                </a:lnTo>
                <a:close/>
              </a:path>
            </a:pathLst>
          </a:custGeom>
          <a:solidFill>
            <a:srgbClr val="FFFFFF"/>
          </a:solidFill>
        </p:spPr>
        <p:txBody>
          <a:bodyPr wrap="square" lIns="0" tIns="0" rIns="0" bIns="0" rtlCol="0">
            <a:noAutofit/>
          </a:bodyPr>
          <a:lstStyle/>
          <a:p>
            <a:endParaRPr/>
          </a:p>
        </p:txBody>
      </p:sp>
      <p:sp>
        <p:nvSpPr>
          <p:cNvPr id="840" name="object 840"/>
          <p:cNvSpPr/>
          <p:nvPr/>
        </p:nvSpPr>
        <p:spPr>
          <a:xfrm>
            <a:off x="8478082" y="1149771"/>
            <a:ext cx="51785" cy="0"/>
          </a:xfrm>
          <a:custGeom>
            <a:avLst/>
            <a:gdLst/>
            <a:ahLst/>
            <a:cxnLst/>
            <a:rect l="l" t="t" r="r" b="b"/>
            <a:pathLst>
              <a:path w="51785">
                <a:moveTo>
                  <a:pt x="0" y="0"/>
                </a:moveTo>
                <a:lnTo>
                  <a:pt x="51785" y="0"/>
                </a:lnTo>
              </a:path>
            </a:pathLst>
          </a:custGeom>
          <a:ln w="4307">
            <a:solidFill>
              <a:srgbClr val="000000"/>
            </a:solidFill>
          </a:ln>
        </p:spPr>
        <p:txBody>
          <a:bodyPr wrap="square" lIns="0" tIns="0" rIns="0" bIns="0" rtlCol="0">
            <a:noAutofit/>
          </a:bodyPr>
          <a:lstStyle/>
          <a:p>
            <a:endParaRPr/>
          </a:p>
        </p:txBody>
      </p:sp>
      <p:sp>
        <p:nvSpPr>
          <p:cNvPr id="841" name="object 841"/>
          <p:cNvSpPr/>
          <p:nvPr/>
        </p:nvSpPr>
        <p:spPr>
          <a:xfrm>
            <a:off x="8529867" y="1148254"/>
            <a:ext cx="35118" cy="35839"/>
          </a:xfrm>
          <a:custGeom>
            <a:avLst/>
            <a:gdLst/>
            <a:ahLst/>
            <a:cxnLst/>
            <a:rect l="l" t="t" r="r" b="b"/>
            <a:pathLst>
              <a:path w="35118" h="35839">
                <a:moveTo>
                  <a:pt x="32440" y="21868"/>
                </a:moveTo>
                <a:lnTo>
                  <a:pt x="29166" y="15793"/>
                </a:lnTo>
                <a:lnTo>
                  <a:pt x="24999" y="10326"/>
                </a:lnTo>
                <a:lnTo>
                  <a:pt x="19642" y="6074"/>
                </a:lnTo>
                <a:lnTo>
                  <a:pt x="13690" y="2733"/>
                </a:lnTo>
                <a:lnTo>
                  <a:pt x="7142" y="607"/>
                </a:lnTo>
                <a:lnTo>
                  <a:pt x="0" y="0"/>
                </a:lnTo>
                <a:lnTo>
                  <a:pt x="0" y="3037"/>
                </a:lnTo>
                <a:lnTo>
                  <a:pt x="6547" y="3644"/>
                </a:lnTo>
                <a:lnTo>
                  <a:pt x="12499" y="5770"/>
                </a:lnTo>
                <a:lnTo>
                  <a:pt x="17857" y="8504"/>
                </a:lnTo>
                <a:lnTo>
                  <a:pt x="22618" y="12756"/>
                </a:lnTo>
                <a:lnTo>
                  <a:pt x="26785" y="17616"/>
                </a:lnTo>
                <a:lnTo>
                  <a:pt x="29464" y="23083"/>
                </a:lnTo>
                <a:lnTo>
                  <a:pt x="31547" y="29157"/>
                </a:lnTo>
                <a:lnTo>
                  <a:pt x="32142" y="35839"/>
                </a:lnTo>
                <a:lnTo>
                  <a:pt x="35118" y="35839"/>
                </a:lnTo>
                <a:lnTo>
                  <a:pt x="34523" y="28550"/>
                </a:lnTo>
                <a:lnTo>
                  <a:pt x="32440" y="21868"/>
                </a:lnTo>
                <a:close/>
              </a:path>
            </a:pathLst>
          </a:custGeom>
          <a:solidFill>
            <a:srgbClr val="000000"/>
          </a:solidFill>
        </p:spPr>
        <p:txBody>
          <a:bodyPr wrap="square" lIns="0" tIns="0" rIns="0" bIns="0" rtlCol="0">
            <a:noAutofit/>
          </a:bodyPr>
          <a:lstStyle/>
          <a:p>
            <a:endParaRPr/>
          </a:p>
        </p:txBody>
      </p:sp>
      <p:sp>
        <p:nvSpPr>
          <p:cNvPr id="842" name="object 842"/>
          <p:cNvSpPr/>
          <p:nvPr/>
        </p:nvSpPr>
        <p:spPr>
          <a:xfrm>
            <a:off x="8562010" y="1203531"/>
            <a:ext cx="2976" cy="0"/>
          </a:xfrm>
          <a:custGeom>
            <a:avLst/>
            <a:gdLst/>
            <a:ahLst/>
            <a:cxnLst/>
            <a:rect l="l" t="t" r="r" b="b"/>
            <a:pathLst>
              <a:path w="2976">
                <a:moveTo>
                  <a:pt x="0" y="0"/>
                </a:moveTo>
                <a:lnTo>
                  <a:pt x="2976" y="0"/>
                </a:lnTo>
              </a:path>
            </a:pathLst>
          </a:custGeom>
          <a:ln w="40146">
            <a:solidFill>
              <a:srgbClr val="000000"/>
            </a:solidFill>
          </a:ln>
        </p:spPr>
        <p:txBody>
          <a:bodyPr wrap="square" lIns="0" tIns="0" rIns="0" bIns="0" rtlCol="0">
            <a:noAutofit/>
          </a:bodyPr>
          <a:lstStyle/>
          <a:p>
            <a:endParaRPr/>
          </a:p>
        </p:txBody>
      </p:sp>
      <p:sp>
        <p:nvSpPr>
          <p:cNvPr id="843" name="object 843"/>
          <p:cNvSpPr/>
          <p:nvPr/>
        </p:nvSpPr>
        <p:spPr>
          <a:xfrm>
            <a:off x="8529867" y="1222970"/>
            <a:ext cx="35118" cy="35839"/>
          </a:xfrm>
          <a:custGeom>
            <a:avLst/>
            <a:gdLst/>
            <a:ahLst/>
            <a:cxnLst/>
            <a:rect l="l" t="t" r="r" b="b"/>
            <a:pathLst>
              <a:path w="35118" h="35839">
                <a:moveTo>
                  <a:pt x="0" y="32802"/>
                </a:moveTo>
                <a:lnTo>
                  <a:pt x="0" y="35839"/>
                </a:lnTo>
                <a:lnTo>
                  <a:pt x="6845" y="35232"/>
                </a:lnTo>
                <a:lnTo>
                  <a:pt x="13392" y="33409"/>
                </a:lnTo>
                <a:lnTo>
                  <a:pt x="19345" y="29765"/>
                </a:lnTo>
                <a:lnTo>
                  <a:pt x="24404" y="25512"/>
                </a:lnTo>
                <a:lnTo>
                  <a:pt x="28868" y="20349"/>
                </a:lnTo>
                <a:lnTo>
                  <a:pt x="32440" y="13971"/>
                </a:lnTo>
                <a:lnTo>
                  <a:pt x="34523" y="7289"/>
                </a:lnTo>
                <a:lnTo>
                  <a:pt x="35118" y="0"/>
                </a:lnTo>
                <a:lnTo>
                  <a:pt x="32142" y="0"/>
                </a:lnTo>
                <a:lnTo>
                  <a:pt x="31547" y="6681"/>
                </a:lnTo>
                <a:lnTo>
                  <a:pt x="29464" y="12756"/>
                </a:lnTo>
                <a:lnTo>
                  <a:pt x="26488" y="18527"/>
                </a:lnTo>
                <a:lnTo>
                  <a:pt x="22618" y="23083"/>
                </a:lnTo>
                <a:lnTo>
                  <a:pt x="17559" y="27335"/>
                </a:lnTo>
                <a:lnTo>
                  <a:pt x="12202" y="30372"/>
                </a:lnTo>
                <a:lnTo>
                  <a:pt x="6249" y="32194"/>
                </a:lnTo>
                <a:lnTo>
                  <a:pt x="0" y="32802"/>
                </a:lnTo>
                <a:close/>
              </a:path>
            </a:pathLst>
          </a:custGeom>
          <a:solidFill>
            <a:srgbClr val="000000"/>
          </a:solidFill>
        </p:spPr>
        <p:txBody>
          <a:bodyPr wrap="square" lIns="0" tIns="0" rIns="0" bIns="0" rtlCol="0">
            <a:noAutofit/>
          </a:bodyPr>
          <a:lstStyle/>
          <a:p>
            <a:endParaRPr/>
          </a:p>
        </p:txBody>
      </p:sp>
      <p:sp>
        <p:nvSpPr>
          <p:cNvPr id="844" name="object 844"/>
          <p:cNvSpPr/>
          <p:nvPr/>
        </p:nvSpPr>
        <p:spPr>
          <a:xfrm>
            <a:off x="8478082" y="1254557"/>
            <a:ext cx="51785" cy="4252"/>
          </a:xfrm>
          <a:custGeom>
            <a:avLst/>
            <a:gdLst/>
            <a:ahLst/>
            <a:cxnLst/>
            <a:rect l="l" t="t" r="r" b="b"/>
            <a:pathLst>
              <a:path w="51785" h="4252">
                <a:moveTo>
                  <a:pt x="0" y="3037"/>
                </a:moveTo>
                <a:lnTo>
                  <a:pt x="51785" y="4252"/>
                </a:lnTo>
                <a:lnTo>
                  <a:pt x="51785" y="1214"/>
                </a:lnTo>
                <a:lnTo>
                  <a:pt x="0" y="0"/>
                </a:lnTo>
                <a:lnTo>
                  <a:pt x="0" y="3037"/>
                </a:lnTo>
                <a:close/>
              </a:path>
            </a:pathLst>
          </a:custGeom>
          <a:solidFill>
            <a:srgbClr val="000000"/>
          </a:solidFill>
        </p:spPr>
        <p:txBody>
          <a:bodyPr wrap="square" lIns="0" tIns="0" rIns="0" bIns="0" rtlCol="0">
            <a:noAutofit/>
          </a:bodyPr>
          <a:lstStyle/>
          <a:p>
            <a:endParaRPr/>
          </a:p>
        </p:txBody>
      </p:sp>
      <p:sp>
        <p:nvSpPr>
          <p:cNvPr id="845" name="object 845"/>
          <p:cNvSpPr/>
          <p:nvPr/>
        </p:nvSpPr>
        <p:spPr>
          <a:xfrm>
            <a:off x="8442962" y="1221755"/>
            <a:ext cx="35118" cy="35839"/>
          </a:xfrm>
          <a:custGeom>
            <a:avLst/>
            <a:gdLst/>
            <a:ahLst/>
            <a:cxnLst/>
            <a:rect l="l" t="t" r="r" b="b"/>
            <a:pathLst>
              <a:path w="35118" h="35839">
                <a:moveTo>
                  <a:pt x="5654" y="12756"/>
                </a:moveTo>
                <a:lnTo>
                  <a:pt x="3571" y="6681"/>
                </a:lnTo>
                <a:lnTo>
                  <a:pt x="2976" y="0"/>
                </a:lnTo>
                <a:lnTo>
                  <a:pt x="0" y="0"/>
                </a:lnTo>
                <a:lnTo>
                  <a:pt x="595" y="7289"/>
                </a:lnTo>
                <a:lnTo>
                  <a:pt x="2678" y="13971"/>
                </a:lnTo>
                <a:lnTo>
                  <a:pt x="6249" y="20045"/>
                </a:lnTo>
                <a:lnTo>
                  <a:pt x="10416" y="25512"/>
                </a:lnTo>
                <a:lnTo>
                  <a:pt x="15476" y="29461"/>
                </a:lnTo>
                <a:lnTo>
                  <a:pt x="21726" y="33106"/>
                </a:lnTo>
                <a:lnTo>
                  <a:pt x="28273" y="34928"/>
                </a:lnTo>
                <a:lnTo>
                  <a:pt x="35118" y="35839"/>
                </a:lnTo>
                <a:lnTo>
                  <a:pt x="35118" y="32802"/>
                </a:lnTo>
                <a:lnTo>
                  <a:pt x="28868" y="31891"/>
                </a:lnTo>
                <a:lnTo>
                  <a:pt x="22916" y="30068"/>
                </a:lnTo>
                <a:lnTo>
                  <a:pt x="17261" y="27031"/>
                </a:lnTo>
                <a:lnTo>
                  <a:pt x="12797" y="23083"/>
                </a:lnTo>
                <a:lnTo>
                  <a:pt x="8630" y="18223"/>
                </a:lnTo>
                <a:lnTo>
                  <a:pt x="5654" y="12756"/>
                </a:lnTo>
                <a:close/>
              </a:path>
            </a:pathLst>
          </a:custGeom>
          <a:solidFill>
            <a:srgbClr val="000000"/>
          </a:solidFill>
        </p:spPr>
        <p:txBody>
          <a:bodyPr wrap="square" lIns="0" tIns="0" rIns="0" bIns="0" rtlCol="0">
            <a:noAutofit/>
          </a:bodyPr>
          <a:lstStyle/>
          <a:p>
            <a:endParaRPr/>
          </a:p>
        </p:txBody>
      </p:sp>
      <p:sp>
        <p:nvSpPr>
          <p:cNvPr id="846" name="object 846"/>
          <p:cNvSpPr/>
          <p:nvPr/>
        </p:nvSpPr>
        <p:spPr>
          <a:xfrm>
            <a:off x="8442962" y="1202923"/>
            <a:ext cx="2976" cy="0"/>
          </a:xfrm>
          <a:custGeom>
            <a:avLst/>
            <a:gdLst/>
            <a:ahLst/>
            <a:cxnLst/>
            <a:rect l="l" t="t" r="r" b="b"/>
            <a:pathLst>
              <a:path w="2976">
                <a:moveTo>
                  <a:pt x="0" y="0"/>
                </a:moveTo>
                <a:lnTo>
                  <a:pt x="2976" y="0"/>
                </a:lnTo>
              </a:path>
            </a:pathLst>
          </a:custGeom>
          <a:ln w="38931">
            <a:solidFill>
              <a:srgbClr val="000000"/>
            </a:solidFill>
          </a:ln>
        </p:spPr>
        <p:txBody>
          <a:bodyPr wrap="square" lIns="0" tIns="0" rIns="0" bIns="0" rtlCol="0">
            <a:noAutofit/>
          </a:bodyPr>
          <a:lstStyle/>
          <a:p>
            <a:endParaRPr/>
          </a:p>
        </p:txBody>
      </p:sp>
      <p:sp>
        <p:nvSpPr>
          <p:cNvPr id="847" name="object 847"/>
          <p:cNvSpPr/>
          <p:nvPr/>
        </p:nvSpPr>
        <p:spPr>
          <a:xfrm>
            <a:off x="8442962" y="1148254"/>
            <a:ext cx="35118" cy="35839"/>
          </a:xfrm>
          <a:custGeom>
            <a:avLst/>
            <a:gdLst/>
            <a:ahLst/>
            <a:cxnLst/>
            <a:rect l="l" t="t" r="r" b="b"/>
            <a:pathLst>
              <a:path w="35118" h="35839">
                <a:moveTo>
                  <a:pt x="2976" y="35839"/>
                </a:moveTo>
                <a:lnTo>
                  <a:pt x="3571" y="29157"/>
                </a:lnTo>
                <a:lnTo>
                  <a:pt x="5654" y="23083"/>
                </a:lnTo>
                <a:lnTo>
                  <a:pt x="8333" y="17616"/>
                </a:lnTo>
                <a:lnTo>
                  <a:pt x="12499" y="12756"/>
                </a:lnTo>
                <a:lnTo>
                  <a:pt x="17261" y="8504"/>
                </a:lnTo>
                <a:lnTo>
                  <a:pt x="22618" y="5770"/>
                </a:lnTo>
                <a:lnTo>
                  <a:pt x="28571" y="3644"/>
                </a:lnTo>
                <a:lnTo>
                  <a:pt x="35118" y="3037"/>
                </a:lnTo>
                <a:lnTo>
                  <a:pt x="35118" y="0"/>
                </a:lnTo>
                <a:lnTo>
                  <a:pt x="27976" y="607"/>
                </a:lnTo>
                <a:lnTo>
                  <a:pt x="21428" y="2733"/>
                </a:lnTo>
                <a:lnTo>
                  <a:pt x="15476" y="6074"/>
                </a:lnTo>
                <a:lnTo>
                  <a:pt x="10119" y="10326"/>
                </a:lnTo>
                <a:lnTo>
                  <a:pt x="5952" y="15793"/>
                </a:lnTo>
                <a:lnTo>
                  <a:pt x="2678" y="21868"/>
                </a:lnTo>
                <a:lnTo>
                  <a:pt x="595" y="28550"/>
                </a:lnTo>
                <a:lnTo>
                  <a:pt x="0" y="35839"/>
                </a:lnTo>
                <a:lnTo>
                  <a:pt x="2976" y="35839"/>
                </a:lnTo>
                <a:close/>
              </a:path>
            </a:pathLst>
          </a:custGeom>
          <a:solidFill>
            <a:srgbClr val="000000"/>
          </a:solidFill>
        </p:spPr>
        <p:txBody>
          <a:bodyPr wrap="square" lIns="0" tIns="0" rIns="0" bIns="0" rtlCol="0">
            <a:noAutofit/>
          </a:bodyPr>
          <a:lstStyle/>
          <a:p>
            <a:endParaRPr/>
          </a:p>
        </p:txBody>
      </p:sp>
      <p:sp>
        <p:nvSpPr>
          <p:cNvPr id="848" name="object 848"/>
          <p:cNvSpPr/>
          <p:nvPr/>
        </p:nvSpPr>
        <p:spPr>
          <a:xfrm>
            <a:off x="8454570" y="1156453"/>
            <a:ext cx="107142" cy="96584"/>
          </a:xfrm>
          <a:custGeom>
            <a:avLst/>
            <a:gdLst/>
            <a:ahLst/>
            <a:cxnLst/>
            <a:rect l="l" t="t" r="r" b="b"/>
            <a:pathLst>
              <a:path w="107142" h="96584">
                <a:moveTo>
                  <a:pt x="30059" y="0"/>
                </a:moveTo>
                <a:lnTo>
                  <a:pt x="24107" y="607"/>
                </a:lnTo>
                <a:lnTo>
                  <a:pt x="18452" y="2429"/>
                </a:lnTo>
                <a:lnTo>
                  <a:pt x="13095" y="5163"/>
                </a:lnTo>
                <a:lnTo>
                  <a:pt x="8928" y="8808"/>
                </a:lnTo>
                <a:lnTo>
                  <a:pt x="5059" y="13363"/>
                </a:lnTo>
                <a:lnTo>
                  <a:pt x="2380" y="18830"/>
                </a:lnTo>
                <a:lnTo>
                  <a:pt x="595" y="24601"/>
                </a:lnTo>
                <a:lnTo>
                  <a:pt x="0" y="30676"/>
                </a:lnTo>
                <a:lnTo>
                  <a:pt x="0" y="64693"/>
                </a:lnTo>
                <a:lnTo>
                  <a:pt x="595" y="71071"/>
                </a:lnTo>
                <a:lnTo>
                  <a:pt x="2380" y="76842"/>
                </a:lnTo>
                <a:lnTo>
                  <a:pt x="5357" y="82005"/>
                </a:lnTo>
                <a:lnTo>
                  <a:pt x="8928" y="86561"/>
                </a:lnTo>
                <a:lnTo>
                  <a:pt x="13392" y="90206"/>
                </a:lnTo>
                <a:lnTo>
                  <a:pt x="18452" y="93243"/>
                </a:lnTo>
                <a:lnTo>
                  <a:pt x="24107" y="95066"/>
                </a:lnTo>
                <a:lnTo>
                  <a:pt x="30059" y="95673"/>
                </a:lnTo>
                <a:lnTo>
                  <a:pt x="76785" y="96584"/>
                </a:lnTo>
                <a:lnTo>
                  <a:pt x="82737" y="95977"/>
                </a:lnTo>
                <a:lnTo>
                  <a:pt x="88392" y="94458"/>
                </a:lnTo>
                <a:lnTo>
                  <a:pt x="93452" y="91421"/>
                </a:lnTo>
                <a:lnTo>
                  <a:pt x="97916" y="87776"/>
                </a:lnTo>
                <a:lnTo>
                  <a:pt x="101785" y="83220"/>
                </a:lnTo>
                <a:lnTo>
                  <a:pt x="104761" y="77753"/>
                </a:lnTo>
                <a:lnTo>
                  <a:pt x="106547" y="71982"/>
                </a:lnTo>
                <a:lnTo>
                  <a:pt x="107142" y="65908"/>
                </a:lnTo>
                <a:lnTo>
                  <a:pt x="107142" y="30676"/>
                </a:lnTo>
                <a:lnTo>
                  <a:pt x="106547" y="24601"/>
                </a:lnTo>
                <a:lnTo>
                  <a:pt x="104761" y="18830"/>
                </a:lnTo>
                <a:lnTo>
                  <a:pt x="101785" y="13667"/>
                </a:lnTo>
                <a:lnTo>
                  <a:pt x="98213" y="9111"/>
                </a:lnTo>
                <a:lnTo>
                  <a:pt x="93749" y="5163"/>
                </a:lnTo>
                <a:lnTo>
                  <a:pt x="88690" y="2429"/>
                </a:lnTo>
                <a:lnTo>
                  <a:pt x="82737" y="607"/>
                </a:lnTo>
                <a:lnTo>
                  <a:pt x="76785" y="0"/>
                </a:lnTo>
                <a:lnTo>
                  <a:pt x="30059" y="0"/>
                </a:lnTo>
                <a:close/>
              </a:path>
            </a:pathLst>
          </a:custGeom>
          <a:solidFill>
            <a:srgbClr val="EFEFEF"/>
          </a:solidFill>
        </p:spPr>
        <p:txBody>
          <a:bodyPr wrap="square" lIns="0" tIns="0" rIns="0" bIns="0" rtlCol="0">
            <a:noAutofit/>
          </a:bodyPr>
          <a:lstStyle/>
          <a:p>
            <a:endParaRPr/>
          </a:p>
        </p:txBody>
      </p:sp>
      <p:sp>
        <p:nvSpPr>
          <p:cNvPr id="849" name="object 849"/>
          <p:cNvSpPr/>
          <p:nvPr/>
        </p:nvSpPr>
        <p:spPr>
          <a:xfrm>
            <a:off x="8484629" y="1156453"/>
            <a:ext cx="46726" cy="0"/>
          </a:xfrm>
          <a:custGeom>
            <a:avLst/>
            <a:gdLst/>
            <a:ahLst/>
            <a:cxnLst/>
            <a:rect l="l" t="t" r="r" b="b"/>
            <a:pathLst>
              <a:path w="46726">
                <a:moveTo>
                  <a:pt x="0" y="0"/>
                </a:moveTo>
                <a:lnTo>
                  <a:pt x="46726" y="0"/>
                </a:lnTo>
              </a:path>
            </a:pathLst>
          </a:custGeom>
          <a:ln w="4307">
            <a:solidFill>
              <a:srgbClr val="000000"/>
            </a:solidFill>
          </a:ln>
        </p:spPr>
        <p:txBody>
          <a:bodyPr wrap="square" lIns="0" tIns="0" rIns="0" bIns="0" rtlCol="0">
            <a:noAutofit/>
          </a:bodyPr>
          <a:lstStyle/>
          <a:p>
            <a:endParaRPr/>
          </a:p>
        </p:txBody>
      </p:sp>
      <p:sp>
        <p:nvSpPr>
          <p:cNvPr id="850" name="object 850"/>
          <p:cNvSpPr/>
          <p:nvPr/>
        </p:nvSpPr>
        <p:spPr>
          <a:xfrm>
            <a:off x="8531356" y="1154935"/>
            <a:ext cx="31845" cy="32194"/>
          </a:xfrm>
          <a:custGeom>
            <a:avLst/>
            <a:gdLst/>
            <a:ahLst/>
            <a:cxnLst/>
            <a:rect l="l" t="t" r="r" b="b"/>
            <a:pathLst>
              <a:path w="31845" h="32194">
                <a:moveTo>
                  <a:pt x="29464" y="19742"/>
                </a:moveTo>
                <a:lnTo>
                  <a:pt x="26190" y="14275"/>
                </a:lnTo>
                <a:lnTo>
                  <a:pt x="22618" y="9719"/>
                </a:lnTo>
                <a:lnTo>
                  <a:pt x="17857" y="5467"/>
                </a:lnTo>
                <a:lnTo>
                  <a:pt x="12499" y="2429"/>
                </a:lnTo>
                <a:lnTo>
                  <a:pt x="6249" y="607"/>
                </a:lnTo>
                <a:lnTo>
                  <a:pt x="0" y="0"/>
                </a:lnTo>
                <a:lnTo>
                  <a:pt x="0" y="3037"/>
                </a:lnTo>
                <a:lnTo>
                  <a:pt x="5654" y="3644"/>
                </a:lnTo>
                <a:lnTo>
                  <a:pt x="11309" y="5467"/>
                </a:lnTo>
                <a:lnTo>
                  <a:pt x="16071" y="7896"/>
                </a:lnTo>
                <a:lnTo>
                  <a:pt x="20238" y="11541"/>
                </a:lnTo>
                <a:lnTo>
                  <a:pt x="23809" y="16097"/>
                </a:lnTo>
                <a:lnTo>
                  <a:pt x="26488" y="20957"/>
                </a:lnTo>
                <a:lnTo>
                  <a:pt x="28273" y="26424"/>
                </a:lnTo>
                <a:lnTo>
                  <a:pt x="28868" y="32194"/>
                </a:lnTo>
                <a:lnTo>
                  <a:pt x="31845" y="32194"/>
                </a:lnTo>
                <a:lnTo>
                  <a:pt x="31249" y="25816"/>
                </a:lnTo>
                <a:lnTo>
                  <a:pt x="29464" y="19742"/>
                </a:lnTo>
                <a:close/>
              </a:path>
            </a:pathLst>
          </a:custGeom>
          <a:solidFill>
            <a:srgbClr val="000000"/>
          </a:solidFill>
        </p:spPr>
        <p:txBody>
          <a:bodyPr wrap="square" lIns="0" tIns="0" rIns="0" bIns="0" rtlCol="0">
            <a:noAutofit/>
          </a:bodyPr>
          <a:lstStyle/>
          <a:p>
            <a:endParaRPr/>
          </a:p>
        </p:txBody>
      </p:sp>
      <p:sp>
        <p:nvSpPr>
          <p:cNvPr id="851" name="object 851"/>
          <p:cNvSpPr/>
          <p:nvPr/>
        </p:nvSpPr>
        <p:spPr>
          <a:xfrm>
            <a:off x="8560224" y="1204746"/>
            <a:ext cx="2976" cy="0"/>
          </a:xfrm>
          <a:custGeom>
            <a:avLst/>
            <a:gdLst/>
            <a:ahLst/>
            <a:cxnLst/>
            <a:rect l="l" t="t" r="r" b="b"/>
            <a:pathLst>
              <a:path w="2976">
                <a:moveTo>
                  <a:pt x="0" y="0"/>
                </a:moveTo>
                <a:lnTo>
                  <a:pt x="2976" y="0"/>
                </a:lnTo>
              </a:path>
            </a:pathLst>
          </a:custGeom>
          <a:ln w="36502">
            <a:solidFill>
              <a:srgbClr val="000000"/>
            </a:solidFill>
          </a:ln>
        </p:spPr>
        <p:txBody>
          <a:bodyPr wrap="square" lIns="0" tIns="0" rIns="0" bIns="0" rtlCol="0">
            <a:noAutofit/>
          </a:bodyPr>
          <a:lstStyle/>
          <a:p>
            <a:endParaRPr/>
          </a:p>
        </p:txBody>
      </p:sp>
      <p:sp>
        <p:nvSpPr>
          <p:cNvPr id="852" name="object 852"/>
          <p:cNvSpPr/>
          <p:nvPr/>
        </p:nvSpPr>
        <p:spPr>
          <a:xfrm>
            <a:off x="8531356" y="1222362"/>
            <a:ext cx="31845" cy="32194"/>
          </a:xfrm>
          <a:custGeom>
            <a:avLst/>
            <a:gdLst/>
            <a:ahLst/>
            <a:cxnLst/>
            <a:rect l="l" t="t" r="r" b="b"/>
            <a:pathLst>
              <a:path w="31845" h="32194">
                <a:moveTo>
                  <a:pt x="0" y="29157"/>
                </a:moveTo>
                <a:lnTo>
                  <a:pt x="0" y="32194"/>
                </a:lnTo>
                <a:lnTo>
                  <a:pt x="6249" y="31587"/>
                </a:lnTo>
                <a:lnTo>
                  <a:pt x="12202" y="30068"/>
                </a:lnTo>
                <a:lnTo>
                  <a:pt x="17559" y="26727"/>
                </a:lnTo>
                <a:lnTo>
                  <a:pt x="22023" y="23083"/>
                </a:lnTo>
                <a:lnTo>
                  <a:pt x="26190" y="18223"/>
                </a:lnTo>
                <a:lnTo>
                  <a:pt x="29464" y="12452"/>
                </a:lnTo>
                <a:lnTo>
                  <a:pt x="31249" y="6378"/>
                </a:lnTo>
                <a:lnTo>
                  <a:pt x="31845" y="0"/>
                </a:lnTo>
                <a:lnTo>
                  <a:pt x="28868" y="0"/>
                </a:lnTo>
                <a:lnTo>
                  <a:pt x="28273" y="5770"/>
                </a:lnTo>
                <a:lnTo>
                  <a:pt x="26488" y="11237"/>
                </a:lnTo>
                <a:lnTo>
                  <a:pt x="23809" y="16401"/>
                </a:lnTo>
                <a:lnTo>
                  <a:pt x="20238" y="20653"/>
                </a:lnTo>
                <a:lnTo>
                  <a:pt x="15773" y="24298"/>
                </a:lnTo>
                <a:lnTo>
                  <a:pt x="11011" y="27031"/>
                </a:lnTo>
                <a:lnTo>
                  <a:pt x="5654" y="28550"/>
                </a:lnTo>
                <a:lnTo>
                  <a:pt x="0" y="29157"/>
                </a:lnTo>
                <a:close/>
              </a:path>
            </a:pathLst>
          </a:custGeom>
          <a:solidFill>
            <a:srgbClr val="000000"/>
          </a:solidFill>
        </p:spPr>
        <p:txBody>
          <a:bodyPr wrap="square" lIns="0" tIns="0" rIns="0" bIns="0" rtlCol="0">
            <a:noAutofit/>
          </a:bodyPr>
          <a:lstStyle/>
          <a:p>
            <a:endParaRPr/>
          </a:p>
        </p:txBody>
      </p:sp>
      <p:sp>
        <p:nvSpPr>
          <p:cNvPr id="853" name="object 853"/>
          <p:cNvSpPr/>
          <p:nvPr/>
        </p:nvSpPr>
        <p:spPr>
          <a:xfrm>
            <a:off x="8484629" y="1250608"/>
            <a:ext cx="46726" cy="3948"/>
          </a:xfrm>
          <a:custGeom>
            <a:avLst/>
            <a:gdLst/>
            <a:ahLst/>
            <a:cxnLst/>
            <a:rect l="l" t="t" r="r" b="b"/>
            <a:pathLst>
              <a:path w="46726" h="3948">
                <a:moveTo>
                  <a:pt x="0" y="3037"/>
                </a:moveTo>
                <a:lnTo>
                  <a:pt x="46726" y="3948"/>
                </a:lnTo>
                <a:lnTo>
                  <a:pt x="46726" y="911"/>
                </a:lnTo>
                <a:lnTo>
                  <a:pt x="0" y="0"/>
                </a:lnTo>
                <a:lnTo>
                  <a:pt x="0" y="3037"/>
                </a:lnTo>
                <a:close/>
              </a:path>
            </a:pathLst>
          </a:custGeom>
          <a:solidFill>
            <a:srgbClr val="000000"/>
          </a:solidFill>
        </p:spPr>
        <p:txBody>
          <a:bodyPr wrap="square" lIns="0" tIns="0" rIns="0" bIns="0" rtlCol="0">
            <a:noAutofit/>
          </a:bodyPr>
          <a:lstStyle/>
          <a:p>
            <a:endParaRPr/>
          </a:p>
        </p:txBody>
      </p:sp>
      <p:sp>
        <p:nvSpPr>
          <p:cNvPr id="854" name="object 854"/>
          <p:cNvSpPr/>
          <p:nvPr/>
        </p:nvSpPr>
        <p:spPr>
          <a:xfrm>
            <a:off x="8453082" y="1221147"/>
            <a:ext cx="31547" cy="32498"/>
          </a:xfrm>
          <a:custGeom>
            <a:avLst/>
            <a:gdLst/>
            <a:ahLst/>
            <a:cxnLst/>
            <a:rect l="l" t="t" r="r" b="b"/>
            <a:pathLst>
              <a:path w="31547" h="32498">
                <a:moveTo>
                  <a:pt x="5357" y="11541"/>
                </a:moveTo>
                <a:lnTo>
                  <a:pt x="3571" y="6074"/>
                </a:lnTo>
                <a:lnTo>
                  <a:pt x="2976" y="0"/>
                </a:lnTo>
                <a:lnTo>
                  <a:pt x="0" y="0"/>
                </a:lnTo>
                <a:lnTo>
                  <a:pt x="595" y="6681"/>
                </a:lnTo>
                <a:lnTo>
                  <a:pt x="2380" y="12756"/>
                </a:lnTo>
                <a:lnTo>
                  <a:pt x="5654" y="18223"/>
                </a:lnTo>
                <a:lnTo>
                  <a:pt x="9226" y="23083"/>
                </a:lnTo>
                <a:lnTo>
                  <a:pt x="13988" y="26727"/>
                </a:lnTo>
                <a:lnTo>
                  <a:pt x="19345" y="30068"/>
                </a:lnTo>
                <a:lnTo>
                  <a:pt x="25297" y="31891"/>
                </a:lnTo>
                <a:lnTo>
                  <a:pt x="31547" y="32498"/>
                </a:lnTo>
                <a:lnTo>
                  <a:pt x="31547" y="29461"/>
                </a:lnTo>
                <a:lnTo>
                  <a:pt x="25892" y="28853"/>
                </a:lnTo>
                <a:lnTo>
                  <a:pt x="20535" y="27031"/>
                </a:lnTo>
                <a:lnTo>
                  <a:pt x="15773" y="24298"/>
                </a:lnTo>
                <a:lnTo>
                  <a:pt x="11607" y="20653"/>
                </a:lnTo>
                <a:lnTo>
                  <a:pt x="8035" y="16401"/>
                </a:lnTo>
                <a:lnTo>
                  <a:pt x="5357" y="11541"/>
                </a:lnTo>
                <a:close/>
              </a:path>
            </a:pathLst>
          </a:custGeom>
          <a:solidFill>
            <a:srgbClr val="000000"/>
          </a:solidFill>
        </p:spPr>
        <p:txBody>
          <a:bodyPr wrap="square" lIns="0" tIns="0" rIns="0" bIns="0" rtlCol="0">
            <a:noAutofit/>
          </a:bodyPr>
          <a:lstStyle/>
          <a:p>
            <a:endParaRPr/>
          </a:p>
        </p:txBody>
      </p:sp>
      <p:sp>
        <p:nvSpPr>
          <p:cNvPr id="855" name="object 855"/>
          <p:cNvSpPr/>
          <p:nvPr/>
        </p:nvSpPr>
        <p:spPr>
          <a:xfrm>
            <a:off x="8453081" y="1204138"/>
            <a:ext cx="2976" cy="0"/>
          </a:xfrm>
          <a:custGeom>
            <a:avLst/>
            <a:gdLst/>
            <a:ahLst/>
            <a:cxnLst/>
            <a:rect l="l" t="t" r="r" b="b"/>
            <a:pathLst>
              <a:path w="2976">
                <a:moveTo>
                  <a:pt x="0" y="0"/>
                </a:moveTo>
                <a:lnTo>
                  <a:pt x="2976" y="0"/>
                </a:lnTo>
              </a:path>
            </a:pathLst>
          </a:custGeom>
          <a:ln w="35287">
            <a:solidFill>
              <a:srgbClr val="000000"/>
            </a:solidFill>
          </a:ln>
        </p:spPr>
        <p:txBody>
          <a:bodyPr wrap="square" lIns="0" tIns="0" rIns="0" bIns="0" rtlCol="0">
            <a:noAutofit/>
          </a:bodyPr>
          <a:lstStyle/>
          <a:p>
            <a:endParaRPr/>
          </a:p>
        </p:txBody>
      </p:sp>
      <p:sp>
        <p:nvSpPr>
          <p:cNvPr id="856" name="object 856"/>
          <p:cNvSpPr/>
          <p:nvPr/>
        </p:nvSpPr>
        <p:spPr>
          <a:xfrm>
            <a:off x="8453082" y="1154935"/>
            <a:ext cx="31547" cy="32194"/>
          </a:xfrm>
          <a:custGeom>
            <a:avLst/>
            <a:gdLst/>
            <a:ahLst/>
            <a:cxnLst/>
            <a:rect l="l" t="t" r="r" b="b"/>
            <a:pathLst>
              <a:path w="31547" h="32194">
                <a:moveTo>
                  <a:pt x="2976" y="32194"/>
                </a:moveTo>
                <a:lnTo>
                  <a:pt x="3571" y="26424"/>
                </a:lnTo>
                <a:lnTo>
                  <a:pt x="5357" y="20957"/>
                </a:lnTo>
                <a:lnTo>
                  <a:pt x="7738" y="15793"/>
                </a:lnTo>
                <a:lnTo>
                  <a:pt x="11607" y="11541"/>
                </a:lnTo>
                <a:lnTo>
                  <a:pt x="15476" y="7896"/>
                </a:lnTo>
                <a:lnTo>
                  <a:pt x="20535" y="5467"/>
                </a:lnTo>
                <a:lnTo>
                  <a:pt x="25892" y="3644"/>
                </a:lnTo>
                <a:lnTo>
                  <a:pt x="31547" y="3037"/>
                </a:lnTo>
                <a:lnTo>
                  <a:pt x="31547" y="0"/>
                </a:lnTo>
                <a:lnTo>
                  <a:pt x="25297" y="607"/>
                </a:lnTo>
                <a:lnTo>
                  <a:pt x="19345" y="2429"/>
                </a:lnTo>
                <a:lnTo>
                  <a:pt x="13690" y="5467"/>
                </a:lnTo>
                <a:lnTo>
                  <a:pt x="9226" y="9111"/>
                </a:lnTo>
                <a:lnTo>
                  <a:pt x="5357" y="13971"/>
                </a:lnTo>
                <a:lnTo>
                  <a:pt x="2380" y="19742"/>
                </a:lnTo>
                <a:lnTo>
                  <a:pt x="595" y="25816"/>
                </a:lnTo>
                <a:lnTo>
                  <a:pt x="0" y="32194"/>
                </a:lnTo>
                <a:lnTo>
                  <a:pt x="2976" y="32194"/>
                </a:lnTo>
                <a:close/>
              </a:path>
            </a:pathLst>
          </a:custGeom>
          <a:solidFill>
            <a:srgbClr val="000000"/>
          </a:solidFill>
        </p:spPr>
        <p:txBody>
          <a:bodyPr wrap="square" lIns="0" tIns="0" rIns="0" bIns="0" rtlCol="0">
            <a:noAutofit/>
          </a:bodyPr>
          <a:lstStyle/>
          <a:p>
            <a:endParaRPr/>
          </a:p>
        </p:txBody>
      </p:sp>
      <p:sp>
        <p:nvSpPr>
          <p:cNvPr id="857" name="object 857"/>
          <p:cNvSpPr/>
          <p:nvPr/>
        </p:nvSpPr>
        <p:spPr>
          <a:xfrm>
            <a:off x="8501891" y="1171032"/>
            <a:ext cx="60118" cy="77146"/>
          </a:xfrm>
          <a:custGeom>
            <a:avLst/>
            <a:gdLst/>
            <a:ahLst/>
            <a:cxnLst/>
            <a:rect l="l" t="t" r="r" b="b"/>
            <a:pathLst>
              <a:path w="60118" h="77146">
                <a:moveTo>
                  <a:pt x="30059" y="0"/>
                </a:moveTo>
                <a:lnTo>
                  <a:pt x="24107" y="911"/>
                </a:lnTo>
                <a:lnTo>
                  <a:pt x="18452" y="3037"/>
                </a:lnTo>
                <a:lnTo>
                  <a:pt x="13095" y="6681"/>
                </a:lnTo>
                <a:lnTo>
                  <a:pt x="8928" y="11237"/>
                </a:lnTo>
                <a:lnTo>
                  <a:pt x="5059" y="17008"/>
                </a:lnTo>
                <a:lnTo>
                  <a:pt x="2380" y="23690"/>
                </a:lnTo>
                <a:lnTo>
                  <a:pt x="595" y="30676"/>
                </a:lnTo>
                <a:lnTo>
                  <a:pt x="0" y="38573"/>
                </a:lnTo>
                <a:lnTo>
                  <a:pt x="595" y="46470"/>
                </a:lnTo>
                <a:lnTo>
                  <a:pt x="2380" y="53455"/>
                </a:lnTo>
                <a:lnTo>
                  <a:pt x="5059" y="60137"/>
                </a:lnTo>
                <a:lnTo>
                  <a:pt x="8928" y="65908"/>
                </a:lnTo>
                <a:lnTo>
                  <a:pt x="13095" y="70464"/>
                </a:lnTo>
                <a:lnTo>
                  <a:pt x="18452" y="74109"/>
                </a:lnTo>
                <a:lnTo>
                  <a:pt x="24107" y="76235"/>
                </a:lnTo>
                <a:lnTo>
                  <a:pt x="30059" y="77146"/>
                </a:lnTo>
                <a:lnTo>
                  <a:pt x="36011" y="76235"/>
                </a:lnTo>
                <a:lnTo>
                  <a:pt x="41666" y="74109"/>
                </a:lnTo>
                <a:lnTo>
                  <a:pt x="46726" y="70464"/>
                </a:lnTo>
                <a:lnTo>
                  <a:pt x="51190" y="65908"/>
                </a:lnTo>
                <a:lnTo>
                  <a:pt x="55059" y="60137"/>
                </a:lnTo>
                <a:lnTo>
                  <a:pt x="57737" y="53455"/>
                </a:lnTo>
                <a:lnTo>
                  <a:pt x="59523" y="46470"/>
                </a:lnTo>
                <a:lnTo>
                  <a:pt x="60118" y="38573"/>
                </a:lnTo>
                <a:lnTo>
                  <a:pt x="59523" y="30676"/>
                </a:lnTo>
                <a:lnTo>
                  <a:pt x="57737" y="23690"/>
                </a:lnTo>
                <a:lnTo>
                  <a:pt x="55059" y="17008"/>
                </a:lnTo>
                <a:lnTo>
                  <a:pt x="51190" y="11237"/>
                </a:lnTo>
                <a:lnTo>
                  <a:pt x="46726" y="6681"/>
                </a:lnTo>
                <a:lnTo>
                  <a:pt x="41666" y="3037"/>
                </a:lnTo>
                <a:lnTo>
                  <a:pt x="36011" y="911"/>
                </a:lnTo>
                <a:lnTo>
                  <a:pt x="30059" y="0"/>
                </a:lnTo>
                <a:close/>
              </a:path>
            </a:pathLst>
          </a:custGeom>
          <a:solidFill>
            <a:srgbClr val="000000"/>
          </a:solidFill>
        </p:spPr>
        <p:txBody>
          <a:bodyPr wrap="square" lIns="0" tIns="0" rIns="0" bIns="0" rtlCol="0">
            <a:noAutofit/>
          </a:bodyPr>
          <a:lstStyle/>
          <a:p>
            <a:endParaRPr/>
          </a:p>
        </p:txBody>
      </p:sp>
      <p:sp>
        <p:nvSpPr>
          <p:cNvPr id="858" name="object 858"/>
          <p:cNvSpPr/>
          <p:nvPr/>
        </p:nvSpPr>
        <p:spPr>
          <a:xfrm>
            <a:off x="8531951" y="1169515"/>
            <a:ext cx="31547" cy="40091"/>
          </a:xfrm>
          <a:custGeom>
            <a:avLst/>
            <a:gdLst/>
            <a:ahLst/>
            <a:cxnLst/>
            <a:rect l="l" t="t" r="r" b="b"/>
            <a:pathLst>
              <a:path w="31547" h="40091">
                <a:moveTo>
                  <a:pt x="5654" y="3948"/>
                </a:moveTo>
                <a:lnTo>
                  <a:pt x="11011" y="5770"/>
                </a:lnTo>
                <a:lnTo>
                  <a:pt x="15773" y="9415"/>
                </a:lnTo>
                <a:lnTo>
                  <a:pt x="19940" y="13667"/>
                </a:lnTo>
                <a:lnTo>
                  <a:pt x="23809" y="19134"/>
                </a:lnTo>
                <a:lnTo>
                  <a:pt x="26190" y="25816"/>
                </a:lnTo>
                <a:lnTo>
                  <a:pt x="27976" y="32498"/>
                </a:lnTo>
                <a:lnTo>
                  <a:pt x="28571" y="40091"/>
                </a:lnTo>
                <a:lnTo>
                  <a:pt x="31547" y="40091"/>
                </a:lnTo>
                <a:lnTo>
                  <a:pt x="30952" y="31891"/>
                </a:lnTo>
                <a:lnTo>
                  <a:pt x="29166" y="24601"/>
                </a:lnTo>
                <a:lnTo>
                  <a:pt x="26190" y="17919"/>
                </a:lnTo>
                <a:lnTo>
                  <a:pt x="22321" y="11845"/>
                </a:lnTo>
                <a:lnTo>
                  <a:pt x="17559" y="6985"/>
                </a:lnTo>
                <a:lnTo>
                  <a:pt x="12202" y="3340"/>
                </a:lnTo>
                <a:lnTo>
                  <a:pt x="6249" y="911"/>
                </a:lnTo>
                <a:lnTo>
                  <a:pt x="0" y="0"/>
                </a:lnTo>
                <a:lnTo>
                  <a:pt x="0" y="3037"/>
                </a:lnTo>
                <a:lnTo>
                  <a:pt x="5654" y="3948"/>
                </a:lnTo>
                <a:close/>
              </a:path>
            </a:pathLst>
          </a:custGeom>
          <a:solidFill>
            <a:srgbClr val="000000"/>
          </a:solidFill>
        </p:spPr>
        <p:txBody>
          <a:bodyPr wrap="square" lIns="0" tIns="0" rIns="0" bIns="0" rtlCol="0">
            <a:noAutofit/>
          </a:bodyPr>
          <a:lstStyle/>
          <a:p>
            <a:endParaRPr/>
          </a:p>
        </p:txBody>
      </p:sp>
      <p:sp>
        <p:nvSpPr>
          <p:cNvPr id="859" name="object 859"/>
          <p:cNvSpPr/>
          <p:nvPr/>
        </p:nvSpPr>
        <p:spPr>
          <a:xfrm>
            <a:off x="8531951" y="1209606"/>
            <a:ext cx="31547" cy="40091"/>
          </a:xfrm>
          <a:custGeom>
            <a:avLst/>
            <a:gdLst/>
            <a:ahLst/>
            <a:cxnLst/>
            <a:rect l="l" t="t" r="r" b="b"/>
            <a:pathLst>
              <a:path w="31547" h="40091">
                <a:moveTo>
                  <a:pt x="0" y="37054"/>
                </a:moveTo>
                <a:lnTo>
                  <a:pt x="0" y="40091"/>
                </a:lnTo>
                <a:lnTo>
                  <a:pt x="6249" y="39180"/>
                </a:lnTo>
                <a:lnTo>
                  <a:pt x="12202" y="36750"/>
                </a:lnTo>
                <a:lnTo>
                  <a:pt x="17559" y="33106"/>
                </a:lnTo>
                <a:lnTo>
                  <a:pt x="22321" y="28246"/>
                </a:lnTo>
                <a:lnTo>
                  <a:pt x="26190" y="22171"/>
                </a:lnTo>
                <a:lnTo>
                  <a:pt x="29166" y="15490"/>
                </a:lnTo>
                <a:lnTo>
                  <a:pt x="30952" y="8200"/>
                </a:lnTo>
                <a:lnTo>
                  <a:pt x="31547" y="0"/>
                </a:lnTo>
                <a:lnTo>
                  <a:pt x="28571" y="0"/>
                </a:lnTo>
                <a:lnTo>
                  <a:pt x="27976" y="7593"/>
                </a:lnTo>
                <a:lnTo>
                  <a:pt x="26190" y="14275"/>
                </a:lnTo>
                <a:lnTo>
                  <a:pt x="23809" y="20957"/>
                </a:lnTo>
                <a:lnTo>
                  <a:pt x="19940" y="26424"/>
                </a:lnTo>
                <a:lnTo>
                  <a:pt x="15773" y="30676"/>
                </a:lnTo>
                <a:lnTo>
                  <a:pt x="11011" y="34320"/>
                </a:lnTo>
                <a:lnTo>
                  <a:pt x="5654" y="36143"/>
                </a:lnTo>
                <a:lnTo>
                  <a:pt x="0" y="37054"/>
                </a:lnTo>
                <a:close/>
              </a:path>
            </a:pathLst>
          </a:custGeom>
          <a:solidFill>
            <a:srgbClr val="000000"/>
          </a:solidFill>
        </p:spPr>
        <p:txBody>
          <a:bodyPr wrap="square" lIns="0" tIns="0" rIns="0" bIns="0" rtlCol="0">
            <a:noAutofit/>
          </a:bodyPr>
          <a:lstStyle/>
          <a:p>
            <a:endParaRPr/>
          </a:p>
        </p:txBody>
      </p:sp>
      <p:sp>
        <p:nvSpPr>
          <p:cNvPr id="860" name="object 860"/>
          <p:cNvSpPr/>
          <p:nvPr/>
        </p:nvSpPr>
        <p:spPr>
          <a:xfrm>
            <a:off x="8500404" y="1209606"/>
            <a:ext cx="31547" cy="40091"/>
          </a:xfrm>
          <a:custGeom>
            <a:avLst/>
            <a:gdLst/>
            <a:ahLst/>
            <a:cxnLst/>
            <a:rect l="l" t="t" r="r" b="b"/>
            <a:pathLst>
              <a:path w="31547" h="40091">
                <a:moveTo>
                  <a:pt x="7738" y="20957"/>
                </a:moveTo>
                <a:lnTo>
                  <a:pt x="5357" y="14275"/>
                </a:lnTo>
                <a:lnTo>
                  <a:pt x="3571" y="7593"/>
                </a:lnTo>
                <a:lnTo>
                  <a:pt x="2976" y="0"/>
                </a:lnTo>
                <a:lnTo>
                  <a:pt x="0" y="0"/>
                </a:lnTo>
                <a:lnTo>
                  <a:pt x="595" y="8200"/>
                </a:lnTo>
                <a:lnTo>
                  <a:pt x="2380" y="15490"/>
                </a:lnTo>
                <a:lnTo>
                  <a:pt x="5357" y="22171"/>
                </a:lnTo>
                <a:lnTo>
                  <a:pt x="9226" y="28246"/>
                </a:lnTo>
                <a:lnTo>
                  <a:pt x="13690" y="33106"/>
                </a:lnTo>
                <a:lnTo>
                  <a:pt x="19345" y="36750"/>
                </a:lnTo>
                <a:lnTo>
                  <a:pt x="25297" y="39180"/>
                </a:lnTo>
                <a:lnTo>
                  <a:pt x="31547" y="40091"/>
                </a:lnTo>
                <a:lnTo>
                  <a:pt x="31547" y="37054"/>
                </a:lnTo>
                <a:lnTo>
                  <a:pt x="25892" y="36143"/>
                </a:lnTo>
                <a:lnTo>
                  <a:pt x="20535" y="34320"/>
                </a:lnTo>
                <a:lnTo>
                  <a:pt x="15476" y="30676"/>
                </a:lnTo>
                <a:lnTo>
                  <a:pt x="11607" y="26424"/>
                </a:lnTo>
                <a:lnTo>
                  <a:pt x="7738" y="20957"/>
                </a:lnTo>
                <a:close/>
              </a:path>
            </a:pathLst>
          </a:custGeom>
          <a:solidFill>
            <a:srgbClr val="000000"/>
          </a:solidFill>
        </p:spPr>
        <p:txBody>
          <a:bodyPr wrap="square" lIns="0" tIns="0" rIns="0" bIns="0" rtlCol="0">
            <a:noAutofit/>
          </a:bodyPr>
          <a:lstStyle/>
          <a:p>
            <a:endParaRPr/>
          </a:p>
        </p:txBody>
      </p:sp>
      <p:sp>
        <p:nvSpPr>
          <p:cNvPr id="861" name="object 861"/>
          <p:cNvSpPr/>
          <p:nvPr/>
        </p:nvSpPr>
        <p:spPr>
          <a:xfrm>
            <a:off x="8500404" y="1169515"/>
            <a:ext cx="31547" cy="40091"/>
          </a:xfrm>
          <a:custGeom>
            <a:avLst/>
            <a:gdLst/>
            <a:ahLst/>
            <a:cxnLst/>
            <a:rect l="l" t="t" r="r" b="b"/>
            <a:pathLst>
              <a:path w="31547" h="40091">
                <a:moveTo>
                  <a:pt x="2976" y="40091"/>
                </a:moveTo>
                <a:lnTo>
                  <a:pt x="3571" y="32498"/>
                </a:lnTo>
                <a:lnTo>
                  <a:pt x="5357" y="25816"/>
                </a:lnTo>
                <a:lnTo>
                  <a:pt x="7738" y="19134"/>
                </a:lnTo>
                <a:lnTo>
                  <a:pt x="11607" y="13667"/>
                </a:lnTo>
                <a:lnTo>
                  <a:pt x="15476" y="9415"/>
                </a:lnTo>
                <a:lnTo>
                  <a:pt x="20535" y="5770"/>
                </a:lnTo>
                <a:lnTo>
                  <a:pt x="25892" y="3948"/>
                </a:lnTo>
                <a:lnTo>
                  <a:pt x="31547" y="3037"/>
                </a:lnTo>
                <a:lnTo>
                  <a:pt x="31547" y="0"/>
                </a:lnTo>
                <a:lnTo>
                  <a:pt x="25297" y="911"/>
                </a:lnTo>
                <a:lnTo>
                  <a:pt x="19345" y="3340"/>
                </a:lnTo>
                <a:lnTo>
                  <a:pt x="13690" y="6985"/>
                </a:lnTo>
                <a:lnTo>
                  <a:pt x="9226" y="11845"/>
                </a:lnTo>
                <a:lnTo>
                  <a:pt x="5357" y="17919"/>
                </a:lnTo>
                <a:lnTo>
                  <a:pt x="2380" y="24601"/>
                </a:lnTo>
                <a:lnTo>
                  <a:pt x="595" y="31891"/>
                </a:lnTo>
                <a:lnTo>
                  <a:pt x="0" y="40091"/>
                </a:lnTo>
                <a:lnTo>
                  <a:pt x="2976" y="40091"/>
                </a:lnTo>
                <a:close/>
              </a:path>
            </a:pathLst>
          </a:custGeom>
          <a:solidFill>
            <a:srgbClr val="000000"/>
          </a:solidFill>
        </p:spPr>
        <p:txBody>
          <a:bodyPr wrap="square" lIns="0" tIns="0" rIns="0" bIns="0" rtlCol="0">
            <a:noAutofit/>
          </a:bodyPr>
          <a:lstStyle/>
          <a:p>
            <a:endParaRPr/>
          </a:p>
        </p:txBody>
      </p:sp>
      <p:sp>
        <p:nvSpPr>
          <p:cNvPr id="862" name="object 862"/>
          <p:cNvSpPr/>
          <p:nvPr/>
        </p:nvSpPr>
        <p:spPr>
          <a:xfrm>
            <a:off x="8449510" y="1171641"/>
            <a:ext cx="57440" cy="74109"/>
          </a:xfrm>
          <a:custGeom>
            <a:avLst/>
            <a:gdLst/>
            <a:ahLst/>
            <a:cxnLst/>
            <a:rect l="l" t="t" r="r" b="b"/>
            <a:pathLst>
              <a:path w="57440" h="74109">
                <a:moveTo>
                  <a:pt x="28868" y="0"/>
                </a:moveTo>
                <a:lnTo>
                  <a:pt x="22916" y="607"/>
                </a:lnTo>
                <a:lnTo>
                  <a:pt x="17559" y="3037"/>
                </a:lnTo>
                <a:lnTo>
                  <a:pt x="12797" y="6378"/>
                </a:lnTo>
                <a:lnTo>
                  <a:pt x="8333" y="10934"/>
                </a:lnTo>
                <a:lnTo>
                  <a:pt x="4761" y="16401"/>
                </a:lnTo>
                <a:lnTo>
                  <a:pt x="2380" y="22779"/>
                </a:lnTo>
                <a:lnTo>
                  <a:pt x="595" y="29765"/>
                </a:lnTo>
                <a:lnTo>
                  <a:pt x="0" y="37054"/>
                </a:lnTo>
                <a:lnTo>
                  <a:pt x="595" y="44343"/>
                </a:lnTo>
                <a:lnTo>
                  <a:pt x="2380" y="51329"/>
                </a:lnTo>
                <a:lnTo>
                  <a:pt x="4761" y="57707"/>
                </a:lnTo>
                <a:lnTo>
                  <a:pt x="8333" y="63174"/>
                </a:lnTo>
                <a:lnTo>
                  <a:pt x="12797" y="67730"/>
                </a:lnTo>
                <a:lnTo>
                  <a:pt x="17559" y="71071"/>
                </a:lnTo>
                <a:lnTo>
                  <a:pt x="22916" y="73501"/>
                </a:lnTo>
                <a:lnTo>
                  <a:pt x="28868" y="74109"/>
                </a:lnTo>
                <a:lnTo>
                  <a:pt x="34523" y="73501"/>
                </a:lnTo>
                <a:lnTo>
                  <a:pt x="39880" y="71071"/>
                </a:lnTo>
                <a:lnTo>
                  <a:pt x="44940" y="67730"/>
                </a:lnTo>
                <a:lnTo>
                  <a:pt x="49106" y="63174"/>
                </a:lnTo>
                <a:lnTo>
                  <a:pt x="52678" y="57707"/>
                </a:lnTo>
                <a:lnTo>
                  <a:pt x="55059" y="51329"/>
                </a:lnTo>
                <a:lnTo>
                  <a:pt x="56845" y="44343"/>
                </a:lnTo>
                <a:lnTo>
                  <a:pt x="57440" y="37054"/>
                </a:lnTo>
                <a:lnTo>
                  <a:pt x="56845" y="29765"/>
                </a:lnTo>
                <a:lnTo>
                  <a:pt x="55059" y="22779"/>
                </a:lnTo>
                <a:lnTo>
                  <a:pt x="52678" y="16401"/>
                </a:lnTo>
                <a:lnTo>
                  <a:pt x="49106" y="10934"/>
                </a:lnTo>
                <a:lnTo>
                  <a:pt x="44940" y="6378"/>
                </a:lnTo>
                <a:lnTo>
                  <a:pt x="39880" y="3037"/>
                </a:lnTo>
                <a:lnTo>
                  <a:pt x="34523" y="607"/>
                </a:lnTo>
                <a:lnTo>
                  <a:pt x="28868" y="0"/>
                </a:lnTo>
                <a:close/>
              </a:path>
            </a:pathLst>
          </a:custGeom>
          <a:solidFill>
            <a:srgbClr val="000000"/>
          </a:solidFill>
        </p:spPr>
        <p:txBody>
          <a:bodyPr wrap="square" lIns="0" tIns="0" rIns="0" bIns="0" rtlCol="0">
            <a:noAutofit/>
          </a:bodyPr>
          <a:lstStyle/>
          <a:p>
            <a:endParaRPr/>
          </a:p>
        </p:txBody>
      </p:sp>
      <p:sp>
        <p:nvSpPr>
          <p:cNvPr id="863" name="object 863"/>
          <p:cNvSpPr/>
          <p:nvPr/>
        </p:nvSpPr>
        <p:spPr>
          <a:xfrm>
            <a:off x="8478380" y="1170122"/>
            <a:ext cx="30059" cy="38573"/>
          </a:xfrm>
          <a:custGeom>
            <a:avLst/>
            <a:gdLst/>
            <a:ahLst/>
            <a:cxnLst/>
            <a:rect l="l" t="t" r="r" b="b"/>
            <a:pathLst>
              <a:path w="30059" h="38573">
                <a:moveTo>
                  <a:pt x="5357" y="3644"/>
                </a:moveTo>
                <a:lnTo>
                  <a:pt x="10416" y="5770"/>
                </a:lnTo>
                <a:lnTo>
                  <a:pt x="15178" y="9111"/>
                </a:lnTo>
                <a:lnTo>
                  <a:pt x="19047" y="13363"/>
                </a:lnTo>
                <a:lnTo>
                  <a:pt x="22618" y="18527"/>
                </a:lnTo>
                <a:lnTo>
                  <a:pt x="24702" y="24905"/>
                </a:lnTo>
                <a:lnTo>
                  <a:pt x="26488" y="31587"/>
                </a:lnTo>
                <a:lnTo>
                  <a:pt x="27083" y="38573"/>
                </a:lnTo>
                <a:lnTo>
                  <a:pt x="30059" y="38573"/>
                </a:lnTo>
                <a:lnTo>
                  <a:pt x="29464" y="30980"/>
                </a:lnTo>
                <a:lnTo>
                  <a:pt x="27678" y="23690"/>
                </a:lnTo>
                <a:lnTo>
                  <a:pt x="24999" y="17312"/>
                </a:lnTo>
                <a:lnTo>
                  <a:pt x="21428" y="11541"/>
                </a:lnTo>
                <a:lnTo>
                  <a:pt x="16964" y="6681"/>
                </a:lnTo>
                <a:lnTo>
                  <a:pt x="11607" y="3340"/>
                </a:lnTo>
                <a:lnTo>
                  <a:pt x="5952" y="607"/>
                </a:lnTo>
                <a:lnTo>
                  <a:pt x="0" y="0"/>
                </a:lnTo>
                <a:lnTo>
                  <a:pt x="0" y="3037"/>
                </a:lnTo>
                <a:lnTo>
                  <a:pt x="5357" y="3644"/>
                </a:lnTo>
                <a:close/>
              </a:path>
            </a:pathLst>
          </a:custGeom>
          <a:solidFill>
            <a:srgbClr val="000000"/>
          </a:solidFill>
        </p:spPr>
        <p:txBody>
          <a:bodyPr wrap="square" lIns="0" tIns="0" rIns="0" bIns="0" rtlCol="0">
            <a:noAutofit/>
          </a:bodyPr>
          <a:lstStyle/>
          <a:p>
            <a:endParaRPr/>
          </a:p>
        </p:txBody>
      </p:sp>
      <p:sp>
        <p:nvSpPr>
          <p:cNvPr id="864" name="object 864"/>
          <p:cNvSpPr/>
          <p:nvPr/>
        </p:nvSpPr>
        <p:spPr>
          <a:xfrm>
            <a:off x="8478380" y="1208695"/>
            <a:ext cx="30059" cy="38573"/>
          </a:xfrm>
          <a:custGeom>
            <a:avLst/>
            <a:gdLst/>
            <a:ahLst/>
            <a:cxnLst/>
            <a:rect l="l" t="t" r="r" b="b"/>
            <a:pathLst>
              <a:path w="30059" h="38573">
                <a:moveTo>
                  <a:pt x="5952" y="37965"/>
                </a:moveTo>
                <a:lnTo>
                  <a:pt x="11607" y="35232"/>
                </a:lnTo>
                <a:lnTo>
                  <a:pt x="16964" y="31891"/>
                </a:lnTo>
                <a:lnTo>
                  <a:pt x="21428" y="27031"/>
                </a:lnTo>
                <a:lnTo>
                  <a:pt x="24999" y="21260"/>
                </a:lnTo>
                <a:lnTo>
                  <a:pt x="27678" y="14882"/>
                </a:lnTo>
                <a:lnTo>
                  <a:pt x="29464" y="7593"/>
                </a:lnTo>
                <a:lnTo>
                  <a:pt x="30059" y="0"/>
                </a:lnTo>
                <a:lnTo>
                  <a:pt x="27083" y="0"/>
                </a:lnTo>
                <a:lnTo>
                  <a:pt x="26488" y="6985"/>
                </a:lnTo>
                <a:lnTo>
                  <a:pt x="24702" y="13667"/>
                </a:lnTo>
                <a:lnTo>
                  <a:pt x="22618" y="20045"/>
                </a:lnTo>
                <a:lnTo>
                  <a:pt x="19047" y="25209"/>
                </a:lnTo>
                <a:lnTo>
                  <a:pt x="15178" y="29461"/>
                </a:lnTo>
                <a:lnTo>
                  <a:pt x="10416" y="32802"/>
                </a:lnTo>
                <a:lnTo>
                  <a:pt x="5357" y="34928"/>
                </a:lnTo>
                <a:lnTo>
                  <a:pt x="0" y="35535"/>
                </a:lnTo>
                <a:lnTo>
                  <a:pt x="0" y="38573"/>
                </a:lnTo>
                <a:lnTo>
                  <a:pt x="5952" y="37965"/>
                </a:lnTo>
                <a:close/>
              </a:path>
            </a:pathLst>
          </a:custGeom>
          <a:solidFill>
            <a:srgbClr val="000000"/>
          </a:solidFill>
        </p:spPr>
        <p:txBody>
          <a:bodyPr wrap="square" lIns="0" tIns="0" rIns="0" bIns="0" rtlCol="0">
            <a:noAutofit/>
          </a:bodyPr>
          <a:lstStyle/>
          <a:p>
            <a:endParaRPr/>
          </a:p>
        </p:txBody>
      </p:sp>
      <p:sp>
        <p:nvSpPr>
          <p:cNvPr id="865" name="object 865"/>
          <p:cNvSpPr/>
          <p:nvPr/>
        </p:nvSpPr>
        <p:spPr>
          <a:xfrm>
            <a:off x="8448023" y="1208695"/>
            <a:ext cx="30357" cy="38573"/>
          </a:xfrm>
          <a:custGeom>
            <a:avLst/>
            <a:gdLst/>
            <a:ahLst/>
            <a:cxnLst/>
            <a:rect l="l" t="t" r="r" b="b"/>
            <a:pathLst>
              <a:path w="30357" h="38573">
                <a:moveTo>
                  <a:pt x="7440" y="20045"/>
                </a:moveTo>
                <a:lnTo>
                  <a:pt x="5357" y="13667"/>
                </a:lnTo>
                <a:lnTo>
                  <a:pt x="3571" y="6985"/>
                </a:lnTo>
                <a:lnTo>
                  <a:pt x="2976" y="0"/>
                </a:lnTo>
                <a:lnTo>
                  <a:pt x="0" y="0"/>
                </a:lnTo>
                <a:lnTo>
                  <a:pt x="595" y="7593"/>
                </a:lnTo>
                <a:lnTo>
                  <a:pt x="2380" y="14882"/>
                </a:lnTo>
                <a:lnTo>
                  <a:pt x="5059" y="21260"/>
                </a:lnTo>
                <a:lnTo>
                  <a:pt x="8630" y="27031"/>
                </a:lnTo>
                <a:lnTo>
                  <a:pt x="13392" y="31891"/>
                </a:lnTo>
                <a:lnTo>
                  <a:pt x="18452" y="35232"/>
                </a:lnTo>
                <a:lnTo>
                  <a:pt x="24107" y="37965"/>
                </a:lnTo>
                <a:lnTo>
                  <a:pt x="30357" y="38573"/>
                </a:lnTo>
                <a:lnTo>
                  <a:pt x="30357" y="35535"/>
                </a:lnTo>
                <a:lnTo>
                  <a:pt x="24702" y="34928"/>
                </a:lnTo>
                <a:lnTo>
                  <a:pt x="19642" y="32802"/>
                </a:lnTo>
                <a:lnTo>
                  <a:pt x="15178" y="29461"/>
                </a:lnTo>
                <a:lnTo>
                  <a:pt x="11011" y="25209"/>
                </a:lnTo>
                <a:lnTo>
                  <a:pt x="7440" y="20045"/>
                </a:lnTo>
                <a:close/>
              </a:path>
            </a:pathLst>
          </a:custGeom>
          <a:solidFill>
            <a:srgbClr val="000000"/>
          </a:solidFill>
        </p:spPr>
        <p:txBody>
          <a:bodyPr wrap="square" lIns="0" tIns="0" rIns="0" bIns="0" rtlCol="0">
            <a:noAutofit/>
          </a:bodyPr>
          <a:lstStyle/>
          <a:p>
            <a:endParaRPr/>
          </a:p>
        </p:txBody>
      </p:sp>
      <p:sp>
        <p:nvSpPr>
          <p:cNvPr id="866" name="object 866"/>
          <p:cNvSpPr/>
          <p:nvPr/>
        </p:nvSpPr>
        <p:spPr>
          <a:xfrm>
            <a:off x="8448023" y="1170122"/>
            <a:ext cx="30357" cy="38573"/>
          </a:xfrm>
          <a:custGeom>
            <a:avLst/>
            <a:gdLst/>
            <a:ahLst/>
            <a:cxnLst/>
            <a:rect l="l" t="t" r="r" b="b"/>
            <a:pathLst>
              <a:path w="30357" h="38573">
                <a:moveTo>
                  <a:pt x="2976" y="38573"/>
                </a:moveTo>
                <a:lnTo>
                  <a:pt x="3571" y="31587"/>
                </a:lnTo>
                <a:lnTo>
                  <a:pt x="5357" y="24905"/>
                </a:lnTo>
                <a:lnTo>
                  <a:pt x="7440" y="18527"/>
                </a:lnTo>
                <a:lnTo>
                  <a:pt x="11011" y="13363"/>
                </a:lnTo>
                <a:lnTo>
                  <a:pt x="15178" y="9111"/>
                </a:lnTo>
                <a:lnTo>
                  <a:pt x="19642" y="5770"/>
                </a:lnTo>
                <a:lnTo>
                  <a:pt x="24702" y="3644"/>
                </a:lnTo>
                <a:lnTo>
                  <a:pt x="30357" y="3037"/>
                </a:lnTo>
                <a:lnTo>
                  <a:pt x="30357" y="0"/>
                </a:lnTo>
                <a:lnTo>
                  <a:pt x="24107" y="607"/>
                </a:lnTo>
                <a:lnTo>
                  <a:pt x="18452" y="3340"/>
                </a:lnTo>
                <a:lnTo>
                  <a:pt x="13392" y="6681"/>
                </a:lnTo>
                <a:lnTo>
                  <a:pt x="8630" y="11541"/>
                </a:lnTo>
                <a:lnTo>
                  <a:pt x="5059" y="17312"/>
                </a:lnTo>
                <a:lnTo>
                  <a:pt x="2380" y="23690"/>
                </a:lnTo>
                <a:lnTo>
                  <a:pt x="595" y="30980"/>
                </a:lnTo>
                <a:lnTo>
                  <a:pt x="0" y="38573"/>
                </a:lnTo>
                <a:lnTo>
                  <a:pt x="2976" y="38573"/>
                </a:lnTo>
                <a:close/>
              </a:path>
            </a:pathLst>
          </a:custGeom>
          <a:solidFill>
            <a:srgbClr val="000000"/>
          </a:solidFill>
        </p:spPr>
        <p:txBody>
          <a:bodyPr wrap="square" lIns="0" tIns="0" rIns="0" bIns="0" rtlCol="0">
            <a:noAutofit/>
          </a:bodyPr>
          <a:lstStyle/>
          <a:p>
            <a:endParaRPr/>
          </a:p>
        </p:txBody>
      </p:sp>
      <p:sp>
        <p:nvSpPr>
          <p:cNvPr id="867" name="object 867"/>
          <p:cNvSpPr/>
          <p:nvPr/>
        </p:nvSpPr>
        <p:spPr>
          <a:xfrm>
            <a:off x="8501297" y="1174982"/>
            <a:ext cx="53273" cy="68945"/>
          </a:xfrm>
          <a:custGeom>
            <a:avLst/>
            <a:gdLst/>
            <a:ahLst/>
            <a:cxnLst/>
            <a:rect l="l" t="t" r="r" b="b"/>
            <a:pathLst>
              <a:path w="53273" h="68945">
                <a:moveTo>
                  <a:pt x="0" y="34624"/>
                </a:moveTo>
                <a:lnTo>
                  <a:pt x="595" y="41610"/>
                </a:lnTo>
                <a:lnTo>
                  <a:pt x="2083" y="47988"/>
                </a:lnTo>
                <a:lnTo>
                  <a:pt x="4464" y="53759"/>
                </a:lnTo>
                <a:lnTo>
                  <a:pt x="7738" y="58922"/>
                </a:lnTo>
                <a:lnTo>
                  <a:pt x="11607" y="63174"/>
                </a:lnTo>
                <a:lnTo>
                  <a:pt x="16071" y="66212"/>
                </a:lnTo>
                <a:lnTo>
                  <a:pt x="21130" y="68338"/>
                </a:lnTo>
                <a:lnTo>
                  <a:pt x="26488" y="68945"/>
                </a:lnTo>
                <a:lnTo>
                  <a:pt x="31845" y="68338"/>
                </a:lnTo>
                <a:lnTo>
                  <a:pt x="36607" y="66212"/>
                </a:lnTo>
                <a:lnTo>
                  <a:pt x="41368" y="63174"/>
                </a:lnTo>
                <a:lnTo>
                  <a:pt x="45237" y="58922"/>
                </a:lnTo>
                <a:lnTo>
                  <a:pt x="48511" y="53759"/>
                </a:lnTo>
                <a:lnTo>
                  <a:pt x="51190" y="47988"/>
                </a:lnTo>
                <a:lnTo>
                  <a:pt x="52678" y="41610"/>
                </a:lnTo>
                <a:lnTo>
                  <a:pt x="53273" y="34624"/>
                </a:lnTo>
                <a:lnTo>
                  <a:pt x="52678" y="27639"/>
                </a:lnTo>
                <a:lnTo>
                  <a:pt x="51190" y="21260"/>
                </a:lnTo>
                <a:lnTo>
                  <a:pt x="48511" y="15186"/>
                </a:lnTo>
                <a:lnTo>
                  <a:pt x="45237" y="10022"/>
                </a:lnTo>
                <a:lnTo>
                  <a:pt x="41368" y="5770"/>
                </a:lnTo>
                <a:lnTo>
                  <a:pt x="36607" y="2733"/>
                </a:lnTo>
                <a:lnTo>
                  <a:pt x="31845" y="607"/>
                </a:lnTo>
                <a:lnTo>
                  <a:pt x="26488" y="0"/>
                </a:lnTo>
                <a:lnTo>
                  <a:pt x="21130" y="607"/>
                </a:lnTo>
                <a:lnTo>
                  <a:pt x="16071" y="2733"/>
                </a:lnTo>
                <a:lnTo>
                  <a:pt x="11607" y="5770"/>
                </a:lnTo>
                <a:lnTo>
                  <a:pt x="7738" y="10022"/>
                </a:lnTo>
                <a:lnTo>
                  <a:pt x="4464" y="15186"/>
                </a:lnTo>
                <a:lnTo>
                  <a:pt x="2083" y="21260"/>
                </a:lnTo>
                <a:lnTo>
                  <a:pt x="595" y="27639"/>
                </a:lnTo>
                <a:lnTo>
                  <a:pt x="0" y="34624"/>
                </a:lnTo>
                <a:close/>
              </a:path>
            </a:pathLst>
          </a:custGeom>
          <a:solidFill>
            <a:srgbClr val="E4FFE4"/>
          </a:solidFill>
        </p:spPr>
        <p:txBody>
          <a:bodyPr wrap="square" lIns="0" tIns="0" rIns="0" bIns="0" rtlCol="0">
            <a:noAutofit/>
          </a:bodyPr>
          <a:lstStyle/>
          <a:p>
            <a:endParaRPr/>
          </a:p>
        </p:txBody>
      </p:sp>
      <p:sp>
        <p:nvSpPr>
          <p:cNvPr id="868" name="object 868"/>
          <p:cNvSpPr/>
          <p:nvPr/>
        </p:nvSpPr>
        <p:spPr>
          <a:xfrm>
            <a:off x="8448915" y="1175892"/>
            <a:ext cx="51190" cy="65908"/>
          </a:xfrm>
          <a:custGeom>
            <a:avLst/>
            <a:gdLst/>
            <a:ahLst/>
            <a:cxnLst/>
            <a:rect l="l" t="t" r="r" b="b"/>
            <a:pathLst>
              <a:path w="51190" h="65908">
                <a:moveTo>
                  <a:pt x="0" y="33106"/>
                </a:moveTo>
                <a:lnTo>
                  <a:pt x="595" y="39788"/>
                </a:lnTo>
                <a:lnTo>
                  <a:pt x="2083" y="45862"/>
                </a:lnTo>
                <a:lnTo>
                  <a:pt x="4464" y="51329"/>
                </a:lnTo>
                <a:lnTo>
                  <a:pt x="7440" y="56189"/>
                </a:lnTo>
                <a:lnTo>
                  <a:pt x="11309" y="60137"/>
                </a:lnTo>
                <a:lnTo>
                  <a:pt x="15476" y="63174"/>
                </a:lnTo>
                <a:lnTo>
                  <a:pt x="20535" y="65301"/>
                </a:lnTo>
                <a:lnTo>
                  <a:pt x="25595" y="65908"/>
                </a:lnTo>
                <a:lnTo>
                  <a:pt x="30654" y="65301"/>
                </a:lnTo>
                <a:lnTo>
                  <a:pt x="35416" y="63174"/>
                </a:lnTo>
                <a:lnTo>
                  <a:pt x="39583" y="60137"/>
                </a:lnTo>
                <a:lnTo>
                  <a:pt x="43452" y="56189"/>
                </a:lnTo>
                <a:lnTo>
                  <a:pt x="46726" y="51329"/>
                </a:lnTo>
                <a:lnTo>
                  <a:pt x="49106" y="45862"/>
                </a:lnTo>
                <a:lnTo>
                  <a:pt x="50595" y="39788"/>
                </a:lnTo>
                <a:lnTo>
                  <a:pt x="51190" y="33106"/>
                </a:lnTo>
                <a:lnTo>
                  <a:pt x="50595" y="26424"/>
                </a:lnTo>
                <a:lnTo>
                  <a:pt x="49106" y="20349"/>
                </a:lnTo>
                <a:lnTo>
                  <a:pt x="46726" y="14578"/>
                </a:lnTo>
                <a:lnTo>
                  <a:pt x="43452" y="9719"/>
                </a:lnTo>
                <a:lnTo>
                  <a:pt x="39583" y="5770"/>
                </a:lnTo>
                <a:lnTo>
                  <a:pt x="35416" y="2733"/>
                </a:lnTo>
                <a:lnTo>
                  <a:pt x="30654" y="607"/>
                </a:lnTo>
                <a:lnTo>
                  <a:pt x="25595" y="0"/>
                </a:lnTo>
                <a:lnTo>
                  <a:pt x="20535" y="607"/>
                </a:lnTo>
                <a:lnTo>
                  <a:pt x="15476" y="2733"/>
                </a:lnTo>
                <a:lnTo>
                  <a:pt x="11309" y="5770"/>
                </a:lnTo>
                <a:lnTo>
                  <a:pt x="7440" y="9719"/>
                </a:lnTo>
                <a:lnTo>
                  <a:pt x="4464" y="14578"/>
                </a:lnTo>
                <a:lnTo>
                  <a:pt x="2083" y="20349"/>
                </a:lnTo>
                <a:lnTo>
                  <a:pt x="595" y="26424"/>
                </a:lnTo>
                <a:lnTo>
                  <a:pt x="0" y="33106"/>
                </a:lnTo>
                <a:close/>
              </a:path>
            </a:pathLst>
          </a:custGeom>
          <a:solidFill>
            <a:srgbClr val="E4FFE4"/>
          </a:solidFill>
        </p:spPr>
        <p:txBody>
          <a:bodyPr wrap="square" lIns="0" tIns="0" rIns="0" bIns="0" rtlCol="0">
            <a:noAutofit/>
          </a:bodyPr>
          <a:lstStyle/>
          <a:p>
            <a:endParaRPr/>
          </a:p>
        </p:txBody>
      </p:sp>
      <p:sp>
        <p:nvSpPr>
          <p:cNvPr id="869" name="object 869"/>
          <p:cNvSpPr/>
          <p:nvPr/>
        </p:nvSpPr>
        <p:spPr>
          <a:xfrm>
            <a:off x="8527785" y="1173463"/>
            <a:ext cx="28273" cy="36143"/>
          </a:xfrm>
          <a:custGeom>
            <a:avLst/>
            <a:gdLst/>
            <a:ahLst/>
            <a:cxnLst/>
            <a:rect l="l" t="t" r="r" b="b"/>
            <a:pathLst>
              <a:path w="28273" h="36143">
                <a:moveTo>
                  <a:pt x="5059" y="3644"/>
                </a:moveTo>
                <a:lnTo>
                  <a:pt x="9523" y="5467"/>
                </a:lnTo>
                <a:lnTo>
                  <a:pt x="13988" y="8504"/>
                </a:lnTo>
                <a:lnTo>
                  <a:pt x="17559" y="12452"/>
                </a:lnTo>
                <a:lnTo>
                  <a:pt x="20833" y="17312"/>
                </a:lnTo>
                <a:lnTo>
                  <a:pt x="23214" y="23386"/>
                </a:lnTo>
                <a:lnTo>
                  <a:pt x="24702" y="29461"/>
                </a:lnTo>
                <a:lnTo>
                  <a:pt x="25297" y="36143"/>
                </a:lnTo>
                <a:lnTo>
                  <a:pt x="28273" y="36143"/>
                </a:lnTo>
                <a:lnTo>
                  <a:pt x="27678" y="28853"/>
                </a:lnTo>
                <a:lnTo>
                  <a:pt x="26190" y="22171"/>
                </a:lnTo>
                <a:lnTo>
                  <a:pt x="23214" y="16097"/>
                </a:lnTo>
                <a:lnTo>
                  <a:pt x="19940" y="10630"/>
                </a:lnTo>
                <a:lnTo>
                  <a:pt x="15773" y="6074"/>
                </a:lnTo>
                <a:lnTo>
                  <a:pt x="10714" y="3037"/>
                </a:lnTo>
                <a:lnTo>
                  <a:pt x="5654" y="607"/>
                </a:lnTo>
                <a:lnTo>
                  <a:pt x="0" y="0"/>
                </a:lnTo>
                <a:lnTo>
                  <a:pt x="0" y="3037"/>
                </a:lnTo>
                <a:lnTo>
                  <a:pt x="5059" y="3644"/>
                </a:lnTo>
                <a:close/>
              </a:path>
            </a:pathLst>
          </a:custGeom>
          <a:solidFill>
            <a:srgbClr val="000000"/>
          </a:solidFill>
        </p:spPr>
        <p:txBody>
          <a:bodyPr wrap="square" lIns="0" tIns="0" rIns="0" bIns="0" rtlCol="0">
            <a:noAutofit/>
          </a:bodyPr>
          <a:lstStyle/>
          <a:p>
            <a:endParaRPr/>
          </a:p>
        </p:txBody>
      </p:sp>
      <p:sp>
        <p:nvSpPr>
          <p:cNvPr id="870" name="object 870"/>
          <p:cNvSpPr/>
          <p:nvPr/>
        </p:nvSpPr>
        <p:spPr>
          <a:xfrm>
            <a:off x="8527785" y="1209606"/>
            <a:ext cx="28273" cy="35839"/>
          </a:xfrm>
          <a:custGeom>
            <a:avLst/>
            <a:gdLst/>
            <a:ahLst/>
            <a:cxnLst/>
            <a:rect l="l" t="t" r="r" b="b"/>
            <a:pathLst>
              <a:path w="28273" h="35839">
                <a:moveTo>
                  <a:pt x="0" y="32802"/>
                </a:moveTo>
                <a:lnTo>
                  <a:pt x="0" y="35839"/>
                </a:lnTo>
                <a:lnTo>
                  <a:pt x="5654" y="35232"/>
                </a:lnTo>
                <a:lnTo>
                  <a:pt x="10714" y="32802"/>
                </a:lnTo>
                <a:lnTo>
                  <a:pt x="15773" y="29765"/>
                </a:lnTo>
                <a:lnTo>
                  <a:pt x="19940" y="25209"/>
                </a:lnTo>
                <a:lnTo>
                  <a:pt x="23214" y="19742"/>
                </a:lnTo>
                <a:lnTo>
                  <a:pt x="26190" y="13971"/>
                </a:lnTo>
                <a:lnTo>
                  <a:pt x="27678" y="7289"/>
                </a:lnTo>
                <a:lnTo>
                  <a:pt x="28273" y="0"/>
                </a:lnTo>
                <a:lnTo>
                  <a:pt x="25297" y="0"/>
                </a:lnTo>
                <a:lnTo>
                  <a:pt x="24702" y="6681"/>
                </a:lnTo>
                <a:lnTo>
                  <a:pt x="23214" y="12756"/>
                </a:lnTo>
                <a:lnTo>
                  <a:pt x="20833" y="18527"/>
                </a:lnTo>
                <a:lnTo>
                  <a:pt x="17559" y="23386"/>
                </a:lnTo>
                <a:lnTo>
                  <a:pt x="13988" y="27335"/>
                </a:lnTo>
                <a:lnTo>
                  <a:pt x="9523" y="30372"/>
                </a:lnTo>
                <a:lnTo>
                  <a:pt x="5059" y="32194"/>
                </a:lnTo>
                <a:lnTo>
                  <a:pt x="0" y="32802"/>
                </a:lnTo>
                <a:close/>
              </a:path>
            </a:pathLst>
          </a:custGeom>
          <a:solidFill>
            <a:srgbClr val="000000"/>
          </a:solidFill>
        </p:spPr>
        <p:txBody>
          <a:bodyPr wrap="square" lIns="0" tIns="0" rIns="0" bIns="0" rtlCol="0">
            <a:noAutofit/>
          </a:bodyPr>
          <a:lstStyle/>
          <a:p>
            <a:endParaRPr/>
          </a:p>
        </p:txBody>
      </p:sp>
      <p:sp>
        <p:nvSpPr>
          <p:cNvPr id="871" name="object 871"/>
          <p:cNvSpPr/>
          <p:nvPr/>
        </p:nvSpPr>
        <p:spPr>
          <a:xfrm>
            <a:off x="8499808" y="1209606"/>
            <a:ext cx="27976" cy="35839"/>
          </a:xfrm>
          <a:custGeom>
            <a:avLst/>
            <a:gdLst/>
            <a:ahLst/>
            <a:cxnLst/>
            <a:rect l="l" t="t" r="r" b="b"/>
            <a:pathLst>
              <a:path w="27976" h="35839">
                <a:moveTo>
                  <a:pt x="7142" y="18527"/>
                </a:moveTo>
                <a:lnTo>
                  <a:pt x="5059" y="12756"/>
                </a:lnTo>
                <a:lnTo>
                  <a:pt x="3571" y="6681"/>
                </a:lnTo>
                <a:lnTo>
                  <a:pt x="2976" y="0"/>
                </a:lnTo>
                <a:lnTo>
                  <a:pt x="0" y="0"/>
                </a:lnTo>
                <a:lnTo>
                  <a:pt x="595" y="7289"/>
                </a:lnTo>
                <a:lnTo>
                  <a:pt x="2083" y="13971"/>
                </a:lnTo>
                <a:lnTo>
                  <a:pt x="4761" y="19742"/>
                </a:lnTo>
                <a:lnTo>
                  <a:pt x="8035" y="25209"/>
                </a:lnTo>
                <a:lnTo>
                  <a:pt x="12202" y="29765"/>
                </a:lnTo>
                <a:lnTo>
                  <a:pt x="16964" y="32802"/>
                </a:lnTo>
                <a:lnTo>
                  <a:pt x="22321" y="35232"/>
                </a:lnTo>
                <a:lnTo>
                  <a:pt x="27976" y="35839"/>
                </a:lnTo>
                <a:lnTo>
                  <a:pt x="27976" y="32802"/>
                </a:lnTo>
                <a:lnTo>
                  <a:pt x="22916" y="32194"/>
                </a:lnTo>
                <a:lnTo>
                  <a:pt x="18154" y="30372"/>
                </a:lnTo>
                <a:lnTo>
                  <a:pt x="13988" y="27335"/>
                </a:lnTo>
                <a:lnTo>
                  <a:pt x="10416" y="23386"/>
                </a:lnTo>
                <a:lnTo>
                  <a:pt x="7142" y="18527"/>
                </a:lnTo>
                <a:close/>
              </a:path>
            </a:pathLst>
          </a:custGeom>
          <a:solidFill>
            <a:srgbClr val="000000"/>
          </a:solidFill>
        </p:spPr>
        <p:txBody>
          <a:bodyPr wrap="square" lIns="0" tIns="0" rIns="0" bIns="0" rtlCol="0">
            <a:noAutofit/>
          </a:bodyPr>
          <a:lstStyle/>
          <a:p>
            <a:endParaRPr/>
          </a:p>
        </p:txBody>
      </p:sp>
      <p:sp>
        <p:nvSpPr>
          <p:cNvPr id="872" name="object 872"/>
          <p:cNvSpPr/>
          <p:nvPr/>
        </p:nvSpPr>
        <p:spPr>
          <a:xfrm>
            <a:off x="8499808" y="1173463"/>
            <a:ext cx="27976" cy="36143"/>
          </a:xfrm>
          <a:custGeom>
            <a:avLst/>
            <a:gdLst/>
            <a:ahLst/>
            <a:cxnLst/>
            <a:rect l="l" t="t" r="r" b="b"/>
            <a:pathLst>
              <a:path w="27976" h="36143">
                <a:moveTo>
                  <a:pt x="595" y="28853"/>
                </a:moveTo>
                <a:lnTo>
                  <a:pt x="0" y="36143"/>
                </a:lnTo>
                <a:lnTo>
                  <a:pt x="2976" y="36143"/>
                </a:lnTo>
                <a:lnTo>
                  <a:pt x="3571" y="29461"/>
                </a:lnTo>
                <a:lnTo>
                  <a:pt x="5059" y="23386"/>
                </a:lnTo>
                <a:lnTo>
                  <a:pt x="7142" y="17312"/>
                </a:lnTo>
                <a:lnTo>
                  <a:pt x="10416" y="12452"/>
                </a:lnTo>
                <a:lnTo>
                  <a:pt x="13988" y="8504"/>
                </a:lnTo>
                <a:lnTo>
                  <a:pt x="18154" y="5467"/>
                </a:lnTo>
                <a:lnTo>
                  <a:pt x="22916" y="3644"/>
                </a:lnTo>
                <a:lnTo>
                  <a:pt x="27976" y="3037"/>
                </a:lnTo>
                <a:lnTo>
                  <a:pt x="27976" y="0"/>
                </a:lnTo>
                <a:lnTo>
                  <a:pt x="22321" y="607"/>
                </a:lnTo>
                <a:lnTo>
                  <a:pt x="16964" y="3037"/>
                </a:lnTo>
                <a:lnTo>
                  <a:pt x="12202" y="6074"/>
                </a:lnTo>
                <a:lnTo>
                  <a:pt x="8035" y="10630"/>
                </a:lnTo>
                <a:lnTo>
                  <a:pt x="4761" y="16097"/>
                </a:lnTo>
                <a:lnTo>
                  <a:pt x="2083" y="22171"/>
                </a:lnTo>
                <a:lnTo>
                  <a:pt x="595" y="28853"/>
                </a:lnTo>
                <a:close/>
              </a:path>
            </a:pathLst>
          </a:custGeom>
          <a:solidFill>
            <a:srgbClr val="000000"/>
          </a:solidFill>
        </p:spPr>
        <p:txBody>
          <a:bodyPr wrap="square" lIns="0" tIns="0" rIns="0" bIns="0" rtlCol="0">
            <a:noAutofit/>
          </a:bodyPr>
          <a:lstStyle/>
          <a:p>
            <a:endParaRPr/>
          </a:p>
        </p:txBody>
      </p:sp>
      <p:sp>
        <p:nvSpPr>
          <p:cNvPr id="873" name="object 873"/>
          <p:cNvSpPr/>
          <p:nvPr/>
        </p:nvSpPr>
        <p:spPr>
          <a:xfrm>
            <a:off x="8474511" y="1174373"/>
            <a:ext cx="27083" cy="34624"/>
          </a:xfrm>
          <a:custGeom>
            <a:avLst/>
            <a:gdLst/>
            <a:ahLst/>
            <a:cxnLst/>
            <a:rect l="l" t="t" r="r" b="b"/>
            <a:pathLst>
              <a:path w="27083" h="34624">
                <a:moveTo>
                  <a:pt x="4761" y="3644"/>
                </a:moveTo>
                <a:lnTo>
                  <a:pt x="9226" y="5467"/>
                </a:lnTo>
                <a:lnTo>
                  <a:pt x="13095" y="8504"/>
                </a:lnTo>
                <a:lnTo>
                  <a:pt x="16666" y="12149"/>
                </a:lnTo>
                <a:lnTo>
                  <a:pt x="19940" y="16704"/>
                </a:lnTo>
                <a:lnTo>
                  <a:pt x="22023" y="22475"/>
                </a:lnTo>
                <a:lnTo>
                  <a:pt x="23511" y="28246"/>
                </a:lnTo>
                <a:lnTo>
                  <a:pt x="24107" y="34624"/>
                </a:lnTo>
                <a:lnTo>
                  <a:pt x="27083" y="34624"/>
                </a:lnTo>
                <a:lnTo>
                  <a:pt x="26488" y="27639"/>
                </a:lnTo>
                <a:lnTo>
                  <a:pt x="24999" y="21260"/>
                </a:lnTo>
                <a:lnTo>
                  <a:pt x="22321" y="15490"/>
                </a:lnTo>
                <a:lnTo>
                  <a:pt x="19047" y="10326"/>
                </a:lnTo>
                <a:lnTo>
                  <a:pt x="14880" y="6074"/>
                </a:lnTo>
                <a:lnTo>
                  <a:pt x="10416" y="3037"/>
                </a:lnTo>
                <a:lnTo>
                  <a:pt x="5357" y="607"/>
                </a:lnTo>
                <a:lnTo>
                  <a:pt x="0" y="0"/>
                </a:lnTo>
                <a:lnTo>
                  <a:pt x="0" y="3037"/>
                </a:lnTo>
                <a:lnTo>
                  <a:pt x="4761" y="3644"/>
                </a:lnTo>
                <a:close/>
              </a:path>
            </a:pathLst>
          </a:custGeom>
          <a:solidFill>
            <a:srgbClr val="000000"/>
          </a:solidFill>
        </p:spPr>
        <p:txBody>
          <a:bodyPr wrap="square" lIns="0" tIns="0" rIns="0" bIns="0" rtlCol="0">
            <a:noAutofit/>
          </a:bodyPr>
          <a:lstStyle/>
          <a:p>
            <a:endParaRPr/>
          </a:p>
        </p:txBody>
      </p:sp>
      <p:sp>
        <p:nvSpPr>
          <p:cNvPr id="874" name="object 874"/>
          <p:cNvSpPr/>
          <p:nvPr/>
        </p:nvSpPr>
        <p:spPr>
          <a:xfrm>
            <a:off x="8474511" y="1208998"/>
            <a:ext cx="27083" cy="34320"/>
          </a:xfrm>
          <a:custGeom>
            <a:avLst/>
            <a:gdLst/>
            <a:ahLst/>
            <a:cxnLst/>
            <a:rect l="l" t="t" r="r" b="b"/>
            <a:pathLst>
              <a:path w="27083" h="34320">
                <a:moveTo>
                  <a:pt x="5357" y="33713"/>
                </a:moveTo>
                <a:lnTo>
                  <a:pt x="10416" y="31283"/>
                </a:lnTo>
                <a:lnTo>
                  <a:pt x="14880" y="28246"/>
                </a:lnTo>
                <a:lnTo>
                  <a:pt x="19047" y="23994"/>
                </a:lnTo>
                <a:lnTo>
                  <a:pt x="22321" y="18830"/>
                </a:lnTo>
                <a:lnTo>
                  <a:pt x="24999" y="13363"/>
                </a:lnTo>
                <a:lnTo>
                  <a:pt x="26488" y="6985"/>
                </a:lnTo>
                <a:lnTo>
                  <a:pt x="27083" y="0"/>
                </a:lnTo>
                <a:lnTo>
                  <a:pt x="24107" y="0"/>
                </a:lnTo>
                <a:lnTo>
                  <a:pt x="23511" y="6378"/>
                </a:lnTo>
                <a:lnTo>
                  <a:pt x="22023" y="12149"/>
                </a:lnTo>
                <a:lnTo>
                  <a:pt x="19940" y="17616"/>
                </a:lnTo>
                <a:lnTo>
                  <a:pt x="16666" y="22171"/>
                </a:lnTo>
                <a:lnTo>
                  <a:pt x="13095" y="25816"/>
                </a:lnTo>
                <a:lnTo>
                  <a:pt x="9226" y="28853"/>
                </a:lnTo>
                <a:lnTo>
                  <a:pt x="4761" y="30676"/>
                </a:lnTo>
                <a:lnTo>
                  <a:pt x="0" y="31283"/>
                </a:lnTo>
                <a:lnTo>
                  <a:pt x="0" y="34320"/>
                </a:lnTo>
                <a:lnTo>
                  <a:pt x="5357" y="33713"/>
                </a:lnTo>
                <a:close/>
              </a:path>
            </a:pathLst>
          </a:custGeom>
          <a:solidFill>
            <a:srgbClr val="000000"/>
          </a:solidFill>
        </p:spPr>
        <p:txBody>
          <a:bodyPr wrap="square" lIns="0" tIns="0" rIns="0" bIns="0" rtlCol="0">
            <a:noAutofit/>
          </a:bodyPr>
          <a:lstStyle/>
          <a:p>
            <a:endParaRPr/>
          </a:p>
        </p:txBody>
      </p:sp>
      <p:sp>
        <p:nvSpPr>
          <p:cNvPr id="875" name="object 875"/>
          <p:cNvSpPr/>
          <p:nvPr/>
        </p:nvSpPr>
        <p:spPr>
          <a:xfrm>
            <a:off x="8447428" y="1208998"/>
            <a:ext cx="27083" cy="34320"/>
          </a:xfrm>
          <a:custGeom>
            <a:avLst/>
            <a:gdLst/>
            <a:ahLst/>
            <a:cxnLst/>
            <a:rect l="l" t="t" r="r" b="b"/>
            <a:pathLst>
              <a:path w="27083" h="34320">
                <a:moveTo>
                  <a:pt x="7142" y="17616"/>
                </a:moveTo>
                <a:lnTo>
                  <a:pt x="5059" y="12149"/>
                </a:lnTo>
                <a:lnTo>
                  <a:pt x="3571" y="6378"/>
                </a:lnTo>
                <a:lnTo>
                  <a:pt x="2976" y="0"/>
                </a:lnTo>
                <a:lnTo>
                  <a:pt x="0" y="0"/>
                </a:lnTo>
                <a:lnTo>
                  <a:pt x="595" y="6985"/>
                </a:lnTo>
                <a:lnTo>
                  <a:pt x="2083" y="13363"/>
                </a:lnTo>
                <a:lnTo>
                  <a:pt x="4761" y="18830"/>
                </a:lnTo>
                <a:lnTo>
                  <a:pt x="7738" y="23994"/>
                </a:lnTo>
                <a:lnTo>
                  <a:pt x="11904" y="28246"/>
                </a:lnTo>
                <a:lnTo>
                  <a:pt x="16368" y="31283"/>
                </a:lnTo>
                <a:lnTo>
                  <a:pt x="21726" y="33713"/>
                </a:lnTo>
                <a:lnTo>
                  <a:pt x="27083" y="34320"/>
                </a:lnTo>
                <a:lnTo>
                  <a:pt x="27083" y="31283"/>
                </a:lnTo>
                <a:lnTo>
                  <a:pt x="22321" y="30676"/>
                </a:lnTo>
                <a:lnTo>
                  <a:pt x="17559" y="28853"/>
                </a:lnTo>
                <a:lnTo>
                  <a:pt x="13690" y="25816"/>
                </a:lnTo>
                <a:lnTo>
                  <a:pt x="10119" y="22171"/>
                </a:lnTo>
                <a:lnTo>
                  <a:pt x="7142" y="17616"/>
                </a:lnTo>
                <a:close/>
              </a:path>
            </a:pathLst>
          </a:custGeom>
          <a:solidFill>
            <a:srgbClr val="000000"/>
          </a:solidFill>
        </p:spPr>
        <p:txBody>
          <a:bodyPr wrap="square" lIns="0" tIns="0" rIns="0" bIns="0" rtlCol="0">
            <a:noAutofit/>
          </a:bodyPr>
          <a:lstStyle/>
          <a:p>
            <a:endParaRPr/>
          </a:p>
        </p:txBody>
      </p:sp>
      <p:sp>
        <p:nvSpPr>
          <p:cNvPr id="876" name="object 876"/>
          <p:cNvSpPr/>
          <p:nvPr/>
        </p:nvSpPr>
        <p:spPr>
          <a:xfrm>
            <a:off x="8447428" y="1174373"/>
            <a:ext cx="27083" cy="34624"/>
          </a:xfrm>
          <a:custGeom>
            <a:avLst/>
            <a:gdLst/>
            <a:ahLst/>
            <a:cxnLst/>
            <a:rect l="l" t="t" r="r" b="b"/>
            <a:pathLst>
              <a:path w="27083" h="34624">
                <a:moveTo>
                  <a:pt x="595" y="27639"/>
                </a:moveTo>
                <a:lnTo>
                  <a:pt x="0" y="34624"/>
                </a:lnTo>
                <a:lnTo>
                  <a:pt x="2976" y="34624"/>
                </a:lnTo>
                <a:lnTo>
                  <a:pt x="3571" y="28246"/>
                </a:lnTo>
                <a:lnTo>
                  <a:pt x="5059" y="22475"/>
                </a:lnTo>
                <a:lnTo>
                  <a:pt x="7142" y="16704"/>
                </a:lnTo>
                <a:lnTo>
                  <a:pt x="10119" y="12149"/>
                </a:lnTo>
                <a:lnTo>
                  <a:pt x="13690" y="8504"/>
                </a:lnTo>
                <a:lnTo>
                  <a:pt x="17559" y="5467"/>
                </a:lnTo>
                <a:lnTo>
                  <a:pt x="22321" y="3644"/>
                </a:lnTo>
                <a:lnTo>
                  <a:pt x="27083" y="3037"/>
                </a:lnTo>
                <a:lnTo>
                  <a:pt x="27083" y="0"/>
                </a:lnTo>
                <a:lnTo>
                  <a:pt x="21726" y="607"/>
                </a:lnTo>
                <a:lnTo>
                  <a:pt x="16368" y="3037"/>
                </a:lnTo>
                <a:lnTo>
                  <a:pt x="11904" y="6074"/>
                </a:lnTo>
                <a:lnTo>
                  <a:pt x="7738" y="10326"/>
                </a:lnTo>
                <a:lnTo>
                  <a:pt x="4761" y="15490"/>
                </a:lnTo>
                <a:lnTo>
                  <a:pt x="2083" y="21260"/>
                </a:lnTo>
                <a:lnTo>
                  <a:pt x="595" y="27639"/>
                </a:lnTo>
                <a:close/>
              </a:path>
            </a:pathLst>
          </a:custGeom>
          <a:solidFill>
            <a:srgbClr val="000000"/>
          </a:solidFill>
        </p:spPr>
        <p:txBody>
          <a:bodyPr wrap="square" lIns="0" tIns="0" rIns="0" bIns="0" rtlCol="0">
            <a:noAutofit/>
          </a:bodyPr>
          <a:lstStyle/>
          <a:p>
            <a:endParaRPr/>
          </a:p>
        </p:txBody>
      </p:sp>
      <p:sp>
        <p:nvSpPr>
          <p:cNvPr id="877" name="object 877"/>
          <p:cNvSpPr/>
          <p:nvPr/>
        </p:nvSpPr>
        <p:spPr>
          <a:xfrm>
            <a:off x="8501296" y="1191686"/>
            <a:ext cx="52976" cy="37054"/>
          </a:xfrm>
          <a:custGeom>
            <a:avLst/>
            <a:gdLst/>
            <a:ahLst/>
            <a:cxnLst/>
            <a:rect l="l" t="t" r="r" b="b"/>
            <a:pathLst>
              <a:path w="52976" h="37054">
                <a:moveTo>
                  <a:pt x="892" y="27031"/>
                </a:moveTo>
                <a:lnTo>
                  <a:pt x="1785" y="30980"/>
                </a:lnTo>
                <a:lnTo>
                  <a:pt x="3273" y="34928"/>
                </a:lnTo>
                <a:lnTo>
                  <a:pt x="7142" y="37054"/>
                </a:lnTo>
                <a:lnTo>
                  <a:pt x="12797" y="35839"/>
                </a:lnTo>
                <a:lnTo>
                  <a:pt x="19642" y="32498"/>
                </a:lnTo>
                <a:lnTo>
                  <a:pt x="26785" y="28853"/>
                </a:lnTo>
                <a:lnTo>
                  <a:pt x="33630" y="25816"/>
                </a:lnTo>
                <a:lnTo>
                  <a:pt x="40178" y="25209"/>
                </a:lnTo>
                <a:lnTo>
                  <a:pt x="45535" y="27639"/>
                </a:lnTo>
                <a:lnTo>
                  <a:pt x="49106" y="34928"/>
                </a:lnTo>
                <a:lnTo>
                  <a:pt x="50892" y="30980"/>
                </a:lnTo>
                <a:lnTo>
                  <a:pt x="52083" y="27031"/>
                </a:lnTo>
                <a:lnTo>
                  <a:pt x="52678" y="22779"/>
                </a:lnTo>
                <a:lnTo>
                  <a:pt x="52976" y="18527"/>
                </a:lnTo>
                <a:lnTo>
                  <a:pt x="52976" y="14275"/>
                </a:lnTo>
                <a:lnTo>
                  <a:pt x="52380" y="10022"/>
                </a:lnTo>
                <a:lnTo>
                  <a:pt x="51190" y="6074"/>
                </a:lnTo>
                <a:lnTo>
                  <a:pt x="49999" y="2126"/>
                </a:lnTo>
                <a:lnTo>
                  <a:pt x="44047" y="7896"/>
                </a:lnTo>
                <a:lnTo>
                  <a:pt x="37202" y="10022"/>
                </a:lnTo>
                <a:lnTo>
                  <a:pt x="30357" y="9111"/>
                </a:lnTo>
                <a:lnTo>
                  <a:pt x="23214" y="6378"/>
                </a:lnTo>
                <a:lnTo>
                  <a:pt x="16666" y="3037"/>
                </a:lnTo>
                <a:lnTo>
                  <a:pt x="11011" y="607"/>
                </a:lnTo>
                <a:lnTo>
                  <a:pt x="5952" y="0"/>
                </a:lnTo>
                <a:lnTo>
                  <a:pt x="2678" y="2126"/>
                </a:lnTo>
                <a:lnTo>
                  <a:pt x="1488" y="6074"/>
                </a:lnTo>
                <a:lnTo>
                  <a:pt x="595" y="10326"/>
                </a:lnTo>
                <a:lnTo>
                  <a:pt x="0" y="14275"/>
                </a:lnTo>
                <a:lnTo>
                  <a:pt x="0" y="22779"/>
                </a:lnTo>
                <a:lnTo>
                  <a:pt x="892" y="27031"/>
                </a:lnTo>
                <a:close/>
              </a:path>
            </a:pathLst>
          </a:custGeom>
          <a:solidFill>
            <a:srgbClr val="000000"/>
          </a:solidFill>
        </p:spPr>
        <p:txBody>
          <a:bodyPr wrap="square" lIns="0" tIns="0" rIns="0" bIns="0" rtlCol="0">
            <a:noAutofit/>
          </a:bodyPr>
          <a:lstStyle/>
          <a:p>
            <a:endParaRPr/>
          </a:p>
        </p:txBody>
      </p:sp>
      <p:sp>
        <p:nvSpPr>
          <p:cNvPr id="878" name="object 878"/>
          <p:cNvSpPr/>
          <p:nvPr/>
        </p:nvSpPr>
        <p:spPr>
          <a:xfrm>
            <a:off x="8448915" y="1191687"/>
            <a:ext cx="50892" cy="35535"/>
          </a:xfrm>
          <a:custGeom>
            <a:avLst/>
            <a:gdLst/>
            <a:ahLst/>
            <a:cxnLst/>
            <a:rect l="l" t="t" r="r" b="b"/>
            <a:pathLst>
              <a:path w="50892" h="35535">
                <a:moveTo>
                  <a:pt x="892" y="26120"/>
                </a:moveTo>
                <a:lnTo>
                  <a:pt x="1785" y="30068"/>
                </a:lnTo>
                <a:lnTo>
                  <a:pt x="3273" y="33713"/>
                </a:lnTo>
                <a:lnTo>
                  <a:pt x="7142" y="35535"/>
                </a:lnTo>
                <a:lnTo>
                  <a:pt x="12202" y="34320"/>
                </a:lnTo>
                <a:lnTo>
                  <a:pt x="18749" y="31587"/>
                </a:lnTo>
                <a:lnTo>
                  <a:pt x="25595" y="27942"/>
                </a:lnTo>
                <a:lnTo>
                  <a:pt x="32440" y="25209"/>
                </a:lnTo>
                <a:lnTo>
                  <a:pt x="38690" y="24298"/>
                </a:lnTo>
                <a:lnTo>
                  <a:pt x="43749" y="26727"/>
                </a:lnTo>
                <a:lnTo>
                  <a:pt x="47321" y="33713"/>
                </a:lnTo>
                <a:lnTo>
                  <a:pt x="49106" y="29765"/>
                </a:lnTo>
                <a:lnTo>
                  <a:pt x="49999" y="25816"/>
                </a:lnTo>
                <a:lnTo>
                  <a:pt x="50892" y="21868"/>
                </a:lnTo>
                <a:lnTo>
                  <a:pt x="50892" y="13971"/>
                </a:lnTo>
                <a:lnTo>
                  <a:pt x="50297" y="10022"/>
                </a:lnTo>
                <a:lnTo>
                  <a:pt x="49404" y="6074"/>
                </a:lnTo>
                <a:lnTo>
                  <a:pt x="48214" y="2126"/>
                </a:lnTo>
                <a:lnTo>
                  <a:pt x="42559" y="7896"/>
                </a:lnTo>
                <a:lnTo>
                  <a:pt x="36011" y="9719"/>
                </a:lnTo>
                <a:lnTo>
                  <a:pt x="29166" y="8808"/>
                </a:lnTo>
                <a:lnTo>
                  <a:pt x="22618" y="6074"/>
                </a:lnTo>
                <a:lnTo>
                  <a:pt x="16071" y="3340"/>
                </a:lnTo>
                <a:lnTo>
                  <a:pt x="10416" y="607"/>
                </a:lnTo>
                <a:lnTo>
                  <a:pt x="5952" y="0"/>
                </a:lnTo>
                <a:lnTo>
                  <a:pt x="2678" y="2126"/>
                </a:lnTo>
                <a:lnTo>
                  <a:pt x="1488" y="6074"/>
                </a:lnTo>
                <a:lnTo>
                  <a:pt x="595" y="10022"/>
                </a:lnTo>
                <a:lnTo>
                  <a:pt x="0" y="13971"/>
                </a:lnTo>
                <a:lnTo>
                  <a:pt x="0" y="22171"/>
                </a:lnTo>
                <a:lnTo>
                  <a:pt x="892" y="26120"/>
                </a:lnTo>
                <a:close/>
              </a:path>
            </a:pathLst>
          </a:custGeom>
          <a:solidFill>
            <a:srgbClr val="000000"/>
          </a:solidFill>
        </p:spPr>
        <p:txBody>
          <a:bodyPr wrap="square" lIns="0" tIns="0" rIns="0" bIns="0" rtlCol="0">
            <a:noAutofit/>
          </a:bodyPr>
          <a:lstStyle/>
          <a:p>
            <a:endParaRPr/>
          </a:p>
        </p:txBody>
      </p:sp>
      <p:sp>
        <p:nvSpPr>
          <p:cNvPr id="879" name="object 879"/>
          <p:cNvSpPr/>
          <p:nvPr/>
        </p:nvSpPr>
        <p:spPr>
          <a:xfrm>
            <a:off x="8502785" y="1190167"/>
            <a:ext cx="49999" cy="13060"/>
          </a:xfrm>
          <a:custGeom>
            <a:avLst/>
            <a:gdLst/>
            <a:ahLst/>
            <a:cxnLst/>
            <a:rect l="l" t="t" r="r" b="b"/>
            <a:pathLst>
              <a:path w="49999" h="13060">
                <a:moveTo>
                  <a:pt x="4166" y="0"/>
                </a:moveTo>
                <a:lnTo>
                  <a:pt x="0" y="2733"/>
                </a:lnTo>
                <a:lnTo>
                  <a:pt x="2380" y="4555"/>
                </a:lnTo>
                <a:lnTo>
                  <a:pt x="4761" y="3037"/>
                </a:lnTo>
                <a:lnTo>
                  <a:pt x="9226" y="3644"/>
                </a:lnTo>
                <a:lnTo>
                  <a:pt x="14583" y="6074"/>
                </a:lnTo>
                <a:lnTo>
                  <a:pt x="21130" y="9415"/>
                </a:lnTo>
                <a:lnTo>
                  <a:pt x="28571" y="12149"/>
                </a:lnTo>
                <a:lnTo>
                  <a:pt x="35714" y="13060"/>
                </a:lnTo>
                <a:lnTo>
                  <a:pt x="43452" y="10630"/>
                </a:lnTo>
                <a:lnTo>
                  <a:pt x="49702" y="4555"/>
                </a:lnTo>
                <a:lnTo>
                  <a:pt x="49999" y="3340"/>
                </a:lnTo>
                <a:lnTo>
                  <a:pt x="49785" y="3012"/>
                </a:lnTo>
                <a:lnTo>
                  <a:pt x="49404" y="2429"/>
                </a:lnTo>
                <a:lnTo>
                  <a:pt x="48511" y="2126"/>
                </a:lnTo>
                <a:lnTo>
                  <a:pt x="47321" y="2733"/>
                </a:lnTo>
                <a:lnTo>
                  <a:pt x="47023" y="4252"/>
                </a:lnTo>
                <a:lnTo>
                  <a:pt x="47321" y="2733"/>
                </a:lnTo>
                <a:lnTo>
                  <a:pt x="41666" y="8200"/>
                </a:lnTo>
                <a:lnTo>
                  <a:pt x="35714" y="10022"/>
                </a:lnTo>
                <a:lnTo>
                  <a:pt x="29166" y="9111"/>
                </a:lnTo>
                <a:lnTo>
                  <a:pt x="22321" y="6378"/>
                </a:lnTo>
                <a:lnTo>
                  <a:pt x="15773" y="3037"/>
                </a:lnTo>
                <a:lnTo>
                  <a:pt x="9821" y="607"/>
                </a:lnTo>
                <a:lnTo>
                  <a:pt x="4166" y="0"/>
                </a:lnTo>
                <a:close/>
              </a:path>
            </a:pathLst>
          </a:custGeom>
          <a:solidFill>
            <a:srgbClr val="000000"/>
          </a:solidFill>
        </p:spPr>
        <p:txBody>
          <a:bodyPr wrap="square" lIns="0" tIns="0" rIns="0" bIns="0" rtlCol="0">
            <a:noAutofit/>
          </a:bodyPr>
          <a:lstStyle/>
          <a:p>
            <a:endParaRPr/>
          </a:p>
        </p:txBody>
      </p:sp>
      <p:sp>
        <p:nvSpPr>
          <p:cNvPr id="880" name="object 880"/>
          <p:cNvSpPr/>
          <p:nvPr/>
        </p:nvSpPr>
        <p:spPr>
          <a:xfrm>
            <a:off x="8549213" y="1193204"/>
            <a:ext cx="6547" cy="34624"/>
          </a:xfrm>
          <a:custGeom>
            <a:avLst/>
            <a:gdLst/>
            <a:ahLst/>
            <a:cxnLst/>
            <a:rect l="l" t="t" r="r" b="b"/>
            <a:pathLst>
              <a:path w="6547" h="34624">
                <a:moveTo>
                  <a:pt x="6547" y="17008"/>
                </a:moveTo>
                <a:lnTo>
                  <a:pt x="6547" y="12756"/>
                </a:lnTo>
                <a:lnTo>
                  <a:pt x="5952" y="8200"/>
                </a:lnTo>
                <a:lnTo>
                  <a:pt x="4761" y="4252"/>
                </a:lnTo>
                <a:lnTo>
                  <a:pt x="3571" y="0"/>
                </a:lnTo>
                <a:lnTo>
                  <a:pt x="595" y="1214"/>
                </a:lnTo>
                <a:lnTo>
                  <a:pt x="1785" y="4859"/>
                </a:lnTo>
                <a:lnTo>
                  <a:pt x="2976" y="8808"/>
                </a:lnTo>
                <a:lnTo>
                  <a:pt x="3571" y="12756"/>
                </a:lnTo>
                <a:lnTo>
                  <a:pt x="3571" y="17008"/>
                </a:lnTo>
                <a:lnTo>
                  <a:pt x="3273" y="20957"/>
                </a:lnTo>
                <a:lnTo>
                  <a:pt x="2678" y="25209"/>
                </a:lnTo>
                <a:lnTo>
                  <a:pt x="2678" y="33106"/>
                </a:lnTo>
                <a:lnTo>
                  <a:pt x="2678" y="25209"/>
                </a:lnTo>
                <a:lnTo>
                  <a:pt x="1488" y="28853"/>
                </a:lnTo>
                <a:lnTo>
                  <a:pt x="0" y="32802"/>
                </a:lnTo>
                <a:lnTo>
                  <a:pt x="0" y="33713"/>
                </a:lnTo>
                <a:lnTo>
                  <a:pt x="892" y="34624"/>
                </a:lnTo>
                <a:lnTo>
                  <a:pt x="1785" y="34624"/>
                </a:lnTo>
                <a:lnTo>
                  <a:pt x="2380" y="34017"/>
                </a:lnTo>
                <a:lnTo>
                  <a:pt x="4464" y="30068"/>
                </a:lnTo>
                <a:lnTo>
                  <a:pt x="5654" y="25816"/>
                </a:lnTo>
                <a:lnTo>
                  <a:pt x="6249" y="21564"/>
                </a:lnTo>
                <a:lnTo>
                  <a:pt x="6547" y="17008"/>
                </a:lnTo>
                <a:close/>
              </a:path>
            </a:pathLst>
          </a:custGeom>
          <a:solidFill>
            <a:srgbClr val="000000"/>
          </a:solidFill>
        </p:spPr>
        <p:txBody>
          <a:bodyPr wrap="square" lIns="0" tIns="0" rIns="0" bIns="0" rtlCol="0">
            <a:noAutofit/>
          </a:bodyPr>
          <a:lstStyle/>
          <a:p>
            <a:endParaRPr/>
          </a:p>
        </p:txBody>
      </p:sp>
      <p:sp>
        <p:nvSpPr>
          <p:cNvPr id="881" name="object 881"/>
          <p:cNvSpPr/>
          <p:nvPr/>
        </p:nvSpPr>
        <p:spPr>
          <a:xfrm>
            <a:off x="8503082" y="1215376"/>
            <a:ext cx="48809" cy="14882"/>
          </a:xfrm>
          <a:custGeom>
            <a:avLst/>
            <a:gdLst/>
            <a:ahLst/>
            <a:cxnLst/>
            <a:rect l="l" t="t" r="r" b="b"/>
            <a:pathLst>
              <a:path w="48809" h="14882">
                <a:moveTo>
                  <a:pt x="5357" y="11845"/>
                </a:moveTo>
                <a:lnTo>
                  <a:pt x="2678" y="10326"/>
                </a:lnTo>
                <a:lnTo>
                  <a:pt x="1785" y="9719"/>
                </a:lnTo>
                <a:lnTo>
                  <a:pt x="595" y="10022"/>
                </a:lnTo>
                <a:lnTo>
                  <a:pt x="0" y="10934"/>
                </a:lnTo>
                <a:lnTo>
                  <a:pt x="297" y="12149"/>
                </a:lnTo>
                <a:lnTo>
                  <a:pt x="5357" y="14882"/>
                </a:lnTo>
                <a:lnTo>
                  <a:pt x="11607" y="13667"/>
                </a:lnTo>
                <a:lnTo>
                  <a:pt x="18452" y="10022"/>
                </a:lnTo>
                <a:lnTo>
                  <a:pt x="25595" y="6681"/>
                </a:lnTo>
                <a:lnTo>
                  <a:pt x="32142" y="3644"/>
                </a:lnTo>
                <a:lnTo>
                  <a:pt x="38095" y="3037"/>
                </a:lnTo>
                <a:lnTo>
                  <a:pt x="42559" y="4859"/>
                </a:lnTo>
                <a:lnTo>
                  <a:pt x="45833" y="11541"/>
                </a:lnTo>
                <a:lnTo>
                  <a:pt x="48809" y="10934"/>
                </a:lnTo>
                <a:lnTo>
                  <a:pt x="44940" y="3037"/>
                </a:lnTo>
                <a:lnTo>
                  <a:pt x="38690" y="0"/>
                </a:lnTo>
                <a:lnTo>
                  <a:pt x="31547" y="607"/>
                </a:lnTo>
                <a:lnTo>
                  <a:pt x="24404" y="3644"/>
                </a:lnTo>
                <a:lnTo>
                  <a:pt x="17261" y="7593"/>
                </a:lnTo>
                <a:lnTo>
                  <a:pt x="10416" y="10630"/>
                </a:lnTo>
                <a:lnTo>
                  <a:pt x="5357" y="11845"/>
                </a:lnTo>
                <a:lnTo>
                  <a:pt x="2976" y="10630"/>
                </a:lnTo>
                <a:lnTo>
                  <a:pt x="5357" y="11845"/>
                </a:lnTo>
                <a:close/>
              </a:path>
            </a:pathLst>
          </a:custGeom>
          <a:solidFill>
            <a:srgbClr val="000000"/>
          </a:solidFill>
        </p:spPr>
        <p:txBody>
          <a:bodyPr wrap="square" lIns="0" tIns="0" rIns="0" bIns="0" rtlCol="0">
            <a:noAutofit/>
          </a:bodyPr>
          <a:lstStyle/>
          <a:p>
            <a:endParaRPr/>
          </a:p>
        </p:txBody>
      </p:sp>
      <p:sp>
        <p:nvSpPr>
          <p:cNvPr id="882" name="object 882"/>
          <p:cNvSpPr/>
          <p:nvPr/>
        </p:nvSpPr>
        <p:spPr>
          <a:xfrm>
            <a:off x="8499809" y="1192293"/>
            <a:ext cx="6249" cy="34928"/>
          </a:xfrm>
          <a:custGeom>
            <a:avLst/>
            <a:gdLst/>
            <a:ahLst/>
            <a:cxnLst/>
            <a:rect l="l" t="t" r="r" b="b"/>
            <a:pathLst>
              <a:path w="6249" h="34928">
                <a:moveTo>
                  <a:pt x="2976" y="17919"/>
                </a:moveTo>
                <a:lnTo>
                  <a:pt x="2976" y="13667"/>
                </a:lnTo>
                <a:lnTo>
                  <a:pt x="3571" y="10022"/>
                </a:lnTo>
                <a:lnTo>
                  <a:pt x="4464" y="5770"/>
                </a:lnTo>
                <a:lnTo>
                  <a:pt x="5357" y="2429"/>
                </a:lnTo>
                <a:lnTo>
                  <a:pt x="4464" y="5770"/>
                </a:lnTo>
                <a:lnTo>
                  <a:pt x="5654" y="2126"/>
                </a:lnTo>
                <a:lnTo>
                  <a:pt x="5654" y="911"/>
                </a:lnTo>
                <a:lnTo>
                  <a:pt x="4761" y="0"/>
                </a:lnTo>
                <a:lnTo>
                  <a:pt x="3571" y="0"/>
                </a:lnTo>
                <a:lnTo>
                  <a:pt x="2678" y="911"/>
                </a:lnTo>
                <a:lnTo>
                  <a:pt x="1488" y="5163"/>
                </a:lnTo>
                <a:lnTo>
                  <a:pt x="595" y="9415"/>
                </a:lnTo>
                <a:lnTo>
                  <a:pt x="0" y="13667"/>
                </a:lnTo>
                <a:lnTo>
                  <a:pt x="0" y="22475"/>
                </a:lnTo>
                <a:lnTo>
                  <a:pt x="892" y="26727"/>
                </a:lnTo>
                <a:lnTo>
                  <a:pt x="1785" y="30676"/>
                </a:lnTo>
                <a:lnTo>
                  <a:pt x="3273" y="34928"/>
                </a:lnTo>
                <a:lnTo>
                  <a:pt x="6249" y="33713"/>
                </a:lnTo>
                <a:lnTo>
                  <a:pt x="4761" y="30068"/>
                </a:lnTo>
                <a:lnTo>
                  <a:pt x="3869" y="26120"/>
                </a:lnTo>
                <a:lnTo>
                  <a:pt x="2976" y="21868"/>
                </a:lnTo>
                <a:lnTo>
                  <a:pt x="2976" y="17919"/>
                </a:lnTo>
                <a:close/>
              </a:path>
            </a:pathLst>
          </a:custGeom>
          <a:solidFill>
            <a:srgbClr val="000000"/>
          </a:solidFill>
        </p:spPr>
        <p:txBody>
          <a:bodyPr wrap="square" lIns="0" tIns="0" rIns="0" bIns="0" rtlCol="0">
            <a:noAutofit/>
          </a:bodyPr>
          <a:lstStyle/>
          <a:p>
            <a:endParaRPr/>
          </a:p>
        </p:txBody>
      </p:sp>
      <p:sp>
        <p:nvSpPr>
          <p:cNvPr id="883" name="object 883"/>
          <p:cNvSpPr/>
          <p:nvPr/>
        </p:nvSpPr>
        <p:spPr>
          <a:xfrm>
            <a:off x="8450403" y="1190167"/>
            <a:ext cx="48214" cy="12756"/>
          </a:xfrm>
          <a:custGeom>
            <a:avLst/>
            <a:gdLst/>
            <a:ahLst/>
            <a:cxnLst/>
            <a:rect l="l" t="t" r="r" b="b"/>
            <a:pathLst>
              <a:path w="48214" h="12756">
                <a:moveTo>
                  <a:pt x="4166" y="0"/>
                </a:moveTo>
                <a:lnTo>
                  <a:pt x="0" y="2733"/>
                </a:lnTo>
                <a:lnTo>
                  <a:pt x="2380" y="4555"/>
                </a:lnTo>
                <a:lnTo>
                  <a:pt x="4761" y="3037"/>
                </a:lnTo>
                <a:lnTo>
                  <a:pt x="8333" y="3644"/>
                </a:lnTo>
                <a:lnTo>
                  <a:pt x="13988" y="6378"/>
                </a:lnTo>
                <a:lnTo>
                  <a:pt x="20535" y="9111"/>
                </a:lnTo>
                <a:lnTo>
                  <a:pt x="27380" y="11845"/>
                </a:lnTo>
                <a:lnTo>
                  <a:pt x="34523" y="12756"/>
                </a:lnTo>
                <a:lnTo>
                  <a:pt x="41964" y="10630"/>
                </a:lnTo>
                <a:lnTo>
                  <a:pt x="47916" y="4555"/>
                </a:lnTo>
                <a:lnTo>
                  <a:pt x="48214" y="3340"/>
                </a:lnTo>
                <a:lnTo>
                  <a:pt x="47999" y="3012"/>
                </a:lnTo>
                <a:lnTo>
                  <a:pt x="47618" y="2429"/>
                </a:lnTo>
                <a:lnTo>
                  <a:pt x="46726" y="2126"/>
                </a:lnTo>
                <a:lnTo>
                  <a:pt x="45535" y="2733"/>
                </a:lnTo>
                <a:lnTo>
                  <a:pt x="45237" y="4252"/>
                </a:lnTo>
                <a:lnTo>
                  <a:pt x="45535" y="2733"/>
                </a:lnTo>
                <a:lnTo>
                  <a:pt x="40178" y="8200"/>
                </a:lnTo>
                <a:lnTo>
                  <a:pt x="34523" y="9719"/>
                </a:lnTo>
                <a:lnTo>
                  <a:pt x="27976" y="8808"/>
                </a:lnTo>
                <a:lnTo>
                  <a:pt x="21726" y="6074"/>
                </a:lnTo>
                <a:lnTo>
                  <a:pt x="15178" y="3340"/>
                </a:lnTo>
                <a:lnTo>
                  <a:pt x="9523" y="607"/>
                </a:lnTo>
                <a:lnTo>
                  <a:pt x="4166" y="0"/>
                </a:lnTo>
                <a:close/>
              </a:path>
            </a:pathLst>
          </a:custGeom>
          <a:solidFill>
            <a:srgbClr val="000000"/>
          </a:solidFill>
        </p:spPr>
        <p:txBody>
          <a:bodyPr wrap="square" lIns="0" tIns="0" rIns="0" bIns="0" rtlCol="0">
            <a:noAutofit/>
          </a:bodyPr>
          <a:lstStyle/>
          <a:p>
            <a:endParaRPr/>
          </a:p>
        </p:txBody>
      </p:sp>
      <p:sp>
        <p:nvSpPr>
          <p:cNvPr id="884" name="object 884"/>
          <p:cNvSpPr/>
          <p:nvPr/>
        </p:nvSpPr>
        <p:spPr>
          <a:xfrm>
            <a:off x="8495047" y="1193205"/>
            <a:ext cx="6249" cy="33409"/>
          </a:xfrm>
          <a:custGeom>
            <a:avLst/>
            <a:gdLst/>
            <a:ahLst/>
            <a:cxnLst/>
            <a:rect l="l" t="t" r="r" b="b"/>
            <a:pathLst>
              <a:path w="6249" h="33409">
                <a:moveTo>
                  <a:pt x="6249" y="16401"/>
                </a:moveTo>
                <a:lnTo>
                  <a:pt x="6249" y="12452"/>
                </a:lnTo>
                <a:lnTo>
                  <a:pt x="5654" y="8200"/>
                </a:lnTo>
                <a:lnTo>
                  <a:pt x="4761" y="4252"/>
                </a:lnTo>
                <a:lnTo>
                  <a:pt x="3571" y="0"/>
                </a:lnTo>
                <a:lnTo>
                  <a:pt x="595" y="1214"/>
                </a:lnTo>
                <a:lnTo>
                  <a:pt x="1785" y="4859"/>
                </a:lnTo>
                <a:lnTo>
                  <a:pt x="2678" y="8808"/>
                </a:lnTo>
                <a:lnTo>
                  <a:pt x="3273" y="12452"/>
                </a:lnTo>
                <a:lnTo>
                  <a:pt x="3273" y="20045"/>
                </a:lnTo>
                <a:lnTo>
                  <a:pt x="2678" y="31891"/>
                </a:lnTo>
                <a:lnTo>
                  <a:pt x="3273" y="20045"/>
                </a:lnTo>
                <a:lnTo>
                  <a:pt x="2380" y="23994"/>
                </a:lnTo>
                <a:lnTo>
                  <a:pt x="1488" y="27639"/>
                </a:lnTo>
                <a:lnTo>
                  <a:pt x="0" y="31587"/>
                </a:lnTo>
                <a:lnTo>
                  <a:pt x="0" y="32498"/>
                </a:lnTo>
                <a:lnTo>
                  <a:pt x="892" y="33409"/>
                </a:lnTo>
                <a:lnTo>
                  <a:pt x="1785" y="33409"/>
                </a:lnTo>
                <a:lnTo>
                  <a:pt x="2380" y="32802"/>
                </a:lnTo>
                <a:lnTo>
                  <a:pt x="4464" y="28853"/>
                </a:lnTo>
                <a:lnTo>
                  <a:pt x="5357" y="24601"/>
                </a:lnTo>
                <a:lnTo>
                  <a:pt x="6249" y="20653"/>
                </a:lnTo>
                <a:lnTo>
                  <a:pt x="6249" y="16401"/>
                </a:lnTo>
                <a:close/>
              </a:path>
            </a:pathLst>
          </a:custGeom>
          <a:solidFill>
            <a:srgbClr val="000000"/>
          </a:solidFill>
        </p:spPr>
        <p:txBody>
          <a:bodyPr wrap="square" lIns="0" tIns="0" rIns="0" bIns="0" rtlCol="0">
            <a:noAutofit/>
          </a:bodyPr>
          <a:lstStyle/>
          <a:p>
            <a:endParaRPr/>
          </a:p>
        </p:txBody>
      </p:sp>
      <p:sp>
        <p:nvSpPr>
          <p:cNvPr id="885" name="object 885"/>
          <p:cNvSpPr/>
          <p:nvPr/>
        </p:nvSpPr>
        <p:spPr>
          <a:xfrm>
            <a:off x="8450702" y="1214466"/>
            <a:ext cx="47023" cy="14275"/>
          </a:xfrm>
          <a:custGeom>
            <a:avLst/>
            <a:gdLst/>
            <a:ahLst/>
            <a:cxnLst/>
            <a:rect l="l" t="t" r="r" b="b"/>
            <a:pathLst>
              <a:path w="47023" h="14275">
                <a:moveTo>
                  <a:pt x="16368" y="7289"/>
                </a:moveTo>
                <a:lnTo>
                  <a:pt x="9821" y="10022"/>
                </a:lnTo>
                <a:lnTo>
                  <a:pt x="5357" y="11237"/>
                </a:lnTo>
                <a:lnTo>
                  <a:pt x="2678" y="10022"/>
                </a:lnTo>
                <a:lnTo>
                  <a:pt x="1785" y="9415"/>
                </a:lnTo>
                <a:lnTo>
                  <a:pt x="595" y="9719"/>
                </a:lnTo>
                <a:lnTo>
                  <a:pt x="0" y="10630"/>
                </a:lnTo>
                <a:lnTo>
                  <a:pt x="297" y="11845"/>
                </a:lnTo>
                <a:lnTo>
                  <a:pt x="297" y="11541"/>
                </a:lnTo>
                <a:lnTo>
                  <a:pt x="5357" y="14275"/>
                </a:lnTo>
                <a:lnTo>
                  <a:pt x="2678" y="10326"/>
                </a:lnTo>
                <a:lnTo>
                  <a:pt x="5357" y="14275"/>
                </a:lnTo>
                <a:lnTo>
                  <a:pt x="11011" y="13060"/>
                </a:lnTo>
                <a:lnTo>
                  <a:pt x="17559" y="10326"/>
                </a:lnTo>
                <a:lnTo>
                  <a:pt x="24404" y="6681"/>
                </a:lnTo>
                <a:lnTo>
                  <a:pt x="30952" y="3948"/>
                </a:lnTo>
                <a:lnTo>
                  <a:pt x="36607" y="3037"/>
                </a:lnTo>
                <a:lnTo>
                  <a:pt x="40773" y="4859"/>
                </a:lnTo>
                <a:lnTo>
                  <a:pt x="44047" y="11237"/>
                </a:lnTo>
                <a:lnTo>
                  <a:pt x="47023" y="10630"/>
                </a:lnTo>
                <a:lnTo>
                  <a:pt x="43154" y="3037"/>
                </a:lnTo>
                <a:lnTo>
                  <a:pt x="37202" y="0"/>
                </a:lnTo>
                <a:lnTo>
                  <a:pt x="30357" y="911"/>
                </a:lnTo>
                <a:lnTo>
                  <a:pt x="23214" y="3644"/>
                </a:lnTo>
                <a:lnTo>
                  <a:pt x="16368" y="7289"/>
                </a:lnTo>
                <a:close/>
              </a:path>
            </a:pathLst>
          </a:custGeom>
          <a:solidFill>
            <a:srgbClr val="000000"/>
          </a:solidFill>
        </p:spPr>
        <p:txBody>
          <a:bodyPr wrap="square" lIns="0" tIns="0" rIns="0" bIns="0" rtlCol="0">
            <a:noAutofit/>
          </a:bodyPr>
          <a:lstStyle/>
          <a:p>
            <a:endParaRPr/>
          </a:p>
        </p:txBody>
      </p:sp>
      <p:sp>
        <p:nvSpPr>
          <p:cNvPr id="886" name="object 886"/>
          <p:cNvSpPr/>
          <p:nvPr/>
        </p:nvSpPr>
        <p:spPr>
          <a:xfrm>
            <a:off x="8450999" y="1226008"/>
            <a:ext cx="5059" cy="2733"/>
          </a:xfrm>
          <a:custGeom>
            <a:avLst/>
            <a:gdLst/>
            <a:ahLst/>
            <a:cxnLst/>
            <a:rect l="l" t="t" r="r" b="b"/>
            <a:pathLst>
              <a:path w="5059" h="2733">
                <a:moveTo>
                  <a:pt x="5059" y="2733"/>
                </a:moveTo>
                <a:lnTo>
                  <a:pt x="0" y="0"/>
                </a:lnTo>
                <a:lnTo>
                  <a:pt x="0" y="303"/>
                </a:lnTo>
                <a:lnTo>
                  <a:pt x="5059" y="2733"/>
                </a:lnTo>
                <a:close/>
              </a:path>
            </a:pathLst>
          </a:custGeom>
          <a:solidFill>
            <a:srgbClr val="000000"/>
          </a:solidFill>
        </p:spPr>
        <p:txBody>
          <a:bodyPr wrap="square" lIns="0" tIns="0" rIns="0" bIns="0" rtlCol="0">
            <a:noAutofit/>
          </a:bodyPr>
          <a:lstStyle/>
          <a:p>
            <a:endParaRPr/>
          </a:p>
        </p:txBody>
      </p:sp>
      <p:sp>
        <p:nvSpPr>
          <p:cNvPr id="887" name="object 887"/>
          <p:cNvSpPr/>
          <p:nvPr/>
        </p:nvSpPr>
        <p:spPr>
          <a:xfrm>
            <a:off x="8447427" y="1192294"/>
            <a:ext cx="5952" cy="33713"/>
          </a:xfrm>
          <a:custGeom>
            <a:avLst/>
            <a:gdLst/>
            <a:ahLst/>
            <a:cxnLst/>
            <a:rect l="l" t="t" r="r" b="b"/>
            <a:pathLst>
              <a:path w="5952" h="33713">
                <a:moveTo>
                  <a:pt x="2976" y="17616"/>
                </a:moveTo>
                <a:lnTo>
                  <a:pt x="2976" y="13363"/>
                </a:lnTo>
                <a:lnTo>
                  <a:pt x="3571" y="9719"/>
                </a:lnTo>
                <a:lnTo>
                  <a:pt x="4464" y="5770"/>
                </a:lnTo>
                <a:lnTo>
                  <a:pt x="5357" y="2429"/>
                </a:lnTo>
                <a:lnTo>
                  <a:pt x="4464" y="5770"/>
                </a:lnTo>
                <a:lnTo>
                  <a:pt x="5654" y="2126"/>
                </a:lnTo>
                <a:lnTo>
                  <a:pt x="5654" y="911"/>
                </a:lnTo>
                <a:lnTo>
                  <a:pt x="4761" y="0"/>
                </a:lnTo>
                <a:lnTo>
                  <a:pt x="3571" y="0"/>
                </a:lnTo>
                <a:lnTo>
                  <a:pt x="2678" y="911"/>
                </a:lnTo>
                <a:lnTo>
                  <a:pt x="1488" y="5163"/>
                </a:lnTo>
                <a:lnTo>
                  <a:pt x="595" y="9111"/>
                </a:lnTo>
                <a:lnTo>
                  <a:pt x="0" y="13363"/>
                </a:lnTo>
                <a:lnTo>
                  <a:pt x="0" y="21868"/>
                </a:lnTo>
                <a:lnTo>
                  <a:pt x="892" y="25816"/>
                </a:lnTo>
                <a:lnTo>
                  <a:pt x="1785" y="30068"/>
                </a:lnTo>
                <a:lnTo>
                  <a:pt x="3571" y="33713"/>
                </a:lnTo>
                <a:lnTo>
                  <a:pt x="5952" y="32498"/>
                </a:lnTo>
                <a:lnTo>
                  <a:pt x="4761" y="28853"/>
                </a:lnTo>
                <a:lnTo>
                  <a:pt x="3869" y="25209"/>
                </a:lnTo>
                <a:lnTo>
                  <a:pt x="2976" y="21260"/>
                </a:lnTo>
                <a:lnTo>
                  <a:pt x="2976" y="17616"/>
                </a:lnTo>
                <a:close/>
              </a:path>
            </a:pathLst>
          </a:custGeom>
          <a:solidFill>
            <a:srgbClr val="000000"/>
          </a:solidFill>
        </p:spPr>
        <p:txBody>
          <a:bodyPr wrap="square" lIns="0" tIns="0" rIns="0" bIns="0" rtlCol="0">
            <a:noAutofit/>
          </a:bodyPr>
          <a:lstStyle/>
          <a:p>
            <a:endParaRPr/>
          </a:p>
        </p:txBody>
      </p:sp>
      <p:sp>
        <p:nvSpPr>
          <p:cNvPr id="888" name="object 888"/>
          <p:cNvSpPr/>
          <p:nvPr/>
        </p:nvSpPr>
        <p:spPr>
          <a:xfrm>
            <a:off x="8536118" y="1198064"/>
            <a:ext cx="12797" cy="26424"/>
          </a:xfrm>
          <a:custGeom>
            <a:avLst/>
            <a:gdLst/>
            <a:ahLst/>
            <a:cxnLst/>
            <a:rect l="l" t="t" r="r" b="b"/>
            <a:pathLst>
              <a:path w="12797" h="26424">
                <a:moveTo>
                  <a:pt x="12797" y="13060"/>
                </a:moveTo>
                <a:lnTo>
                  <a:pt x="12797" y="10326"/>
                </a:lnTo>
                <a:lnTo>
                  <a:pt x="12202" y="7896"/>
                </a:lnTo>
                <a:lnTo>
                  <a:pt x="11607" y="5770"/>
                </a:lnTo>
                <a:lnTo>
                  <a:pt x="11011" y="3644"/>
                </a:lnTo>
                <a:lnTo>
                  <a:pt x="9821" y="2126"/>
                </a:lnTo>
                <a:lnTo>
                  <a:pt x="8928" y="911"/>
                </a:lnTo>
                <a:lnTo>
                  <a:pt x="7440" y="303"/>
                </a:lnTo>
                <a:lnTo>
                  <a:pt x="6249" y="0"/>
                </a:lnTo>
                <a:lnTo>
                  <a:pt x="5059" y="303"/>
                </a:lnTo>
                <a:lnTo>
                  <a:pt x="3869" y="911"/>
                </a:lnTo>
                <a:lnTo>
                  <a:pt x="2976" y="2126"/>
                </a:lnTo>
                <a:lnTo>
                  <a:pt x="1785" y="3644"/>
                </a:lnTo>
                <a:lnTo>
                  <a:pt x="1190" y="5770"/>
                </a:lnTo>
                <a:lnTo>
                  <a:pt x="595" y="7896"/>
                </a:lnTo>
                <a:lnTo>
                  <a:pt x="0" y="10326"/>
                </a:lnTo>
                <a:lnTo>
                  <a:pt x="0" y="15793"/>
                </a:lnTo>
                <a:lnTo>
                  <a:pt x="595" y="18223"/>
                </a:lnTo>
                <a:lnTo>
                  <a:pt x="1190" y="20653"/>
                </a:lnTo>
                <a:lnTo>
                  <a:pt x="1785" y="22475"/>
                </a:lnTo>
                <a:lnTo>
                  <a:pt x="2976" y="24298"/>
                </a:lnTo>
                <a:lnTo>
                  <a:pt x="3869" y="25512"/>
                </a:lnTo>
                <a:lnTo>
                  <a:pt x="5059" y="26120"/>
                </a:lnTo>
                <a:lnTo>
                  <a:pt x="6249" y="26424"/>
                </a:lnTo>
                <a:lnTo>
                  <a:pt x="7440" y="26120"/>
                </a:lnTo>
                <a:lnTo>
                  <a:pt x="8928" y="25512"/>
                </a:lnTo>
                <a:lnTo>
                  <a:pt x="9821" y="24298"/>
                </a:lnTo>
                <a:lnTo>
                  <a:pt x="11011" y="22475"/>
                </a:lnTo>
                <a:lnTo>
                  <a:pt x="11607" y="20653"/>
                </a:lnTo>
                <a:lnTo>
                  <a:pt x="12202" y="18223"/>
                </a:lnTo>
                <a:lnTo>
                  <a:pt x="12797" y="15793"/>
                </a:lnTo>
                <a:lnTo>
                  <a:pt x="12797" y="13060"/>
                </a:lnTo>
                <a:close/>
              </a:path>
            </a:pathLst>
          </a:custGeom>
          <a:solidFill>
            <a:srgbClr val="BEBEBE"/>
          </a:solidFill>
        </p:spPr>
        <p:txBody>
          <a:bodyPr wrap="square" lIns="0" tIns="0" rIns="0" bIns="0" rtlCol="0">
            <a:noAutofit/>
          </a:bodyPr>
          <a:lstStyle/>
          <a:p>
            <a:endParaRPr/>
          </a:p>
        </p:txBody>
      </p:sp>
      <p:sp>
        <p:nvSpPr>
          <p:cNvPr id="889" name="object 889"/>
          <p:cNvSpPr/>
          <p:nvPr/>
        </p:nvSpPr>
        <p:spPr>
          <a:xfrm>
            <a:off x="8482546" y="1198065"/>
            <a:ext cx="11904" cy="25209"/>
          </a:xfrm>
          <a:custGeom>
            <a:avLst/>
            <a:gdLst/>
            <a:ahLst/>
            <a:cxnLst/>
            <a:rect l="l" t="t" r="r" b="b"/>
            <a:pathLst>
              <a:path w="11904" h="25209">
                <a:moveTo>
                  <a:pt x="11904" y="12452"/>
                </a:moveTo>
                <a:lnTo>
                  <a:pt x="11904" y="10022"/>
                </a:lnTo>
                <a:lnTo>
                  <a:pt x="11309" y="7593"/>
                </a:lnTo>
                <a:lnTo>
                  <a:pt x="11011" y="5467"/>
                </a:lnTo>
                <a:lnTo>
                  <a:pt x="10119" y="3644"/>
                </a:lnTo>
                <a:lnTo>
                  <a:pt x="9226" y="2126"/>
                </a:lnTo>
                <a:lnTo>
                  <a:pt x="8035" y="911"/>
                </a:lnTo>
                <a:lnTo>
                  <a:pt x="6845" y="303"/>
                </a:lnTo>
                <a:lnTo>
                  <a:pt x="5654" y="0"/>
                </a:lnTo>
                <a:lnTo>
                  <a:pt x="4464" y="303"/>
                </a:lnTo>
                <a:lnTo>
                  <a:pt x="3571" y="911"/>
                </a:lnTo>
                <a:lnTo>
                  <a:pt x="2678" y="2126"/>
                </a:lnTo>
                <a:lnTo>
                  <a:pt x="1785" y="3644"/>
                </a:lnTo>
                <a:lnTo>
                  <a:pt x="892" y="5467"/>
                </a:lnTo>
                <a:lnTo>
                  <a:pt x="595" y="7593"/>
                </a:lnTo>
                <a:lnTo>
                  <a:pt x="0" y="10022"/>
                </a:lnTo>
                <a:lnTo>
                  <a:pt x="0" y="14882"/>
                </a:lnTo>
                <a:lnTo>
                  <a:pt x="595" y="17312"/>
                </a:lnTo>
                <a:lnTo>
                  <a:pt x="892" y="19438"/>
                </a:lnTo>
                <a:lnTo>
                  <a:pt x="1785" y="21564"/>
                </a:lnTo>
                <a:lnTo>
                  <a:pt x="2678" y="23083"/>
                </a:lnTo>
                <a:lnTo>
                  <a:pt x="3571" y="24298"/>
                </a:lnTo>
                <a:lnTo>
                  <a:pt x="4464" y="24905"/>
                </a:lnTo>
                <a:lnTo>
                  <a:pt x="5654" y="25209"/>
                </a:lnTo>
                <a:lnTo>
                  <a:pt x="6845" y="24905"/>
                </a:lnTo>
                <a:lnTo>
                  <a:pt x="8035" y="24298"/>
                </a:lnTo>
                <a:lnTo>
                  <a:pt x="9226" y="23083"/>
                </a:lnTo>
                <a:lnTo>
                  <a:pt x="10119" y="21564"/>
                </a:lnTo>
                <a:lnTo>
                  <a:pt x="11011" y="19438"/>
                </a:lnTo>
                <a:lnTo>
                  <a:pt x="11309" y="17312"/>
                </a:lnTo>
                <a:lnTo>
                  <a:pt x="11904" y="14882"/>
                </a:lnTo>
                <a:lnTo>
                  <a:pt x="11904" y="12452"/>
                </a:lnTo>
                <a:close/>
              </a:path>
            </a:pathLst>
          </a:custGeom>
          <a:solidFill>
            <a:srgbClr val="BEBEBE"/>
          </a:solidFill>
        </p:spPr>
        <p:txBody>
          <a:bodyPr wrap="square" lIns="0" tIns="0" rIns="0" bIns="0" rtlCol="0">
            <a:noAutofit/>
          </a:bodyPr>
          <a:lstStyle/>
          <a:p>
            <a:endParaRPr/>
          </a:p>
        </p:txBody>
      </p:sp>
      <p:sp>
        <p:nvSpPr>
          <p:cNvPr id="890" name="object 890"/>
          <p:cNvSpPr/>
          <p:nvPr/>
        </p:nvSpPr>
        <p:spPr>
          <a:xfrm>
            <a:off x="8531950" y="1206872"/>
            <a:ext cx="19642" cy="8504"/>
          </a:xfrm>
          <a:custGeom>
            <a:avLst/>
            <a:gdLst/>
            <a:ahLst/>
            <a:cxnLst/>
            <a:rect l="l" t="t" r="r" b="b"/>
            <a:pathLst>
              <a:path w="19642" h="8504">
                <a:moveTo>
                  <a:pt x="0" y="4252"/>
                </a:moveTo>
                <a:lnTo>
                  <a:pt x="297" y="5163"/>
                </a:lnTo>
                <a:lnTo>
                  <a:pt x="892" y="6074"/>
                </a:lnTo>
                <a:lnTo>
                  <a:pt x="1785" y="6681"/>
                </a:lnTo>
                <a:lnTo>
                  <a:pt x="2976" y="7289"/>
                </a:lnTo>
                <a:lnTo>
                  <a:pt x="4464" y="7896"/>
                </a:lnTo>
                <a:lnTo>
                  <a:pt x="5952" y="8200"/>
                </a:lnTo>
                <a:lnTo>
                  <a:pt x="7738" y="8504"/>
                </a:lnTo>
                <a:lnTo>
                  <a:pt x="11904" y="8504"/>
                </a:lnTo>
                <a:lnTo>
                  <a:pt x="13690" y="8200"/>
                </a:lnTo>
                <a:lnTo>
                  <a:pt x="15178" y="7896"/>
                </a:lnTo>
                <a:lnTo>
                  <a:pt x="16666" y="7289"/>
                </a:lnTo>
                <a:lnTo>
                  <a:pt x="17857" y="6681"/>
                </a:lnTo>
                <a:lnTo>
                  <a:pt x="18749" y="6074"/>
                </a:lnTo>
                <a:lnTo>
                  <a:pt x="19345" y="5163"/>
                </a:lnTo>
                <a:lnTo>
                  <a:pt x="19642" y="4252"/>
                </a:lnTo>
                <a:lnTo>
                  <a:pt x="19345" y="3340"/>
                </a:lnTo>
                <a:lnTo>
                  <a:pt x="18749" y="2429"/>
                </a:lnTo>
                <a:lnTo>
                  <a:pt x="17857" y="1822"/>
                </a:lnTo>
                <a:lnTo>
                  <a:pt x="16666" y="1214"/>
                </a:lnTo>
                <a:lnTo>
                  <a:pt x="15178" y="607"/>
                </a:lnTo>
                <a:lnTo>
                  <a:pt x="13690" y="303"/>
                </a:lnTo>
                <a:lnTo>
                  <a:pt x="11904" y="0"/>
                </a:lnTo>
                <a:lnTo>
                  <a:pt x="7738" y="0"/>
                </a:lnTo>
                <a:lnTo>
                  <a:pt x="5952" y="303"/>
                </a:lnTo>
                <a:lnTo>
                  <a:pt x="4464" y="607"/>
                </a:lnTo>
                <a:lnTo>
                  <a:pt x="2976" y="1214"/>
                </a:lnTo>
                <a:lnTo>
                  <a:pt x="1785" y="1822"/>
                </a:lnTo>
                <a:lnTo>
                  <a:pt x="892" y="2429"/>
                </a:lnTo>
                <a:lnTo>
                  <a:pt x="297" y="3340"/>
                </a:lnTo>
                <a:lnTo>
                  <a:pt x="0" y="4252"/>
                </a:lnTo>
                <a:close/>
              </a:path>
            </a:pathLst>
          </a:custGeom>
          <a:solidFill>
            <a:srgbClr val="FFFFFF"/>
          </a:solidFill>
        </p:spPr>
        <p:txBody>
          <a:bodyPr wrap="square" lIns="0" tIns="0" rIns="0" bIns="0" rtlCol="0">
            <a:noAutofit/>
          </a:bodyPr>
          <a:lstStyle/>
          <a:p>
            <a:endParaRPr/>
          </a:p>
        </p:txBody>
      </p:sp>
      <p:sp>
        <p:nvSpPr>
          <p:cNvPr id="891" name="object 891"/>
          <p:cNvSpPr/>
          <p:nvPr/>
        </p:nvSpPr>
        <p:spPr>
          <a:xfrm>
            <a:off x="8478380" y="1206568"/>
            <a:ext cx="18749" cy="7896"/>
          </a:xfrm>
          <a:custGeom>
            <a:avLst/>
            <a:gdLst/>
            <a:ahLst/>
            <a:cxnLst/>
            <a:rect l="l" t="t" r="r" b="b"/>
            <a:pathLst>
              <a:path w="18749" h="7896">
                <a:moveTo>
                  <a:pt x="0" y="3948"/>
                </a:moveTo>
                <a:lnTo>
                  <a:pt x="297" y="4859"/>
                </a:lnTo>
                <a:lnTo>
                  <a:pt x="892" y="5467"/>
                </a:lnTo>
                <a:lnTo>
                  <a:pt x="1785" y="6074"/>
                </a:lnTo>
                <a:lnTo>
                  <a:pt x="2976" y="6681"/>
                </a:lnTo>
                <a:lnTo>
                  <a:pt x="4166" y="7289"/>
                </a:lnTo>
                <a:lnTo>
                  <a:pt x="5952" y="7593"/>
                </a:lnTo>
                <a:lnTo>
                  <a:pt x="7738" y="7896"/>
                </a:lnTo>
                <a:lnTo>
                  <a:pt x="11309" y="7896"/>
                </a:lnTo>
                <a:lnTo>
                  <a:pt x="13095" y="7593"/>
                </a:lnTo>
                <a:lnTo>
                  <a:pt x="14583" y="7289"/>
                </a:lnTo>
                <a:lnTo>
                  <a:pt x="16071" y="6681"/>
                </a:lnTo>
                <a:lnTo>
                  <a:pt x="17261" y="6074"/>
                </a:lnTo>
                <a:lnTo>
                  <a:pt x="18154" y="5467"/>
                </a:lnTo>
                <a:lnTo>
                  <a:pt x="18452" y="4859"/>
                </a:lnTo>
                <a:lnTo>
                  <a:pt x="18749" y="3948"/>
                </a:lnTo>
                <a:lnTo>
                  <a:pt x="18452" y="3037"/>
                </a:lnTo>
                <a:lnTo>
                  <a:pt x="18154" y="2429"/>
                </a:lnTo>
                <a:lnTo>
                  <a:pt x="17261" y="1518"/>
                </a:lnTo>
                <a:lnTo>
                  <a:pt x="16071" y="911"/>
                </a:lnTo>
                <a:lnTo>
                  <a:pt x="14583" y="607"/>
                </a:lnTo>
                <a:lnTo>
                  <a:pt x="13095" y="303"/>
                </a:lnTo>
                <a:lnTo>
                  <a:pt x="11309" y="0"/>
                </a:lnTo>
                <a:lnTo>
                  <a:pt x="7738" y="0"/>
                </a:lnTo>
                <a:lnTo>
                  <a:pt x="5952" y="303"/>
                </a:lnTo>
                <a:lnTo>
                  <a:pt x="4166" y="607"/>
                </a:lnTo>
                <a:lnTo>
                  <a:pt x="2976" y="911"/>
                </a:lnTo>
                <a:lnTo>
                  <a:pt x="1785" y="1518"/>
                </a:lnTo>
                <a:lnTo>
                  <a:pt x="892" y="2429"/>
                </a:lnTo>
                <a:lnTo>
                  <a:pt x="297" y="3037"/>
                </a:lnTo>
                <a:lnTo>
                  <a:pt x="0" y="3948"/>
                </a:lnTo>
                <a:close/>
              </a:path>
            </a:pathLst>
          </a:custGeom>
          <a:solidFill>
            <a:srgbClr val="FFFFFF"/>
          </a:solidFill>
        </p:spPr>
        <p:txBody>
          <a:bodyPr wrap="square" lIns="0" tIns="0" rIns="0" bIns="0" rtlCol="0">
            <a:noAutofit/>
          </a:bodyPr>
          <a:lstStyle/>
          <a:p>
            <a:endParaRPr/>
          </a:p>
        </p:txBody>
      </p:sp>
      <p:sp>
        <p:nvSpPr>
          <p:cNvPr id="892" name="object 892"/>
          <p:cNvSpPr/>
          <p:nvPr/>
        </p:nvSpPr>
        <p:spPr>
          <a:xfrm>
            <a:off x="8540879" y="1187738"/>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893" name="object 893"/>
          <p:cNvSpPr/>
          <p:nvPr/>
        </p:nvSpPr>
        <p:spPr>
          <a:xfrm>
            <a:off x="8535819" y="1188346"/>
            <a:ext cx="7738" cy="42521"/>
          </a:xfrm>
          <a:custGeom>
            <a:avLst/>
            <a:gdLst/>
            <a:ahLst/>
            <a:cxnLst/>
            <a:rect l="l" t="t" r="r" b="b"/>
            <a:pathLst>
              <a:path w="7738" h="42521">
                <a:moveTo>
                  <a:pt x="5059" y="0"/>
                </a:moveTo>
                <a:lnTo>
                  <a:pt x="2380" y="4859"/>
                </a:lnTo>
                <a:lnTo>
                  <a:pt x="892" y="10326"/>
                </a:lnTo>
                <a:lnTo>
                  <a:pt x="0" y="15793"/>
                </a:lnTo>
                <a:lnTo>
                  <a:pt x="0" y="20957"/>
                </a:lnTo>
                <a:lnTo>
                  <a:pt x="297" y="26727"/>
                </a:lnTo>
                <a:lnTo>
                  <a:pt x="1488" y="32194"/>
                </a:lnTo>
                <a:lnTo>
                  <a:pt x="2976" y="37661"/>
                </a:lnTo>
                <a:lnTo>
                  <a:pt x="4761" y="42521"/>
                </a:lnTo>
                <a:lnTo>
                  <a:pt x="7738" y="41306"/>
                </a:lnTo>
                <a:lnTo>
                  <a:pt x="5952" y="36447"/>
                </a:lnTo>
                <a:lnTo>
                  <a:pt x="4464" y="31587"/>
                </a:lnTo>
                <a:lnTo>
                  <a:pt x="3273" y="26120"/>
                </a:lnTo>
                <a:lnTo>
                  <a:pt x="2976" y="20957"/>
                </a:lnTo>
                <a:lnTo>
                  <a:pt x="2976" y="15793"/>
                </a:lnTo>
                <a:lnTo>
                  <a:pt x="3869" y="10934"/>
                </a:lnTo>
                <a:lnTo>
                  <a:pt x="5357" y="6074"/>
                </a:lnTo>
                <a:lnTo>
                  <a:pt x="7440" y="1822"/>
                </a:lnTo>
                <a:lnTo>
                  <a:pt x="5059" y="0"/>
                </a:lnTo>
                <a:close/>
              </a:path>
            </a:pathLst>
          </a:custGeom>
          <a:solidFill>
            <a:srgbClr val="BEBEBE"/>
          </a:solidFill>
        </p:spPr>
        <p:txBody>
          <a:bodyPr wrap="square" lIns="0" tIns="0" rIns="0" bIns="0" rtlCol="0">
            <a:noAutofit/>
          </a:bodyPr>
          <a:lstStyle/>
          <a:p>
            <a:endParaRPr/>
          </a:p>
        </p:txBody>
      </p:sp>
      <p:sp>
        <p:nvSpPr>
          <p:cNvPr id="894" name="object 894"/>
          <p:cNvSpPr/>
          <p:nvPr/>
        </p:nvSpPr>
        <p:spPr>
          <a:xfrm>
            <a:off x="8540581" y="1229651"/>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895" name="object 895"/>
          <p:cNvSpPr/>
          <p:nvPr/>
        </p:nvSpPr>
        <p:spPr>
          <a:xfrm>
            <a:off x="8530760" y="1180752"/>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896" name="object 896"/>
          <p:cNvSpPr/>
          <p:nvPr/>
        </p:nvSpPr>
        <p:spPr>
          <a:xfrm>
            <a:off x="8523916" y="1181360"/>
            <a:ext cx="9523" cy="55885"/>
          </a:xfrm>
          <a:custGeom>
            <a:avLst/>
            <a:gdLst/>
            <a:ahLst/>
            <a:cxnLst/>
            <a:rect l="l" t="t" r="r" b="b"/>
            <a:pathLst>
              <a:path w="9523" h="55885">
                <a:moveTo>
                  <a:pt x="6547" y="55885"/>
                </a:moveTo>
                <a:lnTo>
                  <a:pt x="9523" y="54670"/>
                </a:lnTo>
                <a:lnTo>
                  <a:pt x="8035" y="51329"/>
                </a:lnTo>
                <a:lnTo>
                  <a:pt x="6845" y="48292"/>
                </a:lnTo>
                <a:lnTo>
                  <a:pt x="5952" y="45255"/>
                </a:lnTo>
                <a:lnTo>
                  <a:pt x="5059" y="41610"/>
                </a:lnTo>
                <a:lnTo>
                  <a:pt x="4166" y="38269"/>
                </a:lnTo>
                <a:lnTo>
                  <a:pt x="3571" y="34624"/>
                </a:lnTo>
                <a:lnTo>
                  <a:pt x="3273" y="31283"/>
                </a:lnTo>
                <a:lnTo>
                  <a:pt x="2976" y="27639"/>
                </a:lnTo>
                <a:lnTo>
                  <a:pt x="2976" y="24298"/>
                </a:lnTo>
                <a:lnTo>
                  <a:pt x="3273" y="20957"/>
                </a:lnTo>
                <a:lnTo>
                  <a:pt x="3869" y="17312"/>
                </a:lnTo>
                <a:lnTo>
                  <a:pt x="4464" y="13971"/>
                </a:lnTo>
                <a:lnTo>
                  <a:pt x="5357" y="10934"/>
                </a:lnTo>
                <a:lnTo>
                  <a:pt x="6547" y="7593"/>
                </a:lnTo>
                <a:lnTo>
                  <a:pt x="7440" y="4555"/>
                </a:lnTo>
                <a:lnTo>
                  <a:pt x="9226" y="1822"/>
                </a:lnTo>
                <a:lnTo>
                  <a:pt x="6845" y="0"/>
                </a:lnTo>
                <a:lnTo>
                  <a:pt x="5059" y="3340"/>
                </a:lnTo>
                <a:lnTo>
                  <a:pt x="3571" y="6378"/>
                </a:lnTo>
                <a:lnTo>
                  <a:pt x="2380" y="9719"/>
                </a:lnTo>
                <a:lnTo>
                  <a:pt x="1488" y="13363"/>
                </a:lnTo>
                <a:lnTo>
                  <a:pt x="892" y="16704"/>
                </a:lnTo>
                <a:lnTo>
                  <a:pt x="297" y="20349"/>
                </a:lnTo>
                <a:lnTo>
                  <a:pt x="0" y="24298"/>
                </a:lnTo>
                <a:lnTo>
                  <a:pt x="0" y="27639"/>
                </a:lnTo>
                <a:lnTo>
                  <a:pt x="297" y="31283"/>
                </a:lnTo>
                <a:lnTo>
                  <a:pt x="595" y="35232"/>
                </a:lnTo>
                <a:lnTo>
                  <a:pt x="1190" y="38876"/>
                </a:lnTo>
                <a:lnTo>
                  <a:pt x="2083" y="42217"/>
                </a:lnTo>
                <a:lnTo>
                  <a:pt x="2976" y="45862"/>
                </a:lnTo>
                <a:lnTo>
                  <a:pt x="3869" y="49507"/>
                </a:lnTo>
                <a:lnTo>
                  <a:pt x="5059" y="52544"/>
                </a:lnTo>
                <a:lnTo>
                  <a:pt x="6547" y="55885"/>
                </a:lnTo>
                <a:close/>
              </a:path>
            </a:pathLst>
          </a:custGeom>
          <a:solidFill>
            <a:srgbClr val="BEBEBE"/>
          </a:solidFill>
        </p:spPr>
        <p:txBody>
          <a:bodyPr wrap="square" lIns="0" tIns="0" rIns="0" bIns="0" rtlCol="0">
            <a:noAutofit/>
          </a:bodyPr>
          <a:lstStyle/>
          <a:p>
            <a:endParaRPr/>
          </a:p>
        </p:txBody>
      </p:sp>
      <p:sp>
        <p:nvSpPr>
          <p:cNvPr id="897" name="object 897"/>
          <p:cNvSpPr/>
          <p:nvPr/>
        </p:nvSpPr>
        <p:spPr>
          <a:xfrm>
            <a:off x="8530462" y="1236029"/>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898" name="object 898"/>
          <p:cNvSpPr/>
          <p:nvPr/>
        </p:nvSpPr>
        <p:spPr>
          <a:xfrm>
            <a:off x="8524212" y="1174678"/>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899" name="object 899"/>
          <p:cNvSpPr/>
          <p:nvPr/>
        </p:nvSpPr>
        <p:spPr>
          <a:xfrm>
            <a:off x="8511712" y="1175285"/>
            <a:ext cx="14880" cy="68641"/>
          </a:xfrm>
          <a:custGeom>
            <a:avLst/>
            <a:gdLst/>
            <a:ahLst/>
            <a:cxnLst/>
            <a:rect l="l" t="t" r="r" b="b"/>
            <a:pathLst>
              <a:path w="14880" h="68641">
                <a:moveTo>
                  <a:pt x="297" y="38573"/>
                </a:moveTo>
                <a:lnTo>
                  <a:pt x="1190" y="42825"/>
                </a:lnTo>
                <a:lnTo>
                  <a:pt x="2083" y="47381"/>
                </a:lnTo>
                <a:lnTo>
                  <a:pt x="3571" y="51937"/>
                </a:lnTo>
                <a:lnTo>
                  <a:pt x="5357" y="56189"/>
                </a:lnTo>
                <a:lnTo>
                  <a:pt x="7440" y="60441"/>
                </a:lnTo>
                <a:lnTo>
                  <a:pt x="9821" y="64693"/>
                </a:lnTo>
                <a:lnTo>
                  <a:pt x="12499" y="68641"/>
                </a:lnTo>
                <a:lnTo>
                  <a:pt x="14880" y="66819"/>
                </a:lnTo>
                <a:lnTo>
                  <a:pt x="12202" y="62871"/>
                </a:lnTo>
                <a:lnTo>
                  <a:pt x="9821" y="59226"/>
                </a:lnTo>
                <a:lnTo>
                  <a:pt x="8333" y="54974"/>
                </a:lnTo>
                <a:lnTo>
                  <a:pt x="6547" y="50722"/>
                </a:lnTo>
                <a:lnTo>
                  <a:pt x="5059" y="46773"/>
                </a:lnTo>
                <a:lnTo>
                  <a:pt x="4166" y="42217"/>
                </a:lnTo>
                <a:lnTo>
                  <a:pt x="3273" y="37965"/>
                </a:lnTo>
                <a:lnTo>
                  <a:pt x="2976" y="33713"/>
                </a:lnTo>
                <a:lnTo>
                  <a:pt x="2976" y="29461"/>
                </a:lnTo>
                <a:lnTo>
                  <a:pt x="3571" y="25512"/>
                </a:lnTo>
                <a:lnTo>
                  <a:pt x="4464" y="21260"/>
                </a:lnTo>
                <a:lnTo>
                  <a:pt x="5654" y="17312"/>
                </a:lnTo>
                <a:lnTo>
                  <a:pt x="7142" y="13060"/>
                </a:lnTo>
                <a:lnTo>
                  <a:pt x="9226" y="9415"/>
                </a:lnTo>
                <a:lnTo>
                  <a:pt x="11904" y="5467"/>
                </a:lnTo>
                <a:lnTo>
                  <a:pt x="14880" y="1822"/>
                </a:lnTo>
                <a:lnTo>
                  <a:pt x="12499" y="0"/>
                </a:lnTo>
                <a:lnTo>
                  <a:pt x="9523" y="3644"/>
                </a:lnTo>
                <a:lnTo>
                  <a:pt x="6845" y="7593"/>
                </a:lnTo>
                <a:lnTo>
                  <a:pt x="4761" y="11845"/>
                </a:lnTo>
                <a:lnTo>
                  <a:pt x="2678" y="16097"/>
                </a:lnTo>
                <a:lnTo>
                  <a:pt x="1488" y="20653"/>
                </a:lnTo>
                <a:lnTo>
                  <a:pt x="595" y="24905"/>
                </a:lnTo>
                <a:lnTo>
                  <a:pt x="0" y="29461"/>
                </a:lnTo>
                <a:lnTo>
                  <a:pt x="0" y="33713"/>
                </a:lnTo>
                <a:lnTo>
                  <a:pt x="297" y="38573"/>
                </a:lnTo>
                <a:close/>
              </a:path>
            </a:pathLst>
          </a:custGeom>
          <a:solidFill>
            <a:srgbClr val="BEBEBE"/>
          </a:solidFill>
        </p:spPr>
        <p:txBody>
          <a:bodyPr wrap="square" lIns="0" tIns="0" rIns="0" bIns="0" rtlCol="0">
            <a:noAutofit/>
          </a:bodyPr>
          <a:lstStyle/>
          <a:p>
            <a:endParaRPr/>
          </a:p>
        </p:txBody>
      </p:sp>
      <p:sp>
        <p:nvSpPr>
          <p:cNvPr id="900" name="object 900"/>
          <p:cNvSpPr/>
          <p:nvPr/>
        </p:nvSpPr>
        <p:spPr>
          <a:xfrm>
            <a:off x="8524212" y="1242105"/>
            <a:ext cx="2678" cy="2429"/>
          </a:xfrm>
          <a:custGeom>
            <a:avLst/>
            <a:gdLst/>
            <a:ahLst/>
            <a:cxnLst/>
            <a:rect l="l" t="t" r="r" b="b"/>
            <a:pathLst>
              <a:path w="2678" h="2429">
                <a:moveTo>
                  <a:pt x="0" y="1822"/>
                </a:moveTo>
                <a:lnTo>
                  <a:pt x="1190" y="2429"/>
                </a:lnTo>
                <a:lnTo>
                  <a:pt x="2083" y="2126"/>
                </a:lnTo>
                <a:lnTo>
                  <a:pt x="2678" y="1214"/>
                </a:lnTo>
                <a:lnTo>
                  <a:pt x="2380" y="0"/>
                </a:lnTo>
                <a:lnTo>
                  <a:pt x="0" y="1822"/>
                </a:lnTo>
                <a:close/>
              </a:path>
            </a:pathLst>
          </a:custGeom>
          <a:solidFill>
            <a:srgbClr val="BEBEBE"/>
          </a:solidFill>
        </p:spPr>
        <p:txBody>
          <a:bodyPr wrap="square" lIns="0" tIns="0" rIns="0" bIns="0" rtlCol="0">
            <a:noAutofit/>
          </a:bodyPr>
          <a:lstStyle/>
          <a:p>
            <a:endParaRPr/>
          </a:p>
        </p:txBody>
      </p:sp>
      <p:sp>
        <p:nvSpPr>
          <p:cNvPr id="901" name="object 901"/>
          <p:cNvSpPr/>
          <p:nvPr/>
        </p:nvSpPr>
        <p:spPr>
          <a:xfrm>
            <a:off x="8509927" y="1187738"/>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902" name="object 902"/>
          <p:cNvSpPr/>
          <p:nvPr/>
        </p:nvSpPr>
        <p:spPr>
          <a:xfrm>
            <a:off x="8504867" y="1188346"/>
            <a:ext cx="7738" cy="42521"/>
          </a:xfrm>
          <a:custGeom>
            <a:avLst/>
            <a:gdLst/>
            <a:ahLst/>
            <a:cxnLst/>
            <a:rect l="l" t="t" r="r" b="b"/>
            <a:pathLst>
              <a:path w="7738" h="42521">
                <a:moveTo>
                  <a:pt x="5059" y="0"/>
                </a:moveTo>
                <a:lnTo>
                  <a:pt x="2380" y="5163"/>
                </a:lnTo>
                <a:lnTo>
                  <a:pt x="892" y="10326"/>
                </a:lnTo>
                <a:lnTo>
                  <a:pt x="0" y="15793"/>
                </a:lnTo>
                <a:lnTo>
                  <a:pt x="0" y="21260"/>
                </a:lnTo>
                <a:lnTo>
                  <a:pt x="297" y="26727"/>
                </a:lnTo>
                <a:lnTo>
                  <a:pt x="1190" y="32194"/>
                </a:lnTo>
                <a:lnTo>
                  <a:pt x="2678" y="37661"/>
                </a:lnTo>
                <a:lnTo>
                  <a:pt x="4761" y="42521"/>
                </a:lnTo>
                <a:lnTo>
                  <a:pt x="7738" y="41306"/>
                </a:lnTo>
                <a:lnTo>
                  <a:pt x="5654" y="36447"/>
                </a:lnTo>
                <a:lnTo>
                  <a:pt x="4166" y="31587"/>
                </a:lnTo>
                <a:lnTo>
                  <a:pt x="3273" y="26120"/>
                </a:lnTo>
                <a:lnTo>
                  <a:pt x="2976" y="21260"/>
                </a:lnTo>
                <a:lnTo>
                  <a:pt x="2976" y="15793"/>
                </a:lnTo>
                <a:lnTo>
                  <a:pt x="3869" y="10934"/>
                </a:lnTo>
                <a:lnTo>
                  <a:pt x="5357" y="6378"/>
                </a:lnTo>
                <a:lnTo>
                  <a:pt x="7440" y="1822"/>
                </a:lnTo>
                <a:lnTo>
                  <a:pt x="5059" y="0"/>
                </a:lnTo>
                <a:close/>
              </a:path>
            </a:pathLst>
          </a:custGeom>
          <a:solidFill>
            <a:srgbClr val="BEBEBE"/>
          </a:solidFill>
        </p:spPr>
        <p:txBody>
          <a:bodyPr wrap="square" lIns="0" tIns="0" rIns="0" bIns="0" rtlCol="0">
            <a:noAutofit/>
          </a:bodyPr>
          <a:lstStyle/>
          <a:p>
            <a:endParaRPr/>
          </a:p>
        </p:txBody>
      </p:sp>
      <p:sp>
        <p:nvSpPr>
          <p:cNvPr id="903" name="object 903"/>
          <p:cNvSpPr/>
          <p:nvPr/>
        </p:nvSpPr>
        <p:spPr>
          <a:xfrm>
            <a:off x="8509629" y="1229651"/>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904" name="object 904"/>
          <p:cNvSpPr/>
          <p:nvPr/>
        </p:nvSpPr>
        <p:spPr>
          <a:xfrm>
            <a:off x="8487010" y="1187738"/>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905" name="object 905"/>
          <p:cNvSpPr/>
          <p:nvPr/>
        </p:nvSpPr>
        <p:spPr>
          <a:xfrm>
            <a:off x="8481950" y="1188345"/>
            <a:ext cx="7738" cy="41002"/>
          </a:xfrm>
          <a:custGeom>
            <a:avLst/>
            <a:gdLst/>
            <a:ahLst/>
            <a:cxnLst/>
            <a:rect l="l" t="t" r="r" b="b"/>
            <a:pathLst>
              <a:path w="7738" h="41002">
                <a:moveTo>
                  <a:pt x="4761" y="41002"/>
                </a:moveTo>
                <a:lnTo>
                  <a:pt x="7738" y="39788"/>
                </a:lnTo>
                <a:lnTo>
                  <a:pt x="5952" y="34928"/>
                </a:lnTo>
                <a:lnTo>
                  <a:pt x="4464" y="30372"/>
                </a:lnTo>
                <a:lnTo>
                  <a:pt x="3571" y="25209"/>
                </a:lnTo>
                <a:lnTo>
                  <a:pt x="2976" y="20349"/>
                </a:lnTo>
                <a:lnTo>
                  <a:pt x="3273" y="15490"/>
                </a:lnTo>
                <a:lnTo>
                  <a:pt x="4166" y="10630"/>
                </a:lnTo>
                <a:lnTo>
                  <a:pt x="5654" y="6074"/>
                </a:lnTo>
                <a:lnTo>
                  <a:pt x="7440" y="1822"/>
                </a:lnTo>
                <a:lnTo>
                  <a:pt x="5059" y="0"/>
                </a:lnTo>
                <a:lnTo>
                  <a:pt x="2678" y="4859"/>
                </a:lnTo>
                <a:lnTo>
                  <a:pt x="1190" y="10022"/>
                </a:lnTo>
                <a:lnTo>
                  <a:pt x="297" y="14882"/>
                </a:lnTo>
                <a:lnTo>
                  <a:pt x="0" y="20349"/>
                </a:lnTo>
                <a:lnTo>
                  <a:pt x="595" y="25816"/>
                </a:lnTo>
                <a:lnTo>
                  <a:pt x="1488" y="30980"/>
                </a:lnTo>
                <a:lnTo>
                  <a:pt x="2976" y="36143"/>
                </a:lnTo>
                <a:lnTo>
                  <a:pt x="4761" y="41002"/>
                </a:lnTo>
                <a:close/>
              </a:path>
            </a:pathLst>
          </a:custGeom>
          <a:solidFill>
            <a:srgbClr val="BEBEBE"/>
          </a:solidFill>
        </p:spPr>
        <p:txBody>
          <a:bodyPr wrap="square" lIns="0" tIns="0" rIns="0" bIns="0" rtlCol="0">
            <a:noAutofit/>
          </a:bodyPr>
          <a:lstStyle/>
          <a:p>
            <a:endParaRPr/>
          </a:p>
        </p:txBody>
      </p:sp>
      <p:sp>
        <p:nvSpPr>
          <p:cNvPr id="906" name="object 906"/>
          <p:cNvSpPr/>
          <p:nvPr/>
        </p:nvSpPr>
        <p:spPr>
          <a:xfrm>
            <a:off x="8486712" y="1228133"/>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907" name="object 907"/>
          <p:cNvSpPr/>
          <p:nvPr/>
        </p:nvSpPr>
        <p:spPr>
          <a:xfrm>
            <a:off x="8477189" y="1181360"/>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908" name="object 908"/>
          <p:cNvSpPr/>
          <p:nvPr/>
        </p:nvSpPr>
        <p:spPr>
          <a:xfrm>
            <a:off x="8470641" y="1181967"/>
            <a:ext cx="9226" cy="53759"/>
          </a:xfrm>
          <a:custGeom>
            <a:avLst/>
            <a:gdLst/>
            <a:ahLst/>
            <a:cxnLst/>
            <a:rect l="l" t="t" r="r" b="b"/>
            <a:pathLst>
              <a:path w="9226" h="53759">
                <a:moveTo>
                  <a:pt x="6249" y="53759"/>
                </a:moveTo>
                <a:lnTo>
                  <a:pt x="9226" y="52544"/>
                </a:lnTo>
                <a:lnTo>
                  <a:pt x="8035" y="49507"/>
                </a:lnTo>
                <a:lnTo>
                  <a:pt x="6845" y="46166"/>
                </a:lnTo>
                <a:lnTo>
                  <a:pt x="5654" y="42825"/>
                </a:lnTo>
                <a:lnTo>
                  <a:pt x="4761" y="39788"/>
                </a:lnTo>
                <a:lnTo>
                  <a:pt x="4166" y="36447"/>
                </a:lnTo>
                <a:lnTo>
                  <a:pt x="3571" y="33106"/>
                </a:lnTo>
                <a:lnTo>
                  <a:pt x="3273" y="30068"/>
                </a:lnTo>
                <a:lnTo>
                  <a:pt x="2976" y="26424"/>
                </a:lnTo>
                <a:lnTo>
                  <a:pt x="2976" y="23083"/>
                </a:lnTo>
                <a:lnTo>
                  <a:pt x="3273" y="20045"/>
                </a:lnTo>
                <a:lnTo>
                  <a:pt x="3869" y="16704"/>
                </a:lnTo>
                <a:lnTo>
                  <a:pt x="4464" y="13363"/>
                </a:lnTo>
                <a:lnTo>
                  <a:pt x="5357" y="10326"/>
                </a:lnTo>
                <a:lnTo>
                  <a:pt x="6249" y="7593"/>
                </a:lnTo>
                <a:lnTo>
                  <a:pt x="7440" y="4555"/>
                </a:lnTo>
                <a:lnTo>
                  <a:pt x="8928" y="1822"/>
                </a:lnTo>
                <a:lnTo>
                  <a:pt x="6547" y="0"/>
                </a:lnTo>
                <a:lnTo>
                  <a:pt x="5059" y="3340"/>
                </a:lnTo>
                <a:lnTo>
                  <a:pt x="3273" y="6378"/>
                </a:lnTo>
                <a:lnTo>
                  <a:pt x="2380" y="9719"/>
                </a:lnTo>
                <a:lnTo>
                  <a:pt x="1488" y="12756"/>
                </a:lnTo>
                <a:lnTo>
                  <a:pt x="892" y="16097"/>
                </a:lnTo>
                <a:lnTo>
                  <a:pt x="297" y="19438"/>
                </a:lnTo>
                <a:lnTo>
                  <a:pt x="0" y="23083"/>
                </a:lnTo>
                <a:lnTo>
                  <a:pt x="0" y="26424"/>
                </a:lnTo>
                <a:lnTo>
                  <a:pt x="297" y="30068"/>
                </a:lnTo>
                <a:lnTo>
                  <a:pt x="595" y="33713"/>
                </a:lnTo>
                <a:lnTo>
                  <a:pt x="1190" y="37054"/>
                </a:lnTo>
                <a:lnTo>
                  <a:pt x="1785" y="40395"/>
                </a:lnTo>
                <a:lnTo>
                  <a:pt x="2678" y="44040"/>
                </a:lnTo>
                <a:lnTo>
                  <a:pt x="3869" y="47381"/>
                </a:lnTo>
                <a:lnTo>
                  <a:pt x="5059" y="50722"/>
                </a:lnTo>
                <a:lnTo>
                  <a:pt x="6249" y="53759"/>
                </a:lnTo>
                <a:close/>
              </a:path>
            </a:pathLst>
          </a:custGeom>
          <a:solidFill>
            <a:srgbClr val="BEBEBE"/>
          </a:solidFill>
        </p:spPr>
        <p:txBody>
          <a:bodyPr wrap="square" lIns="0" tIns="0" rIns="0" bIns="0" rtlCol="0">
            <a:noAutofit/>
          </a:bodyPr>
          <a:lstStyle/>
          <a:p>
            <a:endParaRPr/>
          </a:p>
        </p:txBody>
      </p:sp>
      <p:sp>
        <p:nvSpPr>
          <p:cNvPr id="909" name="object 909"/>
          <p:cNvSpPr/>
          <p:nvPr/>
        </p:nvSpPr>
        <p:spPr>
          <a:xfrm>
            <a:off x="8476891" y="1234511"/>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910" name="object 910"/>
          <p:cNvSpPr/>
          <p:nvPr/>
        </p:nvSpPr>
        <p:spPr>
          <a:xfrm>
            <a:off x="8470939" y="1175589"/>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911" name="object 911"/>
          <p:cNvSpPr/>
          <p:nvPr/>
        </p:nvSpPr>
        <p:spPr>
          <a:xfrm>
            <a:off x="8459035" y="1176196"/>
            <a:ext cx="14285" cy="65604"/>
          </a:xfrm>
          <a:custGeom>
            <a:avLst/>
            <a:gdLst/>
            <a:ahLst/>
            <a:cxnLst/>
            <a:rect l="l" t="t" r="r" b="b"/>
            <a:pathLst>
              <a:path w="14285" h="65604">
                <a:moveTo>
                  <a:pt x="4761" y="44647"/>
                </a:moveTo>
                <a:lnTo>
                  <a:pt x="3869" y="40395"/>
                </a:lnTo>
                <a:lnTo>
                  <a:pt x="3273" y="36143"/>
                </a:lnTo>
                <a:lnTo>
                  <a:pt x="2976" y="32194"/>
                </a:lnTo>
                <a:lnTo>
                  <a:pt x="2976" y="28246"/>
                </a:lnTo>
                <a:lnTo>
                  <a:pt x="3273" y="24298"/>
                </a:lnTo>
                <a:lnTo>
                  <a:pt x="4166" y="20349"/>
                </a:lnTo>
                <a:lnTo>
                  <a:pt x="5357" y="16401"/>
                </a:lnTo>
                <a:lnTo>
                  <a:pt x="6547" y="12452"/>
                </a:lnTo>
                <a:lnTo>
                  <a:pt x="8630" y="9111"/>
                </a:lnTo>
                <a:lnTo>
                  <a:pt x="11309" y="5467"/>
                </a:lnTo>
                <a:lnTo>
                  <a:pt x="14285" y="1822"/>
                </a:lnTo>
                <a:lnTo>
                  <a:pt x="11904" y="0"/>
                </a:lnTo>
                <a:lnTo>
                  <a:pt x="8928" y="3644"/>
                </a:lnTo>
                <a:lnTo>
                  <a:pt x="6249" y="7289"/>
                </a:lnTo>
                <a:lnTo>
                  <a:pt x="4166" y="11237"/>
                </a:lnTo>
                <a:lnTo>
                  <a:pt x="2380" y="15186"/>
                </a:lnTo>
                <a:lnTo>
                  <a:pt x="1190" y="19742"/>
                </a:lnTo>
                <a:lnTo>
                  <a:pt x="297" y="23690"/>
                </a:lnTo>
                <a:lnTo>
                  <a:pt x="0" y="28246"/>
                </a:lnTo>
                <a:lnTo>
                  <a:pt x="0" y="32194"/>
                </a:lnTo>
                <a:lnTo>
                  <a:pt x="297" y="36750"/>
                </a:lnTo>
                <a:lnTo>
                  <a:pt x="892" y="41002"/>
                </a:lnTo>
                <a:lnTo>
                  <a:pt x="1785" y="45255"/>
                </a:lnTo>
                <a:lnTo>
                  <a:pt x="3273" y="49507"/>
                </a:lnTo>
                <a:lnTo>
                  <a:pt x="5059" y="53759"/>
                </a:lnTo>
                <a:lnTo>
                  <a:pt x="7142" y="57707"/>
                </a:lnTo>
                <a:lnTo>
                  <a:pt x="9523" y="61960"/>
                </a:lnTo>
                <a:lnTo>
                  <a:pt x="11904" y="65604"/>
                </a:lnTo>
                <a:lnTo>
                  <a:pt x="14285" y="63782"/>
                </a:lnTo>
                <a:lnTo>
                  <a:pt x="11904" y="60137"/>
                </a:lnTo>
                <a:lnTo>
                  <a:pt x="9523" y="56492"/>
                </a:lnTo>
                <a:lnTo>
                  <a:pt x="8035" y="52544"/>
                </a:lnTo>
                <a:lnTo>
                  <a:pt x="6249" y="48292"/>
                </a:lnTo>
                <a:lnTo>
                  <a:pt x="4761" y="44647"/>
                </a:lnTo>
                <a:close/>
              </a:path>
            </a:pathLst>
          </a:custGeom>
          <a:solidFill>
            <a:srgbClr val="BEBEBE"/>
          </a:solidFill>
        </p:spPr>
        <p:txBody>
          <a:bodyPr wrap="square" lIns="0" tIns="0" rIns="0" bIns="0" rtlCol="0">
            <a:noAutofit/>
          </a:bodyPr>
          <a:lstStyle/>
          <a:p>
            <a:endParaRPr/>
          </a:p>
        </p:txBody>
      </p:sp>
      <p:sp>
        <p:nvSpPr>
          <p:cNvPr id="912" name="object 912"/>
          <p:cNvSpPr/>
          <p:nvPr/>
        </p:nvSpPr>
        <p:spPr>
          <a:xfrm>
            <a:off x="8470939" y="1239979"/>
            <a:ext cx="2678" cy="2429"/>
          </a:xfrm>
          <a:custGeom>
            <a:avLst/>
            <a:gdLst/>
            <a:ahLst/>
            <a:cxnLst/>
            <a:rect l="l" t="t" r="r" b="b"/>
            <a:pathLst>
              <a:path w="2678" h="2429">
                <a:moveTo>
                  <a:pt x="0" y="1822"/>
                </a:moveTo>
                <a:lnTo>
                  <a:pt x="1190" y="2429"/>
                </a:lnTo>
                <a:lnTo>
                  <a:pt x="2083" y="2126"/>
                </a:lnTo>
                <a:lnTo>
                  <a:pt x="2678" y="1214"/>
                </a:lnTo>
                <a:lnTo>
                  <a:pt x="2380" y="0"/>
                </a:lnTo>
                <a:lnTo>
                  <a:pt x="0" y="1822"/>
                </a:lnTo>
                <a:close/>
              </a:path>
            </a:pathLst>
          </a:custGeom>
          <a:solidFill>
            <a:srgbClr val="BEBEBE"/>
          </a:solidFill>
        </p:spPr>
        <p:txBody>
          <a:bodyPr wrap="square" lIns="0" tIns="0" rIns="0" bIns="0" rtlCol="0">
            <a:noAutofit/>
          </a:bodyPr>
          <a:lstStyle/>
          <a:p>
            <a:endParaRPr/>
          </a:p>
        </p:txBody>
      </p:sp>
      <p:sp>
        <p:nvSpPr>
          <p:cNvPr id="913" name="object 913"/>
          <p:cNvSpPr/>
          <p:nvPr/>
        </p:nvSpPr>
        <p:spPr>
          <a:xfrm>
            <a:off x="8457248" y="1188042"/>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914" name="object 914"/>
          <p:cNvSpPr/>
          <p:nvPr/>
        </p:nvSpPr>
        <p:spPr>
          <a:xfrm>
            <a:off x="8452189" y="1188648"/>
            <a:ext cx="7440" cy="41002"/>
          </a:xfrm>
          <a:custGeom>
            <a:avLst/>
            <a:gdLst/>
            <a:ahLst/>
            <a:cxnLst/>
            <a:rect l="l" t="t" r="r" b="b"/>
            <a:pathLst>
              <a:path w="7440" h="41002">
                <a:moveTo>
                  <a:pt x="5654" y="34928"/>
                </a:moveTo>
                <a:lnTo>
                  <a:pt x="4166" y="30372"/>
                </a:lnTo>
                <a:lnTo>
                  <a:pt x="3273" y="25209"/>
                </a:lnTo>
                <a:lnTo>
                  <a:pt x="2976" y="20349"/>
                </a:lnTo>
                <a:lnTo>
                  <a:pt x="3273" y="15186"/>
                </a:lnTo>
                <a:lnTo>
                  <a:pt x="3869" y="10630"/>
                </a:lnTo>
                <a:lnTo>
                  <a:pt x="5654" y="6074"/>
                </a:lnTo>
                <a:lnTo>
                  <a:pt x="7440" y="1822"/>
                </a:lnTo>
                <a:lnTo>
                  <a:pt x="5059" y="0"/>
                </a:lnTo>
                <a:lnTo>
                  <a:pt x="2678" y="4859"/>
                </a:lnTo>
                <a:lnTo>
                  <a:pt x="892" y="10022"/>
                </a:lnTo>
                <a:lnTo>
                  <a:pt x="297" y="15186"/>
                </a:lnTo>
                <a:lnTo>
                  <a:pt x="0" y="20349"/>
                </a:lnTo>
                <a:lnTo>
                  <a:pt x="297" y="25816"/>
                </a:lnTo>
                <a:lnTo>
                  <a:pt x="1190" y="30980"/>
                </a:lnTo>
                <a:lnTo>
                  <a:pt x="2678" y="36143"/>
                </a:lnTo>
                <a:lnTo>
                  <a:pt x="5059" y="41002"/>
                </a:lnTo>
                <a:lnTo>
                  <a:pt x="7440" y="39788"/>
                </a:lnTo>
                <a:lnTo>
                  <a:pt x="5654" y="34928"/>
                </a:lnTo>
                <a:close/>
              </a:path>
            </a:pathLst>
          </a:custGeom>
          <a:solidFill>
            <a:srgbClr val="BEBEBE"/>
          </a:solidFill>
        </p:spPr>
        <p:txBody>
          <a:bodyPr wrap="square" lIns="0" tIns="0" rIns="0" bIns="0" rtlCol="0">
            <a:noAutofit/>
          </a:bodyPr>
          <a:lstStyle/>
          <a:p>
            <a:endParaRPr/>
          </a:p>
        </p:txBody>
      </p:sp>
      <p:sp>
        <p:nvSpPr>
          <p:cNvPr id="915" name="object 915"/>
          <p:cNvSpPr/>
          <p:nvPr/>
        </p:nvSpPr>
        <p:spPr>
          <a:xfrm>
            <a:off x="8457248" y="1228436"/>
            <a:ext cx="2380" cy="1822"/>
          </a:xfrm>
          <a:custGeom>
            <a:avLst/>
            <a:gdLst/>
            <a:ahLst/>
            <a:cxnLst/>
            <a:rect l="l" t="t" r="r" b="b"/>
            <a:pathLst>
              <a:path w="2380" h="1822">
                <a:moveTo>
                  <a:pt x="0" y="1214"/>
                </a:moveTo>
                <a:lnTo>
                  <a:pt x="595" y="1822"/>
                </a:lnTo>
                <a:lnTo>
                  <a:pt x="1785" y="1822"/>
                </a:lnTo>
                <a:lnTo>
                  <a:pt x="2380" y="911"/>
                </a:lnTo>
                <a:lnTo>
                  <a:pt x="2380" y="0"/>
                </a:lnTo>
                <a:lnTo>
                  <a:pt x="0" y="1214"/>
                </a:lnTo>
                <a:close/>
              </a:path>
            </a:pathLst>
          </a:custGeom>
          <a:solidFill>
            <a:srgbClr val="BEBEBE"/>
          </a:solidFill>
        </p:spPr>
        <p:txBody>
          <a:bodyPr wrap="square" lIns="0" tIns="0" rIns="0" bIns="0" rtlCol="0">
            <a:noAutofit/>
          </a:bodyPr>
          <a:lstStyle/>
          <a:p>
            <a:endParaRPr/>
          </a:p>
        </p:txBody>
      </p:sp>
      <p:sp>
        <p:nvSpPr>
          <p:cNvPr id="916" name="object 916"/>
          <p:cNvSpPr/>
          <p:nvPr/>
        </p:nvSpPr>
        <p:spPr>
          <a:xfrm>
            <a:off x="8034929" y="1149771"/>
            <a:ext cx="83035" cy="99014"/>
          </a:xfrm>
          <a:custGeom>
            <a:avLst/>
            <a:gdLst/>
            <a:ahLst/>
            <a:cxnLst/>
            <a:rect l="l" t="t" r="r" b="b"/>
            <a:pathLst>
              <a:path w="83035" h="99014">
                <a:moveTo>
                  <a:pt x="23511" y="0"/>
                </a:moveTo>
                <a:lnTo>
                  <a:pt x="18749" y="607"/>
                </a:lnTo>
                <a:lnTo>
                  <a:pt x="14285" y="2429"/>
                </a:lnTo>
                <a:lnTo>
                  <a:pt x="10416" y="5467"/>
                </a:lnTo>
                <a:lnTo>
                  <a:pt x="6845" y="9111"/>
                </a:lnTo>
                <a:lnTo>
                  <a:pt x="3869" y="13971"/>
                </a:lnTo>
                <a:lnTo>
                  <a:pt x="1785" y="19134"/>
                </a:lnTo>
                <a:lnTo>
                  <a:pt x="595" y="25209"/>
                </a:lnTo>
                <a:lnTo>
                  <a:pt x="0" y="31587"/>
                </a:lnTo>
                <a:lnTo>
                  <a:pt x="0" y="66212"/>
                </a:lnTo>
                <a:lnTo>
                  <a:pt x="595" y="72590"/>
                </a:lnTo>
                <a:lnTo>
                  <a:pt x="1785" y="78664"/>
                </a:lnTo>
                <a:lnTo>
                  <a:pt x="4166" y="83828"/>
                </a:lnTo>
                <a:lnTo>
                  <a:pt x="6845" y="88384"/>
                </a:lnTo>
                <a:lnTo>
                  <a:pt x="10416" y="92332"/>
                </a:lnTo>
                <a:lnTo>
                  <a:pt x="14583" y="95066"/>
                </a:lnTo>
                <a:lnTo>
                  <a:pt x="18749" y="97192"/>
                </a:lnTo>
                <a:lnTo>
                  <a:pt x="23511" y="97799"/>
                </a:lnTo>
                <a:lnTo>
                  <a:pt x="59523" y="99014"/>
                </a:lnTo>
                <a:lnTo>
                  <a:pt x="63987" y="98407"/>
                </a:lnTo>
                <a:lnTo>
                  <a:pt x="68452" y="96584"/>
                </a:lnTo>
                <a:lnTo>
                  <a:pt x="72321" y="93851"/>
                </a:lnTo>
                <a:lnTo>
                  <a:pt x="75892" y="89902"/>
                </a:lnTo>
                <a:lnTo>
                  <a:pt x="78868" y="85043"/>
                </a:lnTo>
                <a:lnTo>
                  <a:pt x="81249" y="79576"/>
                </a:lnTo>
                <a:lnTo>
                  <a:pt x="82440" y="73805"/>
                </a:lnTo>
                <a:lnTo>
                  <a:pt x="83035" y="67427"/>
                </a:lnTo>
                <a:lnTo>
                  <a:pt x="83035" y="31587"/>
                </a:lnTo>
                <a:lnTo>
                  <a:pt x="82440" y="25209"/>
                </a:lnTo>
                <a:lnTo>
                  <a:pt x="81249" y="19438"/>
                </a:lnTo>
                <a:lnTo>
                  <a:pt x="78868" y="13971"/>
                </a:lnTo>
                <a:lnTo>
                  <a:pt x="76190" y="9415"/>
                </a:lnTo>
                <a:lnTo>
                  <a:pt x="72618" y="5467"/>
                </a:lnTo>
                <a:lnTo>
                  <a:pt x="68452" y="2429"/>
                </a:lnTo>
                <a:lnTo>
                  <a:pt x="64285" y="607"/>
                </a:lnTo>
                <a:lnTo>
                  <a:pt x="59523" y="0"/>
                </a:lnTo>
                <a:lnTo>
                  <a:pt x="23511" y="0"/>
                </a:lnTo>
                <a:close/>
              </a:path>
            </a:pathLst>
          </a:custGeom>
          <a:solidFill>
            <a:srgbClr val="FFFFFF"/>
          </a:solidFill>
        </p:spPr>
        <p:txBody>
          <a:bodyPr wrap="square" lIns="0" tIns="0" rIns="0" bIns="0" rtlCol="0">
            <a:noAutofit/>
          </a:bodyPr>
          <a:lstStyle/>
          <a:p>
            <a:endParaRPr/>
          </a:p>
        </p:txBody>
      </p:sp>
      <p:sp>
        <p:nvSpPr>
          <p:cNvPr id="917" name="object 917"/>
          <p:cNvSpPr/>
          <p:nvPr/>
        </p:nvSpPr>
        <p:spPr>
          <a:xfrm>
            <a:off x="8058441" y="1149771"/>
            <a:ext cx="36011" cy="0"/>
          </a:xfrm>
          <a:custGeom>
            <a:avLst/>
            <a:gdLst/>
            <a:ahLst/>
            <a:cxnLst/>
            <a:rect l="l" t="t" r="r" b="b"/>
            <a:pathLst>
              <a:path w="36011">
                <a:moveTo>
                  <a:pt x="0" y="0"/>
                </a:moveTo>
                <a:lnTo>
                  <a:pt x="36011" y="0"/>
                </a:lnTo>
              </a:path>
            </a:pathLst>
          </a:custGeom>
          <a:ln w="4307">
            <a:solidFill>
              <a:srgbClr val="000000"/>
            </a:solidFill>
          </a:ln>
        </p:spPr>
        <p:txBody>
          <a:bodyPr wrap="square" lIns="0" tIns="0" rIns="0" bIns="0" rtlCol="0">
            <a:noAutofit/>
          </a:bodyPr>
          <a:lstStyle/>
          <a:p>
            <a:endParaRPr/>
          </a:p>
        </p:txBody>
      </p:sp>
      <p:sp>
        <p:nvSpPr>
          <p:cNvPr id="918" name="object 918"/>
          <p:cNvSpPr/>
          <p:nvPr/>
        </p:nvSpPr>
        <p:spPr>
          <a:xfrm>
            <a:off x="8094453" y="1148253"/>
            <a:ext cx="24999" cy="33106"/>
          </a:xfrm>
          <a:custGeom>
            <a:avLst/>
            <a:gdLst/>
            <a:ahLst/>
            <a:cxnLst/>
            <a:rect l="l" t="t" r="r" b="b"/>
            <a:pathLst>
              <a:path w="24999" h="33106">
                <a:moveTo>
                  <a:pt x="4464" y="3644"/>
                </a:moveTo>
                <a:lnTo>
                  <a:pt x="8333" y="5163"/>
                </a:lnTo>
                <a:lnTo>
                  <a:pt x="12202" y="8200"/>
                </a:lnTo>
                <a:lnTo>
                  <a:pt x="15476" y="11845"/>
                </a:lnTo>
                <a:lnTo>
                  <a:pt x="18154" y="16097"/>
                </a:lnTo>
                <a:lnTo>
                  <a:pt x="20238" y="21564"/>
                </a:lnTo>
                <a:lnTo>
                  <a:pt x="21428" y="27031"/>
                </a:lnTo>
                <a:lnTo>
                  <a:pt x="22023" y="33106"/>
                </a:lnTo>
                <a:lnTo>
                  <a:pt x="24999" y="33106"/>
                </a:lnTo>
                <a:lnTo>
                  <a:pt x="24404" y="26424"/>
                </a:lnTo>
                <a:lnTo>
                  <a:pt x="23214" y="20349"/>
                </a:lnTo>
                <a:lnTo>
                  <a:pt x="20535" y="14882"/>
                </a:lnTo>
                <a:lnTo>
                  <a:pt x="17857" y="10022"/>
                </a:lnTo>
                <a:lnTo>
                  <a:pt x="13988" y="5770"/>
                </a:lnTo>
                <a:lnTo>
                  <a:pt x="9523" y="2733"/>
                </a:lnTo>
                <a:lnTo>
                  <a:pt x="5059" y="607"/>
                </a:lnTo>
                <a:lnTo>
                  <a:pt x="0" y="0"/>
                </a:lnTo>
                <a:lnTo>
                  <a:pt x="0" y="3037"/>
                </a:lnTo>
                <a:lnTo>
                  <a:pt x="4464" y="3644"/>
                </a:lnTo>
                <a:close/>
              </a:path>
            </a:pathLst>
          </a:custGeom>
          <a:solidFill>
            <a:srgbClr val="000000"/>
          </a:solidFill>
        </p:spPr>
        <p:txBody>
          <a:bodyPr wrap="square" lIns="0" tIns="0" rIns="0" bIns="0" rtlCol="0">
            <a:noAutofit/>
          </a:bodyPr>
          <a:lstStyle/>
          <a:p>
            <a:endParaRPr/>
          </a:p>
        </p:txBody>
      </p:sp>
      <p:sp>
        <p:nvSpPr>
          <p:cNvPr id="919" name="object 919"/>
          <p:cNvSpPr/>
          <p:nvPr/>
        </p:nvSpPr>
        <p:spPr>
          <a:xfrm>
            <a:off x="8116475" y="1199279"/>
            <a:ext cx="2976" cy="0"/>
          </a:xfrm>
          <a:custGeom>
            <a:avLst/>
            <a:gdLst/>
            <a:ahLst/>
            <a:cxnLst/>
            <a:rect l="l" t="t" r="r" b="b"/>
            <a:pathLst>
              <a:path w="2976">
                <a:moveTo>
                  <a:pt x="0" y="0"/>
                </a:moveTo>
                <a:lnTo>
                  <a:pt x="2976" y="0"/>
                </a:lnTo>
              </a:path>
            </a:pathLst>
          </a:custGeom>
          <a:ln w="37109">
            <a:solidFill>
              <a:srgbClr val="000000"/>
            </a:solidFill>
          </a:ln>
        </p:spPr>
        <p:txBody>
          <a:bodyPr wrap="square" lIns="0" tIns="0" rIns="0" bIns="0" rtlCol="0">
            <a:noAutofit/>
          </a:bodyPr>
          <a:lstStyle/>
          <a:p>
            <a:endParaRPr/>
          </a:p>
        </p:txBody>
      </p:sp>
      <p:sp>
        <p:nvSpPr>
          <p:cNvPr id="920" name="object 920"/>
          <p:cNvSpPr/>
          <p:nvPr/>
        </p:nvSpPr>
        <p:spPr>
          <a:xfrm>
            <a:off x="8094453" y="1217198"/>
            <a:ext cx="24999" cy="33106"/>
          </a:xfrm>
          <a:custGeom>
            <a:avLst/>
            <a:gdLst/>
            <a:ahLst/>
            <a:cxnLst/>
            <a:rect l="l" t="t" r="r" b="b"/>
            <a:pathLst>
              <a:path w="24999" h="33106">
                <a:moveTo>
                  <a:pt x="4761" y="32498"/>
                </a:moveTo>
                <a:lnTo>
                  <a:pt x="9523" y="30372"/>
                </a:lnTo>
                <a:lnTo>
                  <a:pt x="13690" y="27639"/>
                </a:lnTo>
                <a:lnTo>
                  <a:pt x="17559" y="23386"/>
                </a:lnTo>
                <a:lnTo>
                  <a:pt x="20535" y="18223"/>
                </a:lnTo>
                <a:lnTo>
                  <a:pt x="23214" y="12756"/>
                </a:lnTo>
                <a:lnTo>
                  <a:pt x="24404" y="6681"/>
                </a:lnTo>
                <a:lnTo>
                  <a:pt x="24999" y="0"/>
                </a:lnTo>
                <a:lnTo>
                  <a:pt x="22023" y="0"/>
                </a:lnTo>
                <a:lnTo>
                  <a:pt x="21428" y="6074"/>
                </a:lnTo>
                <a:lnTo>
                  <a:pt x="20238" y="11541"/>
                </a:lnTo>
                <a:lnTo>
                  <a:pt x="18154" y="17008"/>
                </a:lnTo>
                <a:lnTo>
                  <a:pt x="15178" y="21564"/>
                </a:lnTo>
                <a:lnTo>
                  <a:pt x="11904" y="25209"/>
                </a:lnTo>
                <a:lnTo>
                  <a:pt x="8333" y="27942"/>
                </a:lnTo>
                <a:lnTo>
                  <a:pt x="4166" y="29461"/>
                </a:lnTo>
                <a:lnTo>
                  <a:pt x="0" y="30068"/>
                </a:lnTo>
                <a:lnTo>
                  <a:pt x="0" y="33106"/>
                </a:lnTo>
                <a:lnTo>
                  <a:pt x="4761" y="32498"/>
                </a:lnTo>
                <a:close/>
              </a:path>
            </a:pathLst>
          </a:custGeom>
          <a:solidFill>
            <a:srgbClr val="000000"/>
          </a:solidFill>
        </p:spPr>
        <p:txBody>
          <a:bodyPr wrap="square" lIns="0" tIns="0" rIns="0" bIns="0" rtlCol="0">
            <a:noAutofit/>
          </a:bodyPr>
          <a:lstStyle/>
          <a:p>
            <a:endParaRPr/>
          </a:p>
        </p:txBody>
      </p:sp>
      <p:sp>
        <p:nvSpPr>
          <p:cNvPr id="921" name="object 921"/>
          <p:cNvSpPr/>
          <p:nvPr/>
        </p:nvSpPr>
        <p:spPr>
          <a:xfrm>
            <a:off x="8058441" y="1246052"/>
            <a:ext cx="36011" cy="4252"/>
          </a:xfrm>
          <a:custGeom>
            <a:avLst/>
            <a:gdLst/>
            <a:ahLst/>
            <a:cxnLst/>
            <a:rect l="l" t="t" r="r" b="b"/>
            <a:pathLst>
              <a:path w="36011" h="4252">
                <a:moveTo>
                  <a:pt x="0" y="3037"/>
                </a:moveTo>
                <a:lnTo>
                  <a:pt x="36011" y="4252"/>
                </a:lnTo>
                <a:lnTo>
                  <a:pt x="36011" y="1214"/>
                </a:lnTo>
                <a:lnTo>
                  <a:pt x="0" y="0"/>
                </a:lnTo>
                <a:lnTo>
                  <a:pt x="0" y="3037"/>
                </a:lnTo>
                <a:close/>
              </a:path>
            </a:pathLst>
          </a:custGeom>
          <a:solidFill>
            <a:srgbClr val="000000"/>
          </a:solidFill>
        </p:spPr>
        <p:txBody>
          <a:bodyPr wrap="square" lIns="0" tIns="0" rIns="0" bIns="0" rtlCol="0">
            <a:noAutofit/>
          </a:bodyPr>
          <a:lstStyle/>
          <a:p>
            <a:endParaRPr/>
          </a:p>
        </p:txBody>
      </p:sp>
      <p:sp>
        <p:nvSpPr>
          <p:cNvPr id="922" name="object 922"/>
          <p:cNvSpPr/>
          <p:nvPr/>
        </p:nvSpPr>
        <p:spPr>
          <a:xfrm>
            <a:off x="8033441" y="1215984"/>
            <a:ext cx="24999" cy="33106"/>
          </a:xfrm>
          <a:custGeom>
            <a:avLst/>
            <a:gdLst/>
            <a:ahLst/>
            <a:cxnLst/>
            <a:rect l="l" t="t" r="r" b="b"/>
            <a:pathLst>
              <a:path w="24999" h="33106">
                <a:moveTo>
                  <a:pt x="2976" y="0"/>
                </a:moveTo>
                <a:lnTo>
                  <a:pt x="0" y="0"/>
                </a:lnTo>
                <a:lnTo>
                  <a:pt x="595" y="6681"/>
                </a:lnTo>
                <a:lnTo>
                  <a:pt x="1785" y="13060"/>
                </a:lnTo>
                <a:lnTo>
                  <a:pt x="4464" y="18223"/>
                </a:lnTo>
                <a:lnTo>
                  <a:pt x="7142" y="23083"/>
                </a:lnTo>
                <a:lnTo>
                  <a:pt x="11011" y="27335"/>
                </a:lnTo>
                <a:lnTo>
                  <a:pt x="15476" y="30068"/>
                </a:lnTo>
                <a:lnTo>
                  <a:pt x="19940" y="32498"/>
                </a:lnTo>
                <a:lnTo>
                  <a:pt x="24999" y="33106"/>
                </a:lnTo>
                <a:lnTo>
                  <a:pt x="24999" y="30068"/>
                </a:lnTo>
                <a:lnTo>
                  <a:pt x="20535" y="29461"/>
                </a:lnTo>
                <a:lnTo>
                  <a:pt x="16666" y="27639"/>
                </a:lnTo>
                <a:lnTo>
                  <a:pt x="12797" y="24905"/>
                </a:lnTo>
                <a:lnTo>
                  <a:pt x="9523" y="21260"/>
                </a:lnTo>
                <a:lnTo>
                  <a:pt x="6845" y="17008"/>
                </a:lnTo>
                <a:lnTo>
                  <a:pt x="4761" y="11845"/>
                </a:lnTo>
                <a:lnTo>
                  <a:pt x="3571" y="6074"/>
                </a:lnTo>
                <a:lnTo>
                  <a:pt x="2976" y="0"/>
                </a:lnTo>
                <a:close/>
              </a:path>
            </a:pathLst>
          </a:custGeom>
          <a:solidFill>
            <a:srgbClr val="000000"/>
          </a:solidFill>
        </p:spPr>
        <p:txBody>
          <a:bodyPr wrap="square" lIns="0" tIns="0" rIns="0" bIns="0" rtlCol="0">
            <a:noAutofit/>
          </a:bodyPr>
          <a:lstStyle/>
          <a:p>
            <a:endParaRPr/>
          </a:p>
        </p:txBody>
      </p:sp>
      <p:sp>
        <p:nvSpPr>
          <p:cNvPr id="923" name="object 923"/>
          <p:cNvSpPr/>
          <p:nvPr/>
        </p:nvSpPr>
        <p:spPr>
          <a:xfrm>
            <a:off x="8033440" y="1198671"/>
            <a:ext cx="2976" cy="0"/>
          </a:xfrm>
          <a:custGeom>
            <a:avLst/>
            <a:gdLst/>
            <a:ahLst/>
            <a:cxnLst/>
            <a:rect l="l" t="t" r="r" b="b"/>
            <a:pathLst>
              <a:path w="2976">
                <a:moveTo>
                  <a:pt x="0" y="0"/>
                </a:moveTo>
                <a:lnTo>
                  <a:pt x="2976" y="0"/>
                </a:lnTo>
              </a:path>
            </a:pathLst>
          </a:custGeom>
          <a:ln w="35894">
            <a:solidFill>
              <a:srgbClr val="000000"/>
            </a:solidFill>
          </a:ln>
        </p:spPr>
        <p:txBody>
          <a:bodyPr wrap="square" lIns="0" tIns="0" rIns="0" bIns="0" rtlCol="0">
            <a:noAutofit/>
          </a:bodyPr>
          <a:lstStyle/>
          <a:p>
            <a:endParaRPr/>
          </a:p>
        </p:txBody>
      </p:sp>
      <p:sp>
        <p:nvSpPr>
          <p:cNvPr id="924" name="object 924"/>
          <p:cNvSpPr/>
          <p:nvPr/>
        </p:nvSpPr>
        <p:spPr>
          <a:xfrm>
            <a:off x="8033441" y="1148253"/>
            <a:ext cx="24999" cy="33106"/>
          </a:xfrm>
          <a:custGeom>
            <a:avLst/>
            <a:gdLst/>
            <a:ahLst/>
            <a:cxnLst/>
            <a:rect l="l" t="t" r="r" b="b"/>
            <a:pathLst>
              <a:path w="24999" h="33106">
                <a:moveTo>
                  <a:pt x="595" y="26424"/>
                </a:moveTo>
                <a:lnTo>
                  <a:pt x="0" y="33106"/>
                </a:lnTo>
                <a:lnTo>
                  <a:pt x="2976" y="33106"/>
                </a:lnTo>
                <a:lnTo>
                  <a:pt x="3571" y="27031"/>
                </a:lnTo>
                <a:lnTo>
                  <a:pt x="4761" y="20957"/>
                </a:lnTo>
                <a:lnTo>
                  <a:pt x="6547" y="16097"/>
                </a:lnTo>
                <a:lnTo>
                  <a:pt x="9523" y="11541"/>
                </a:lnTo>
                <a:lnTo>
                  <a:pt x="12797" y="8200"/>
                </a:lnTo>
                <a:lnTo>
                  <a:pt x="16368" y="5163"/>
                </a:lnTo>
                <a:lnTo>
                  <a:pt x="20535" y="3644"/>
                </a:lnTo>
                <a:lnTo>
                  <a:pt x="24999" y="3037"/>
                </a:lnTo>
                <a:lnTo>
                  <a:pt x="24999" y="0"/>
                </a:lnTo>
                <a:lnTo>
                  <a:pt x="19940" y="607"/>
                </a:lnTo>
                <a:lnTo>
                  <a:pt x="15178" y="2733"/>
                </a:lnTo>
                <a:lnTo>
                  <a:pt x="11011" y="5770"/>
                </a:lnTo>
                <a:lnTo>
                  <a:pt x="7142" y="9719"/>
                </a:lnTo>
                <a:lnTo>
                  <a:pt x="4166" y="14882"/>
                </a:lnTo>
                <a:lnTo>
                  <a:pt x="1785" y="20349"/>
                </a:lnTo>
                <a:lnTo>
                  <a:pt x="595" y="26424"/>
                </a:lnTo>
                <a:close/>
              </a:path>
            </a:pathLst>
          </a:custGeom>
          <a:solidFill>
            <a:srgbClr val="000000"/>
          </a:solidFill>
        </p:spPr>
        <p:txBody>
          <a:bodyPr wrap="square" lIns="0" tIns="0" rIns="0" bIns="0" rtlCol="0">
            <a:noAutofit/>
          </a:bodyPr>
          <a:lstStyle/>
          <a:p>
            <a:endParaRPr/>
          </a:p>
        </p:txBody>
      </p:sp>
      <p:sp>
        <p:nvSpPr>
          <p:cNvPr id="925" name="object 925"/>
          <p:cNvSpPr/>
          <p:nvPr/>
        </p:nvSpPr>
        <p:spPr>
          <a:xfrm>
            <a:off x="8042071" y="1155847"/>
            <a:ext cx="74702" cy="88991"/>
          </a:xfrm>
          <a:custGeom>
            <a:avLst/>
            <a:gdLst/>
            <a:ahLst/>
            <a:cxnLst/>
            <a:rect l="l" t="t" r="r" b="b"/>
            <a:pathLst>
              <a:path w="74702" h="88991">
                <a:moveTo>
                  <a:pt x="21130" y="0"/>
                </a:moveTo>
                <a:lnTo>
                  <a:pt x="16964" y="607"/>
                </a:lnTo>
                <a:lnTo>
                  <a:pt x="12797" y="2126"/>
                </a:lnTo>
                <a:lnTo>
                  <a:pt x="9226" y="4859"/>
                </a:lnTo>
                <a:lnTo>
                  <a:pt x="6249" y="8200"/>
                </a:lnTo>
                <a:lnTo>
                  <a:pt x="3571" y="12452"/>
                </a:lnTo>
                <a:lnTo>
                  <a:pt x="1785" y="17312"/>
                </a:lnTo>
                <a:lnTo>
                  <a:pt x="297" y="22475"/>
                </a:lnTo>
                <a:lnTo>
                  <a:pt x="0" y="28246"/>
                </a:lnTo>
                <a:lnTo>
                  <a:pt x="0" y="59530"/>
                </a:lnTo>
                <a:lnTo>
                  <a:pt x="297" y="65301"/>
                </a:lnTo>
                <a:lnTo>
                  <a:pt x="1785" y="70464"/>
                </a:lnTo>
                <a:lnTo>
                  <a:pt x="3571" y="75323"/>
                </a:lnTo>
                <a:lnTo>
                  <a:pt x="6249" y="79576"/>
                </a:lnTo>
                <a:lnTo>
                  <a:pt x="9226" y="83220"/>
                </a:lnTo>
                <a:lnTo>
                  <a:pt x="12797" y="85650"/>
                </a:lnTo>
                <a:lnTo>
                  <a:pt x="16964" y="87472"/>
                </a:lnTo>
                <a:lnTo>
                  <a:pt x="21130" y="88080"/>
                </a:lnTo>
                <a:lnTo>
                  <a:pt x="53571" y="88991"/>
                </a:lnTo>
                <a:lnTo>
                  <a:pt x="57737" y="88384"/>
                </a:lnTo>
                <a:lnTo>
                  <a:pt x="61606" y="86865"/>
                </a:lnTo>
                <a:lnTo>
                  <a:pt x="65178" y="84131"/>
                </a:lnTo>
                <a:lnTo>
                  <a:pt x="68154" y="80791"/>
                </a:lnTo>
                <a:lnTo>
                  <a:pt x="70833" y="76538"/>
                </a:lnTo>
                <a:lnTo>
                  <a:pt x="72916" y="71679"/>
                </a:lnTo>
                <a:lnTo>
                  <a:pt x="74106" y="66515"/>
                </a:lnTo>
                <a:lnTo>
                  <a:pt x="74702" y="60745"/>
                </a:lnTo>
                <a:lnTo>
                  <a:pt x="74702" y="28246"/>
                </a:lnTo>
                <a:lnTo>
                  <a:pt x="74404" y="22475"/>
                </a:lnTo>
                <a:lnTo>
                  <a:pt x="72916" y="17312"/>
                </a:lnTo>
                <a:lnTo>
                  <a:pt x="71130" y="12452"/>
                </a:lnTo>
                <a:lnTo>
                  <a:pt x="68452" y="8200"/>
                </a:lnTo>
                <a:lnTo>
                  <a:pt x="65475" y="4859"/>
                </a:lnTo>
                <a:lnTo>
                  <a:pt x="61904" y="2126"/>
                </a:lnTo>
                <a:lnTo>
                  <a:pt x="57737" y="607"/>
                </a:lnTo>
                <a:lnTo>
                  <a:pt x="53571" y="0"/>
                </a:lnTo>
                <a:lnTo>
                  <a:pt x="21130" y="0"/>
                </a:lnTo>
                <a:close/>
              </a:path>
            </a:pathLst>
          </a:custGeom>
          <a:solidFill>
            <a:srgbClr val="EFEFEF"/>
          </a:solidFill>
        </p:spPr>
        <p:txBody>
          <a:bodyPr wrap="square" lIns="0" tIns="0" rIns="0" bIns="0" rtlCol="0">
            <a:noAutofit/>
          </a:bodyPr>
          <a:lstStyle/>
          <a:p>
            <a:endParaRPr/>
          </a:p>
        </p:txBody>
      </p:sp>
      <p:sp>
        <p:nvSpPr>
          <p:cNvPr id="926" name="object 926"/>
          <p:cNvSpPr/>
          <p:nvPr/>
        </p:nvSpPr>
        <p:spPr>
          <a:xfrm>
            <a:off x="8063202" y="1155846"/>
            <a:ext cx="32440" cy="0"/>
          </a:xfrm>
          <a:custGeom>
            <a:avLst/>
            <a:gdLst/>
            <a:ahLst/>
            <a:cxnLst/>
            <a:rect l="l" t="t" r="r" b="b"/>
            <a:pathLst>
              <a:path w="32440">
                <a:moveTo>
                  <a:pt x="0" y="0"/>
                </a:moveTo>
                <a:lnTo>
                  <a:pt x="32440" y="0"/>
                </a:lnTo>
              </a:path>
            </a:pathLst>
          </a:custGeom>
          <a:ln w="4307">
            <a:solidFill>
              <a:srgbClr val="000000"/>
            </a:solidFill>
          </a:ln>
        </p:spPr>
        <p:txBody>
          <a:bodyPr wrap="square" lIns="0" tIns="0" rIns="0" bIns="0" rtlCol="0">
            <a:noAutofit/>
          </a:bodyPr>
          <a:lstStyle/>
          <a:p>
            <a:endParaRPr/>
          </a:p>
        </p:txBody>
      </p:sp>
      <p:sp>
        <p:nvSpPr>
          <p:cNvPr id="927" name="object 927"/>
          <p:cNvSpPr/>
          <p:nvPr/>
        </p:nvSpPr>
        <p:spPr>
          <a:xfrm>
            <a:off x="8095642" y="1154328"/>
            <a:ext cx="22618" cy="29765"/>
          </a:xfrm>
          <a:custGeom>
            <a:avLst/>
            <a:gdLst/>
            <a:ahLst/>
            <a:cxnLst/>
            <a:rect l="l" t="t" r="r" b="b"/>
            <a:pathLst>
              <a:path w="22618" h="29765">
                <a:moveTo>
                  <a:pt x="3869" y="3644"/>
                </a:moveTo>
                <a:lnTo>
                  <a:pt x="7738" y="4859"/>
                </a:lnTo>
                <a:lnTo>
                  <a:pt x="11011" y="7593"/>
                </a:lnTo>
                <a:lnTo>
                  <a:pt x="13690" y="10630"/>
                </a:lnTo>
                <a:lnTo>
                  <a:pt x="16368" y="14578"/>
                </a:lnTo>
                <a:lnTo>
                  <a:pt x="17857" y="19438"/>
                </a:lnTo>
                <a:lnTo>
                  <a:pt x="19345" y="24298"/>
                </a:lnTo>
                <a:lnTo>
                  <a:pt x="19642" y="29765"/>
                </a:lnTo>
                <a:lnTo>
                  <a:pt x="22618" y="29765"/>
                </a:lnTo>
                <a:lnTo>
                  <a:pt x="22321" y="23690"/>
                </a:lnTo>
                <a:lnTo>
                  <a:pt x="20833" y="18223"/>
                </a:lnTo>
                <a:lnTo>
                  <a:pt x="18749" y="13363"/>
                </a:lnTo>
                <a:lnTo>
                  <a:pt x="16071" y="8808"/>
                </a:lnTo>
                <a:lnTo>
                  <a:pt x="12797" y="5163"/>
                </a:lnTo>
                <a:lnTo>
                  <a:pt x="8928" y="2429"/>
                </a:lnTo>
                <a:lnTo>
                  <a:pt x="4464" y="607"/>
                </a:lnTo>
                <a:lnTo>
                  <a:pt x="0" y="0"/>
                </a:lnTo>
                <a:lnTo>
                  <a:pt x="0" y="3037"/>
                </a:lnTo>
                <a:lnTo>
                  <a:pt x="3869" y="3644"/>
                </a:lnTo>
                <a:close/>
              </a:path>
            </a:pathLst>
          </a:custGeom>
          <a:solidFill>
            <a:srgbClr val="000000"/>
          </a:solidFill>
        </p:spPr>
        <p:txBody>
          <a:bodyPr wrap="square" lIns="0" tIns="0" rIns="0" bIns="0" rtlCol="0">
            <a:noAutofit/>
          </a:bodyPr>
          <a:lstStyle/>
          <a:p>
            <a:endParaRPr/>
          </a:p>
        </p:txBody>
      </p:sp>
      <p:sp>
        <p:nvSpPr>
          <p:cNvPr id="928" name="object 928"/>
          <p:cNvSpPr/>
          <p:nvPr/>
        </p:nvSpPr>
        <p:spPr>
          <a:xfrm>
            <a:off x="8115285" y="1200342"/>
            <a:ext cx="2976" cy="0"/>
          </a:xfrm>
          <a:custGeom>
            <a:avLst/>
            <a:gdLst/>
            <a:ahLst/>
            <a:cxnLst/>
            <a:rect l="l" t="t" r="r" b="b"/>
            <a:pathLst>
              <a:path w="2976">
                <a:moveTo>
                  <a:pt x="0" y="0"/>
                </a:moveTo>
                <a:lnTo>
                  <a:pt x="2976" y="0"/>
                </a:lnTo>
              </a:path>
            </a:pathLst>
          </a:custGeom>
          <a:ln w="33768">
            <a:solidFill>
              <a:srgbClr val="000000"/>
            </a:solidFill>
          </a:ln>
        </p:spPr>
        <p:txBody>
          <a:bodyPr wrap="square" lIns="0" tIns="0" rIns="0" bIns="0" rtlCol="0">
            <a:noAutofit/>
          </a:bodyPr>
          <a:lstStyle/>
          <a:p>
            <a:endParaRPr/>
          </a:p>
        </p:txBody>
      </p:sp>
      <p:sp>
        <p:nvSpPr>
          <p:cNvPr id="929" name="object 929"/>
          <p:cNvSpPr/>
          <p:nvPr/>
        </p:nvSpPr>
        <p:spPr>
          <a:xfrm>
            <a:off x="8095642" y="1216592"/>
            <a:ext cx="22618" cy="29765"/>
          </a:xfrm>
          <a:custGeom>
            <a:avLst/>
            <a:gdLst/>
            <a:ahLst/>
            <a:cxnLst/>
            <a:rect l="l" t="t" r="r" b="b"/>
            <a:pathLst>
              <a:path w="22618" h="29765">
                <a:moveTo>
                  <a:pt x="4464" y="29157"/>
                </a:moveTo>
                <a:lnTo>
                  <a:pt x="8630" y="27335"/>
                </a:lnTo>
                <a:lnTo>
                  <a:pt x="12499" y="24601"/>
                </a:lnTo>
                <a:lnTo>
                  <a:pt x="15773" y="20957"/>
                </a:lnTo>
                <a:lnTo>
                  <a:pt x="18452" y="16401"/>
                </a:lnTo>
                <a:lnTo>
                  <a:pt x="20833" y="11541"/>
                </a:lnTo>
                <a:lnTo>
                  <a:pt x="22023" y="6074"/>
                </a:lnTo>
                <a:lnTo>
                  <a:pt x="22618" y="0"/>
                </a:lnTo>
                <a:lnTo>
                  <a:pt x="19642" y="0"/>
                </a:lnTo>
                <a:lnTo>
                  <a:pt x="19047" y="5467"/>
                </a:lnTo>
                <a:lnTo>
                  <a:pt x="17857" y="10326"/>
                </a:lnTo>
                <a:lnTo>
                  <a:pt x="16071" y="15186"/>
                </a:lnTo>
                <a:lnTo>
                  <a:pt x="13392" y="19134"/>
                </a:lnTo>
                <a:lnTo>
                  <a:pt x="10714" y="22171"/>
                </a:lnTo>
                <a:lnTo>
                  <a:pt x="7440" y="24905"/>
                </a:lnTo>
                <a:lnTo>
                  <a:pt x="3869" y="26120"/>
                </a:lnTo>
                <a:lnTo>
                  <a:pt x="0" y="26727"/>
                </a:lnTo>
                <a:lnTo>
                  <a:pt x="0" y="29765"/>
                </a:lnTo>
                <a:lnTo>
                  <a:pt x="4464" y="29157"/>
                </a:lnTo>
                <a:close/>
              </a:path>
            </a:pathLst>
          </a:custGeom>
          <a:solidFill>
            <a:srgbClr val="000000"/>
          </a:solidFill>
        </p:spPr>
        <p:txBody>
          <a:bodyPr wrap="square" lIns="0" tIns="0" rIns="0" bIns="0" rtlCol="0">
            <a:noAutofit/>
          </a:bodyPr>
          <a:lstStyle/>
          <a:p>
            <a:endParaRPr/>
          </a:p>
        </p:txBody>
      </p:sp>
      <p:sp>
        <p:nvSpPr>
          <p:cNvPr id="930" name="object 930"/>
          <p:cNvSpPr/>
          <p:nvPr/>
        </p:nvSpPr>
        <p:spPr>
          <a:xfrm>
            <a:off x="8063202" y="1242408"/>
            <a:ext cx="32440" cy="3948"/>
          </a:xfrm>
          <a:custGeom>
            <a:avLst/>
            <a:gdLst/>
            <a:ahLst/>
            <a:cxnLst/>
            <a:rect l="l" t="t" r="r" b="b"/>
            <a:pathLst>
              <a:path w="32440" h="3948">
                <a:moveTo>
                  <a:pt x="0" y="3037"/>
                </a:moveTo>
                <a:lnTo>
                  <a:pt x="32440" y="3948"/>
                </a:lnTo>
                <a:lnTo>
                  <a:pt x="32440" y="911"/>
                </a:lnTo>
                <a:lnTo>
                  <a:pt x="0" y="0"/>
                </a:lnTo>
                <a:lnTo>
                  <a:pt x="0" y="3037"/>
                </a:lnTo>
                <a:close/>
              </a:path>
            </a:pathLst>
          </a:custGeom>
          <a:solidFill>
            <a:srgbClr val="000000"/>
          </a:solidFill>
        </p:spPr>
        <p:txBody>
          <a:bodyPr wrap="square" lIns="0" tIns="0" rIns="0" bIns="0" rtlCol="0">
            <a:noAutofit/>
          </a:bodyPr>
          <a:lstStyle/>
          <a:p>
            <a:endParaRPr/>
          </a:p>
        </p:txBody>
      </p:sp>
      <p:sp>
        <p:nvSpPr>
          <p:cNvPr id="931" name="object 931"/>
          <p:cNvSpPr/>
          <p:nvPr/>
        </p:nvSpPr>
        <p:spPr>
          <a:xfrm>
            <a:off x="8040583" y="1215376"/>
            <a:ext cx="22618" cy="30068"/>
          </a:xfrm>
          <a:custGeom>
            <a:avLst/>
            <a:gdLst/>
            <a:ahLst/>
            <a:cxnLst/>
            <a:rect l="l" t="t" r="r" b="b"/>
            <a:pathLst>
              <a:path w="22618" h="30068">
                <a:moveTo>
                  <a:pt x="2976" y="0"/>
                </a:moveTo>
                <a:lnTo>
                  <a:pt x="0" y="0"/>
                </a:lnTo>
                <a:lnTo>
                  <a:pt x="297" y="6074"/>
                </a:lnTo>
                <a:lnTo>
                  <a:pt x="1785" y="11541"/>
                </a:lnTo>
                <a:lnTo>
                  <a:pt x="3869" y="16401"/>
                </a:lnTo>
                <a:lnTo>
                  <a:pt x="6547" y="20957"/>
                </a:lnTo>
                <a:lnTo>
                  <a:pt x="9821" y="24905"/>
                </a:lnTo>
                <a:lnTo>
                  <a:pt x="13690" y="27335"/>
                </a:lnTo>
                <a:lnTo>
                  <a:pt x="18154" y="29461"/>
                </a:lnTo>
                <a:lnTo>
                  <a:pt x="22618" y="30068"/>
                </a:lnTo>
                <a:lnTo>
                  <a:pt x="22618" y="27031"/>
                </a:lnTo>
                <a:lnTo>
                  <a:pt x="18749" y="26424"/>
                </a:lnTo>
                <a:lnTo>
                  <a:pt x="14880" y="24905"/>
                </a:lnTo>
                <a:lnTo>
                  <a:pt x="11607" y="22475"/>
                </a:lnTo>
                <a:lnTo>
                  <a:pt x="8928" y="19134"/>
                </a:lnTo>
                <a:lnTo>
                  <a:pt x="6249" y="15186"/>
                </a:lnTo>
                <a:lnTo>
                  <a:pt x="4761" y="10326"/>
                </a:lnTo>
                <a:lnTo>
                  <a:pt x="3273" y="5467"/>
                </a:lnTo>
                <a:lnTo>
                  <a:pt x="2976" y="0"/>
                </a:lnTo>
                <a:close/>
              </a:path>
            </a:pathLst>
          </a:custGeom>
          <a:solidFill>
            <a:srgbClr val="000000"/>
          </a:solidFill>
        </p:spPr>
        <p:txBody>
          <a:bodyPr wrap="square" lIns="0" tIns="0" rIns="0" bIns="0" rtlCol="0">
            <a:noAutofit/>
          </a:bodyPr>
          <a:lstStyle/>
          <a:p>
            <a:endParaRPr/>
          </a:p>
        </p:txBody>
      </p:sp>
      <p:sp>
        <p:nvSpPr>
          <p:cNvPr id="932" name="object 932"/>
          <p:cNvSpPr/>
          <p:nvPr/>
        </p:nvSpPr>
        <p:spPr>
          <a:xfrm>
            <a:off x="8040583" y="1199734"/>
            <a:ext cx="2976" cy="0"/>
          </a:xfrm>
          <a:custGeom>
            <a:avLst/>
            <a:gdLst/>
            <a:ahLst/>
            <a:cxnLst/>
            <a:rect l="l" t="t" r="r" b="b"/>
            <a:pathLst>
              <a:path w="2976">
                <a:moveTo>
                  <a:pt x="0" y="0"/>
                </a:moveTo>
                <a:lnTo>
                  <a:pt x="2976" y="0"/>
                </a:lnTo>
              </a:path>
            </a:pathLst>
          </a:custGeom>
          <a:ln w="32553">
            <a:solidFill>
              <a:srgbClr val="000000"/>
            </a:solidFill>
          </a:ln>
        </p:spPr>
        <p:txBody>
          <a:bodyPr wrap="square" lIns="0" tIns="0" rIns="0" bIns="0" rtlCol="0">
            <a:noAutofit/>
          </a:bodyPr>
          <a:lstStyle/>
          <a:p>
            <a:endParaRPr/>
          </a:p>
        </p:txBody>
      </p:sp>
      <p:sp>
        <p:nvSpPr>
          <p:cNvPr id="933" name="object 933"/>
          <p:cNvSpPr/>
          <p:nvPr/>
        </p:nvSpPr>
        <p:spPr>
          <a:xfrm>
            <a:off x="8040583" y="1154328"/>
            <a:ext cx="22618" cy="29765"/>
          </a:xfrm>
          <a:custGeom>
            <a:avLst/>
            <a:gdLst/>
            <a:ahLst/>
            <a:cxnLst/>
            <a:rect l="l" t="t" r="r" b="b"/>
            <a:pathLst>
              <a:path w="22618" h="29765">
                <a:moveTo>
                  <a:pt x="297" y="23690"/>
                </a:moveTo>
                <a:lnTo>
                  <a:pt x="0" y="29765"/>
                </a:lnTo>
                <a:lnTo>
                  <a:pt x="2976" y="29765"/>
                </a:lnTo>
                <a:lnTo>
                  <a:pt x="3273" y="24298"/>
                </a:lnTo>
                <a:lnTo>
                  <a:pt x="4761" y="19438"/>
                </a:lnTo>
                <a:lnTo>
                  <a:pt x="6249" y="14578"/>
                </a:lnTo>
                <a:lnTo>
                  <a:pt x="8928" y="10630"/>
                </a:lnTo>
                <a:lnTo>
                  <a:pt x="11607" y="7593"/>
                </a:lnTo>
                <a:lnTo>
                  <a:pt x="14880" y="4859"/>
                </a:lnTo>
                <a:lnTo>
                  <a:pt x="18749" y="3644"/>
                </a:lnTo>
                <a:lnTo>
                  <a:pt x="22618" y="3037"/>
                </a:lnTo>
                <a:lnTo>
                  <a:pt x="22618" y="0"/>
                </a:lnTo>
                <a:lnTo>
                  <a:pt x="18154" y="607"/>
                </a:lnTo>
                <a:lnTo>
                  <a:pt x="13690" y="2429"/>
                </a:lnTo>
                <a:lnTo>
                  <a:pt x="9821" y="5163"/>
                </a:lnTo>
                <a:lnTo>
                  <a:pt x="6547" y="8808"/>
                </a:lnTo>
                <a:lnTo>
                  <a:pt x="3869" y="13363"/>
                </a:lnTo>
                <a:lnTo>
                  <a:pt x="1785" y="18223"/>
                </a:lnTo>
                <a:lnTo>
                  <a:pt x="297" y="23690"/>
                </a:lnTo>
                <a:close/>
              </a:path>
            </a:pathLst>
          </a:custGeom>
          <a:solidFill>
            <a:srgbClr val="000000"/>
          </a:solidFill>
        </p:spPr>
        <p:txBody>
          <a:bodyPr wrap="square" lIns="0" tIns="0" rIns="0" bIns="0" rtlCol="0">
            <a:noAutofit/>
          </a:bodyPr>
          <a:lstStyle/>
          <a:p>
            <a:endParaRPr/>
          </a:p>
        </p:txBody>
      </p:sp>
      <p:sp>
        <p:nvSpPr>
          <p:cNvPr id="934" name="object 934"/>
          <p:cNvSpPr/>
          <p:nvPr/>
        </p:nvSpPr>
        <p:spPr>
          <a:xfrm>
            <a:off x="8075106" y="1169211"/>
            <a:ext cx="41666" cy="71071"/>
          </a:xfrm>
          <a:custGeom>
            <a:avLst/>
            <a:gdLst/>
            <a:ahLst/>
            <a:cxnLst/>
            <a:rect l="l" t="t" r="r" b="b"/>
            <a:pathLst>
              <a:path w="41666" h="71071">
                <a:moveTo>
                  <a:pt x="20833" y="0"/>
                </a:moveTo>
                <a:lnTo>
                  <a:pt x="16666" y="607"/>
                </a:lnTo>
                <a:lnTo>
                  <a:pt x="12797" y="2733"/>
                </a:lnTo>
                <a:lnTo>
                  <a:pt x="9226" y="6074"/>
                </a:lnTo>
                <a:lnTo>
                  <a:pt x="6249" y="10326"/>
                </a:lnTo>
                <a:lnTo>
                  <a:pt x="3571" y="15793"/>
                </a:lnTo>
                <a:lnTo>
                  <a:pt x="1785" y="21868"/>
                </a:lnTo>
                <a:lnTo>
                  <a:pt x="297" y="28550"/>
                </a:lnTo>
                <a:lnTo>
                  <a:pt x="0" y="35535"/>
                </a:lnTo>
                <a:lnTo>
                  <a:pt x="297" y="42521"/>
                </a:lnTo>
                <a:lnTo>
                  <a:pt x="1785" y="49203"/>
                </a:lnTo>
                <a:lnTo>
                  <a:pt x="3571" y="55278"/>
                </a:lnTo>
                <a:lnTo>
                  <a:pt x="6249" y="60441"/>
                </a:lnTo>
                <a:lnTo>
                  <a:pt x="9226" y="64997"/>
                </a:lnTo>
                <a:lnTo>
                  <a:pt x="12797" y="68338"/>
                </a:lnTo>
                <a:lnTo>
                  <a:pt x="16666" y="70464"/>
                </a:lnTo>
                <a:lnTo>
                  <a:pt x="20833" y="71071"/>
                </a:lnTo>
                <a:lnTo>
                  <a:pt x="24999" y="70464"/>
                </a:lnTo>
                <a:lnTo>
                  <a:pt x="28868" y="68338"/>
                </a:lnTo>
                <a:lnTo>
                  <a:pt x="32440" y="64997"/>
                </a:lnTo>
                <a:lnTo>
                  <a:pt x="35714" y="60441"/>
                </a:lnTo>
                <a:lnTo>
                  <a:pt x="38095" y="55278"/>
                </a:lnTo>
                <a:lnTo>
                  <a:pt x="40178" y="49203"/>
                </a:lnTo>
                <a:lnTo>
                  <a:pt x="41368" y="42521"/>
                </a:lnTo>
                <a:lnTo>
                  <a:pt x="41666" y="35535"/>
                </a:lnTo>
                <a:lnTo>
                  <a:pt x="41368" y="28550"/>
                </a:lnTo>
                <a:lnTo>
                  <a:pt x="40178" y="21868"/>
                </a:lnTo>
                <a:lnTo>
                  <a:pt x="38095" y="15793"/>
                </a:lnTo>
                <a:lnTo>
                  <a:pt x="35714" y="10326"/>
                </a:lnTo>
                <a:lnTo>
                  <a:pt x="32440" y="6074"/>
                </a:lnTo>
                <a:lnTo>
                  <a:pt x="28868" y="2733"/>
                </a:lnTo>
                <a:lnTo>
                  <a:pt x="24999" y="607"/>
                </a:lnTo>
                <a:lnTo>
                  <a:pt x="20833" y="0"/>
                </a:lnTo>
                <a:close/>
              </a:path>
            </a:pathLst>
          </a:custGeom>
          <a:solidFill>
            <a:srgbClr val="000000"/>
          </a:solidFill>
        </p:spPr>
        <p:txBody>
          <a:bodyPr wrap="square" lIns="0" tIns="0" rIns="0" bIns="0" rtlCol="0">
            <a:noAutofit/>
          </a:bodyPr>
          <a:lstStyle/>
          <a:p>
            <a:endParaRPr/>
          </a:p>
        </p:txBody>
      </p:sp>
      <p:sp>
        <p:nvSpPr>
          <p:cNvPr id="935" name="object 935"/>
          <p:cNvSpPr/>
          <p:nvPr/>
        </p:nvSpPr>
        <p:spPr>
          <a:xfrm>
            <a:off x="8095941" y="1167691"/>
            <a:ext cx="22321" cy="37054"/>
          </a:xfrm>
          <a:custGeom>
            <a:avLst/>
            <a:gdLst/>
            <a:ahLst/>
            <a:cxnLst/>
            <a:rect l="l" t="t" r="r" b="b"/>
            <a:pathLst>
              <a:path w="22321" h="37054">
                <a:moveTo>
                  <a:pt x="0" y="0"/>
                </a:moveTo>
                <a:lnTo>
                  <a:pt x="0" y="3037"/>
                </a:lnTo>
                <a:lnTo>
                  <a:pt x="3571" y="3644"/>
                </a:lnTo>
                <a:lnTo>
                  <a:pt x="7142" y="5467"/>
                </a:lnTo>
                <a:lnTo>
                  <a:pt x="10416" y="8504"/>
                </a:lnTo>
                <a:lnTo>
                  <a:pt x="13690" y="12756"/>
                </a:lnTo>
                <a:lnTo>
                  <a:pt x="15773" y="17919"/>
                </a:lnTo>
                <a:lnTo>
                  <a:pt x="17857" y="23690"/>
                </a:lnTo>
                <a:lnTo>
                  <a:pt x="19047" y="30372"/>
                </a:lnTo>
                <a:lnTo>
                  <a:pt x="19345" y="37054"/>
                </a:lnTo>
                <a:lnTo>
                  <a:pt x="22321" y="37054"/>
                </a:lnTo>
                <a:lnTo>
                  <a:pt x="22023" y="29765"/>
                </a:lnTo>
                <a:lnTo>
                  <a:pt x="20833" y="23083"/>
                </a:lnTo>
                <a:lnTo>
                  <a:pt x="18749" y="16704"/>
                </a:lnTo>
                <a:lnTo>
                  <a:pt x="16071" y="10934"/>
                </a:lnTo>
                <a:lnTo>
                  <a:pt x="12797" y="6681"/>
                </a:lnTo>
                <a:lnTo>
                  <a:pt x="8928" y="3037"/>
                </a:lnTo>
                <a:lnTo>
                  <a:pt x="4761" y="607"/>
                </a:lnTo>
                <a:lnTo>
                  <a:pt x="0" y="0"/>
                </a:lnTo>
                <a:close/>
              </a:path>
            </a:pathLst>
          </a:custGeom>
          <a:solidFill>
            <a:srgbClr val="000000"/>
          </a:solidFill>
        </p:spPr>
        <p:txBody>
          <a:bodyPr wrap="square" lIns="0" tIns="0" rIns="0" bIns="0" rtlCol="0">
            <a:noAutofit/>
          </a:bodyPr>
          <a:lstStyle/>
          <a:p>
            <a:endParaRPr/>
          </a:p>
        </p:txBody>
      </p:sp>
      <p:sp>
        <p:nvSpPr>
          <p:cNvPr id="936" name="object 936"/>
          <p:cNvSpPr/>
          <p:nvPr/>
        </p:nvSpPr>
        <p:spPr>
          <a:xfrm>
            <a:off x="8095941" y="1204746"/>
            <a:ext cx="22321" cy="37054"/>
          </a:xfrm>
          <a:custGeom>
            <a:avLst/>
            <a:gdLst/>
            <a:ahLst/>
            <a:cxnLst/>
            <a:rect l="l" t="t" r="r" b="b"/>
            <a:pathLst>
              <a:path w="22321" h="37054">
                <a:moveTo>
                  <a:pt x="3571" y="33409"/>
                </a:moveTo>
                <a:lnTo>
                  <a:pt x="0" y="34017"/>
                </a:lnTo>
                <a:lnTo>
                  <a:pt x="0" y="37054"/>
                </a:lnTo>
                <a:lnTo>
                  <a:pt x="4761" y="36447"/>
                </a:lnTo>
                <a:lnTo>
                  <a:pt x="8928" y="34017"/>
                </a:lnTo>
                <a:lnTo>
                  <a:pt x="12797" y="30372"/>
                </a:lnTo>
                <a:lnTo>
                  <a:pt x="16071" y="25816"/>
                </a:lnTo>
                <a:lnTo>
                  <a:pt x="18749" y="20349"/>
                </a:lnTo>
                <a:lnTo>
                  <a:pt x="20833" y="13971"/>
                </a:lnTo>
                <a:lnTo>
                  <a:pt x="22023" y="7289"/>
                </a:lnTo>
                <a:lnTo>
                  <a:pt x="22321" y="0"/>
                </a:lnTo>
                <a:lnTo>
                  <a:pt x="19345" y="0"/>
                </a:lnTo>
                <a:lnTo>
                  <a:pt x="19047" y="6681"/>
                </a:lnTo>
                <a:lnTo>
                  <a:pt x="17857" y="13363"/>
                </a:lnTo>
                <a:lnTo>
                  <a:pt x="15773" y="19134"/>
                </a:lnTo>
                <a:lnTo>
                  <a:pt x="13690" y="23994"/>
                </a:lnTo>
                <a:lnTo>
                  <a:pt x="10416" y="28550"/>
                </a:lnTo>
                <a:lnTo>
                  <a:pt x="7142" y="31587"/>
                </a:lnTo>
                <a:lnTo>
                  <a:pt x="3571" y="33409"/>
                </a:lnTo>
                <a:close/>
              </a:path>
            </a:pathLst>
          </a:custGeom>
          <a:solidFill>
            <a:srgbClr val="000000"/>
          </a:solidFill>
        </p:spPr>
        <p:txBody>
          <a:bodyPr wrap="square" lIns="0" tIns="0" rIns="0" bIns="0" rtlCol="0">
            <a:noAutofit/>
          </a:bodyPr>
          <a:lstStyle/>
          <a:p>
            <a:endParaRPr/>
          </a:p>
        </p:txBody>
      </p:sp>
      <p:sp>
        <p:nvSpPr>
          <p:cNvPr id="937" name="object 937"/>
          <p:cNvSpPr/>
          <p:nvPr/>
        </p:nvSpPr>
        <p:spPr>
          <a:xfrm>
            <a:off x="8073619" y="1204746"/>
            <a:ext cx="22321" cy="37054"/>
          </a:xfrm>
          <a:custGeom>
            <a:avLst/>
            <a:gdLst/>
            <a:ahLst/>
            <a:cxnLst/>
            <a:rect l="l" t="t" r="r" b="b"/>
            <a:pathLst>
              <a:path w="22321" h="37054">
                <a:moveTo>
                  <a:pt x="2976" y="0"/>
                </a:moveTo>
                <a:lnTo>
                  <a:pt x="0" y="0"/>
                </a:lnTo>
                <a:lnTo>
                  <a:pt x="297" y="7289"/>
                </a:lnTo>
                <a:lnTo>
                  <a:pt x="1785" y="13971"/>
                </a:lnTo>
                <a:lnTo>
                  <a:pt x="3571" y="20349"/>
                </a:lnTo>
                <a:lnTo>
                  <a:pt x="6547" y="25816"/>
                </a:lnTo>
                <a:lnTo>
                  <a:pt x="9523" y="30372"/>
                </a:lnTo>
                <a:lnTo>
                  <a:pt x="13392" y="34017"/>
                </a:lnTo>
                <a:lnTo>
                  <a:pt x="17559" y="36447"/>
                </a:lnTo>
                <a:lnTo>
                  <a:pt x="22321" y="37054"/>
                </a:lnTo>
                <a:lnTo>
                  <a:pt x="22321" y="34017"/>
                </a:lnTo>
                <a:lnTo>
                  <a:pt x="18749" y="33409"/>
                </a:lnTo>
                <a:lnTo>
                  <a:pt x="15178" y="31587"/>
                </a:lnTo>
                <a:lnTo>
                  <a:pt x="11904" y="28550"/>
                </a:lnTo>
                <a:lnTo>
                  <a:pt x="8928" y="23994"/>
                </a:lnTo>
                <a:lnTo>
                  <a:pt x="6547" y="19134"/>
                </a:lnTo>
                <a:lnTo>
                  <a:pt x="4761" y="13363"/>
                </a:lnTo>
                <a:lnTo>
                  <a:pt x="3273" y="6681"/>
                </a:lnTo>
                <a:lnTo>
                  <a:pt x="2976" y="0"/>
                </a:lnTo>
                <a:close/>
              </a:path>
            </a:pathLst>
          </a:custGeom>
          <a:solidFill>
            <a:srgbClr val="000000"/>
          </a:solidFill>
        </p:spPr>
        <p:txBody>
          <a:bodyPr wrap="square" lIns="0" tIns="0" rIns="0" bIns="0" rtlCol="0">
            <a:noAutofit/>
          </a:bodyPr>
          <a:lstStyle/>
          <a:p>
            <a:endParaRPr/>
          </a:p>
        </p:txBody>
      </p:sp>
      <p:sp>
        <p:nvSpPr>
          <p:cNvPr id="938" name="object 938"/>
          <p:cNvSpPr/>
          <p:nvPr/>
        </p:nvSpPr>
        <p:spPr>
          <a:xfrm>
            <a:off x="8073619" y="1167691"/>
            <a:ext cx="22321" cy="37054"/>
          </a:xfrm>
          <a:custGeom>
            <a:avLst/>
            <a:gdLst/>
            <a:ahLst/>
            <a:cxnLst/>
            <a:rect l="l" t="t" r="r" b="b"/>
            <a:pathLst>
              <a:path w="22321" h="37054">
                <a:moveTo>
                  <a:pt x="297" y="29765"/>
                </a:moveTo>
                <a:lnTo>
                  <a:pt x="0" y="37054"/>
                </a:lnTo>
                <a:lnTo>
                  <a:pt x="2976" y="37054"/>
                </a:lnTo>
                <a:lnTo>
                  <a:pt x="3273" y="30372"/>
                </a:lnTo>
                <a:lnTo>
                  <a:pt x="4761" y="23690"/>
                </a:lnTo>
                <a:lnTo>
                  <a:pt x="6547" y="17919"/>
                </a:lnTo>
                <a:lnTo>
                  <a:pt x="8928" y="12756"/>
                </a:lnTo>
                <a:lnTo>
                  <a:pt x="11904" y="8504"/>
                </a:lnTo>
                <a:lnTo>
                  <a:pt x="15178" y="5467"/>
                </a:lnTo>
                <a:lnTo>
                  <a:pt x="18749" y="3644"/>
                </a:lnTo>
                <a:lnTo>
                  <a:pt x="22321" y="3037"/>
                </a:lnTo>
                <a:lnTo>
                  <a:pt x="22321" y="0"/>
                </a:lnTo>
                <a:lnTo>
                  <a:pt x="17559" y="607"/>
                </a:lnTo>
                <a:lnTo>
                  <a:pt x="13392" y="3037"/>
                </a:lnTo>
                <a:lnTo>
                  <a:pt x="9523" y="6681"/>
                </a:lnTo>
                <a:lnTo>
                  <a:pt x="6547" y="10934"/>
                </a:lnTo>
                <a:lnTo>
                  <a:pt x="3571" y="16704"/>
                </a:lnTo>
                <a:lnTo>
                  <a:pt x="1785" y="23083"/>
                </a:lnTo>
                <a:lnTo>
                  <a:pt x="297" y="29765"/>
                </a:lnTo>
                <a:close/>
              </a:path>
            </a:pathLst>
          </a:custGeom>
          <a:solidFill>
            <a:srgbClr val="000000"/>
          </a:solidFill>
        </p:spPr>
        <p:txBody>
          <a:bodyPr wrap="square" lIns="0" tIns="0" rIns="0" bIns="0" rtlCol="0">
            <a:noAutofit/>
          </a:bodyPr>
          <a:lstStyle/>
          <a:p>
            <a:endParaRPr/>
          </a:p>
        </p:txBody>
      </p:sp>
      <p:sp>
        <p:nvSpPr>
          <p:cNvPr id="939" name="object 939"/>
          <p:cNvSpPr/>
          <p:nvPr/>
        </p:nvSpPr>
        <p:spPr>
          <a:xfrm>
            <a:off x="8038499" y="1170121"/>
            <a:ext cx="40178" cy="68034"/>
          </a:xfrm>
          <a:custGeom>
            <a:avLst/>
            <a:gdLst/>
            <a:ahLst/>
            <a:cxnLst/>
            <a:rect l="l" t="t" r="r" b="b"/>
            <a:pathLst>
              <a:path w="40178" h="68034">
                <a:moveTo>
                  <a:pt x="19940" y="0"/>
                </a:moveTo>
                <a:lnTo>
                  <a:pt x="15773" y="607"/>
                </a:lnTo>
                <a:lnTo>
                  <a:pt x="12202" y="2733"/>
                </a:lnTo>
                <a:lnTo>
                  <a:pt x="8928" y="5770"/>
                </a:lnTo>
                <a:lnTo>
                  <a:pt x="5952" y="10022"/>
                </a:lnTo>
                <a:lnTo>
                  <a:pt x="3273" y="14882"/>
                </a:lnTo>
                <a:lnTo>
                  <a:pt x="1488" y="20653"/>
                </a:lnTo>
                <a:lnTo>
                  <a:pt x="297" y="27031"/>
                </a:lnTo>
                <a:lnTo>
                  <a:pt x="0" y="34017"/>
                </a:lnTo>
                <a:lnTo>
                  <a:pt x="297" y="41002"/>
                </a:lnTo>
                <a:lnTo>
                  <a:pt x="1488" y="47381"/>
                </a:lnTo>
                <a:lnTo>
                  <a:pt x="3273" y="53151"/>
                </a:lnTo>
                <a:lnTo>
                  <a:pt x="5952" y="58011"/>
                </a:lnTo>
                <a:lnTo>
                  <a:pt x="8928" y="62263"/>
                </a:lnTo>
                <a:lnTo>
                  <a:pt x="12202" y="65301"/>
                </a:lnTo>
                <a:lnTo>
                  <a:pt x="15773" y="67427"/>
                </a:lnTo>
                <a:lnTo>
                  <a:pt x="19940" y="68034"/>
                </a:lnTo>
                <a:lnTo>
                  <a:pt x="24107" y="67427"/>
                </a:lnTo>
                <a:lnTo>
                  <a:pt x="27678" y="65301"/>
                </a:lnTo>
                <a:lnTo>
                  <a:pt x="31249" y="62263"/>
                </a:lnTo>
                <a:lnTo>
                  <a:pt x="34226" y="58011"/>
                </a:lnTo>
                <a:lnTo>
                  <a:pt x="36607" y="53151"/>
                </a:lnTo>
                <a:lnTo>
                  <a:pt x="38690" y="47381"/>
                </a:lnTo>
                <a:lnTo>
                  <a:pt x="39880" y="41002"/>
                </a:lnTo>
                <a:lnTo>
                  <a:pt x="40178" y="34017"/>
                </a:lnTo>
                <a:lnTo>
                  <a:pt x="39880" y="27031"/>
                </a:lnTo>
                <a:lnTo>
                  <a:pt x="38690" y="20653"/>
                </a:lnTo>
                <a:lnTo>
                  <a:pt x="36607" y="14882"/>
                </a:lnTo>
                <a:lnTo>
                  <a:pt x="34226" y="10022"/>
                </a:lnTo>
                <a:lnTo>
                  <a:pt x="31249" y="5770"/>
                </a:lnTo>
                <a:lnTo>
                  <a:pt x="27678" y="2733"/>
                </a:lnTo>
                <a:lnTo>
                  <a:pt x="24107" y="607"/>
                </a:lnTo>
                <a:lnTo>
                  <a:pt x="19940" y="0"/>
                </a:lnTo>
                <a:close/>
              </a:path>
            </a:pathLst>
          </a:custGeom>
          <a:solidFill>
            <a:srgbClr val="000000"/>
          </a:solidFill>
        </p:spPr>
        <p:txBody>
          <a:bodyPr wrap="square" lIns="0" tIns="0" rIns="0" bIns="0" rtlCol="0">
            <a:noAutofit/>
          </a:bodyPr>
          <a:lstStyle/>
          <a:p>
            <a:endParaRPr/>
          </a:p>
        </p:txBody>
      </p:sp>
      <p:sp>
        <p:nvSpPr>
          <p:cNvPr id="940" name="object 940"/>
          <p:cNvSpPr/>
          <p:nvPr/>
        </p:nvSpPr>
        <p:spPr>
          <a:xfrm>
            <a:off x="8058440" y="1168603"/>
            <a:ext cx="21726" cy="35535"/>
          </a:xfrm>
          <a:custGeom>
            <a:avLst/>
            <a:gdLst/>
            <a:ahLst/>
            <a:cxnLst/>
            <a:rect l="l" t="t" r="r" b="b"/>
            <a:pathLst>
              <a:path w="21726" h="35535">
                <a:moveTo>
                  <a:pt x="0" y="0"/>
                </a:moveTo>
                <a:lnTo>
                  <a:pt x="0" y="3037"/>
                </a:lnTo>
                <a:lnTo>
                  <a:pt x="3571" y="3644"/>
                </a:lnTo>
                <a:lnTo>
                  <a:pt x="6845" y="5467"/>
                </a:lnTo>
                <a:lnTo>
                  <a:pt x="10119" y="8200"/>
                </a:lnTo>
                <a:lnTo>
                  <a:pt x="13095" y="12452"/>
                </a:lnTo>
                <a:lnTo>
                  <a:pt x="15178" y="17008"/>
                </a:lnTo>
                <a:lnTo>
                  <a:pt x="17261" y="22475"/>
                </a:lnTo>
                <a:lnTo>
                  <a:pt x="18452" y="28853"/>
                </a:lnTo>
                <a:lnTo>
                  <a:pt x="18749" y="35535"/>
                </a:lnTo>
                <a:lnTo>
                  <a:pt x="21726" y="35535"/>
                </a:lnTo>
                <a:lnTo>
                  <a:pt x="21428" y="28246"/>
                </a:lnTo>
                <a:lnTo>
                  <a:pt x="20238" y="21868"/>
                </a:lnTo>
                <a:lnTo>
                  <a:pt x="18154" y="15793"/>
                </a:lnTo>
                <a:lnTo>
                  <a:pt x="15476" y="10630"/>
                </a:lnTo>
                <a:lnTo>
                  <a:pt x="12499" y="6378"/>
                </a:lnTo>
                <a:lnTo>
                  <a:pt x="8630" y="3037"/>
                </a:lnTo>
                <a:lnTo>
                  <a:pt x="4761" y="607"/>
                </a:lnTo>
                <a:lnTo>
                  <a:pt x="0" y="0"/>
                </a:lnTo>
                <a:close/>
              </a:path>
            </a:pathLst>
          </a:custGeom>
          <a:solidFill>
            <a:srgbClr val="000000"/>
          </a:solidFill>
        </p:spPr>
        <p:txBody>
          <a:bodyPr wrap="square" lIns="0" tIns="0" rIns="0" bIns="0" rtlCol="0">
            <a:noAutofit/>
          </a:bodyPr>
          <a:lstStyle/>
          <a:p>
            <a:endParaRPr/>
          </a:p>
        </p:txBody>
      </p:sp>
      <p:sp>
        <p:nvSpPr>
          <p:cNvPr id="941" name="object 941"/>
          <p:cNvSpPr/>
          <p:nvPr/>
        </p:nvSpPr>
        <p:spPr>
          <a:xfrm>
            <a:off x="8058440" y="1204139"/>
            <a:ext cx="21726" cy="35535"/>
          </a:xfrm>
          <a:custGeom>
            <a:avLst/>
            <a:gdLst/>
            <a:ahLst/>
            <a:cxnLst/>
            <a:rect l="l" t="t" r="r" b="b"/>
            <a:pathLst>
              <a:path w="21726" h="35535">
                <a:moveTo>
                  <a:pt x="3571" y="31891"/>
                </a:moveTo>
                <a:lnTo>
                  <a:pt x="0" y="32498"/>
                </a:lnTo>
                <a:lnTo>
                  <a:pt x="0" y="35535"/>
                </a:lnTo>
                <a:lnTo>
                  <a:pt x="4761" y="34928"/>
                </a:lnTo>
                <a:lnTo>
                  <a:pt x="8630" y="32498"/>
                </a:lnTo>
                <a:lnTo>
                  <a:pt x="12499" y="29157"/>
                </a:lnTo>
                <a:lnTo>
                  <a:pt x="15476" y="24905"/>
                </a:lnTo>
                <a:lnTo>
                  <a:pt x="18154" y="19742"/>
                </a:lnTo>
                <a:lnTo>
                  <a:pt x="20238" y="13667"/>
                </a:lnTo>
                <a:lnTo>
                  <a:pt x="21428" y="7289"/>
                </a:lnTo>
                <a:lnTo>
                  <a:pt x="21726" y="0"/>
                </a:lnTo>
                <a:lnTo>
                  <a:pt x="18749" y="0"/>
                </a:lnTo>
                <a:lnTo>
                  <a:pt x="18452" y="6681"/>
                </a:lnTo>
                <a:lnTo>
                  <a:pt x="17261" y="13060"/>
                </a:lnTo>
                <a:lnTo>
                  <a:pt x="15178" y="18527"/>
                </a:lnTo>
                <a:lnTo>
                  <a:pt x="13095" y="23083"/>
                </a:lnTo>
                <a:lnTo>
                  <a:pt x="10119" y="27335"/>
                </a:lnTo>
                <a:lnTo>
                  <a:pt x="6845" y="30068"/>
                </a:lnTo>
                <a:lnTo>
                  <a:pt x="3571" y="31891"/>
                </a:lnTo>
                <a:close/>
              </a:path>
            </a:pathLst>
          </a:custGeom>
          <a:solidFill>
            <a:srgbClr val="000000"/>
          </a:solidFill>
        </p:spPr>
        <p:txBody>
          <a:bodyPr wrap="square" lIns="0" tIns="0" rIns="0" bIns="0" rtlCol="0">
            <a:noAutofit/>
          </a:bodyPr>
          <a:lstStyle/>
          <a:p>
            <a:endParaRPr/>
          </a:p>
        </p:txBody>
      </p:sp>
      <p:sp>
        <p:nvSpPr>
          <p:cNvPr id="942" name="object 942"/>
          <p:cNvSpPr/>
          <p:nvPr/>
        </p:nvSpPr>
        <p:spPr>
          <a:xfrm>
            <a:off x="8037011" y="1204139"/>
            <a:ext cx="21428" cy="35535"/>
          </a:xfrm>
          <a:custGeom>
            <a:avLst/>
            <a:gdLst/>
            <a:ahLst/>
            <a:cxnLst/>
            <a:rect l="l" t="t" r="r" b="b"/>
            <a:pathLst>
              <a:path w="21428" h="35535">
                <a:moveTo>
                  <a:pt x="297" y="7289"/>
                </a:moveTo>
                <a:lnTo>
                  <a:pt x="1488" y="13667"/>
                </a:lnTo>
                <a:lnTo>
                  <a:pt x="3273" y="19742"/>
                </a:lnTo>
                <a:lnTo>
                  <a:pt x="6249" y="24905"/>
                </a:lnTo>
                <a:lnTo>
                  <a:pt x="9226" y="29157"/>
                </a:lnTo>
                <a:lnTo>
                  <a:pt x="12797" y="32498"/>
                </a:lnTo>
                <a:lnTo>
                  <a:pt x="16666" y="34928"/>
                </a:lnTo>
                <a:lnTo>
                  <a:pt x="21428" y="35535"/>
                </a:lnTo>
                <a:lnTo>
                  <a:pt x="21428" y="32498"/>
                </a:lnTo>
                <a:lnTo>
                  <a:pt x="17857" y="31891"/>
                </a:lnTo>
                <a:lnTo>
                  <a:pt x="14583" y="30068"/>
                </a:lnTo>
                <a:lnTo>
                  <a:pt x="11607" y="27335"/>
                </a:lnTo>
                <a:lnTo>
                  <a:pt x="8630" y="23083"/>
                </a:lnTo>
                <a:lnTo>
                  <a:pt x="6249" y="18527"/>
                </a:lnTo>
                <a:lnTo>
                  <a:pt x="4464" y="13060"/>
                </a:lnTo>
                <a:lnTo>
                  <a:pt x="3273" y="6681"/>
                </a:lnTo>
                <a:lnTo>
                  <a:pt x="2976" y="0"/>
                </a:lnTo>
                <a:lnTo>
                  <a:pt x="0" y="0"/>
                </a:lnTo>
                <a:lnTo>
                  <a:pt x="297" y="7289"/>
                </a:lnTo>
                <a:close/>
              </a:path>
            </a:pathLst>
          </a:custGeom>
          <a:solidFill>
            <a:srgbClr val="000000"/>
          </a:solidFill>
        </p:spPr>
        <p:txBody>
          <a:bodyPr wrap="square" lIns="0" tIns="0" rIns="0" bIns="0" rtlCol="0">
            <a:noAutofit/>
          </a:bodyPr>
          <a:lstStyle/>
          <a:p>
            <a:endParaRPr/>
          </a:p>
        </p:txBody>
      </p:sp>
      <p:sp>
        <p:nvSpPr>
          <p:cNvPr id="943" name="object 943"/>
          <p:cNvSpPr/>
          <p:nvPr/>
        </p:nvSpPr>
        <p:spPr>
          <a:xfrm>
            <a:off x="8037011" y="1168603"/>
            <a:ext cx="21428" cy="35535"/>
          </a:xfrm>
          <a:custGeom>
            <a:avLst/>
            <a:gdLst/>
            <a:ahLst/>
            <a:cxnLst/>
            <a:rect l="l" t="t" r="r" b="b"/>
            <a:pathLst>
              <a:path w="21428" h="35535">
                <a:moveTo>
                  <a:pt x="297" y="28246"/>
                </a:moveTo>
                <a:lnTo>
                  <a:pt x="0" y="35535"/>
                </a:lnTo>
                <a:lnTo>
                  <a:pt x="2976" y="35535"/>
                </a:lnTo>
                <a:lnTo>
                  <a:pt x="3273" y="28853"/>
                </a:lnTo>
                <a:lnTo>
                  <a:pt x="4464" y="22475"/>
                </a:lnTo>
                <a:lnTo>
                  <a:pt x="6249" y="17008"/>
                </a:lnTo>
                <a:lnTo>
                  <a:pt x="8630" y="12452"/>
                </a:lnTo>
                <a:lnTo>
                  <a:pt x="11607" y="8200"/>
                </a:lnTo>
                <a:lnTo>
                  <a:pt x="14583" y="5467"/>
                </a:lnTo>
                <a:lnTo>
                  <a:pt x="17857" y="3644"/>
                </a:lnTo>
                <a:lnTo>
                  <a:pt x="21428" y="3037"/>
                </a:lnTo>
                <a:lnTo>
                  <a:pt x="21428" y="0"/>
                </a:lnTo>
                <a:lnTo>
                  <a:pt x="16666" y="607"/>
                </a:lnTo>
                <a:lnTo>
                  <a:pt x="12797" y="3037"/>
                </a:lnTo>
                <a:lnTo>
                  <a:pt x="9226" y="6378"/>
                </a:lnTo>
                <a:lnTo>
                  <a:pt x="6249" y="10630"/>
                </a:lnTo>
                <a:lnTo>
                  <a:pt x="3273" y="15793"/>
                </a:lnTo>
                <a:lnTo>
                  <a:pt x="1488" y="21868"/>
                </a:lnTo>
                <a:lnTo>
                  <a:pt x="297" y="28246"/>
                </a:lnTo>
                <a:close/>
              </a:path>
            </a:pathLst>
          </a:custGeom>
          <a:solidFill>
            <a:srgbClr val="000000"/>
          </a:solidFill>
        </p:spPr>
        <p:txBody>
          <a:bodyPr wrap="square" lIns="0" tIns="0" rIns="0" bIns="0" rtlCol="0">
            <a:noAutofit/>
          </a:bodyPr>
          <a:lstStyle/>
          <a:p>
            <a:endParaRPr/>
          </a:p>
        </p:txBody>
      </p:sp>
      <p:sp>
        <p:nvSpPr>
          <p:cNvPr id="944" name="object 944"/>
          <p:cNvSpPr/>
          <p:nvPr/>
        </p:nvSpPr>
        <p:spPr>
          <a:xfrm>
            <a:off x="8074511" y="1172855"/>
            <a:ext cx="37202" cy="63478"/>
          </a:xfrm>
          <a:custGeom>
            <a:avLst/>
            <a:gdLst/>
            <a:ahLst/>
            <a:cxnLst/>
            <a:rect l="l" t="t" r="r" b="b"/>
            <a:pathLst>
              <a:path w="37202" h="63478">
                <a:moveTo>
                  <a:pt x="0" y="31891"/>
                </a:moveTo>
                <a:lnTo>
                  <a:pt x="297" y="38269"/>
                </a:lnTo>
                <a:lnTo>
                  <a:pt x="1488" y="44040"/>
                </a:lnTo>
                <a:lnTo>
                  <a:pt x="3273" y="49507"/>
                </a:lnTo>
                <a:lnTo>
                  <a:pt x="5357" y="54063"/>
                </a:lnTo>
                <a:lnTo>
                  <a:pt x="8035" y="58011"/>
                </a:lnTo>
                <a:lnTo>
                  <a:pt x="11309" y="61048"/>
                </a:lnTo>
                <a:lnTo>
                  <a:pt x="14880" y="62871"/>
                </a:lnTo>
                <a:lnTo>
                  <a:pt x="18452" y="63478"/>
                </a:lnTo>
                <a:lnTo>
                  <a:pt x="22023" y="62871"/>
                </a:lnTo>
                <a:lnTo>
                  <a:pt x="25595" y="61048"/>
                </a:lnTo>
                <a:lnTo>
                  <a:pt x="28868" y="58011"/>
                </a:lnTo>
                <a:lnTo>
                  <a:pt x="31547" y="54063"/>
                </a:lnTo>
                <a:lnTo>
                  <a:pt x="33928" y="49507"/>
                </a:lnTo>
                <a:lnTo>
                  <a:pt x="35714" y="44040"/>
                </a:lnTo>
                <a:lnTo>
                  <a:pt x="36904" y="38269"/>
                </a:lnTo>
                <a:lnTo>
                  <a:pt x="37202" y="31891"/>
                </a:lnTo>
                <a:lnTo>
                  <a:pt x="36904" y="25512"/>
                </a:lnTo>
                <a:lnTo>
                  <a:pt x="35714" y="19438"/>
                </a:lnTo>
                <a:lnTo>
                  <a:pt x="33928" y="13971"/>
                </a:lnTo>
                <a:lnTo>
                  <a:pt x="31547" y="9415"/>
                </a:lnTo>
                <a:lnTo>
                  <a:pt x="28868" y="5467"/>
                </a:lnTo>
                <a:lnTo>
                  <a:pt x="25595" y="2429"/>
                </a:lnTo>
                <a:lnTo>
                  <a:pt x="22023" y="607"/>
                </a:lnTo>
                <a:lnTo>
                  <a:pt x="18452" y="0"/>
                </a:lnTo>
                <a:lnTo>
                  <a:pt x="14880" y="607"/>
                </a:lnTo>
                <a:lnTo>
                  <a:pt x="11309" y="2429"/>
                </a:lnTo>
                <a:lnTo>
                  <a:pt x="8035" y="5467"/>
                </a:lnTo>
                <a:lnTo>
                  <a:pt x="5357" y="9415"/>
                </a:lnTo>
                <a:lnTo>
                  <a:pt x="3273" y="13971"/>
                </a:lnTo>
                <a:lnTo>
                  <a:pt x="1488" y="19438"/>
                </a:lnTo>
                <a:lnTo>
                  <a:pt x="297" y="25512"/>
                </a:lnTo>
                <a:lnTo>
                  <a:pt x="0" y="31891"/>
                </a:lnTo>
                <a:close/>
              </a:path>
            </a:pathLst>
          </a:custGeom>
          <a:solidFill>
            <a:srgbClr val="E4FFE4"/>
          </a:solidFill>
        </p:spPr>
        <p:txBody>
          <a:bodyPr wrap="square" lIns="0" tIns="0" rIns="0" bIns="0" rtlCol="0">
            <a:noAutofit/>
          </a:bodyPr>
          <a:lstStyle/>
          <a:p>
            <a:endParaRPr/>
          </a:p>
        </p:txBody>
      </p:sp>
      <p:sp>
        <p:nvSpPr>
          <p:cNvPr id="945" name="object 945"/>
          <p:cNvSpPr/>
          <p:nvPr/>
        </p:nvSpPr>
        <p:spPr>
          <a:xfrm>
            <a:off x="8038202" y="1173767"/>
            <a:ext cx="35416" cy="60745"/>
          </a:xfrm>
          <a:custGeom>
            <a:avLst/>
            <a:gdLst/>
            <a:ahLst/>
            <a:cxnLst/>
            <a:rect l="l" t="t" r="r" b="b"/>
            <a:pathLst>
              <a:path w="35416" h="60745">
                <a:moveTo>
                  <a:pt x="0" y="30372"/>
                </a:moveTo>
                <a:lnTo>
                  <a:pt x="297" y="36447"/>
                </a:lnTo>
                <a:lnTo>
                  <a:pt x="1488" y="42217"/>
                </a:lnTo>
                <a:lnTo>
                  <a:pt x="2976" y="47381"/>
                </a:lnTo>
                <a:lnTo>
                  <a:pt x="5357" y="51937"/>
                </a:lnTo>
                <a:lnTo>
                  <a:pt x="8035" y="55581"/>
                </a:lnTo>
                <a:lnTo>
                  <a:pt x="11011" y="58315"/>
                </a:lnTo>
                <a:lnTo>
                  <a:pt x="14285" y="60137"/>
                </a:lnTo>
                <a:lnTo>
                  <a:pt x="17857" y="60745"/>
                </a:lnTo>
                <a:lnTo>
                  <a:pt x="21428" y="60137"/>
                </a:lnTo>
                <a:lnTo>
                  <a:pt x="24702" y="58315"/>
                </a:lnTo>
                <a:lnTo>
                  <a:pt x="27678" y="55581"/>
                </a:lnTo>
                <a:lnTo>
                  <a:pt x="30357" y="51937"/>
                </a:lnTo>
                <a:lnTo>
                  <a:pt x="32440" y="47381"/>
                </a:lnTo>
                <a:lnTo>
                  <a:pt x="33928" y="42217"/>
                </a:lnTo>
                <a:lnTo>
                  <a:pt x="35118" y="36447"/>
                </a:lnTo>
                <a:lnTo>
                  <a:pt x="35416" y="30372"/>
                </a:lnTo>
                <a:lnTo>
                  <a:pt x="35118" y="24298"/>
                </a:lnTo>
                <a:lnTo>
                  <a:pt x="33928" y="18527"/>
                </a:lnTo>
                <a:lnTo>
                  <a:pt x="32440" y="13363"/>
                </a:lnTo>
                <a:lnTo>
                  <a:pt x="30357" y="8808"/>
                </a:lnTo>
                <a:lnTo>
                  <a:pt x="27678" y="5163"/>
                </a:lnTo>
                <a:lnTo>
                  <a:pt x="24702" y="2429"/>
                </a:lnTo>
                <a:lnTo>
                  <a:pt x="21428" y="607"/>
                </a:lnTo>
                <a:lnTo>
                  <a:pt x="17857" y="0"/>
                </a:lnTo>
                <a:lnTo>
                  <a:pt x="14285" y="607"/>
                </a:lnTo>
                <a:lnTo>
                  <a:pt x="11011" y="2429"/>
                </a:lnTo>
                <a:lnTo>
                  <a:pt x="8035" y="5163"/>
                </a:lnTo>
                <a:lnTo>
                  <a:pt x="5357" y="8808"/>
                </a:lnTo>
                <a:lnTo>
                  <a:pt x="2976" y="13363"/>
                </a:lnTo>
                <a:lnTo>
                  <a:pt x="1488" y="18527"/>
                </a:lnTo>
                <a:lnTo>
                  <a:pt x="297" y="24298"/>
                </a:lnTo>
                <a:lnTo>
                  <a:pt x="0" y="30372"/>
                </a:lnTo>
                <a:close/>
              </a:path>
            </a:pathLst>
          </a:custGeom>
          <a:solidFill>
            <a:srgbClr val="E4FFE4"/>
          </a:solidFill>
        </p:spPr>
        <p:txBody>
          <a:bodyPr wrap="square" lIns="0" tIns="0" rIns="0" bIns="0" rtlCol="0">
            <a:noAutofit/>
          </a:bodyPr>
          <a:lstStyle/>
          <a:p>
            <a:endParaRPr/>
          </a:p>
        </p:txBody>
      </p:sp>
      <p:sp>
        <p:nvSpPr>
          <p:cNvPr id="946" name="object 946"/>
          <p:cNvSpPr/>
          <p:nvPr/>
        </p:nvSpPr>
        <p:spPr>
          <a:xfrm>
            <a:off x="8092964" y="1171337"/>
            <a:ext cx="20238" cy="33409"/>
          </a:xfrm>
          <a:custGeom>
            <a:avLst/>
            <a:gdLst/>
            <a:ahLst/>
            <a:cxnLst/>
            <a:rect l="l" t="t" r="r" b="b"/>
            <a:pathLst>
              <a:path w="20238" h="33409">
                <a:moveTo>
                  <a:pt x="11904" y="11845"/>
                </a:moveTo>
                <a:lnTo>
                  <a:pt x="13988" y="16097"/>
                </a:lnTo>
                <a:lnTo>
                  <a:pt x="15773" y="21260"/>
                </a:lnTo>
                <a:lnTo>
                  <a:pt x="16964" y="27335"/>
                </a:lnTo>
                <a:lnTo>
                  <a:pt x="17261" y="33409"/>
                </a:lnTo>
                <a:lnTo>
                  <a:pt x="20238" y="33409"/>
                </a:lnTo>
                <a:lnTo>
                  <a:pt x="19940" y="26727"/>
                </a:lnTo>
                <a:lnTo>
                  <a:pt x="18749" y="20653"/>
                </a:lnTo>
                <a:lnTo>
                  <a:pt x="16964" y="14882"/>
                </a:lnTo>
                <a:lnTo>
                  <a:pt x="14285" y="10022"/>
                </a:lnTo>
                <a:lnTo>
                  <a:pt x="11607" y="6074"/>
                </a:lnTo>
                <a:lnTo>
                  <a:pt x="8035" y="2733"/>
                </a:lnTo>
                <a:lnTo>
                  <a:pt x="4166" y="607"/>
                </a:lnTo>
                <a:lnTo>
                  <a:pt x="0" y="0"/>
                </a:lnTo>
                <a:lnTo>
                  <a:pt x="0" y="3037"/>
                </a:lnTo>
                <a:lnTo>
                  <a:pt x="2976" y="3644"/>
                </a:lnTo>
                <a:lnTo>
                  <a:pt x="6249" y="5163"/>
                </a:lnTo>
                <a:lnTo>
                  <a:pt x="9226" y="7896"/>
                </a:lnTo>
                <a:lnTo>
                  <a:pt x="11904" y="11845"/>
                </a:lnTo>
                <a:close/>
              </a:path>
            </a:pathLst>
          </a:custGeom>
          <a:solidFill>
            <a:srgbClr val="000000"/>
          </a:solidFill>
        </p:spPr>
        <p:txBody>
          <a:bodyPr wrap="square" lIns="0" tIns="0" rIns="0" bIns="0" rtlCol="0">
            <a:noAutofit/>
          </a:bodyPr>
          <a:lstStyle/>
          <a:p>
            <a:endParaRPr/>
          </a:p>
        </p:txBody>
      </p:sp>
      <p:sp>
        <p:nvSpPr>
          <p:cNvPr id="947" name="object 947"/>
          <p:cNvSpPr/>
          <p:nvPr/>
        </p:nvSpPr>
        <p:spPr>
          <a:xfrm>
            <a:off x="8092964" y="1204746"/>
            <a:ext cx="20238" cy="33106"/>
          </a:xfrm>
          <a:custGeom>
            <a:avLst/>
            <a:gdLst/>
            <a:ahLst/>
            <a:cxnLst/>
            <a:rect l="l" t="t" r="r" b="b"/>
            <a:pathLst>
              <a:path w="20238" h="33106">
                <a:moveTo>
                  <a:pt x="2976" y="29461"/>
                </a:moveTo>
                <a:lnTo>
                  <a:pt x="0" y="30068"/>
                </a:lnTo>
                <a:lnTo>
                  <a:pt x="0" y="33106"/>
                </a:lnTo>
                <a:lnTo>
                  <a:pt x="4166" y="32498"/>
                </a:lnTo>
                <a:lnTo>
                  <a:pt x="8035" y="30372"/>
                </a:lnTo>
                <a:lnTo>
                  <a:pt x="11607" y="27031"/>
                </a:lnTo>
                <a:lnTo>
                  <a:pt x="14285" y="23083"/>
                </a:lnTo>
                <a:lnTo>
                  <a:pt x="16964" y="18223"/>
                </a:lnTo>
                <a:lnTo>
                  <a:pt x="18749" y="12452"/>
                </a:lnTo>
                <a:lnTo>
                  <a:pt x="19940" y="6681"/>
                </a:lnTo>
                <a:lnTo>
                  <a:pt x="20238" y="0"/>
                </a:lnTo>
                <a:lnTo>
                  <a:pt x="17261" y="0"/>
                </a:lnTo>
                <a:lnTo>
                  <a:pt x="16964" y="6074"/>
                </a:lnTo>
                <a:lnTo>
                  <a:pt x="15773" y="11845"/>
                </a:lnTo>
                <a:lnTo>
                  <a:pt x="13988" y="17008"/>
                </a:lnTo>
                <a:lnTo>
                  <a:pt x="11904" y="21260"/>
                </a:lnTo>
                <a:lnTo>
                  <a:pt x="9226" y="25209"/>
                </a:lnTo>
                <a:lnTo>
                  <a:pt x="6249" y="27942"/>
                </a:lnTo>
                <a:lnTo>
                  <a:pt x="2976" y="29461"/>
                </a:lnTo>
                <a:close/>
              </a:path>
            </a:pathLst>
          </a:custGeom>
          <a:solidFill>
            <a:srgbClr val="000000"/>
          </a:solidFill>
        </p:spPr>
        <p:txBody>
          <a:bodyPr wrap="square" lIns="0" tIns="0" rIns="0" bIns="0" rtlCol="0">
            <a:noAutofit/>
          </a:bodyPr>
          <a:lstStyle/>
          <a:p>
            <a:endParaRPr/>
          </a:p>
        </p:txBody>
      </p:sp>
      <p:sp>
        <p:nvSpPr>
          <p:cNvPr id="948" name="object 948"/>
          <p:cNvSpPr/>
          <p:nvPr/>
        </p:nvSpPr>
        <p:spPr>
          <a:xfrm>
            <a:off x="8073023" y="1204746"/>
            <a:ext cx="19940" cy="33106"/>
          </a:xfrm>
          <a:custGeom>
            <a:avLst/>
            <a:gdLst/>
            <a:ahLst/>
            <a:cxnLst/>
            <a:rect l="l" t="t" r="r" b="b"/>
            <a:pathLst>
              <a:path w="19940" h="33106">
                <a:moveTo>
                  <a:pt x="297" y="6681"/>
                </a:moveTo>
                <a:lnTo>
                  <a:pt x="1488" y="12452"/>
                </a:lnTo>
                <a:lnTo>
                  <a:pt x="3273" y="18223"/>
                </a:lnTo>
                <a:lnTo>
                  <a:pt x="5654" y="22779"/>
                </a:lnTo>
                <a:lnTo>
                  <a:pt x="8333" y="27031"/>
                </a:lnTo>
                <a:lnTo>
                  <a:pt x="11904" y="30372"/>
                </a:lnTo>
                <a:lnTo>
                  <a:pt x="15773" y="32498"/>
                </a:lnTo>
                <a:lnTo>
                  <a:pt x="19940" y="33106"/>
                </a:lnTo>
                <a:lnTo>
                  <a:pt x="19940" y="30068"/>
                </a:lnTo>
                <a:lnTo>
                  <a:pt x="16964" y="29461"/>
                </a:lnTo>
                <a:lnTo>
                  <a:pt x="13690" y="27942"/>
                </a:lnTo>
                <a:lnTo>
                  <a:pt x="10714" y="25209"/>
                </a:lnTo>
                <a:lnTo>
                  <a:pt x="8035" y="21564"/>
                </a:lnTo>
                <a:lnTo>
                  <a:pt x="6249" y="17008"/>
                </a:lnTo>
                <a:lnTo>
                  <a:pt x="4464" y="11845"/>
                </a:lnTo>
                <a:lnTo>
                  <a:pt x="3273" y="6074"/>
                </a:lnTo>
                <a:lnTo>
                  <a:pt x="2976" y="0"/>
                </a:lnTo>
                <a:lnTo>
                  <a:pt x="0" y="0"/>
                </a:lnTo>
                <a:lnTo>
                  <a:pt x="297" y="6681"/>
                </a:lnTo>
                <a:close/>
              </a:path>
            </a:pathLst>
          </a:custGeom>
          <a:solidFill>
            <a:srgbClr val="000000"/>
          </a:solidFill>
        </p:spPr>
        <p:txBody>
          <a:bodyPr wrap="square" lIns="0" tIns="0" rIns="0" bIns="0" rtlCol="0">
            <a:noAutofit/>
          </a:bodyPr>
          <a:lstStyle/>
          <a:p>
            <a:endParaRPr/>
          </a:p>
        </p:txBody>
      </p:sp>
      <p:sp>
        <p:nvSpPr>
          <p:cNvPr id="949" name="object 949"/>
          <p:cNvSpPr/>
          <p:nvPr/>
        </p:nvSpPr>
        <p:spPr>
          <a:xfrm>
            <a:off x="8073023" y="1171337"/>
            <a:ext cx="19940" cy="33409"/>
          </a:xfrm>
          <a:custGeom>
            <a:avLst/>
            <a:gdLst/>
            <a:ahLst/>
            <a:cxnLst/>
            <a:rect l="l" t="t" r="r" b="b"/>
            <a:pathLst>
              <a:path w="19940" h="33409">
                <a:moveTo>
                  <a:pt x="2976" y="33409"/>
                </a:moveTo>
                <a:lnTo>
                  <a:pt x="3273" y="27335"/>
                </a:lnTo>
                <a:lnTo>
                  <a:pt x="4464" y="21260"/>
                </a:lnTo>
                <a:lnTo>
                  <a:pt x="6249" y="16097"/>
                </a:lnTo>
                <a:lnTo>
                  <a:pt x="8035" y="11541"/>
                </a:lnTo>
                <a:lnTo>
                  <a:pt x="10714" y="7896"/>
                </a:lnTo>
                <a:lnTo>
                  <a:pt x="13690" y="5163"/>
                </a:lnTo>
                <a:lnTo>
                  <a:pt x="16964" y="3644"/>
                </a:lnTo>
                <a:lnTo>
                  <a:pt x="19940" y="3037"/>
                </a:lnTo>
                <a:lnTo>
                  <a:pt x="19940" y="0"/>
                </a:lnTo>
                <a:lnTo>
                  <a:pt x="15773" y="607"/>
                </a:lnTo>
                <a:lnTo>
                  <a:pt x="11904" y="2733"/>
                </a:lnTo>
                <a:lnTo>
                  <a:pt x="8333" y="6074"/>
                </a:lnTo>
                <a:lnTo>
                  <a:pt x="5654" y="10326"/>
                </a:lnTo>
                <a:lnTo>
                  <a:pt x="3273" y="14882"/>
                </a:lnTo>
                <a:lnTo>
                  <a:pt x="1488" y="20653"/>
                </a:lnTo>
                <a:lnTo>
                  <a:pt x="297" y="26727"/>
                </a:lnTo>
                <a:lnTo>
                  <a:pt x="0" y="33409"/>
                </a:lnTo>
                <a:lnTo>
                  <a:pt x="2976" y="33409"/>
                </a:lnTo>
                <a:close/>
              </a:path>
            </a:pathLst>
          </a:custGeom>
          <a:solidFill>
            <a:srgbClr val="000000"/>
          </a:solidFill>
        </p:spPr>
        <p:txBody>
          <a:bodyPr wrap="square" lIns="0" tIns="0" rIns="0" bIns="0" rtlCol="0">
            <a:noAutofit/>
          </a:bodyPr>
          <a:lstStyle/>
          <a:p>
            <a:endParaRPr/>
          </a:p>
        </p:txBody>
      </p:sp>
      <p:sp>
        <p:nvSpPr>
          <p:cNvPr id="950" name="object 950"/>
          <p:cNvSpPr/>
          <p:nvPr/>
        </p:nvSpPr>
        <p:spPr>
          <a:xfrm>
            <a:off x="8056060" y="1172248"/>
            <a:ext cx="19047" cy="31891"/>
          </a:xfrm>
          <a:custGeom>
            <a:avLst/>
            <a:gdLst/>
            <a:ahLst/>
            <a:cxnLst/>
            <a:rect l="l" t="t" r="r" b="b"/>
            <a:pathLst>
              <a:path w="19047" h="31891">
                <a:moveTo>
                  <a:pt x="0" y="0"/>
                </a:moveTo>
                <a:lnTo>
                  <a:pt x="0" y="3037"/>
                </a:lnTo>
                <a:lnTo>
                  <a:pt x="2976" y="3644"/>
                </a:lnTo>
                <a:lnTo>
                  <a:pt x="5952" y="5163"/>
                </a:lnTo>
                <a:lnTo>
                  <a:pt x="8630" y="7593"/>
                </a:lnTo>
                <a:lnTo>
                  <a:pt x="11309" y="11237"/>
                </a:lnTo>
                <a:lnTo>
                  <a:pt x="13095" y="15490"/>
                </a:lnTo>
                <a:lnTo>
                  <a:pt x="14583" y="20349"/>
                </a:lnTo>
                <a:lnTo>
                  <a:pt x="15773" y="26120"/>
                </a:lnTo>
                <a:lnTo>
                  <a:pt x="16071" y="31891"/>
                </a:lnTo>
                <a:lnTo>
                  <a:pt x="19047" y="31891"/>
                </a:lnTo>
                <a:lnTo>
                  <a:pt x="18749" y="25512"/>
                </a:lnTo>
                <a:lnTo>
                  <a:pt x="17559" y="19742"/>
                </a:lnTo>
                <a:lnTo>
                  <a:pt x="16071" y="14275"/>
                </a:lnTo>
                <a:lnTo>
                  <a:pt x="13690" y="9415"/>
                </a:lnTo>
                <a:lnTo>
                  <a:pt x="11011" y="5770"/>
                </a:lnTo>
                <a:lnTo>
                  <a:pt x="7738" y="2733"/>
                </a:lnTo>
                <a:lnTo>
                  <a:pt x="4166" y="607"/>
                </a:lnTo>
                <a:lnTo>
                  <a:pt x="0" y="0"/>
                </a:lnTo>
                <a:close/>
              </a:path>
            </a:pathLst>
          </a:custGeom>
          <a:solidFill>
            <a:srgbClr val="000000"/>
          </a:solidFill>
        </p:spPr>
        <p:txBody>
          <a:bodyPr wrap="square" lIns="0" tIns="0" rIns="0" bIns="0" rtlCol="0">
            <a:noAutofit/>
          </a:bodyPr>
          <a:lstStyle/>
          <a:p>
            <a:endParaRPr/>
          </a:p>
        </p:txBody>
      </p:sp>
      <p:sp>
        <p:nvSpPr>
          <p:cNvPr id="951" name="object 951"/>
          <p:cNvSpPr/>
          <p:nvPr/>
        </p:nvSpPr>
        <p:spPr>
          <a:xfrm>
            <a:off x="8056060" y="1204139"/>
            <a:ext cx="19047" cy="31891"/>
          </a:xfrm>
          <a:custGeom>
            <a:avLst/>
            <a:gdLst/>
            <a:ahLst/>
            <a:cxnLst/>
            <a:rect l="l" t="t" r="r" b="b"/>
            <a:pathLst>
              <a:path w="19047" h="31891">
                <a:moveTo>
                  <a:pt x="2976" y="28246"/>
                </a:moveTo>
                <a:lnTo>
                  <a:pt x="0" y="28853"/>
                </a:lnTo>
                <a:lnTo>
                  <a:pt x="0" y="31891"/>
                </a:lnTo>
                <a:lnTo>
                  <a:pt x="4166" y="31283"/>
                </a:lnTo>
                <a:lnTo>
                  <a:pt x="7738" y="29157"/>
                </a:lnTo>
                <a:lnTo>
                  <a:pt x="11011" y="26120"/>
                </a:lnTo>
                <a:lnTo>
                  <a:pt x="13690" y="22475"/>
                </a:lnTo>
                <a:lnTo>
                  <a:pt x="16071" y="17616"/>
                </a:lnTo>
                <a:lnTo>
                  <a:pt x="17559" y="12149"/>
                </a:lnTo>
                <a:lnTo>
                  <a:pt x="18749" y="6378"/>
                </a:lnTo>
                <a:lnTo>
                  <a:pt x="19047" y="0"/>
                </a:lnTo>
                <a:lnTo>
                  <a:pt x="16071" y="0"/>
                </a:lnTo>
                <a:lnTo>
                  <a:pt x="15773" y="5770"/>
                </a:lnTo>
                <a:lnTo>
                  <a:pt x="14583" y="11541"/>
                </a:lnTo>
                <a:lnTo>
                  <a:pt x="13095" y="16401"/>
                </a:lnTo>
                <a:lnTo>
                  <a:pt x="11309" y="20653"/>
                </a:lnTo>
                <a:lnTo>
                  <a:pt x="8630" y="24298"/>
                </a:lnTo>
                <a:lnTo>
                  <a:pt x="5952" y="26727"/>
                </a:lnTo>
                <a:lnTo>
                  <a:pt x="2976" y="28246"/>
                </a:lnTo>
                <a:close/>
              </a:path>
            </a:pathLst>
          </a:custGeom>
          <a:solidFill>
            <a:srgbClr val="000000"/>
          </a:solidFill>
        </p:spPr>
        <p:txBody>
          <a:bodyPr wrap="square" lIns="0" tIns="0" rIns="0" bIns="0" rtlCol="0">
            <a:noAutofit/>
          </a:bodyPr>
          <a:lstStyle/>
          <a:p>
            <a:endParaRPr/>
          </a:p>
        </p:txBody>
      </p:sp>
      <p:sp>
        <p:nvSpPr>
          <p:cNvPr id="952" name="object 952"/>
          <p:cNvSpPr/>
          <p:nvPr/>
        </p:nvSpPr>
        <p:spPr>
          <a:xfrm>
            <a:off x="8036715" y="1204139"/>
            <a:ext cx="19345" cy="31891"/>
          </a:xfrm>
          <a:custGeom>
            <a:avLst/>
            <a:gdLst/>
            <a:ahLst/>
            <a:cxnLst/>
            <a:rect l="l" t="t" r="r" b="b"/>
            <a:pathLst>
              <a:path w="19345" h="31891">
                <a:moveTo>
                  <a:pt x="297" y="6378"/>
                </a:moveTo>
                <a:lnTo>
                  <a:pt x="1488" y="12149"/>
                </a:lnTo>
                <a:lnTo>
                  <a:pt x="2976" y="17616"/>
                </a:lnTo>
                <a:lnTo>
                  <a:pt x="5654" y="22475"/>
                </a:lnTo>
                <a:lnTo>
                  <a:pt x="8333" y="26120"/>
                </a:lnTo>
                <a:lnTo>
                  <a:pt x="11607" y="29157"/>
                </a:lnTo>
                <a:lnTo>
                  <a:pt x="15178" y="31283"/>
                </a:lnTo>
                <a:lnTo>
                  <a:pt x="19345" y="31891"/>
                </a:lnTo>
                <a:lnTo>
                  <a:pt x="19345" y="28853"/>
                </a:lnTo>
                <a:lnTo>
                  <a:pt x="16368" y="28246"/>
                </a:lnTo>
                <a:lnTo>
                  <a:pt x="13392" y="26727"/>
                </a:lnTo>
                <a:lnTo>
                  <a:pt x="10714" y="24298"/>
                </a:lnTo>
                <a:lnTo>
                  <a:pt x="8035" y="20653"/>
                </a:lnTo>
                <a:lnTo>
                  <a:pt x="5952" y="16401"/>
                </a:lnTo>
                <a:lnTo>
                  <a:pt x="4464" y="11541"/>
                </a:lnTo>
                <a:lnTo>
                  <a:pt x="3273" y="5770"/>
                </a:lnTo>
                <a:lnTo>
                  <a:pt x="2976" y="0"/>
                </a:lnTo>
                <a:lnTo>
                  <a:pt x="0" y="0"/>
                </a:lnTo>
                <a:lnTo>
                  <a:pt x="297" y="6378"/>
                </a:lnTo>
                <a:close/>
              </a:path>
            </a:pathLst>
          </a:custGeom>
          <a:solidFill>
            <a:srgbClr val="000000"/>
          </a:solidFill>
        </p:spPr>
        <p:txBody>
          <a:bodyPr wrap="square" lIns="0" tIns="0" rIns="0" bIns="0" rtlCol="0">
            <a:noAutofit/>
          </a:bodyPr>
          <a:lstStyle/>
          <a:p>
            <a:endParaRPr/>
          </a:p>
        </p:txBody>
      </p:sp>
      <p:sp>
        <p:nvSpPr>
          <p:cNvPr id="953" name="object 953"/>
          <p:cNvSpPr/>
          <p:nvPr/>
        </p:nvSpPr>
        <p:spPr>
          <a:xfrm>
            <a:off x="8036715" y="1172248"/>
            <a:ext cx="19345" cy="31891"/>
          </a:xfrm>
          <a:custGeom>
            <a:avLst/>
            <a:gdLst/>
            <a:ahLst/>
            <a:cxnLst/>
            <a:rect l="l" t="t" r="r" b="b"/>
            <a:pathLst>
              <a:path w="19345" h="31891">
                <a:moveTo>
                  <a:pt x="2976" y="31891"/>
                </a:moveTo>
                <a:lnTo>
                  <a:pt x="3273" y="26120"/>
                </a:lnTo>
                <a:lnTo>
                  <a:pt x="4464" y="20349"/>
                </a:lnTo>
                <a:lnTo>
                  <a:pt x="5952" y="15490"/>
                </a:lnTo>
                <a:lnTo>
                  <a:pt x="8035" y="11237"/>
                </a:lnTo>
                <a:lnTo>
                  <a:pt x="10714" y="7593"/>
                </a:lnTo>
                <a:lnTo>
                  <a:pt x="13392" y="5163"/>
                </a:lnTo>
                <a:lnTo>
                  <a:pt x="16368" y="3644"/>
                </a:lnTo>
                <a:lnTo>
                  <a:pt x="19345" y="3037"/>
                </a:lnTo>
                <a:lnTo>
                  <a:pt x="19345" y="0"/>
                </a:lnTo>
                <a:lnTo>
                  <a:pt x="15178" y="607"/>
                </a:lnTo>
                <a:lnTo>
                  <a:pt x="11607" y="2733"/>
                </a:lnTo>
                <a:lnTo>
                  <a:pt x="8333" y="5770"/>
                </a:lnTo>
                <a:lnTo>
                  <a:pt x="5654" y="9415"/>
                </a:lnTo>
                <a:lnTo>
                  <a:pt x="2976" y="14275"/>
                </a:lnTo>
                <a:lnTo>
                  <a:pt x="1488" y="19742"/>
                </a:lnTo>
                <a:lnTo>
                  <a:pt x="297" y="25512"/>
                </a:lnTo>
                <a:lnTo>
                  <a:pt x="0" y="31891"/>
                </a:lnTo>
                <a:lnTo>
                  <a:pt x="2976" y="31891"/>
                </a:lnTo>
                <a:close/>
              </a:path>
            </a:pathLst>
          </a:custGeom>
          <a:solidFill>
            <a:srgbClr val="000000"/>
          </a:solidFill>
        </p:spPr>
        <p:txBody>
          <a:bodyPr wrap="square" lIns="0" tIns="0" rIns="0" bIns="0" rtlCol="0">
            <a:noAutofit/>
          </a:bodyPr>
          <a:lstStyle/>
          <a:p>
            <a:endParaRPr/>
          </a:p>
        </p:txBody>
      </p:sp>
      <p:sp>
        <p:nvSpPr>
          <p:cNvPr id="954" name="object 954"/>
          <p:cNvSpPr/>
          <p:nvPr/>
        </p:nvSpPr>
        <p:spPr>
          <a:xfrm>
            <a:off x="8038202" y="1188345"/>
            <a:ext cx="35416" cy="32802"/>
          </a:xfrm>
          <a:custGeom>
            <a:avLst/>
            <a:gdLst/>
            <a:ahLst/>
            <a:cxnLst/>
            <a:rect l="l" t="t" r="r" b="b"/>
            <a:pathLst>
              <a:path w="35416" h="32802">
                <a:moveTo>
                  <a:pt x="595" y="23994"/>
                </a:moveTo>
                <a:lnTo>
                  <a:pt x="1190" y="27639"/>
                </a:lnTo>
                <a:lnTo>
                  <a:pt x="2380" y="30980"/>
                </a:lnTo>
                <a:lnTo>
                  <a:pt x="5059" y="32802"/>
                </a:lnTo>
                <a:lnTo>
                  <a:pt x="8630" y="31587"/>
                </a:lnTo>
                <a:lnTo>
                  <a:pt x="13095" y="28853"/>
                </a:lnTo>
                <a:lnTo>
                  <a:pt x="17857" y="25512"/>
                </a:lnTo>
                <a:lnTo>
                  <a:pt x="22618" y="23083"/>
                </a:lnTo>
                <a:lnTo>
                  <a:pt x="27083" y="22171"/>
                </a:lnTo>
                <a:lnTo>
                  <a:pt x="30654" y="24601"/>
                </a:lnTo>
                <a:lnTo>
                  <a:pt x="33035" y="30980"/>
                </a:lnTo>
                <a:lnTo>
                  <a:pt x="34226" y="27335"/>
                </a:lnTo>
                <a:lnTo>
                  <a:pt x="34821" y="23994"/>
                </a:lnTo>
                <a:lnTo>
                  <a:pt x="35416" y="20045"/>
                </a:lnTo>
                <a:lnTo>
                  <a:pt x="35416" y="12756"/>
                </a:lnTo>
                <a:lnTo>
                  <a:pt x="35118" y="9111"/>
                </a:lnTo>
                <a:lnTo>
                  <a:pt x="34523" y="5467"/>
                </a:lnTo>
                <a:lnTo>
                  <a:pt x="33630" y="2126"/>
                </a:lnTo>
                <a:lnTo>
                  <a:pt x="29464" y="7289"/>
                </a:lnTo>
                <a:lnTo>
                  <a:pt x="24999" y="8808"/>
                </a:lnTo>
                <a:lnTo>
                  <a:pt x="20238" y="8200"/>
                </a:lnTo>
                <a:lnTo>
                  <a:pt x="15476" y="5770"/>
                </a:lnTo>
                <a:lnTo>
                  <a:pt x="11011" y="3037"/>
                </a:lnTo>
                <a:lnTo>
                  <a:pt x="7142" y="607"/>
                </a:lnTo>
                <a:lnTo>
                  <a:pt x="4166" y="0"/>
                </a:lnTo>
                <a:lnTo>
                  <a:pt x="1785" y="2126"/>
                </a:lnTo>
                <a:lnTo>
                  <a:pt x="892" y="5467"/>
                </a:lnTo>
                <a:lnTo>
                  <a:pt x="297" y="9111"/>
                </a:lnTo>
                <a:lnTo>
                  <a:pt x="0" y="12756"/>
                </a:lnTo>
                <a:lnTo>
                  <a:pt x="0" y="20349"/>
                </a:lnTo>
                <a:lnTo>
                  <a:pt x="595" y="23994"/>
                </a:lnTo>
                <a:close/>
              </a:path>
            </a:pathLst>
          </a:custGeom>
          <a:solidFill>
            <a:srgbClr val="000000"/>
          </a:solidFill>
        </p:spPr>
        <p:txBody>
          <a:bodyPr wrap="square" lIns="0" tIns="0" rIns="0" bIns="0" rtlCol="0">
            <a:noAutofit/>
          </a:bodyPr>
          <a:lstStyle/>
          <a:p>
            <a:endParaRPr/>
          </a:p>
        </p:txBody>
      </p:sp>
      <p:sp>
        <p:nvSpPr>
          <p:cNvPr id="955" name="object 955"/>
          <p:cNvSpPr/>
          <p:nvPr/>
        </p:nvSpPr>
        <p:spPr>
          <a:xfrm>
            <a:off x="8074511" y="1188346"/>
            <a:ext cx="37202" cy="34017"/>
          </a:xfrm>
          <a:custGeom>
            <a:avLst/>
            <a:gdLst/>
            <a:ahLst/>
            <a:cxnLst/>
            <a:rect l="l" t="t" r="r" b="b"/>
            <a:pathLst>
              <a:path w="37202" h="34017">
                <a:moveTo>
                  <a:pt x="0" y="13363"/>
                </a:moveTo>
                <a:lnTo>
                  <a:pt x="0" y="20957"/>
                </a:lnTo>
                <a:lnTo>
                  <a:pt x="595" y="24905"/>
                </a:lnTo>
                <a:lnTo>
                  <a:pt x="1190" y="28550"/>
                </a:lnTo>
                <a:lnTo>
                  <a:pt x="2380" y="32194"/>
                </a:lnTo>
                <a:lnTo>
                  <a:pt x="5059" y="34017"/>
                </a:lnTo>
                <a:lnTo>
                  <a:pt x="9226" y="32802"/>
                </a:lnTo>
                <a:lnTo>
                  <a:pt x="13690" y="30068"/>
                </a:lnTo>
                <a:lnTo>
                  <a:pt x="18749" y="26727"/>
                </a:lnTo>
                <a:lnTo>
                  <a:pt x="23511" y="23994"/>
                </a:lnTo>
                <a:lnTo>
                  <a:pt x="28273" y="23083"/>
                </a:lnTo>
                <a:lnTo>
                  <a:pt x="31845" y="25512"/>
                </a:lnTo>
                <a:lnTo>
                  <a:pt x="34523" y="32194"/>
                </a:lnTo>
                <a:lnTo>
                  <a:pt x="35714" y="28550"/>
                </a:lnTo>
                <a:lnTo>
                  <a:pt x="36607" y="24601"/>
                </a:lnTo>
                <a:lnTo>
                  <a:pt x="36904" y="20957"/>
                </a:lnTo>
                <a:lnTo>
                  <a:pt x="37202" y="17008"/>
                </a:lnTo>
                <a:lnTo>
                  <a:pt x="36904" y="13060"/>
                </a:lnTo>
                <a:lnTo>
                  <a:pt x="36607" y="9415"/>
                </a:lnTo>
                <a:lnTo>
                  <a:pt x="36011" y="5770"/>
                </a:lnTo>
                <a:lnTo>
                  <a:pt x="35118" y="2126"/>
                </a:lnTo>
                <a:lnTo>
                  <a:pt x="30952" y="7593"/>
                </a:lnTo>
                <a:lnTo>
                  <a:pt x="26190" y="9111"/>
                </a:lnTo>
                <a:lnTo>
                  <a:pt x="21428" y="8200"/>
                </a:lnTo>
                <a:lnTo>
                  <a:pt x="16368" y="5770"/>
                </a:lnTo>
                <a:lnTo>
                  <a:pt x="11904" y="3037"/>
                </a:lnTo>
                <a:lnTo>
                  <a:pt x="7738" y="607"/>
                </a:lnTo>
                <a:lnTo>
                  <a:pt x="4464" y="0"/>
                </a:lnTo>
                <a:lnTo>
                  <a:pt x="2083" y="2126"/>
                </a:lnTo>
                <a:lnTo>
                  <a:pt x="1190" y="5770"/>
                </a:lnTo>
                <a:lnTo>
                  <a:pt x="595" y="9415"/>
                </a:lnTo>
                <a:lnTo>
                  <a:pt x="0" y="13363"/>
                </a:lnTo>
                <a:close/>
              </a:path>
            </a:pathLst>
          </a:custGeom>
          <a:solidFill>
            <a:srgbClr val="000000"/>
          </a:solidFill>
        </p:spPr>
        <p:txBody>
          <a:bodyPr wrap="square" lIns="0" tIns="0" rIns="0" bIns="0" rtlCol="0">
            <a:noAutofit/>
          </a:bodyPr>
          <a:lstStyle/>
          <a:p>
            <a:endParaRPr/>
          </a:p>
        </p:txBody>
      </p:sp>
      <p:sp>
        <p:nvSpPr>
          <p:cNvPr id="956" name="object 956"/>
          <p:cNvSpPr/>
          <p:nvPr/>
        </p:nvSpPr>
        <p:spPr>
          <a:xfrm>
            <a:off x="8075404" y="1186827"/>
            <a:ext cx="35416" cy="12149"/>
          </a:xfrm>
          <a:custGeom>
            <a:avLst/>
            <a:gdLst/>
            <a:ahLst/>
            <a:cxnLst/>
            <a:rect l="l" t="t" r="r" b="b"/>
            <a:pathLst>
              <a:path w="35416" h="12149">
                <a:moveTo>
                  <a:pt x="3273" y="0"/>
                </a:moveTo>
                <a:lnTo>
                  <a:pt x="0" y="3037"/>
                </a:lnTo>
                <a:lnTo>
                  <a:pt x="2380" y="4252"/>
                </a:lnTo>
                <a:lnTo>
                  <a:pt x="3869" y="3037"/>
                </a:lnTo>
                <a:lnTo>
                  <a:pt x="6249" y="3644"/>
                </a:lnTo>
                <a:lnTo>
                  <a:pt x="10119" y="5770"/>
                </a:lnTo>
                <a:lnTo>
                  <a:pt x="14880" y="8504"/>
                </a:lnTo>
                <a:lnTo>
                  <a:pt x="19940" y="11237"/>
                </a:lnTo>
                <a:lnTo>
                  <a:pt x="25297" y="12149"/>
                </a:lnTo>
                <a:lnTo>
                  <a:pt x="30952" y="10326"/>
                </a:lnTo>
                <a:lnTo>
                  <a:pt x="35416" y="4252"/>
                </a:lnTo>
                <a:lnTo>
                  <a:pt x="35416" y="3340"/>
                </a:lnTo>
                <a:lnTo>
                  <a:pt x="34821" y="2429"/>
                </a:lnTo>
                <a:lnTo>
                  <a:pt x="33630" y="2429"/>
                </a:lnTo>
                <a:lnTo>
                  <a:pt x="33035" y="3037"/>
                </a:lnTo>
                <a:lnTo>
                  <a:pt x="32737" y="3948"/>
                </a:lnTo>
                <a:lnTo>
                  <a:pt x="29166" y="7896"/>
                </a:lnTo>
                <a:lnTo>
                  <a:pt x="25297" y="9111"/>
                </a:lnTo>
                <a:lnTo>
                  <a:pt x="21130" y="8200"/>
                </a:lnTo>
                <a:lnTo>
                  <a:pt x="16071" y="6074"/>
                </a:lnTo>
                <a:lnTo>
                  <a:pt x="11904" y="3340"/>
                </a:lnTo>
                <a:lnTo>
                  <a:pt x="7440" y="607"/>
                </a:lnTo>
                <a:lnTo>
                  <a:pt x="3273" y="0"/>
                </a:lnTo>
                <a:close/>
              </a:path>
            </a:pathLst>
          </a:custGeom>
          <a:solidFill>
            <a:srgbClr val="000000"/>
          </a:solidFill>
        </p:spPr>
        <p:txBody>
          <a:bodyPr wrap="square" lIns="0" tIns="0" rIns="0" bIns="0" rtlCol="0">
            <a:noAutofit/>
          </a:bodyPr>
          <a:lstStyle/>
          <a:p>
            <a:endParaRPr/>
          </a:p>
        </p:txBody>
      </p:sp>
      <p:sp>
        <p:nvSpPr>
          <p:cNvPr id="957" name="object 957"/>
          <p:cNvSpPr/>
          <p:nvPr/>
        </p:nvSpPr>
        <p:spPr>
          <a:xfrm>
            <a:off x="8104572" y="1189864"/>
            <a:ext cx="3869" cy="4859"/>
          </a:xfrm>
          <a:custGeom>
            <a:avLst/>
            <a:gdLst/>
            <a:ahLst/>
            <a:cxnLst/>
            <a:rect l="l" t="t" r="r" b="b"/>
            <a:pathLst>
              <a:path w="3869" h="4859">
                <a:moveTo>
                  <a:pt x="0" y="4859"/>
                </a:moveTo>
                <a:lnTo>
                  <a:pt x="3571" y="911"/>
                </a:lnTo>
                <a:lnTo>
                  <a:pt x="3869" y="0"/>
                </a:lnTo>
                <a:lnTo>
                  <a:pt x="0" y="4859"/>
                </a:lnTo>
                <a:close/>
              </a:path>
            </a:pathLst>
          </a:custGeom>
          <a:solidFill>
            <a:srgbClr val="000000"/>
          </a:solidFill>
        </p:spPr>
        <p:txBody>
          <a:bodyPr wrap="square" lIns="0" tIns="0" rIns="0" bIns="0" rtlCol="0">
            <a:noAutofit/>
          </a:bodyPr>
          <a:lstStyle/>
          <a:p>
            <a:endParaRPr/>
          </a:p>
        </p:txBody>
      </p:sp>
      <p:sp>
        <p:nvSpPr>
          <p:cNvPr id="958" name="object 958"/>
          <p:cNvSpPr/>
          <p:nvPr/>
        </p:nvSpPr>
        <p:spPr>
          <a:xfrm>
            <a:off x="8107547" y="1190168"/>
            <a:ext cx="5654" cy="31891"/>
          </a:xfrm>
          <a:custGeom>
            <a:avLst/>
            <a:gdLst/>
            <a:ahLst/>
            <a:cxnLst/>
            <a:rect l="l" t="t" r="r" b="b"/>
            <a:pathLst>
              <a:path w="5654" h="31891">
                <a:moveTo>
                  <a:pt x="3571" y="0"/>
                </a:moveTo>
                <a:lnTo>
                  <a:pt x="595" y="607"/>
                </a:lnTo>
                <a:lnTo>
                  <a:pt x="1488" y="4252"/>
                </a:lnTo>
                <a:lnTo>
                  <a:pt x="2083" y="7896"/>
                </a:lnTo>
                <a:lnTo>
                  <a:pt x="2380" y="11237"/>
                </a:lnTo>
                <a:lnTo>
                  <a:pt x="2678" y="15186"/>
                </a:lnTo>
                <a:lnTo>
                  <a:pt x="2380" y="19134"/>
                </a:lnTo>
                <a:lnTo>
                  <a:pt x="2976" y="30068"/>
                </a:lnTo>
                <a:lnTo>
                  <a:pt x="0" y="29765"/>
                </a:lnTo>
                <a:lnTo>
                  <a:pt x="0" y="30980"/>
                </a:lnTo>
                <a:lnTo>
                  <a:pt x="1190" y="31587"/>
                </a:lnTo>
                <a:lnTo>
                  <a:pt x="2083" y="31891"/>
                </a:lnTo>
                <a:lnTo>
                  <a:pt x="2976" y="30980"/>
                </a:lnTo>
                <a:lnTo>
                  <a:pt x="4166" y="27031"/>
                </a:lnTo>
                <a:lnTo>
                  <a:pt x="5059" y="23083"/>
                </a:lnTo>
                <a:lnTo>
                  <a:pt x="5357" y="19134"/>
                </a:lnTo>
                <a:lnTo>
                  <a:pt x="5654" y="15186"/>
                </a:lnTo>
                <a:lnTo>
                  <a:pt x="5357" y="11237"/>
                </a:lnTo>
                <a:lnTo>
                  <a:pt x="5059" y="7289"/>
                </a:lnTo>
                <a:lnTo>
                  <a:pt x="4464" y="3644"/>
                </a:lnTo>
                <a:lnTo>
                  <a:pt x="3571" y="0"/>
                </a:lnTo>
                <a:close/>
              </a:path>
            </a:pathLst>
          </a:custGeom>
          <a:solidFill>
            <a:srgbClr val="000000"/>
          </a:solidFill>
        </p:spPr>
        <p:txBody>
          <a:bodyPr wrap="square" lIns="0" tIns="0" rIns="0" bIns="0" rtlCol="0">
            <a:noAutofit/>
          </a:bodyPr>
          <a:lstStyle/>
          <a:p>
            <a:endParaRPr/>
          </a:p>
        </p:txBody>
      </p:sp>
      <p:sp>
        <p:nvSpPr>
          <p:cNvPr id="959" name="object 959"/>
          <p:cNvSpPr/>
          <p:nvPr/>
        </p:nvSpPr>
        <p:spPr>
          <a:xfrm>
            <a:off x="8107547" y="1209302"/>
            <a:ext cx="2976" cy="10934"/>
          </a:xfrm>
          <a:custGeom>
            <a:avLst/>
            <a:gdLst/>
            <a:ahLst/>
            <a:cxnLst/>
            <a:rect l="l" t="t" r="r" b="b"/>
            <a:pathLst>
              <a:path w="2976" h="10934">
                <a:moveTo>
                  <a:pt x="2976" y="10934"/>
                </a:moveTo>
                <a:lnTo>
                  <a:pt x="2380" y="0"/>
                </a:lnTo>
                <a:lnTo>
                  <a:pt x="2083" y="3340"/>
                </a:lnTo>
                <a:lnTo>
                  <a:pt x="1190" y="7289"/>
                </a:lnTo>
                <a:lnTo>
                  <a:pt x="0" y="10630"/>
                </a:lnTo>
                <a:lnTo>
                  <a:pt x="2976" y="10934"/>
                </a:lnTo>
                <a:close/>
              </a:path>
            </a:pathLst>
          </a:custGeom>
          <a:solidFill>
            <a:srgbClr val="000000"/>
          </a:solidFill>
        </p:spPr>
        <p:txBody>
          <a:bodyPr wrap="square" lIns="0" tIns="0" rIns="0" bIns="0" rtlCol="0">
            <a:noAutofit/>
          </a:bodyPr>
          <a:lstStyle/>
          <a:p>
            <a:endParaRPr/>
          </a:p>
        </p:txBody>
      </p:sp>
      <p:sp>
        <p:nvSpPr>
          <p:cNvPr id="960" name="object 960"/>
          <p:cNvSpPr/>
          <p:nvPr/>
        </p:nvSpPr>
        <p:spPr>
          <a:xfrm>
            <a:off x="8075703" y="1209910"/>
            <a:ext cx="34821" cy="13971"/>
          </a:xfrm>
          <a:custGeom>
            <a:avLst/>
            <a:gdLst/>
            <a:ahLst/>
            <a:cxnLst/>
            <a:rect l="l" t="t" r="r" b="b"/>
            <a:pathLst>
              <a:path w="34821" h="13971">
                <a:moveTo>
                  <a:pt x="3869" y="10934"/>
                </a:moveTo>
                <a:lnTo>
                  <a:pt x="2380" y="10022"/>
                </a:lnTo>
                <a:lnTo>
                  <a:pt x="1785" y="9415"/>
                </a:lnTo>
                <a:lnTo>
                  <a:pt x="892" y="9415"/>
                </a:lnTo>
                <a:lnTo>
                  <a:pt x="0" y="10326"/>
                </a:lnTo>
                <a:lnTo>
                  <a:pt x="0" y="11237"/>
                </a:lnTo>
                <a:lnTo>
                  <a:pt x="3869" y="13971"/>
                </a:lnTo>
                <a:lnTo>
                  <a:pt x="8630" y="12756"/>
                </a:lnTo>
                <a:lnTo>
                  <a:pt x="13392" y="9719"/>
                </a:lnTo>
                <a:lnTo>
                  <a:pt x="18452" y="6378"/>
                </a:lnTo>
                <a:lnTo>
                  <a:pt x="22916" y="3948"/>
                </a:lnTo>
                <a:lnTo>
                  <a:pt x="26785" y="3037"/>
                </a:lnTo>
                <a:lnTo>
                  <a:pt x="29464" y="4859"/>
                </a:lnTo>
                <a:lnTo>
                  <a:pt x="31845" y="10934"/>
                </a:lnTo>
                <a:lnTo>
                  <a:pt x="34821" y="10326"/>
                </a:lnTo>
                <a:lnTo>
                  <a:pt x="31845" y="3037"/>
                </a:lnTo>
                <a:lnTo>
                  <a:pt x="27380" y="0"/>
                </a:lnTo>
                <a:lnTo>
                  <a:pt x="21726" y="911"/>
                </a:lnTo>
                <a:lnTo>
                  <a:pt x="16666" y="3948"/>
                </a:lnTo>
                <a:lnTo>
                  <a:pt x="11607" y="7289"/>
                </a:lnTo>
                <a:lnTo>
                  <a:pt x="7440" y="9719"/>
                </a:lnTo>
                <a:lnTo>
                  <a:pt x="3869" y="10934"/>
                </a:lnTo>
                <a:close/>
              </a:path>
            </a:pathLst>
          </a:custGeom>
          <a:solidFill>
            <a:srgbClr val="000000"/>
          </a:solidFill>
        </p:spPr>
        <p:txBody>
          <a:bodyPr wrap="square" lIns="0" tIns="0" rIns="0" bIns="0" rtlCol="0">
            <a:noAutofit/>
          </a:bodyPr>
          <a:lstStyle/>
          <a:p>
            <a:endParaRPr/>
          </a:p>
        </p:txBody>
      </p:sp>
      <p:sp>
        <p:nvSpPr>
          <p:cNvPr id="961" name="object 961"/>
          <p:cNvSpPr/>
          <p:nvPr/>
        </p:nvSpPr>
        <p:spPr>
          <a:xfrm>
            <a:off x="8075404" y="1189864"/>
            <a:ext cx="2976" cy="31283"/>
          </a:xfrm>
          <a:custGeom>
            <a:avLst/>
            <a:gdLst/>
            <a:ahLst/>
            <a:cxnLst/>
            <a:rect l="l" t="t" r="r" b="b"/>
            <a:pathLst>
              <a:path w="2976" h="31283">
                <a:moveTo>
                  <a:pt x="595" y="19438"/>
                </a:moveTo>
                <a:lnTo>
                  <a:pt x="0" y="0"/>
                </a:lnTo>
                <a:lnTo>
                  <a:pt x="0" y="31283"/>
                </a:lnTo>
                <a:lnTo>
                  <a:pt x="2976" y="30068"/>
                </a:lnTo>
                <a:lnTo>
                  <a:pt x="1785" y="26727"/>
                </a:lnTo>
                <a:lnTo>
                  <a:pt x="1190" y="23083"/>
                </a:lnTo>
                <a:lnTo>
                  <a:pt x="595" y="19438"/>
                </a:lnTo>
                <a:close/>
              </a:path>
            </a:pathLst>
          </a:custGeom>
          <a:solidFill>
            <a:srgbClr val="000000"/>
          </a:solidFill>
        </p:spPr>
        <p:txBody>
          <a:bodyPr wrap="square" lIns="0" tIns="0" rIns="0" bIns="0" rtlCol="0">
            <a:noAutofit/>
          </a:bodyPr>
          <a:lstStyle/>
          <a:p>
            <a:endParaRPr/>
          </a:p>
        </p:txBody>
      </p:sp>
      <p:sp>
        <p:nvSpPr>
          <p:cNvPr id="962" name="object 962"/>
          <p:cNvSpPr/>
          <p:nvPr/>
        </p:nvSpPr>
        <p:spPr>
          <a:xfrm>
            <a:off x="8073024" y="1188952"/>
            <a:ext cx="5059" cy="32194"/>
          </a:xfrm>
          <a:custGeom>
            <a:avLst/>
            <a:gdLst/>
            <a:ahLst/>
            <a:cxnLst/>
            <a:rect l="l" t="t" r="r" b="b"/>
            <a:pathLst>
              <a:path w="5059" h="32194">
                <a:moveTo>
                  <a:pt x="2976" y="16401"/>
                </a:moveTo>
                <a:lnTo>
                  <a:pt x="2976" y="12756"/>
                </a:lnTo>
                <a:lnTo>
                  <a:pt x="3571" y="9111"/>
                </a:lnTo>
                <a:lnTo>
                  <a:pt x="4166" y="5467"/>
                </a:lnTo>
                <a:lnTo>
                  <a:pt x="4761" y="2126"/>
                </a:lnTo>
                <a:lnTo>
                  <a:pt x="4166" y="5467"/>
                </a:lnTo>
                <a:lnTo>
                  <a:pt x="5059" y="1822"/>
                </a:lnTo>
                <a:lnTo>
                  <a:pt x="4761" y="607"/>
                </a:lnTo>
                <a:lnTo>
                  <a:pt x="3869" y="0"/>
                </a:lnTo>
                <a:lnTo>
                  <a:pt x="2678" y="303"/>
                </a:lnTo>
                <a:lnTo>
                  <a:pt x="2083" y="1214"/>
                </a:lnTo>
                <a:lnTo>
                  <a:pt x="1190" y="4859"/>
                </a:lnTo>
                <a:lnTo>
                  <a:pt x="595" y="8504"/>
                </a:lnTo>
                <a:lnTo>
                  <a:pt x="0" y="12756"/>
                </a:lnTo>
                <a:lnTo>
                  <a:pt x="0" y="20349"/>
                </a:lnTo>
                <a:lnTo>
                  <a:pt x="595" y="24601"/>
                </a:lnTo>
                <a:lnTo>
                  <a:pt x="1190" y="28246"/>
                </a:lnTo>
                <a:lnTo>
                  <a:pt x="2380" y="32194"/>
                </a:lnTo>
                <a:lnTo>
                  <a:pt x="2380" y="911"/>
                </a:lnTo>
                <a:lnTo>
                  <a:pt x="2976" y="20349"/>
                </a:lnTo>
                <a:lnTo>
                  <a:pt x="2976" y="16401"/>
                </a:lnTo>
                <a:close/>
              </a:path>
            </a:pathLst>
          </a:custGeom>
          <a:solidFill>
            <a:srgbClr val="000000"/>
          </a:solidFill>
        </p:spPr>
        <p:txBody>
          <a:bodyPr wrap="square" lIns="0" tIns="0" rIns="0" bIns="0" rtlCol="0">
            <a:noAutofit/>
          </a:bodyPr>
          <a:lstStyle/>
          <a:p>
            <a:endParaRPr/>
          </a:p>
        </p:txBody>
      </p:sp>
      <p:sp>
        <p:nvSpPr>
          <p:cNvPr id="963" name="object 963"/>
          <p:cNvSpPr/>
          <p:nvPr/>
        </p:nvSpPr>
        <p:spPr>
          <a:xfrm>
            <a:off x="8038500" y="1186827"/>
            <a:ext cx="34523" cy="11845"/>
          </a:xfrm>
          <a:custGeom>
            <a:avLst/>
            <a:gdLst/>
            <a:ahLst/>
            <a:cxnLst/>
            <a:rect l="l" t="t" r="r" b="b"/>
            <a:pathLst>
              <a:path w="34523" h="11845">
                <a:moveTo>
                  <a:pt x="3571" y="0"/>
                </a:moveTo>
                <a:lnTo>
                  <a:pt x="0" y="3037"/>
                </a:lnTo>
                <a:lnTo>
                  <a:pt x="2976" y="4252"/>
                </a:lnTo>
                <a:lnTo>
                  <a:pt x="4166" y="3037"/>
                </a:lnTo>
                <a:lnTo>
                  <a:pt x="6249" y="3644"/>
                </a:lnTo>
                <a:lnTo>
                  <a:pt x="9821" y="5770"/>
                </a:lnTo>
                <a:lnTo>
                  <a:pt x="14583" y="8504"/>
                </a:lnTo>
                <a:lnTo>
                  <a:pt x="19642" y="11237"/>
                </a:lnTo>
                <a:lnTo>
                  <a:pt x="24702" y="11845"/>
                </a:lnTo>
                <a:lnTo>
                  <a:pt x="30059" y="10022"/>
                </a:lnTo>
                <a:lnTo>
                  <a:pt x="34523" y="4252"/>
                </a:lnTo>
                <a:lnTo>
                  <a:pt x="34523" y="3340"/>
                </a:lnTo>
                <a:lnTo>
                  <a:pt x="33928" y="2429"/>
                </a:lnTo>
                <a:lnTo>
                  <a:pt x="32737" y="2429"/>
                </a:lnTo>
                <a:lnTo>
                  <a:pt x="32142" y="3037"/>
                </a:lnTo>
                <a:lnTo>
                  <a:pt x="31845" y="3948"/>
                </a:lnTo>
                <a:lnTo>
                  <a:pt x="28273" y="7593"/>
                </a:lnTo>
                <a:lnTo>
                  <a:pt x="24702" y="8808"/>
                </a:lnTo>
                <a:lnTo>
                  <a:pt x="20238" y="8200"/>
                </a:lnTo>
                <a:lnTo>
                  <a:pt x="15773" y="6074"/>
                </a:lnTo>
                <a:lnTo>
                  <a:pt x="11607" y="3340"/>
                </a:lnTo>
                <a:lnTo>
                  <a:pt x="7440" y="607"/>
                </a:lnTo>
                <a:lnTo>
                  <a:pt x="3571" y="0"/>
                </a:lnTo>
                <a:close/>
              </a:path>
            </a:pathLst>
          </a:custGeom>
          <a:solidFill>
            <a:srgbClr val="000000"/>
          </a:solidFill>
        </p:spPr>
        <p:txBody>
          <a:bodyPr wrap="square" lIns="0" tIns="0" rIns="0" bIns="0" rtlCol="0">
            <a:noAutofit/>
          </a:bodyPr>
          <a:lstStyle/>
          <a:p>
            <a:endParaRPr/>
          </a:p>
        </p:txBody>
      </p:sp>
      <p:sp>
        <p:nvSpPr>
          <p:cNvPr id="964" name="object 964"/>
          <p:cNvSpPr/>
          <p:nvPr/>
        </p:nvSpPr>
        <p:spPr>
          <a:xfrm>
            <a:off x="8066774" y="1189864"/>
            <a:ext cx="3869" cy="4555"/>
          </a:xfrm>
          <a:custGeom>
            <a:avLst/>
            <a:gdLst/>
            <a:ahLst/>
            <a:cxnLst/>
            <a:rect l="l" t="t" r="r" b="b"/>
            <a:pathLst>
              <a:path w="3869" h="4555">
                <a:moveTo>
                  <a:pt x="0" y="4555"/>
                </a:moveTo>
                <a:lnTo>
                  <a:pt x="3571" y="911"/>
                </a:lnTo>
                <a:lnTo>
                  <a:pt x="3869" y="0"/>
                </a:lnTo>
                <a:lnTo>
                  <a:pt x="0" y="4555"/>
                </a:lnTo>
                <a:close/>
              </a:path>
            </a:pathLst>
          </a:custGeom>
          <a:solidFill>
            <a:srgbClr val="000000"/>
          </a:solidFill>
        </p:spPr>
        <p:txBody>
          <a:bodyPr wrap="square" lIns="0" tIns="0" rIns="0" bIns="0" rtlCol="0">
            <a:noAutofit/>
          </a:bodyPr>
          <a:lstStyle/>
          <a:p>
            <a:endParaRPr/>
          </a:p>
        </p:txBody>
      </p:sp>
      <p:sp>
        <p:nvSpPr>
          <p:cNvPr id="965" name="object 965"/>
          <p:cNvSpPr/>
          <p:nvPr/>
        </p:nvSpPr>
        <p:spPr>
          <a:xfrm>
            <a:off x="8069750" y="1190167"/>
            <a:ext cx="5357" cy="30676"/>
          </a:xfrm>
          <a:custGeom>
            <a:avLst/>
            <a:gdLst/>
            <a:ahLst/>
            <a:cxnLst/>
            <a:rect l="l" t="t" r="r" b="b"/>
            <a:pathLst>
              <a:path w="5357" h="30676">
                <a:moveTo>
                  <a:pt x="3571" y="0"/>
                </a:moveTo>
                <a:lnTo>
                  <a:pt x="595" y="607"/>
                </a:lnTo>
                <a:lnTo>
                  <a:pt x="1488" y="3948"/>
                </a:lnTo>
                <a:lnTo>
                  <a:pt x="2083" y="7593"/>
                </a:lnTo>
                <a:lnTo>
                  <a:pt x="2380" y="10934"/>
                </a:lnTo>
                <a:lnTo>
                  <a:pt x="2380" y="14578"/>
                </a:lnTo>
                <a:lnTo>
                  <a:pt x="2976" y="28853"/>
                </a:lnTo>
                <a:lnTo>
                  <a:pt x="0" y="28550"/>
                </a:lnTo>
                <a:lnTo>
                  <a:pt x="0" y="29765"/>
                </a:lnTo>
                <a:lnTo>
                  <a:pt x="1190" y="30372"/>
                </a:lnTo>
                <a:lnTo>
                  <a:pt x="2083" y="30676"/>
                </a:lnTo>
                <a:lnTo>
                  <a:pt x="2976" y="29765"/>
                </a:lnTo>
                <a:lnTo>
                  <a:pt x="4166" y="25816"/>
                </a:lnTo>
                <a:lnTo>
                  <a:pt x="4761" y="22475"/>
                </a:lnTo>
                <a:lnTo>
                  <a:pt x="5357" y="18223"/>
                </a:lnTo>
                <a:lnTo>
                  <a:pt x="5357" y="10934"/>
                </a:lnTo>
                <a:lnTo>
                  <a:pt x="5059" y="6985"/>
                </a:lnTo>
                <a:lnTo>
                  <a:pt x="4464" y="3340"/>
                </a:lnTo>
                <a:lnTo>
                  <a:pt x="3571" y="0"/>
                </a:lnTo>
                <a:close/>
              </a:path>
            </a:pathLst>
          </a:custGeom>
          <a:solidFill>
            <a:srgbClr val="000000"/>
          </a:solidFill>
        </p:spPr>
        <p:txBody>
          <a:bodyPr wrap="square" lIns="0" tIns="0" rIns="0" bIns="0" rtlCol="0">
            <a:noAutofit/>
          </a:bodyPr>
          <a:lstStyle/>
          <a:p>
            <a:endParaRPr/>
          </a:p>
        </p:txBody>
      </p:sp>
      <p:sp>
        <p:nvSpPr>
          <p:cNvPr id="966" name="object 966"/>
          <p:cNvSpPr/>
          <p:nvPr/>
        </p:nvSpPr>
        <p:spPr>
          <a:xfrm>
            <a:off x="8069749" y="1204747"/>
            <a:ext cx="2976" cy="14275"/>
          </a:xfrm>
          <a:custGeom>
            <a:avLst/>
            <a:gdLst/>
            <a:ahLst/>
            <a:cxnLst/>
            <a:rect l="l" t="t" r="r" b="b"/>
            <a:pathLst>
              <a:path w="2976" h="14275">
                <a:moveTo>
                  <a:pt x="2976" y="14275"/>
                </a:moveTo>
                <a:lnTo>
                  <a:pt x="2380" y="0"/>
                </a:lnTo>
                <a:lnTo>
                  <a:pt x="2380" y="3644"/>
                </a:lnTo>
                <a:lnTo>
                  <a:pt x="1785" y="7289"/>
                </a:lnTo>
                <a:lnTo>
                  <a:pt x="1190" y="10630"/>
                </a:lnTo>
                <a:lnTo>
                  <a:pt x="0" y="13971"/>
                </a:lnTo>
                <a:lnTo>
                  <a:pt x="2976" y="14275"/>
                </a:lnTo>
                <a:close/>
              </a:path>
            </a:pathLst>
          </a:custGeom>
          <a:solidFill>
            <a:srgbClr val="000000"/>
          </a:solidFill>
        </p:spPr>
        <p:txBody>
          <a:bodyPr wrap="square" lIns="0" tIns="0" rIns="0" bIns="0" rtlCol="0">
            <a:noAutofit/>
          </a:bodyPr>
          <a:lstStyle/>
          <a:p>
            <a:endParaRPr/>
          </a:p>
        </p:txBody>
      </p:sp>
      <p:sp>
        <p:nvSpPr>
          <p:cNvPr id="967" name="object 967"/>
          <p:cNvSpPr/>
          <p:nvPr/>
        </p:nvSpPr>
        <p:spPr>
          <a:xfrm>
            <a:off x="8039393" y="1208999"/>
            <a:ext cx="33333" cy="13667"/>
          </a:xfrm>
          <a:custGeom>
            <a:avLst/>
            <a:gdLst/>
            <a:ahLst/>
            <a:cxnLst/>
            <a:rect l="l" t="t" r="r" b="b"/>
            <a:pathLst>
              <a:path w="33333" h="13667">
                <a:moveTo>
                  <a:pt x="3869" y="10630"/>
                </a:moveTo>
                <a:lnTo>
                  <a:pt x="2380" y="9719"/>
                </a:lnTo>
                <a:lnTo>
                  <a:pt x="1785" y="9111"/>
                </a:lnTo>
                <a:lnTo>
                  <a:pt x="892" y="9111"/>
                </a:lnTo>
                <a:lnTo>
                  <a:pt x="0" y="10022"/>
                </a:lnTo>
                <a:lnTo>
                  <a:pt x="0" y="10934"/>
                </a:lnTo>
                <a:lnTo>
                  <a:pt x="3869" y="13667"/>
                </a:lnTo>
                <a:lnTo>
                  <a:pt x="8035" y="12149"/>
                </a:lnTo>
                <a:lnTo>
                  <a:pt x="12797" y="9415"/>
                </a:lnTo>
                <a:lnTo>
                  <a:pt x="17559" y="6074"/>
                </a:lnTo>
                <a:lnTo>
                  <a:pt x="22023" y="3948"/>
                </a:lnTo>
                <a:lnTo>
                  <a:pt x="25595" y="3037"/>
                </a:lnTo>
                <a:lnTo>
                  <a:pt x="28273" y="4859"/>
                </a:lnTo>
                <a:lnTo>
                  <a:pt x="30357" y="10630"/>
                </a:lnTo>
                <a:lnTo>
                  <a:pt x="33333" y="10022"/>
                </a:lnTo>
                <a:lnTo>
                  <a:pt x="30654" y="3037"/>
                </a:lnTo>
                <a:lnTo>
                  <a:pt x="26190" y="0"/>
                </a:lnTo>
                <a:lnTo>
                  <a:pt x="20833" y="911"/>
                </a:lnTo>
                <a:lnTo>
                  <a:pt x="15773" y="3644"/>
                </a:lnTo>
                <a:lnTo>
                  <a:pt x="11011" y="6985"/>
                </a:lnTo>
                <a:lnTo>
                  <a:pt x="6845" y="9719"/>
                </a:lnTo>
                <a:lnTo>
                  <a:pt x="3869" y="10630"/>
                </a:lnTo>
                <a:close/>
              </a:path>
            </a:pathLst>
          </a:custGeom>
          <a:solidFill>
            <a:srgbClr val="000000"/>
          </a:solidFill>
        </p:spPr>
        <p:txBody>
          <a:bodyPr wrap="square" lIns="0" tIns="0" rIns="0" bIns="0" rtlCol="0">
            <a:noAutofit/>
          </a:bodyPr>
          <a:lstStyle/>
          <a:p>
            <a:endParaRPr/>
          </a:p>
        </p:txBody>
      </p:sp>
      <p:sp>
        <p:nvSpPr>
          <p:cNvPr id="968" name="object 968"/>
          <p:cNvSpPr/>
          <p:nvPr/>
        </p:nvSpPr>
        <p:spPr>
          <a:xfrm>
            <a:off x="8036715" y="1188952"/>
            <a:ext cx="5357" cy="30980"/>
          </a:xfrm>
          <a:custGeom>
            <a:avLst/>
            <a:gdLst/>
            <a:ahLst/>
            <a:cxnLst/>
            <a:rect l="l" t="t" r="r" b="b"/>
            <a:pathLst>
              <a:path w="5357" h="30980">
                <a:moveTo>
                  <a:pt x="2976" y="15793"/>
                </a:moveTo>
                <a:lnTo>
                  <a:pt x="2976" y="12149"/>
                </a:lnTo>
                <a:lnTo>
                  <a:pt x="3273" y="8808"/>
                </a:lnTo>
                <a:lnTo>
                  <a:pt x="3869" y="5163"/>
                </a:lnTo>
                <a:lnTo>
                  <a:pt x="4761" y="1822"/>
                </a:lnTo>
                <a:lnTo>
                  <a:pt x="4464" y="607"/>
                </a:lnTo>
                <a:lnTo>
                  <a:pt x="3571" y="0"/>
                </a:lnTo>
                <a:lnTo>
                  <a:pt x="2380" y="303"/>
                </a:lnTo>
                <a:lnTo>
                  <a:pt x="1785" y="1214"/>
                </a:lnTo>
                <a:lnTo>
                  <a:pt x="892" y="4555"/>
                </a:lnTo>
                <a:lnTo>
                  <a:pt x="297" y="8200"/>
                </a:lnTo>
                <a:lnTo>
                  <a:pt x="0" y="12149"/>
                </a:lnTo>
                <a:lnTo>
                  <a:pt x="0" y="19742"/>
                </a:lnTo>
                <a:lnTo>
                  <a:pt x="595" y="23690"/>
                </a:lnTo>
                <a:lnTo>
                  <a:pt x="1190" y="27335"/>
                </a:lnTo>
                <a:lnTo>
                  <a:pt x="2380" y="30980"/>
                </a:lnTo>
                <a:lnTo>
                  <a:pt x="5357" y="29765"/>
                </a:lnTo>
                <a:lnTo>
                  <a:pt x="4166" y="26727"/>
                </a:lnTo>
                <a:lnTo>
                  <a:pt x="3571" y="23083"/>
                </a:lnTo>
                <a:lnTo>
                  <a:pt x="2976" y="19742"/>
                </a:lnTo>
                <a:lnTo>
                  <a:pt x="2976" y="15793"/>
                </a:lnTo>
                <a:close/>
              </a:path>
            </a:pathLst>
          </a:custGeom>
          <a:solidFill>
            <a:srgbClr val="000000"/>
          </a:solidFill>
        </p:spPr>
        <p:txBody>
          <a:bodyPr wrap="square" lIns="0" tIns="0" rIns="0" bIns="0" rtlCol="0">
            <a:noAutofit/>
          </a:bodyPr>
          <a:lstStyle/>
          <a:p>
            <a:endParaRPr/>
          </a:p>
        </p:txBody>
      </p:sp>
      <p:sp>
        <p:nvSpPr>
          <p:cNvPr id="969" name="object 969"/>
          <p:cNvSpPr/>
          <p:nvPr/>
        </p:nvSpPr>
        <p:spPr>
          <a:xfrm>
            <a:off x="8098916" y="1194115"/>
            <a:ext cx="8928" cy="24298"/>
          </a:xfrm>
          <a:custGeom>
            <a:avLst/>
            <a:gdLst/>
            <a:ahLst/>
            <a:cxnLst/>
            <a:rect l="l" t="t" r="r" b="b"/>
            <a:pathLst>
              <a:path w="8928" h="24298">
                <a:moveTo>
                  <a:pt x="8928" y="12149"/>
                </a:moveTo>
                <a:lnTo>
                  <a:pt x="8928" y="9719"/>
                </a:lnTo>
                <a:lnTo>
                  <a:pt x="8630" y="7289"/>
                </a:lnTo>
                <a:lnTo>
                  <a:pt x="8035" y="5467"/>
                </a:lnTo>
                <a:lnTo>
                  <a:pt x="7738" y="3644"/>
                </a:lnTo>
                <a:lnTo>
                  <a:pt x="6845" y="2126"/>
                </a:lnTo>
                <a:lnTo>
                  <a:pt x="6249" y="911"/>
                </a:lnTo>
                <a:lnTo>
                  <a:pt x="5357" y="303"/>
                </a:lnTo>
                <a:lnTo>
                  <a:pt x="4464" y="0"/>
                </a:lnTo>
                <a:lnTo>
                  <a:pt x="3571" y="303"/>
                </a:lnTo>
                <a:lnTo>
                  <a:pt x="2678" y="911"/>
                </a:lnTo>
                <a:lnTo>
                  <a:pt x="2083" y="2126"/>
                </a:lnTo>
                <a:lnTo>
                  <a:pt x="1488" y="3644"/>
                </a:lnTo>
                <a:lnTo>
                  <a:pt x="892" y="5467"/>
                </a:lnTo>
                <a:lnTo>
                  <a:pt x="297" y="7289"/>
                </a:lnTo>
                <a:lnTo>
                  <a:pt x="0" y="9719"/>
                </a:lnTo>
                <a:lnTo>
                  <a:pt x="0" y="14578"/>
                </a:lnTo>
                <a:lnTo>
                  <a:pt x="297" y="17008"/>
                </a:lnTo>
                <a:lnTo>
                  <a:pt x="892" y="19134"/>
                </a:lnTo>
                <a:lnTo>
                  <a:pt x="1488" y="20957"/>
                </a:lnTo>
                <a:lnTo>
                  <a:pt x="2083" y="22171"/>
                </a:lnTo>
                <a:lnTo>
                  <a:pt x="2678" y="23386"/>
                </a:lnTo>
                <a:lnTo>
                  <a:pt x="3571" y="23994"/>
                </a:lnTo>
                <a:lnTo>
                  <a:pt x="4464" y="24298"/>
                </a:lnTo>
                <a:lnTo>
                  <a:pt x="5357" y="23994"/>
                </a:lnTo>
                <a:lnTo>
                  <a:pt x="6249" y="23386"/>
                </a:lnTo>
                <a:lnTo>
                  <a:pt x="6845" y="22171"/>
                </a:lnTo>
                <a:lnTo>
                  <a:pt x="7738" y="20957"/>
                </a:lnTo>
                <a:lnTo>
                  <a:pt x="8035" y="19134"/>
                </a:lnTo>
                <a:lnTo>
                  <a:pt x="8630" y="17008"/>
                </a:lnTo>
                <a:lnTo>
                  <a:pt x="8928" y="14578"/>
                </a:lnTo>
                <a:lnTo>
                  <a:pt x="8928" y="12149"/>
                </a:lnTo>
                <a:close/>
              </a:path>
            </a:pathLst>
          </a:custGeom>
          <a:solidFill>
            <a:srgbClr val="BEBEBE"/>
          </a:solidFill>
        </p:spPr>
        <p:txBody>
          <a:bodyPr wrap="square" lIns="0" tIns="0" rIns="0" bIns="0" rtlCol="0">
            <a:noAutofit/>
          </a:bodyPr>
          <a:lstStyle/>
          <a:p>
            <a:endParaRPr/>
          </a:p>
        </p:txBody>
      </p:sp>
      <p:sp>
        <p:nvSpPr>
          <p:cNvPr id="970" name="object 970"/>
          <p:cNvSpPr/>
          <p:nvPr/>
        </p:nvSpPr>
        <p:spPr>
          <a:xfrm>
            <a:off x="8061416" y="1194116"/>
            <a:ext cx="8630" cy="23083"/>
          </a:xfrm>
          <a:custGeom>
            <a:avLst/>
            <a:gdLst/>
            <a:ahLst/>
            <a:cxnLst/>
            <a:rect l="l" t="t" r="r" b="b"/>
            <a:pathLst>
              <a:path w="8630" h="23083">
                <a:moveTo>
                  <a:pt x="8630" y="11541"/>
                </a:moveTo>
                <a:lnTo>
                  <a:pt x="8630" y="9111"/>
                </a:lnTo>
                <a:lnTo>
                  <a:pt x="8333" y="6985"/>
                </a:lnTo>
                <a:lnTo>
                  <a:pt x="7738" y="5163"/>
                </a:lnTo>
                <a:lnTo>
                  <a:pt x="7440" y="3340"/>
                </a:lnTo>
                <a:lnTo>
                  <a:pt x="6547" y="1822"/>
                </a:lnTo>
                <a:lnTo>
                  <a:pt x="5952" y="911"/>
                </a:lnTo>
                <a:lnTo>
                  <a:pt x="5059" y="303"/>
                </a:lnTo>
                <a:lnTo>
                  <a:pt x="4166" y="0"/>
                </a:lnTo>
                <a:lnTo>
                  <a:pt x="3273" y="303"/>
                </a:lnTo>
                <a:lnTo>
                  <a:pt x="2678" y="911"/>
                </a:lnTo>
                <a:lnTo>
                  <a:pt x="1785" y="1822"/>
                </a:lnTo>
                <a:lnTo>
                  <a:pt x="1190" y="3340"/>
                </a:lnTo>
                <a:lnTo>
                  <a:pt x="892" y="5163"/>
                </a:lnTo>
                <a:lnTo>
                  <a:pt x="297" y="6985"/>
                </a:lnTo>
                <a:lnTo>
                  <a:pt x="0" y="9111"/>
                </a:lnTo>
                <a:lnTo>
                  <a:pt x="0" y="13971"/>
                </a:lnTo>
                <a:lnTo>
                  <a:pt x="297" y="16097"/>
                </a:lnTo>
                <a:lnTo>
                  <a:pt x="892" y="18223"/>
                </a:lnTo>
                <a:lnTo>
                  <a:pt x="1190" y="19742"/>
                </a:lnTo>
                <a:lnTo>
                  <a:pt x="1785" y="21260"/>
                </a:lnTo>
                <a:lnTo>
                  <a:pt x="2678" y="22171"/>
                </a:lnTo>
                <a:lnTo>
                  <a:pt x="3273" y="22779"/>
                </a:lnTo>
                <a:lnTo>
                  <a:pt x="4166" y="23083"/>
                </a:lnTo>
                <a:lnTo>
                  <a:pt x="5059" y="22779"/>
                </a:lnTo>
                <a:lnTo>
                  <a:pt x="5952" y="22171"/>
                </a:lnTo>
                <a:lnTo>
                  <a:pt x="6547" y="21260"/>
                </a:lnTo>
                <a:lnTo>
                  <a:pt x="7440" y="19742"/>
                </a:lnTo>
                <a:lnTo>
                  <a:pt x="7738" y="18223"/>
                </a:lnTo>
                <a:lnTo>
                  <a:pt x="8333" y="16097"/>
                </a:lnTo>
                <a:lnTo>
                  <a:pt x="8630" y="13971"/>
                </a:lnTo>
                <a:lnTo>
                  <a:pt x="8630" y="11541"/>
                </a:lnTo>
                <a:close/>
              </a:path>
            </a:pathLst>
          </a:custGeom>
          <a:solidFill>
            <a:srgbClr val="BEBEBE"/>
          </a:solidFill>
        </p:spPr>
        <p:txBody>
          <a:bodyPr wrap="square" lIns="0" tIns="0" rIns="0" bIns="0" rtlCol="0">
            <a:noAutofit/>
          </a:bodyPr>
          <a:lstStyle/>
          <a:p>
            <a:endParaRPr/>
          </a:p>
        </p:txBody>
      </p:sp>
      <p:sp>
        <p:nvSpPr>
          <p:cNvPr id="971" name="object 971"/>
          <p:cNvSpPr/>
          <p:nvPr/>
        </p:nvSpPr>
        <p:spPr>
          <a:xfrm>
            <a:off x="8095940" y="1202317"/>
            <a:ext cx="13690" cy="7593"/>
          </a:xfrm>
          <a:custGeom>
            <a:avLst/>
            <a:gdLst/>
            <a:ahLst/>
            <a:cxnLst/>
            <a:rect l="l" t="t" r="r" b="b"/>
            <a:pathLst>
              <a:path w="13690" h="7593">
                <a:moveTo>
                  <a:pt x="0" y="3948"/>
                </a:moveTo>
                <a:lnTo>
                  <a:pt x="595" y="5467"/>
                </a:lnTo>
                <a:lnTo>
                  <a:pt x="2083" y="6681"/>
                </a:lnTo>
                <a:lnTo>
                  <a:pt x="4166" y="7289"/>
                </a:lnTo>
                <a:lnTo>
                  <a:pt x="6845" y="7593"/>
                </a:lnTo>
                <a:lnTo>
                  <a:pt x="9523" y="7289"/>
                </a:lnTo>
                <a:lnTo>
                  <a:pt x="11607" y="6681"/>
                </a:lnTo>
                <a:lnTo>
                  <a:pt x="13095" y="5467"/>
                </a:lnTo>
                <a:lnTo>
                  <a:pt x="13690" y="3948"/>
                </a:lnTo>
                <a:lnTo>
                  <a:pt x="13095" y="2429"/>
                </a:lnTo>
                <a:lnTo>
                  <a:pt x="11607" y="911"/>
                </a:lnTo>
                <a:lnTo>
                  <a:pt x="9523" y="303"/>
                </a:lnTo>
                <a:lnTo>
                  <a:pt x="6845" y="0"/>
                </a:lnTo>
                <a:lnTo>
                  <a:pt x="4166" y="303"/>
                </a:lnTo>
                <a:lnTo>
                  <a:pt x="2083" y="911"/>
                </a:lnTo>
                <a:lnTo>
                  <a:pt x="595" y="2429"/>
                </a:lnTo>
                <a:lnTo>
                  <a:pt x="0" y="3948"/>
                </a:lnTo>
                <a:close/>
              </a:path>
            </a:pathLst>
          </a:custGeom>
          <a:solidFill>
            <a:srgbClr val="FFFFFF"/>
          </a:solidFill>
        </p:spPr>
        <p:txBody>
          <a:bodyPr wrap="square" lIns="0" tIns="0" rIns="0" bIns="0" rtlCol="0">
            <a:noAutofit/>
          </a:bodyPr>
          <a:lstStyle/>
          <a:p>
            <a:endParaRPr/>
          </a:p>
        </p:txBody>
      </p:sp>
      <p:sp>
        <p:nvSpPr>
          <p:cNvPr id="972" name="object 972"/>
          <p:cNvSpPr/>
          <p:nvPr/>
        </p:nvSpPr>
        <p:spPr>
          <a:xfrm>
            <a:off x="8058738" y="1202013"/>
            <a:ext cx="13095" cy="7289"/>
          </a:xfrm>
          <a:custGeom>
            <a:avLst/>
            <a:gdLst/>
            <a:ahLst/>
            <a:cxnLst/>
            <a:rect l="l" t="t" r="r" b="b"/>
            <a:pathLst>
              <a:path w="13095" h="7289">
                <a:moveTo>
                  <a:pt x="0" y="3644"/>
                </a:moveTo>
                <a:lnTo>
                  <a:pt x="595" y="4859"/>
                </a:lnTo>
                <a:lnTo>
                  <a:pt x="2083" y="6074"/>
                </a:lnTo>
                <a:lnTo>
                  <a:pt x="4166" y="6985"/>
                </a:lnTo>
                <a:lnTo>
                  <a:pt x="6547" y="7289"/>
                </a:lnTo>
                <a:lnTo>
                  <a:pt x="9226" y="6985"/>
                </a:lnTo>
                <a:lnTo>
                  <a:pt x="11309" y="6074"/>
                </a:lnTo>
                <a:lnTo>
                  <a:pt x="12499" y="4859"/>
                </a:lnTo>
                <a:lnTo>
                  <a:pt x="13095" y="3644"/>
                </a:lnTo>
                <a:lnTo>
                  <a:pt x="12499" y="2126"/>
                </a:lnTo>
                <a:lnTo>
                  <a:pt x="11309" y="911"/>
                </a:lnTo>
                <a:lnTo>
                  <a:pt x="9226" y="303"/>
                </a:lnTo>
                <a:lnTo>
                  <a:pt x="6547" y="0"/>
                </a:lnTo>
                <a:lnTo>
                  <a:pt x="4166" y="303"/>
                </a:lnTo>
                <a:lnTo>
                  <a:pt x="2083" y="911"/>
                </a:lnTo>
                <a:lnTo>
                  <a:pt x="595" y="2126"/>
                </a:lnTo>
                <a:lnTo>
                  <a:pt x="0" y="3644"/>
                </a:lnTo>
                <a:close/>
              </a:path>
            </a:pathLst>
          </a:custGeom>
          <a:solidFill>
            <a:srgbClr val="FFFFFF"/>
          </a:solidFill>
        </p:spPr>
        <p:txBody>
          <a:bodyPr wrap="square" lIns="0" tIns="0" rIns="0" bIns="0" rtlCol="0">
            <a:noAutofit/>
          </a:bodyPr>
          <a:lstStyle/>
          <a:p>
            <a:endParaRPr/>
          </a:p>
        </p:txBody>
      </p:sp>
      <p:sp>
        <p:nvSpPr>
          <p:cNvPr id="973" name="object 973"/>
          <p:cNvSpPr/>
          <p:nvPr/>
        </p:nvSpPr>
        <p:spPr>
          <a:xfrm>
            <a:off x="8101594" y="1184396"/>
            <a:ext cx="2976" cy="2126"/>
          </a:xfrm>
          <a:custGeom>
            <a:avLst/>
            <a:gdLst/>
            <a:ahLst/>
            <a:cxnLst/>
            <a:rect l="l" t="t" r="r" b="b"/>
            <a:pathLst>
              <a:path w="2976" h="2126">
                <a:moveTo>
                  <a:pt x="2976" y="2126"/>
                </a:moveTo>
                <a:lnTo>
                  <a:pt x="2976" y="911"/>
                </a:lnTo>
                <a:lnTo>
                  <a:pt x="2083" y="0"/>
                </a:lnTo>
                <a:lnTo>
                  <a:pt x="892" y="0"/>
                </a:lnTo>
                <a:lnTo>
                  <a:pt x="0" y="911"/>
                </a:lnTo>
                <a:lnTo>
                  <a:pt x="2976" y="2126"/>
                </a:lnTo>
                <a:close/>
              </a:path>
            </a:pathLst>
          </a:custGeom>
          <a:solidFill>
            <a:srgbClr val="BEBEBE"/>
          </a:solidFill>
        </p:spPr>
        <p:txBody>
          <a:bodyPr wrap="square" lIns="0" tIns="0" rIns="0" bIns="0" rtlCol="0">
            <a:noAutofit/>
          </a:bodyPr>
          <a:lstStyle/>
          <a:p>
            <a:endParaRPr/>
          </a:p>
        </p:txBody>
      </p:sp>
      <p:sp>
        <p:nvSpPr>
          <p:cNvPr id="974" name="object 974"/>
          <p:cNvSpPr/>
          <p:nvPr/>
        </p:nvSpPr>
        <p:spPr>
          <a:xfrm>
            <a:off x="8098024" y="1185307"/>
            <a:ext cx="6547" cy="39180"/>
          </a:xfrm>
          <a:custGeom>
            <a:avLst/>
            <a:gdLst/>
            <a:ahLst/>
            <a:cxnLst/>
            <a:rect l="l" t="t" r="r" b="b"/>
            <a:pathLst>
              <a:path w="6547" h="39180">
                <a:moveTo>
                  <a:pt x="1190" y="29461"/>
                </a:moveTo>
                <a:lnTo>
                  <a:pt x="2083" y="34320"/>
                </a:lnTo>
                <a:lnTo>
                  <a:pt x="3571" y="39180"/>
                </a:lnTo>
                <a:lnTo>
                  <a:pt x="6547" y="37965"/>
                </a:lnTo>
                <a:lnTo>
                  <a:pt x="5059" y="33713"/>
                </a:lnTo>
                <a:lnTo>
                  <a:pt x="4166" y="28853"/>
                </a:lnTo>
                <a:lnTo>
                  <a:pt x="3273" y="23994"/>
                </a:lnTo>
                <a:lnTo>
                  <a:pt x="2976" y="19134"/>
                </a:lnTo>
                <a:lnTo>
                  <a:pt x="3273" y="14275"/>
                </a:lnTo>
                <a:lnTo>
                  <a:pt x="3869" y="9719"/>
                </a:lnTo>
                <a:lnTo>
                  <a:pt x="5059" y="5163"/>
                </a:lnTo>
                <a:lnTo>
                  <a:pt x="6547" y="1214"/>
                </a:lnTo>
                <a:lnTo>
                  <a:pt x="3571" y="0"/>
                </a:lnTo>
                <a:lnTo>
                  <a:pt x="2083" y="4555"/>
                </a:lnTo>
                <a:lnTo>
                  <a:pt x="892" y="9111"/>
                </a:lnTo>
                <a:lnTo>
                  <a:pt x="297" y="14275"/>
                </a:lnTo>
                <a:lnTo>
                  <a:pt x="0" y="19134"/>
                </a:lnTo>
                <a:lnTo>
                  <a:pt x="297" y="24601"/>
                </a:lnTo>
                <a:lnTo>
                  <a:pt x="1190" y="29461"/>
                </a:lnTo>
                <a:close/>
              </a:path>
            </a:pathLst>
          </a:custGeom>
          <a:solidFill>
            <a:srgbClr val="BEBEBE"/>
          </a:solidFill>
        </p:spPr>
        <p:txBody>
          <a:bodyPr wrap="square" lIns="0" tIns="0" rIns="0" bIns="0" rtlCol="0">
            <a:noAutofit/>
          </a:bodyPr>
          <a:lstStyle/>
          <a:p>
            <a:endParaRPr/>
          </a:p>
        </p:txBody>
      </p:sp>
      <p:sp>
        <p:nvSpPr>
          <p:cNvPr id="975" name="object 975"/>
          <p:cNvSpPr/>
          <p:nvPr/>
        </p:nvSpPr>
        <p:spPr>
          <a:xfrm>
            <a:off x="8101594" y="1223273"/>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976" name="object 976"/>
          <p:cNvSpPr/>
          <p:nvPr/>
        </p:nvSpPr>
        <p:spPr>
          <a:xfrm>
            <a:off x="8094452" y="1178018"/>
            <a:ext cx="2976" cy="2126"/>
          </a:xfrm>
          <a:custGeom>
            <a:avLst/>
            <a:gdLst/>
            <a:ahLst/>
            <a:cxnLst/>
            <a:rect l="l" t="t" r="r" b="b"/>
            <a:pathLst>
              <a:path w="2976" h="2126">
                <a:moveTo>
                  <a:pt x="2976" y="2126"/>
                </a:moveTo>
                <a:lnTo>
                  <a:pt x="2976" y="911"/>
                </a:lnTo>
                <a:lnTo>
                  <a:pt x="2083" y="0"/>
                </a:lnTo>
                <a:lnTo>
                  <a:pt x="892" y="0"/>
                </a:lnTo>
                <a:lnTo>
                  <a:pt x="0" y="911"/>
                </a:lnTo>
                <a:lnTo>
                  <a:pt x="2976" y="2126"/>
                </a:lnTo>
                <a:close/>
              </a:path>
            </a:pathLst>
          </a:custGeom>
          <a:solidFill>
            <a:srgbClr val="BEBEBE"/>
          </a:solidFill>
        </p:spPr>
        <p:txBody>
          <a:bodyPr wrap="square" lIns="0" tIns="0" rIns="0" bIns="0" rtlCol="0">
            <a:noAutofit/>
          </a:bodyPr>
          <a:lstStyle/>
          <a:p>
            <a:endParaRPr/>
          </a:p>
        </p:txBody>
      </p:sp>
      <p:sp>
        <p:nvSpPr>
          <p:cNvPr id="977" name="object 977"/>
          <p:cNvSpPr/>
          <p:nvPr/>
        </p:nvSpPr>
        <p:spPr>
          <a:xfrm>
            <a:off x="8089987" y="1178930"/>
            <a:ext cx="7440" cy="51329"/>
          </a:xfrm>
          <a:custGeom>
            <a:avLst/>
            <a:gdLst/>
            <a:ahLst/>
            <a:cxnLst/>
            <a:rect l="l" t="t" r="r" b="b"/>
            <a:pathLst>
              <a:path w="7440" h="51329">
                <a:moveTo>
                  <a:pt x="4761" y="41306"/>
                </a:moveTo>
                <a:lnTo>
                  <a:pt x="4166" y="37965"/>
                </a:lnTo>
                <a:lnTo>
                  <a:pt x="3869" y="34928"/>
                </a:lnTo>
                <a:lnTo>
                  <a:pt x="3273" y="31587"/>
                </a:lnTo>
                <a:lnTo>
                  <a:pt x="2976" y="28550"/>
                </a:lnTo>
                <a:lnTo>
                  <a:pt x="2976" y="22171"/>
                </a:lnTo>
                <a:lnTo>
                  <a:pt x="3273" y="18830"/>
                </a:lnTo>
                <a:lnTo>
                  <a:pt x="3571" y="15490"/>
                </a:lnTo>
                <a:lnTo>
                  <a:pt x="3869" y="12756"/>
                </a:lnTo>
                <a:lnTo>
                  <a:pt x="4464" y="9719"/>
                </a:lnTo>
                <a:lnTo>
                  <a:pt x="5357" y="6681"/>
                </a:lnTo>
                <a:lnTo>
                  <a:pt x="6249" y="3948"/>
                </a:lnTo>
                <a:lnTo>
                  <a:pt x="7440" y="1214"/>
                </a:lnTo>
                <a:lnTo>
                  <a:pt x="4464" y="0"/>
                </a:lnTo>
                <a:lnTo>
                  <a:pt x="3273" y="2733"/>
                </a:lnTo>
                <a:lnTo>
                  <a:pt x="2380" y="6074"/>
                </a:lnTo>
                <a:lnTo>
                  <a:pt x="1488" y="9111"/>
                </a:lnTo>
                <a:lnTo>
                  <a:pt x="892" y="12149"/>
                </a:lnTo>
                <a:lnTo>
                  <a:pt x="595" y="15490"/>
                </a:lnTo>
                <a:lnTo>
                  <a:pt x="297" y="18830"/>
                </a:lnTo>
                <a:lnTo>
                  <a:pt x="0" y="22171"/>
                </a:lnTo>
                <a:lnTo>
                  <a:pt x="0" y="28550"/>
                </a:lnTo>
                <a:lnTo>
                  <a:pt x="297" y="32194"/>
                </a:lnTo>
                <a:lnTo>
                  <a:pt x="892" y="35535"/>
                </a:lnTo>
                <a:lnTo>
                  <a:pt x="1190" y="38573"/>
                </a:lnTo>
                <a:lnTo>
                  <a:pt x="1785" y="41914"/>
                </a:lnTo>
                <a:lnTo>
                  <a:pt x="2678" y="44951"/>
                </a:lnTo>
                <a:lnTo>
                  <a:pt x="3571" y="47988"/>
                </a:lnTo>
                <a:lnTo>
                  <a:pt x="4464" y="51329"/>
                </a:lnTo>
                <a:lnTo>
                  <a:pt x="7440" y="50114"/>
                </a:lnTo>
                <a:lnTo>
                  <a:pt x="6547" y="47381"/>
                </a:lnTo>
                <a:lnTo>
                  <a:pt x="5654" y="44343"/>
                </a:lnTo>
                <a:lnTo>
                  <a:pt x="4761" y="41306"/>
                </a:lnTo>
                <a:close/>
              </a:path>
            </a:pathLst>
          </a:custGeom>
          <a:solidFill>
            <a:srgbClr val="BEBEBE"/>
          </a:solidFill>
        </p:spPr>
        <p:txBody>
          <a:bodyPr wrap="square" lIns="0" tIns="0" rIns="0" bIns="0" rtlCol="0">
            <a:noAutofit/>
          </a:bodyPr>
          <a:lstStyle/>
          <a:p>
            <a:endParaRPr/>
          </a:p>
        </p:txBody>
      </p:sp>
      <p:sp>
        <p:nvSpPr>
          <p:cNvPr id="978" name="object 978"/>
          <p:cNvSpPr/>
          <p:nvPr/>
        </p:nvSpPr>
        <p:spPr>
          <a:xfrm>
            <a:off x="8094452" y="1229044"/>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979" name="object 979"/>
          <p:cNvSpPr/>
          <p:nvPr/>
        </p:nvSpPr>
        <p:spPr>
          <a:xfrm>
            <a:off x="8090285" y="1172552"/>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980" name="object 980"/>
          <p:cNvSpPr/>
          <p:nvPr/>
        </p:nvSpPr>
        <p:spPr>
          <a:xfrm>
            <a:off x="8081655" y="1173159"/>
            <a:ext cx="11011" cy="62871"/>
          </a:xfrm>
          <a:custGeom>
            <a:avLst/>
            <a:gdLst/>
            <a:ahLst/>
            <a:cxnLst/>
            <a:rect l="l" t="t" r="r" b="b"/>
            <a:pathLst>
              <a:path w="11011" h="62871">
                <a:moveTo>
                  <a:pt x="595" y="39484"/>
                </a:moveTo>
                <a:lnTo>
                  <a:pt x="1190" y="43432"/>
                </a:lnTo>
                <a:lnTo>
                  <a:pt x="2380" y="47381"/>
                </a:lnTo>
                <a:lnTo>
                  <a:pt x="3571" y="51633"/>
                </a:lnTo>
                <a:lnTo>
                  <a:pt x="5059" y="55581"/>
                </a:lnTo>
                <a:lnTo>
                  <a:pt x="6547" y="59226"/>
                </a:lnTo>
                <a:lnTo>
                  <a:pt x="8630" y="62871"/>
                </a:lnTo>
                <a:lnTo>
                  <a:pt x="11011" y="61656"/>
                </a:lnTo>
                <a:lnTo>
                  <a:pt x="9523" y="58011"/>
                </a:lnTo>
                <a:lnTo>
                  <a:pt x="8035" y="54366"/>
                </a:lnTo>
                <a:lnTo>
                  <a:pt x="6547" y="50418"/>
                </a:lnTo>
                <a:lnTo>
                  <a:pt x="5357" y="46773"/>
                </a:lnTo>
                <a:lnTo>
                  <a:pt x="4166" y="42825"/>
                </a:lnTo>
                <a:lnTo>
                  <a:pt x="3571" y="38876"/>
                </a:lnTo>
                <a:lnTo>
                  <a:pt x="2976" y="35232"/>
                </a:lnTo>
                <a:lnTo>
                  <a:pt x="2976" y="27031"/>
                </a:lnTo>
                <a:lnTo>
                  <a:pt x="3273" y="23386"/>
                </a:lnTo>
                <a:lnTo>
                  <a:pt x="3869" y="19438"/>
                </a:lnTo>
                <a:lnTo>
                  <a:pt x="4761" y="15793"/>
                </a:lnTo>
                <a:lnTo>
                  <a:pt x="5654" y="12149"/>
                </a:lnTo>
                <a:lnTo>
                  <a:pt x="7142" y="8504"/>
                </a:lnTo>
                <a:lnTo>
                  <a:pt x="8928" y="4859"/>
                </a:lnTo>
                <a:lnTo>
                  <a:pt x="11011" y="1822"/>
                </a:lnTo>
                <a:lnTo>
                  <a:pt x="8630" y="0"/>
                </a:lnTo>
                <a:lnTo>
                  <a:pt x="6547" y="3644"/>
                </a:lnTo>
                <a:lnTo>
                  <a:pt x="4761" y="7289"/>
                </a:lnTo>
                <a:lnTo>
                  <a:pt x="2678" y="10934"/>
                </a:lnTo>
                <a:lnTo>
                  <a:pt x="1785" y="15186"/>
                </a:lnTo>
                <a:lnTo>
                  <a:pt x="892" y="18830"/>
                </a:lnTo>
                <a:lnTo>
                  <a:pt x="297" y="22779"/>
                </a:lnTo>
                <a:lnTo>
                  <a:pt x="0" y="27031"/>
                </a:lnTo>
                <a:lnTo>
                  <a:pt x="0" y="35232"/>
                </a:lnTo>
                <a:lnTo>
                  <a:pt x="595" y="39484"/>
                </a:lnTo>
                <a:close/>
              </a:path>
            </a:pathLst>
          </a:custGeom>
          <a:solidFill>
            <a:srgbClr val="BEBEBE"/>
          </a:solidFill>
        </p:spPr>
        <p:txBody>
          <a:bodyPr wrap="square" lIns="0" tIns="0" rIns="0" bIns="0" rtlCol="0">
            <a:noAutofit/>
          </a:bodyPr>
          <a:lstStyle/>
          <a:p>
            <a:endParaRPr/>
          </a:p>
        </p:txBody>
      </p:sp>
      <p:sp>
        <p:nvSpPr>
          <p:cNvPr id="981" name="object 981"/>
          <p:cNvSpPr/>
          <p:nvPr/>
        </p:nvSpPr>
        <p:spPr>
          <a:xfrm>
            <a:off x="8090285" y="1234815"/>
            <a:ext cx="2380" cy="1822"/>
          </a:xfrm>
          <a:custGeom>
            <a:avLst/>
            <a:gdLst/>
            <a:ahLst/>
            <a:cxnLst/>
            <a:rect l="l" t="t" r="r" b="b"/>
            <a:pathLst>
              <a:path w="2380" h="1822">
                <a:moveTo>
                  <a:pt x="0" y="1214"/>
                </a:moveTo>
                <a:lnTo>
                  <a:pt x="595" y="1822"/>
                </a:lnTo>
                <a:lnTo>
                  <a:pt x="1785" y="1822"/>
                </a:lnTo>
                <a:lnTo>
                  <a:pt x="2380" y="911"/>
                </a:lnTo>
                <a:lnTo>
                  <a:pt x="2380" y="0"/>
                </a:lnTo>
                <a:lnTo>
                  <a:pt x="0" y="1214"/>
                </a:lnTo>
                <a:close/>
              </a:path>
            </a:pathLst>
          </a:custGeom>
          <a:solidFill>
            <a:srgbClr val="BEBEBE"/>
          </a:solidFill>
        </p:spPr>
        <p:txBody>
          <a:bodyPr wrap="square" lIns="0" tIns="0" rIns="0" bIns="0" rtlCol="0">
            <a:noAutofit/>
          </a:bodyPr>
          <a:lstStyle/>
          <a:p>
            <a:endParaRPr/>
          </a:p>
        </p:txBody>
      </p:sp>
      <p:sp>
        <p:nvSpPr>
          <p:cNvPr id="982" name="object 982"/>
          <p:cNvSpPr/>
          <p:nvPr/>
        </p:nvSpPr>
        <p:spPr>
          <a:xfrm>
            <a:off x="8079868" y="1184700"/>
            <a:ext cx="2976" cy="2126"/>
          </a:xfrm>
          <a:custGeom>
            <a:avLst/>
            <a:gdLst/>
            <a:ahLst/>
            <a:cxnLst/>
            <a:rect l="l" t="t" r="r" b="b"/>
            <a:pathLst>
              <a:path w="2976" h="2126">
                <a:moveTo>
                  <a:pt x="2976" y="2126"/>
                </a:moveTo>
                <a:lnTo>
                  <a:pt x="2976" y="911"/>
                </a:lnTo>
                <a:lnTo>
                  <a:pt x="2083" y="0"/>
                </a:lnTo>
                <a:lnTo>
                  <a:pt x="892" y="0"/>
                </a:lnTo>
                <a:lnTo>
                  <a:pt x="0" y="911"/>
                </a:lnTo>
                <a:lnTo>
                  <a:pt x="2976" y="2126"/>
                </a:lnTo>
                <a:close/>
              </a:path>
            </a:pathLst>
          </a:custGeom>
          <a:solidFill>
            <a:srgbClr val="BEBEBE"/>
          </a:solidFill>
        </p:spPr>
        <p:txBody>
          <a:bodyPr wrap="square" lIns="0" tIns="0" rIns="0" bIns="0" rtlCol="0">
            <a:noAutofit/>
          </a:bodyPr>
          <a:lstStyle/>
          <a:p>
            <a:endParaRPr/>
          </a:p>
        </p:txBody>
      </p:sp>
      <p:sp>
        <p:nvSpPr>
          <p:cNvPr id="983" name="object 983"/>
          <p:cNvSpPr/>
          <p:nvPr/>
        </p:nvSpPr>
        <p:spPr>
          <a:xfrm>
            <a:off x="8076596" y="1185611"/>
            <a:ext cx="6249" cy="38876"/>
          </a:xfrm>
          <a:custGeom>
            <a:avLst/>
            <a:gdLst/>
            <a:ahLst/>
            <a:cxnLst/>
            <a:rect l="l" t="t" r="r" b="b"/>
            <a:pathLst>
              <a:path w="6249" h="38876">
                <a:moveTo>
                  <a:pt x="297" y="24298"/>
                </a:moveTo>
                <a:lnTo>
                  <a:pt x="892" y="29461"/>
                </a:lnTo>
                <a:lnTo>
                  <a:pt x="1785" y="34017"/>
                </a:lnTo>
                <a:lnTo>
                  <a:pt x="3273" y="38876"/>
                </a:lnTo>
                <a:lnTo>
                  <a:pt x="6249" y="37661"/>
                </a:lnTo>
                <a:lnTo>
                  <a:pt x="4761" y="33409"/>
                </a:lnTo>
                <a:lnTo>
                  <a:pt x="3869" y="28853"/>
                </a:lnTo>
                <a:lnTo>
                  <a:pt x="3273" y="24298"/>
                </a:lnTo>
                <a:lnTo>
                  <a:pt x="2976" y="19134"/>
                </a:lnTo>
                <a:lnTo>
                  <a:pt x="2976" y="14275"/>
                </a:lnTo>
                <a:lnTo>
                  <a:pt x="3571" y="9719"/>
                </a:lnTo>
                <a:lnTo>
                  <a:pt x="4761" y="5163"/>
                </a:lnTo>
                <a:lnTo>
                  <a:pt x="6249" y="1214"/>
                </a:lnTo>
                <a:lnTo>
                  <a:pt x="3273" y="0"/>
                </a:lnTo>
                <a:lnTo>
                  <a:pt x="1785" y="4555"/>
                </a:lnTo>
                <a:lnTo>
                  <a:pt x="595" y="9111"/>
                </a:lnTo>
                <a:lnTo>
                  <a:pt x="0" y="14275"/>
                </a:lnTo>
                <a:lnTo>
                  <a:pt x="0" y="19134"/>
                </a:lnTo>
                <a:lnTo>
                  <a:pt x="297" y="24298"/>
                </a:lnTo>
                <a:close/>
              </a:path>
            </a:pathLst>
          </a:custGeom>
          <a:solidFill>
            <a:srgbClr val="BEBEBE"/>
          </a:solidFill>
        </p:spPr>
        <p:txBody>
          <a:bodyPr wrap="square" lIns="0" tIns="0" rIns="0" bIns="0" rtlCol="0">
            <a:noAutofit/>
          </a:bodyPr>
          <a:lstStyle/>
          <a:p>
            <a:endParaRPr/>
          </a:p>
        </p:txBody>
      </p:sp>
      <p:sp>
        <p:nvSpPr>
          <p:cNvPr id="984" name="object 984"/>
          <p:cNvSpPr/>
          <p:nvPr/>
        </p:nvSpPr>
        <p:spPr>
          <a:xfrm>
            <a:off x="8079868" y="1223273"/>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985" name="object 985"/>
          <p:cNvSpPr/>
          <p:nvPr/>
        </p:nvSpPr>
        <p:spPr>
          <a:xfrm>
            <a:off x="8064095" y="1184700"/>
            <a:ext cx="2976" cy="2126"/>
          </a:xfrm>
          <a:custGeom>
            <a:avLst/>
            <a:gdLst/>
            <a:ahLst/>
            <a:cxnLst/>
            <a:rect l="l" t="t" r="r" b="b"/>
            <a:pathLst>
              <a:path w="2976" h="2126">
                <a:moveTo>
                  <a:pt x="2976" y="2126"/>
                </a:moveTo>
                <a:lnTo>
                  <a:pt x="2976" y="911"/>
                </a:lnTo>
                <a:lnTo>
                  <a:pt x="2083" y="0"/>
                </a:lnTo>
                <a:lnTo>
                  <a:pt x="892" y="0"/>
                </a:lnTo>
                <a:lnTo>
                  <a:pt x="0" y="911"/>
                </a:lnTo>
                <a:lnTo>
                  <a:pt x="2976" y="2126"/>
                </a:lnTo>
                <a:close/>
              </a:path>
            </a:pathLst>
          </a:custGeom>
          <a:solidFill>
            <a:srgbClr val="BEBEBE"/>
          </a:solidFill>
        </p:spPr>
        <p:txBody>
          <a:bodyPr wrap="square" lIns="0" tIns="0" rIns="0" bIns="0" rtlCol="0">
            <a:noAutofit/>
          </a:bodyPr>
          <a:lstStyle/>
          <a:p>
            <a:endParaRPr/>
          </a:p>
        </p:txBody>
      </p:sp>
      <p:sp>
        <p:nvSpPr>
          <p:cNvPr id="986" name="object 986"/>
          <p:cNvSpPr/>
          <p:nvPr/>
        </p:nvSpPr>
        <p:spPr>
          <a:xfrm>
            <a:off x="8060822" y="1185611"/>
            <a:ext cx="6249" cy="37358"/>
          </a:xfrm>
          <a:custGeom>
            <a:avLst/>
            <a:gdLst/>
            <a:ahLst/>
            <a:cxnLst/>
            <a:rect l="l" t="t" r="r" b="b"/>
            <a:pathLst>
              <a:path w="6249" h="37358">
                <a:moveTo>
                  <a:pt x="297" y="23386"/>
                </a:moveTo>
                <a:lnTo>
                  <a:pt x="892" y="28246"/>
                </a:lnTo>
                <a:lnTo>
                  <a:pt x="2083" y="32802"/>
                </a:lnTo>
                <a:lnTo>
                  <a:pt x="3273" y="37358"/>
                </a:lnTo>
                <a:lnTo>
                  <a:pt x="6249" y="36143"/>
                </a:lnTo>
                <a:lnTo>
                  <a:pt x="5059" y="32194"/>
                </a:lnTo>
                <a:lnTo>
                  <a:pt x="3869" y="27639"/>
                </a:lnTo>
                <a:lnTo>
                  <a:pt x="3273" y="23386"/>
                </a:lnTo>
                <a:lnTo>
                  <a:pt x="2976" y="18527"/>
                </a:lnTo>
                <a:lnTo>
                  <a:pt x="3273" y="13971"/>
                </a:lnTo>
                <a:lnTo>
                  <a:pt x="3571" y="9415"/>
                </a:lnTo>
                <a:lnTo>
                  <a:pt x="4761" y="5467"/>
                </a:lnTo>
                <a:lnTo>
                  <a:pt x="6249" y="1214"/>
                </a:lnTo>
                <a:lnTo>
                  <a:pt x="3273" y="0"/>
                </a:lnTo>
                <a:lnTo>
                  <a:pt x="1785" y="4252"/>
                </a:lnTo>
                <a:lnTo>
                  <a:pt x="595" y="8808"/>
                </a:lnTo>
                <a:lnTo>
                  <a:pt x="297" y="13971"/>
                </a:lnTo>
                <a:lnTo>
                  <a:pt x="0" y="18527"/>
                </a:lnTo>
                <a:lnTo>
                  <a:pt x="297" y="23386"/>
                </a:lnTo>
                <a:close/>
              </a:path>
            </a:pathLst>
          </a:custGeom>
          <a:solidFill>
            <a:srgbClr val="BEBEBE"/>
          </a:solidFill>
        </p:spPr>
        <p:txBody>
          <a:bodyPr wrap="square" lIns="0" tIns="0" rIns="0" bIns="0" rtlCol="0">
            <a:noAutofit/>
          </a:bodyPr>
          <a:lstStyle/>
          <a:p>
            <a:endParaRPr/>
          </a:p>
        </p:txBody>
      </p:sp>
      <p:sp>
        <p:nvSpPr>
          <p:cNvPr id="987" name="object 987"/>
          <p:cNvSpPr/>
          <p:nvPr/>
        </p:nvSpPr>
        <p:spPr>
          <a:xfrm>
            <a:off x="8064095" y="1221754"/>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988" name="object 988"/>
          <p:cNvSpPr/>
          <p:nvPr/>
        </p:nvSpPr>
        <p:spPr>
          <a:xfrm>
            <a:off x="8057249" y="1178625"/>
            <a:ext cx="2976" cy="2126"/>
          </a:xfrm>
          <a:custGeom>
            <a:avLst/>
            <a:gdLst/>
            <a:ahLst/>
            <a:cxnLst/>
            <a:rect l="l" t="t" r="r" b="b"/>
            <a:pathLst>
              <a:path w="2976" h="2126">
                <a:moveTo>
                  <a:pt x="2976" y="2126"/>
                </a:moveTo>
                <a:lnTo>
                  <a:pt x="2976" y="911"/>
                </a:lnTo>
                <a:lnTo>
                  <a:pt x="2083" y="0"/>
                </a:lnTo>
                <a:lnTo>
                  <a:pt x="892" y="0"/>
                </a:lnTo>
                <a:lnTo>
                  <a:pt x="0" y="911"/>
                </a:lnTo>
                <a:lnTo>
                  <a:pt x="2976" y="2126"/>
                </a:lnTo>
                <a:close/>
              </a:path>
            </a:pathLst>
          </a:custGeom>
          <a:solidFill>
            <a:srgbClr val="BEBEBE"/>
          </a:solidFill>
        </p:spPr>
        <p:txBody>
          <a:bodyPr wrap="square" lIns="0" tIns="0" rIns="0" bIns="0" rtlCol="0">
            <a:noAutofit/>
          </a:bodyPr>
          <a:lstStyle/>
          <a:p>
            <a:endParaRPr/>
          </a:p>
        </p:txBody>
      </p:sp>
      <p:sp>
        <p:nvSpPr>
          <p:cNvPr id="989" name="object 989"/>
          <p:cNvSpPr/>
          <p:nvPr/>
        </p:nvSpPr>
        <p:spPr>
          <a:xfrm>
            <a:off x="8052785" y="1179537"/>
            <a:ext cx="7440" cy="49507"/>
          </a:xfrm>
          <a:custGeom>
            <a:avLst/>
            <a:gdLst/>
            <a:ahLst/>
            <a:cxnLst/>
            <a:rect l="l" t="t" r="r" b="b"/>
            <a:pathLst>
              <a:path w="7440" h="49507">
                <a:moveTo>
                  <a:pt x="4464" y="49507"/>
                </a:moveTo>
                <a:lnTo>
                  <a:pt x="7440" y="48292"/>
                </a:lnTo>
                <a:lnTo>
                  <a:pt x="5654" y="42825"/>
                </a:lnTo>
                <a:lnTo>
                  <a:pt x="4166" y="36750"/>
                </a:lnTo>
                <a:lnTo>
                  <a:pt x="3571" y="30676"/>
                </a:lnTo>
                <a:lnTo>
                  <a:pt x="2976" y="24298"/>
                </a:lnTo>
                <a:lnTo>
                  <a:pt x="3273" y="17919"/>
                </a:lnTo>
                <a:lnTo>
                  <a:pt x="4166" y="12149"/>
                </a:lnTo>
                <a:lnTo>
                  <a:pt x="5357" y="6378"/>
                </a:lnTo>
                <a:lnTo>
                  <a:pt x="7440" y="1214"/>
                </a:lnTo>
                <a:lnTo>
                  <a:pt x="4464" y="0"/>
                </a:lnTo>
                <a:lnTo>
                  <a:pt x="2380" y="5770"/>
                </a:lnTo>
                <a:lnTo>
                  <a:pt x="1190" y="11541"/>
                </a:lnTo>
                <a:lnTo>
                  <a:pt x="297" y="17919"/>
                </a:lnTo>
                <a:lnTo>
                  <a:pt x="0" y="24298"/>
                </a:lnTo>
                <a:lnTo>
                  <a:pt x="595" y="30676"/>
                </a:lnTo>
                <a:lnTo>
                  <a:pt x="1190" y="37358"/>
                </a:lnTo>
                <a:lnTo>
                  <a:pt x="2678" y="43432"/>
                </a:lnTo>
                <a:lnTo>
                  <a:pt x="4464" y="49507"/>
                </a:lnTo>
                <a:close/>
              </a:path>
            </a:pathLst>
          </a:custGeom>
          <a:solidFill>
            <a:srgbClr val="BEBEBE"/>
          </a:solidFill>
        </p:spPr>
        <p:txBody>
          <a:bodyPr wrap="square" lIns="0" tIns="0" rIns="0" bIns="0" rtlCol="0">
            <a:noAutofit/>
          </a:bodyPr>
          <a:lstStyle/>
          <a:p>
            <a:endParaRPr/>
          </a:p>
        </p:txBody>
      </p:sp>
      <p:sp>
        <p:nvSpPr>
          <p:cNvPr id="990" name="object 990"/>
          <p:cNvSpPr/>
          <p:nvPr/>
        </p:nvSpPr>
        <p:spPr>
          <a:xfrm>
            <a:off x="8057249" y="1227829"/>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991" name="object 991"/>
          <p:cNvSpPr/>
          <p:nvPr/>
        </p:nvSpPr>
        <p:spPr>
          <a:xfrm>
            <a:off x="8053083" y="1173159"/>
            <a:ext cx="2678" cy="2429"/>
          </a:xfrm>
          <a:custGeom>
            <a:avLst/>
            <a:gdLst/>
            <a:ahLst/>
            <a:cxnLst/>
            <a:rect l="l" t="t" r="r" b="b"/>
            <a:pathLst>
              <a:path w="2678" h="2429">
                <a:moveTo>
                  <a:pt x="2380" y="2429"/>
                </a:moveTo>
                <a:lnTo>
                  <a:pt x="2678" y="1214"/>
                </a:lnTo>
                <a:lnTo>
                  <a:pt x="2083" y="303"/>
                </a:lnTo>
                <a:lnTo>
                  <a:pt x="1190" y="0"/>
                </a:lnTo>
                <a:lnTo>
                  <a:pt x="0" y="607"/>
                </a:lnTo>
                <a:lnTo>
                  <a:pt x="2380" y="2429"/>
                </a:lnTo>
                <a:close/>
              </a:path>
            </a:pathLst>
          </a:custGeom>
          <a:solidFill>
            <a:srgbClr val="BEBEBE"/>
          </a:solidFill>
        </p:spPr>
        <p:txBody>
          <a:bodyPr wrap="square" lIns="0" tIns="0" rIns="0" bIns="0" rtlCol="0">
            <a:noAutofit/>
          </a:bodyPr>
          <a:lstStyle/>
          <a:p>
            <a:endParaRPr/>
          </a:p>
        </p:txBody>
      </p:sp>
      <p:sp>
        <p:nvSpPr>
          <p:cNvPr id="992" name="object 992"/>
          <p:cNvSpPr/>
          <p:nvPr/>
        </p:nvSpPr>
        <p:spPr>
          <a:xfrm>
            <a:off x="8044749" y="1173767"/>
            <a:ext cx="10714" cy="60441"/>
          </a:xfrm>
          <a:custGeom>
            <a:avLst/>
            <a:gdLst/>
            <a:ahLst/>
            <a:cxnLst/>
            <a:rect l="l" t="t" r="r" b="b"/>
            <a:pathLst>
              <a:path w="10714" h="60441">
                <a:moveTo>
                  <a:pt x="2976" y="26120"/>
                </a:moveTo>
                <a:lnTo>
                  <a:pt x="3273" y="22779"/>
                </a:lnTo>
                <a:lnTo>
                  <a:pt x="3869" y="18830"/>
                </a:lnTo>
                <a:lnTo>
                  <a:pt x="4464" y="15186"/>
                </a:lnTo>
                <a:lnTo>
                  <a:pt x="5654" y="11845"/>
                </a:lnTo>
                <a:lnTo>
                  <a:pt x="6845" y="8200"/>
                </a:lnTo>
                <a:lnTo>
                  <a:pt x="8630" y="5163"/>
                </a:lnTo>
                <a:lnTo>
                  <a:pt x="10714" y="1822"/>
                </a:lnTo>
                <a:lnTo>
                  <a:pt x="8333" y="0"/>
                </a:lnTo>
                <a:lnTo>
                  <a:pt x="6249" y="3340"/>
                </a:lnTo>
                <a:lnTo>
                  <a:pt x="4464" y="6985"/>
                </a:lnTo>
                <a:lnTo>
                  <a:pt x="2678" y="10630"/>
                </a:lnTo>
                <a:lnTo>
                  <a:pt x="1488" y="14578"/>
                </a:lnTo>
                <a:lnTo>
                  <a:pt x="892" y="18223"/>
                </a:lnTo>
                <a:lnTo>
                  <a:pt x="297" y="22171"/>
                </a:lnTo>
                <a:lnTo>
                  <a:pt x="0" y="26120"/>
                </a:lnTo>
                <a:lnTo>
                  <a:pt x="0" y="34017"/>
                </a:lnTo>
                <a:lnTo>
                  <a:pt x="595" y="37965"/>
                </a:lnTo>
                <a:lnTo>
                  <a:pt x="1190" y="41914"/>
                </a:lnTo>
                <a:lnTo>
                  <a:pt x="2083" y="45558"/>
                </a:lnTo>
                <a:lnTo>
                  <a:pt x="3273" y="49810"/>
                </a:lnTo>
                <a:lnTo>
                  <a:pt x="4761" y="53455"/>
                </a:lnTo>
                <a:lnTo>
                  <a:pt x="6547" y="57100"/>
                </a:lnTo>
                <a:lnTo>
                  <a:pt x="8333" y="60441"/>
                </a:lnTo>
                <a:lnTo>
                  <a:pt x="10714" y="59226"/>
                </a:lnTo>
                <a:lnTo>
                  <a:pt x="8928" y="55885"/>
                </a:lnTo>
                <a:lnTo>
                  <a:pt x="7738" y="52240"/>
                </a:lnTo>
                <a:lnTo>
                  <a:pt x="6249" y="48596"/>
                </a:lnTo>
                <a:lnTo>
                  <a:pt x="5059" y="44951"/>
                </a:lnTo>
                <a:lnTo>
                  <a:pt x="4166" y="41306"/>
                </a:lnTo>
                <a:lnTo>
                  <a:pt x="3571" y="37358"/>
                </a:lnTo>
                <a:lnTo>
                  <a:pt x="2976" y="34017"/>
                </a:lnTo>
                <a:lnTo>
                  <a:pt x="2976" y="26120"/>
                </a:lnTo>
                <a:close/>
              </a:path>
            </a:pathLst>
          </a:custGeom>
          <a:solidFill>
            <a:srgbClr val="BEBEBE"/>
          </a:solidFill>
        </p:spPr>
        <p:txBody>
          <a:bodyPr wrap="square" lIns="0" tIns="0" rIns="0" bIns="0" rtlCol="0">
            <a:noAutofit/>
          </a:bodyPr>
          <a:lstStyle/>
          <a:p>
            <a:endParaRPr/>
          </a:p>
        </p:txBody>
      </p:sp>
      <p:sp>
        <p:nvSpPr>
          <p:cNvPr id="993" name="object 993"/>
          <p:cNvSpPr/>
          <p:nvPr/>
        </p:nvSpPr>
        <p:spPr>
          <a:xfrm>
            <a:off x="8053083" y="1232992"/>
            <a:ext cx="2380" cy="1822"/>
          </a:xfrm>
          <a:custGeom>
            <a:avLst/>
            <a:gdLst/>
            <a:ahLst/>
            <a:cxnLst/>
            <a:rect l="l" t="t" r="r" b="b"/>
            <a:pathLst>
              <a:path w="2380" h="1822">
                <a:moveTo>
                  <a:pt x="0" y="1214"/>
                </a:moveTo>
                <a:lnTo>
                  <a:pt x="595" y="1822"/>
                </a:lnTo>
                <a:lnTo>
                  <a:pt x="1785" y="1822"/>
                </a:lnTo>
                <a:lnTo>
                  <a:pt x="2380" y="911"/>
                </a:lnTo>
                <a:lnTo>
                  <a:pt x="2380" y="0"/>
                </a:lnTo>
                <a:lnTo>
                  <a:pt x="0" y="1214"/>
                </a:lnTo>
                <a:close/>
              </a:path>
            </a:pathLst>
          </a:custGeom>
          <a:solidFill>
            <a:srgbClr val="BEBEBE"/>
          </a:solidFill>
        </p:spPr>
        <p:txBody>
          <a:bodyPr wrap="square" lIns="0" tIns="0" rIns="0" bIns="0" rtlCol="0">
            <a:noAutofit/>
          </a:bodyPr>
          <a:lstStyle/>
          <a:p>
            <a:endParaRPr/>
          </a:p>
        </p:txBody>
      </p:sp>
      <p:sp>
        <p:nvSpPr>
          <p:cNvPr id="994" name="object 994"/>
          <p:cNvSpPr/>
          <p:nvPr/>
        </p:nvSpPr>
        <p:spPr>
          <a:xfrm>
            <a:off x="8043261" y="1184700"/>
            <a:ext cx="2976" cy="2126"/>
          </a:xfrm>
          <a:custGeom>
            <a:avLst/>
            <a:gdLst/>
            <a:ahLst/>
            <a:cxnLst/>
            <a:rect l="l" t="t" r="r" b="b"/>
            <a:pathLst>
              <a:path w="2976" h="2126">
                <a:moveTo>
                  <a:pt x="2976" y="2126"/>
                </a:moveTo>
                <a:lnTo>
                  <a:pt x="2976" y="911"/>
                </a:lnTo>
                <a:lnTo>
                  <a:pt x="2083" y="0"/>
                </a:lnTo>
                <a:lnTo>
                  <a:pt x="892" y="0"/>
                </a:lnTo>
                <a:lnTo>
                  <a:pt x="0" y="911"/>
                </a:lnTo>
                <a:lnTo>
                  <a:pt x="2976" y="2126"/>
                </a:lnTo>
                <a:close/>
              </a:path>
            </a:pathLst>
          </a:custGeom>
          <a:solidFill>
            <a:srgbClr val="BEBEBE"/>
          </a:solidFill>
        </p:spPr>
        <p:txBody>
          <a:bodyPr wrap="square" lIns="0" tIns="0" rIns="0" bIns="0" rtlCol="0">
            <a:noAutofit/>
          </a:bodyPr>
          <a:lstStyle/>
          <a:p>
            <a:endParaRPr/>
          </a:p>
        </p:txBody>
      </p:sp>
      <p:sp>
        <p:nvSpPr>
          <p:cNvPr id="995" name="object 995"/>
          <p:cNvSpPr/>
          <p:nvPr/>
        </p:nvSpPr>
        <p:spPr>
          <a:xfrm>
            <a:off x="8039988" y="1185612"/>
            <a:ext cx="6249" cy="37661"/>
          </a:xfrm>
          <a:custGeom>
            <a:avLst/>
            <a:gdLst/>
            <a:ahLst/>
            <a:cxnLst/>
            <a:rect l="l" t="t" r="r" b="b"/>
            <a:pathLst>
              <a:path w="6249" h="37661">
                <a:moveTo>
                  <a:pt x="297" y="23386"/>
                </a:moveTo>
                <a:lnTo>
                  <a:pt x="892" y="28550"/>
                </a:lnTo>
                <a:lnTo>
                  <a:pt x="1785" y="33106"/>
                </a:lnTo>
                <a:lnTo>
                  <a:pt x="3273" y="37661"/>
                </a:lnTo>
                <a:lnTo>
                  <a:pt x="6249" y="36447"/>
                </a:lnTo>
                <a:lnTo>
                  <a:pt x="4761" y="32498"/>
                </a:lnTo>
                <a:lnTo>
                  <a:pt x="3869" y="27942"/>
                </a:lnTo>
                <a:lnTo>
                  <a:pt x="3273" y="23386"/>
                </a:lnTo>
                <a:lnTo>
                  <a:pt x="2976" y="18527"/>
                </a:lnTo>
                <a:lnTo>
                  <a:pt x="2976" y="13971"/>
                </a:lnTo>
                <a:lnTo>
                  <a:pt x="3571" y="9415"/>
                </a:lnTo>
                <a:lnTo>
                  <a:pt x="4761" y="5467"/>
                </a:lnTo>
                <a:lnTo>
                  <a:pt x="6249" y="1214"/>
                </a:lnTo>
                <a:lnTo>
                  <a:pt x="3273" y="0"/>
                </a:lnTo>
                <a:lnTo>
                  <a:pt x="1785" y="4252"/>
                </a:lnTo>
                <a:lnTo>
                  <a:pt x="595" y="8808"/>
                </a:lnTo>
                <a:lnTo>
                  <a:pt x="0" y="13971"/>
                </a:lnTo>
                <a:lnTo>
                  <a:pt x="0" y="18527"/>
                </a:lnTo>
                <a:lnTo>
                  <a:pt x="297" y="23386"/>
                </a:lnTo>
                <a:close/>
              </a:path>
            </a:pathLst>
          </a:custGeom>
          <a:solidFill>
            <a:srgbClr val="BEBEBE"/>
          </a:solidFill>
        </p:spPr>
        <p:txBody>
          <a:bodyPr wrap="square" lIns="0" tIns="0" rIns="0" bIns="0" rtlCol="0">
            <a:noAutofit/>
          </a:bodyPr>
          <a:lstStyle/>
          <a:p>
            <a:endParaRPr/>
          </a:p>
        </p:txBody>
      </p:sp>
      <p:sp>
        <p:nvSpPr>
          <p:cNvPr id="996" name="object 996"/>
          <p:cNvSpPr/>
          <p:nvPr/>
        </p:nvSpPr>
        <p:spPr>
          <a:xfrm>
            <a:off x="8043261" y="1222058"/>
            <a:ext cx="2976" cy="2126"/>
          </a:xfrm>
          <a:custGeom>
            <a:avLst/>
            <a:gdLst/>
            <a:ahLst/>
            <a:cxnLst/>
            <a:rect l="l" t="t" r="r" b="b"/>
            <a:pathLst>
              <a:path w="2976" h="2126">
                <a:moveTo>
                  <a:pt x="0" y="1214"/>
                </a:moveTo>
                <a:lnTo>
                  <a:pt x="892" y="2126"/>
                </a:lnTo>
                <a:lnTo>
                  <a:pt x="2083" y="1822"/>
                </a:lnTo>
                <a:lnTo>
                  <a:pt x="2976" y="1214"/>
                </a:lnTo>
                <a:lnTo>
                  <a:pt x="2976" y="0"/>
                </a:lnTo>
                <a:lnTo>
                  <a:pt x="0" y="1214"/>
                </a:lnTo>
                <a:close/>
              </a:path>
            </a:pathLst>
          </a:custGeom>
          <a:solidFill>
            <a:srgbClr val="BEBEBE"/>
          </a:solidFill>
        </p:spPr>
        <p:txBody>
          <a:bodyPr wrap="square" lIns="0" tIns="0" rIns="0" bIns="0" rtlCol="0">
            <a:noAutofit/>
          </a:bodyPr>
          <a:lstStyle/>
          <a:p>
            <a:endParaRPr/>
          </a:p>
        </p:txBody>
      </p:sp>
      <p:sp>
        <p:nvSpPr>
          <p:cNvPr id="997" name="object 997"/>
          <p:cNvSpPr/>
          <p:nvPr/>
        </p:nvSpPr>
        <p:spPr>
          <a:xfrm>
            <a:off x="8687308" y="632224"/>
            <a:ext cx="30357" cy="189221"/>
          </a:xfrm>
          <a:custGeom>
            <a:avLst/>
            <a:gdLst/>
            <a:ahLst/>
            <a:cxnLst/>
            <a:rect l="l" t="t" r="r" b="b"/>
            <a:pathLst>
              <a:path w="30357" h="189221">
                <a:moveTo>
                  <a:pt x="297" y="0"/>
                </a:moveTo>
                <a:lnTo>
                  <a:pt x="0" y="187094"/>
                </a:lnTo>
                <a:lnTo>
                  <a:pt x="30357" y="189221"/>
                </a:lnTo>
                <a:lnTo>
                  <a:pt x="30357" y="2429"/>
                </a:lnTo>
                <a:lnTo>
                  <a:pt x="297" y="0"/>
                </a:lnTo>
                <a:close/>
              </a:path>
            </a:pathLst>
          </a:custGeom>
          <a:solidFill>
            <a:srgbClr val="B1B1B1"/>
          </a:solidFill>
        </p:spPr>
        <p:txBody>
          <a:bodyPr wrap="square" lIns="0" tIns="0" rIns="0" bIns="0" rtlCol="0">
            <a:noAutofit/>
          </a:bodyPr>
          <a:lstStyle/>
          <a:p>
            <a:endParaRPr/>
          </a:p>
        </p:txBody>
      </p:sp>
      <p:sp>
        <p:nvSpPr>
          <p:cNvPr id="998" name="object 998"/>
          <p:cNvSpPr/>
          <p:nvPr/>
        </p:nvSpPr>
        <p:spPr>
          <a:xfrm>
            <a:off x="8685820" y="632224"/>
            <a:ext cx="3273" cy="188309"/>
          </a:xfrm>
          <a:custGeom>
            <a:avLst/>
            <a:gdLst/>
            <a:ahLst/>
            <a:cxnLst/>
            <a:rect l="l" t="t" r="r" b="b"/>
            <a:pathLst>
              <a:path w="3273" h="188309">
                <a:moveTo>
                  <a:pt x="1041" y="188158"/>
                </a:moveTo>
                <a:lnTo>
                  <a:pt x="1488" y="188309"/>
                </a:lnTo>
                <a:lnTo>
                  <a:pt x="1488" y="185576"/>
                </a:lnTo>
                <a:lnTo>
                  <a:pt x="3273" y="0"/>
                </a:lnTo>
                <a:lnTo>
                  <a:pt x="297" y="0"/>
                </a:lnTo>
                <a:lnTo>
                  <a:pt x="0" y="187094"/>
                </a:lnTo>
                <a:lnTo>
                  <a:pt x="595" y="188006"/>
                </a:lnTo>
                <a:lnTo>
                  <a:pt x="1041" y="188158"/>
                </a:lnTo>
                <a:close/>
              </a:path>
            </a:pathLst>
          </a:custGeom>
          <a:solidFill>
            <a:srgbClr val="000000"/>
          </a:solidFill>
        </p:spPr>
        <p:txBody>
          <a:bodyPr wrap="square" lIns="0" tIns="0" rIns="0" bIns="0" rtlCol="0">
            <a:noAutofit/>
          </a:bodyPr>
          <a:lstStyle/>
          <a:p>
            <a:endParaRPr/>
          </a:p>
        </p:txBody>
      </p:sp>
      <p:sp>
        <p:nvSpPr>
          <p:cNvPr id="999" name="object 999"/>
          <p:cNvSpPr/>
          <p:nvPr/>
        </p:nvSpPr>
        <p:spPr>
          <a:xfrm>
            <a:off x="8687308" y="632224"/>
            <a:ext cx="1785" cy="188309"/>
          </a:xfrm>
          <a:custGeom>
            <a:avLst/>
            <a:gdLst/>
            <a:ahLst/>
            <a:cxnLst/>
            <a:rect l="l" t="t" r="r" b="b"/>
            <a:pathLst>
              <a:path w="1785" h="188309">
                <a:moveTo>
                  <a:pt x="0" y="185576"/>
                </a:moveTo>
                <a:lnTo>
                  <a:pt x="0" y="188309"/>
                </a:lnTo>
                <a:lnTo>
                  <a:pt x="892" y="188006"/>
                </a:lnTo>
                <a:lnTo>
                  <a:pt x="1488" y="187094"/>
                </a:lnTo>
                <a:lnTo>
                  <a:pt x="1785" y="0"/>
                </a:lnTo>
                <a:lnTo>
                  <a:pt x="0" y="185576"/>
                </a:lnTo>
                <a:close/>
              </a:path>
            </a:pathLst>
          </a:custGeom>
          <a:solidFill>
            <a:srgbClr val="000000"/>
          </a:solidFill>
        </p:spPr>
        <p:txBody>
          <a:bodyPr wrap="square" lIns="0" tIns="0" rIns="0" bIns="0" rtlCol="0">
            <a:noAutofit/>
          </a:bodyPr>
          <a:lstStyle/>
          <a:p>
            <a:endParaRPr/>
          </a:p>
        </p:txBody>
      </p:sp>
      <p:sp>
        <p:nvSpPr>
          <p:cNvPr id="1000" name="object 1000"/>
          <p:cNvSpPr/>
          <p:nvPr/>
        </p:nvSpPr>
        <p:spPr>
          <a:xfrm>
            <a:off x="8687308" y="817800"/>
            <a:ext cx="31845" cy="5163"/>
          </a:xfrm>
          <a:custGeom>
            <a:avLst/>
            <a:gdLst/>
            <a:ahLst/>
            <a:cxnLst/>
            <a:rect l="l" t="t" r="r" b="b"/>
            <a:pathLst>
              <a:path w="31845" h="5163">
                <a:moveTo>
                  <a:pt x="31249" y="4555"/>
                </a:moveTo>
                <a:lnTo>
                  <a:pt x="31845" y="3644"/>
                </a:lnTo>
                <a:lnTo>
                  <a:pt x="31249" y="2733"/>
                </a:lnTo>
                <a:lnTo>
                  <a:pt x="30357" y="2126"/>
                </a:lnTo>
                <a:lnTo>
                  <a:pt x="0" y="0"/>
                </a:lnTo>
                <a:lnTo>
                  <a:pt x="0" y="3037"/>
                </a:lnTo>
                <a:lnTo>
                  <a:pt x="30357" y="5163"/>
                </a:lnTo>
                <a:lnTo>
                  <a:pt x="28868" y="3644"/>
                </a:lnTo>
                <a:lnTo>
                  <a:pt x="30357" y="5163"/>
                </a:lnTo>
                <a:lnTo>
                  <a:pt x="31249" y="4555"/>
                </a:lnTo>
                <a:close/>
              </a:path>
            </a:pathLst>
          </a:custGeom>
          <a:solidFill>
            <a:srgbClr val="000000"/>
          </a:solidFill>
        </p:spPr>
        <p:txBody>
          <a:bodyPr wrap="square" lIns="0" tIns="0" rIns="0" bIns="0" rtlCol="0">
            <a:noAutofit/>
          </a:bodyPr>
          <a:lstStyle/>
          <a:p>
            <a:endParaRPr/>
          </a:p>
        </p:txBody>
      </p:sp>
      <p:sp>
        <p:nvSpPr>
          <p:cNvPr id="1001" name="object 1001"/>
          <p:cNvSpPr/>
          <p:nvPr/>
        </p:nvSpPr>
        <p:spPr>
          <a:xfrm>
            <a:off x="8716771" y="633135"/>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1002" name="object 1002"/>
          <p:cNvSpPr/>
          <p:nvPr/>
        </p:nvSpPr>
        <p:spPr>
          <a:xfrm>
            <a:off x="8716176" y="633135"/>
            <a:ext cx="2976" cy="188309"/>
          </a:xfrm>
          <a:custGeom>
            <a:avLst/>
            <a:gdLst/>
            <a:ahLst/>
            <a:cxnLst/>
            <a:rect l="l" t="t" r="r" b="b"/>
            <a:pathLst>
              <a:path w="2976" h="188309">
                <a:moveTo>
                  <a:pt x="595" y="607"/>
                </a:moveTo>
                <a:lnTo>
                  <a:pt x="0" y="1518"/>
                </a:lnTo>
                <a:lnTo>
                  <a:pt x="0" y="188309"/>
                </a:lnTo>
                <a:lnTo>
                  <a:pt x="2976" y="188309"/>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1003" name="object 1003"/>
          <p:cNvSpPr/>
          <p:nvPr/>
        </p:nvSpPr>
        <p:spPr>
          <a:xfrm>
            <a:off x="8686415" y="630705"/>
            <a:ext cx="31249" cy="5467"/>
          </a:xfrm>
          <a:custGeom>
            <a:avLst/>
            <a:gdLst/>
            <a:ahLst/>
            <a:cxnLst/>
            <a:rect l="l" t="t" r="r" b="b"/>
            <a:pathLst>
              <a:path w="31249" h="5467">
                <a:moveTo>
                  <a:pt x="148" y="1063"/>
                </a:moveTo>
                <a:lnTo>
                  <a:pt x="0" y="1518"/>
                </a:lnTo>
                <a:lnTo>
                  <a:pt x="297" y="2429"/>
                </a:lnTo>
                <a:lnTo>
                  <a:pt x="1190" y="3037"/>
                </a:lnTo>
                <a:lnTo>
                  <a:pt x="31249" y="5467"/>
                </a:lnTo>
                <a:lnTo>
                  <a:pt x="31249" y="2429"/>
                </a:lnTo>
                <a:lnTo>
                  <a:pt x="2678" y="1518"/>
                </a:lnTo>
                <a:lnTo>
                  <a:pt x="1190" y="0"/>
                </a:lnTo>
                <a:lnTo>
                  <a:pt x="297" y="607"/>
                </a:lnTo>
                <a:lnTo>
                  <a:pt x="148" y="1063"/>
                </a:lnTo>
                <a:close/>
              </a:path>
            </a:pathLst>
          </a:custGeom>
          <a:solidFill>
            <a:srgbClr val="000000"/>
          </a:solidFill>
        </p:spPr>
        <p:txBody>
          <a:bodyPr wrap="square" lIns="0" tIns="0" rIns="0" bIns="0" rtlCol="0">
            <a:noAutofit/>
          </a:bodyPr>
          <a:lstStyle/>
          <a:p>
            <a:endParaRPr/>
          </a:p>
        </p:txBody>
      </p:sp>
      <p:sp>
        <p:nvSpPr>
          <p:cNvPr id="1004" name="object 1004"/>
          <p:cNvSpPr/>
          <p:nvPr/>
        </p:nvSpPr>
        <p:spPr>
          <a:xfrm>
            <a:off x="8687606" y="630705"/>
            <a:ext cx="30059" cy="2429"/>
          </a:xfrm>
          <a:custGeom>
            <a:avLst/>
            <a:gdLst/>
            <a:ahLst/>
            <a:cxnLst/>
            <a:rect l="l" t="t" r="r" b="b"/>
            <a:pathLst>
              <a:path w="30059" h="2429">
                <a:moveTo>
                  <a:pt x="0" y="0"/>
                </a:moveTo>
                <a:lnTo>
                  <a:pt x="1488" y="1518"/>
                </a:lnTo>
                <a:lnTo>
                  <a:pt x="30059" y="2429"/>
                </a:lnTo>
                <a:lnTo>
                  <a:pt x="0" y="0"/>
                </a:lnTo>
                <a:close/>
              </a:path>
            </a:pathLst>
          </a:custGeom>
          <a:solidFill>
            <a:srgbClr val="000000"/>
          </a:solidFill>
        </p:spPr>
        <p:txBody>
          <a:bodyPr wrap="square" lIns="0" tIns="0" rIns="0" bIns="0" rtlCol="0">
            <a:noAutofit/>
          </a:bodyPr>
          <a:lstStyle/>
          <a:p>
            <a:endParaRPr/>
          </a:p>
        </p:txBody>
      </p:sp>
      <p:sp>
        <p:nvSpPr>
          <p:cNvPr id="1005" name="object 1005"/>
          <p:cNvSpPr/>
          <p:nvPr/>
        </p:nvSpPr>
        <p:spPr>
          <a:xfrm>
            <a:off x="8717963" y="634654"/>
            <a:ext cx="19345" cy="186791"/>
          </a:xfrm>
          <a:custGeom>
            <a:avLst/>
            <a:gdLst/>
            <a:ahLst/>
            <a:cxnLst/>
            <a:rect l="l" t="t" r="r" b="b"/>
            <a:pathLst>
              <a:path w="19345" h="186791">
                <a:moveTo>
                  <a:pt x="0" y="0"/>
                </a:moveTo>
                <a:lnTo>
                  <a:pt x="0" y="186791"/>
                </a:lnTo>
                <a:lnTo>
                  <a:pt x="19345" y="186791"/>
                </a:lnTo>
                <a:lnTo>
                  <a:pt x="19047" y="3340"/>
                </a:lnTo>
                <a:lnTo>
                  <a:pt x="0" y="0"/>
                </a:lnTo>
                <a:close/>
              </a:path>
            </a:pathLst>
          </a:custGeom>
          <a:solidFill>
            <a:srgbClr val="7E7E7E"/>
          </a:solidFill>
        </p:spPr>
        <p:txBody>
          <a:bodyPr wrap="square" lIns="0" tIns="0" rIns="0" bIns="0" rtlCol="0">
            <a:noAutofit/>
          </a:bodyPr>
          <a:lstStyle/>
          <a:p>
            <a:endParaRPr/>
          </a:p>
        </p:txBody>
      </p:sp>
      <p:sp>
        <p:nvSpPr>
          <p:cNvPr id="1006" name="object 1006"/>
          <p:cNvSpPr/>
          <p:nvPr/>
        </p:nvSpPr>
        <p:spPr>
          <a:xfrm>
            <a:off x="8666475" y="632528"/>
            <a:ext cx="20833" cy="186791"/>
          </a:xfrm>
          <a:custGeom>
            <a:avLst/>
            <a:gdLst/>
            <a:ahLst/>
            <a:cxnLst/>
            <a:rect l="l" t="t" r="r" b="b"/>
            <a:pathLst>
              <a:path w="20833" h="186791">
                <a:moveTo>
                  <a:pt x="0" y="1518"/>
                </a:moveTo>
                <a:lnTo>
                  <a:pt x="0" y="184665"/>
                </a:lnTo>
                <a:lnTo>
                  <a:pt x="20833" y="186791"/>
                </a:lnTo>
                <a:lnTo>
                  <a:pt x="20833" y="0"/>
                </a:lnTo>
                <a:lnTo>
                  <a:pt x="0" y="1518"/>
                </a:lnTo>
                <a:close/>
              </a:path>
            </a:pathLst>
          </a:custGeom>
          <a:solidFill>
            <a:srgbClr val="7E7E7E"/>
          </a:solidFill>
        </p:spPr>
        <p:txBody>
          <a:bodyPr wrap="square" lIns="0" tIns="0" rIns="0" bIns="0" rtlCol="0">
            <a:noAutofit/>
          </a:bodyPr>
          <a:lstStyle/>
          <a:p>
            <a:endParaRPr/>
          </a:p>
        </p:txBody>
      </p:sp>
      <p:sp>
        <p:nvSpPr>
          <p:cNvPr id="1007" name="object 1007"/>
          <p:cNvSpPr/>
          <p:nvPr/>
        </p:nvSpPr>
        <p:spPr>
          <a:xfrm>
            <a:off x="8716474" y="633135"/>
            <a:ext cx="2976" cy="3037"/>
          </a:xfrm>
          <a:custGeom>
            <a:avLst/>
            <a:gdLst/>
            <a:ahLst/>
            <a:cxnLst/>
            <a:rect l="l" t="t" r="r" b="b"/>
            <a:pathLst>
              <a:path w="2976" h="3037">
                <a:moveTo>
                  <a:pt x="1653" y="112"/>
                </a:moveTo>
                <a:lnTo>
                  <a:pt x="1488" y="0"/>
                </a:lnTo>
                <a:lnTo>
                  <a:pt x="595" y="607"/>
                </a:lnTo>
                <a:lnTo>
                  <a:pt x="0" y="1518"/>
                </a:lnTo>
                <a:lnTo>
                  <a:pt x="1190" y="3037"/>
                </a:lnTo>
                <a:lnTo>
                  <a:pt x="2976" y="1518"/>
                </a:lnTo>
                <a:lnTo>
                  <a:pt x="2380" y="607"/>
                </a:lnTo>
                <a:lnTo>
                  <a:pt x="1653" y="112"/>
                </a:lnTo>
                <a:close/>
              </a:path>
            </a:pathLst>
          </a:custGeom>
          <a:solidFill>
            <a:srgbClr val="000000"/>
          </a:solidFill>
        </p:spPr>
        <p:txBody>
          <a:bodyPr wrap="square" lIns="0" tIns="0" rIns="0" bIns="0" rtlCol="0">
            <a:noAutofit/>
          </a:bodyPr>
          <a:lstStyle/>
          <a:p>
            <a:endParaRPr/>
          </a:p>
        </p:txBody>
      </p:sp>
      <p:sp>
        <p:nvSpPr>
          <p:cNvPr id="1008" name="object 1008"/>
          <p:cNvSpPr/>
          <p:nvPr/>
        </p:nvSpPr>
        <p:spPr>
          <a:xfrm>
            <a:off x="8716474" y="634654"/>
            <a:ext cx="2976" cy="186791"/>
          </a:xfrm>
          <a:custGeom>
            <a:avLst/>
            <a:gdLst/>
            <a:ahLst/>
            <a:cxnLst/>
            <a:rect l="l" t="t" r="r" b="b"/>
            <a:pathLst>
              <a:path w="2976" h="186791">
                <a:moveTo>
                  <a:pt x="2976" y="186791"/>
                </a:moveTo>
                <a:lnTo>
                  <a:pt x="2976" y="0"/>
                </a:lnTo>
                <a:lnTo>
                  <a:pt x="1190" y="1518"/>
                </a:lnTo>
                <a:lnTo>
                  <a:pt x="0" y="0"/>
                </a:lnTo>
                <a:lnTo>
                  <a:pt x="0" y="186791"/>
                </a:lnTo>
                <a:lnTo>
                  <a:pt x="2976" y="186791"/>
                </a:lnTo>
                <a:close/>
              </a:path>
            </a:pathLst>
          </a:custGeom>
          <a:solidFill>
            <a:srgbClr val="000000"/>
          </a:solidFill>
        </p:spPr>
        <p:txBody>
          <a:bodyPr wrap="square" lIns="0" tIns="0" rIns="0" bIns="0" rtlCol="0">
            <a:noAutofit/>
          </a:bodyPr>
          <a:lstStyle/>
          <a:p>
            <a:endParaRPr/>
          </a:p>
        </p:txBody>
      </p:sp>
      <p:sp>
        <p:nvSpPr>
          <p:cNvPr id="1009" name="object 1009"/>
          <p:cNvSpPr/>
          <p:nvPr/>
        </p:nvSpPr>
        <p:spPr>
          <a:xfrm>
            <a:off x="8717665" y="633134"/>
            <a:ext cx="20833" cy="6378"/>
          </a:xfrm>
          <a:custGeom>
            <a:avLst/>
            <a:gdLst/>
            <a:ahLst/>
            <a:cxnLst/>
            <a:rect l="l" t="t" r="r" b="b"/>
            <a:pathLst>
              <a:path w="20833" h="6378">
                <a:moveTo>
                  <a:pt x="19642" y="3340"/>
                </a:moveTo>
                <a:lnTo>
                  <a:pt x="595" y="0"/>
                </a:lnTo>
                <a:lnTo>
                  <a:pt x="0" y="3037"/>
                </a:lnTo>
                <a:lnTo>
                  <a:pt x="19047" y="6378"/>
                </a:lnTo>
                <a:lnTo>
                  <a:pt x="20238" y="6074"/>
                </a:lnTo>
                <a:lnTo>
                  <a:pt x="20833" y="5163"/>
                </a:lnTo>
                <a:lnTo>
                  <a:pt x="20725" y="4721"/>
                </a:lnTo>
                <a:lnTo>
                  <a:pt x="20535" y="3948"/>
                </a:lnTo>
                <a:lnTo>
                  <a:pt x="19642" y="3340"/>
                </a:lnTo>
                <a:lnTo>
                  <a:pt x="17857" y="4859"/>
                </a:lnTo>
                <a:lnTo>
                  <a:pt x="19642" y="3340"/>
                </a:lnTo>
                <a:close/>
              </a:path>
            </a:pathLst>
          </a:custGeom>
          <a:solidFill>
            <a:srgbClr val="000000"/>
          </a:solidFill>
        </p:spPr>
        <p:txBody>
          <a:bodyPr wrap="square" lIns="0" tIns="0" rIns="0" bIns="0" rtlCol="0">
            <a:noAutofit/>
          </a:bodyPr>
          <a:lstStyle/>
          <a:p>
            <a:endParaRPr/>
          </a:p>
        </p:txBody>
      </p:sp>
      <p:sp>
        <p:nvSpPr>
          <p:cNvPr id="1010" name="object 1010"/>
          <p:cNvSpPr/>
          <p:nvPr/>
        </p:nvSpPr>
        <p:spPr>
          <a:xfrm>
            <a:off x="8736415" y="819926"/>
            <a:ext cx="1339" cy="2733"/>
          </a:xfrm>
          <a:custGeom>
            <a:avLst/>
            <a:gdLst/>
            <a:ahLst/>
            <a:cxnLst/>
            <a:rect l="l" t="t" r="r" b="b"/>
            <a:pathLst>
              <a:path w="1339" h="2733">
                <a:moveTo>
                  <a:pt x="892" y="0"/>
                </a:moveTo>
                <a:lnTo>
                  <a:pt x="0" y="2429"/>
                </a:lnTo>
                <a:lnTo>
                  <a:pt x="892" y="2733"/>
                </a:lnTo>
                <a:lnTo>
                  <a:pt x="1339" y="2581"/>
                </a:lnTo>
                <a:lnTo>
                  <a:pt x="892" y="0"/>
                </a:lnTo>
                <a:close/>
              </a:path>
            </a:pathLst>
          </a:custGeom>
          <a:solidFill>
            <a:srgbClr val="000000"/>
          </a:solidFill>
        </p:spPr>
        <p:txBody>
          <a:bodyPr wrap="square" lIns="0" tIns="0" rIns="0" bIns="0" rtlCol="0">
            <a:noAutofit/>
          </a:bodyPr>
          <a:lstStyle/>
          <a:p>
            <a:endParaRPr/>
          </a:p>
        </p:txBody>
      </p:sp>
      <p:sp>
        <p:nvSpPr>
          <p:cNvPr id="1011" name="object 1011"/>
          <p:cNvSpPr/>
          <p:nvPr/>
        </p:nvSpPr>
        <p:spPr>
          <a:xfrm>
            <a:off x="8735522" y="637995"/>
            <a:ext cx="3273" cy="184513"/>
          </a:xfrm>
          <a:custGeom>
            <a:avLst/>
            <a:gdLst/>
            <a:ahLst/>
            <a:cxnLst/>
            <a:rect l="l" t="t" r="r" b="b"/>
            <a:pathLst>
              <a:path w="3273" h="184513">
                <a:moveTo>
                  <a:pt x="2678" y="184361"/>
                </a:moveTo>
                <a:lnTo>
                  <a:pt x="3273" y="183450"/>
                </a:lnTo>
                <a:lnTo>
                  <a:pt x="2976" y="0"/>
                </a:lnTo>
                <a:lnTo>
                  <a:pt x="0" y="0"/>
                </a:lnTo>
                <a:lnTo>
                  <a:pt x="297" y="183450"/>
                </a:lnTo>
                <a:lnTo>
                  <a:pt x="892" y="184361"/>
                </a:lnTo>
                <a:lnTo>
                  <a:pt x="1785" y="181931"/>
                </a:lnTo>
                <a:lnTo>
                  <a:pt x="2232" y="184513"/>
                </a:lnTo>
                <a:lnTo>
                  <a:pt x="2678" y="184361"/>
                </a:lnTo>
                <a:close/>
              </a:path>
            </a:pathLst>
          </a:custGeom>
          <a:solidFill>
            <a:srgbClr val="000000"/>
          </a:solidFill>
        </p:spPr>
        <p:txBody>
          <a:bodyPr wrap="square" lIns="0" tIns="0" rIns="0" bIns="0" rtlCol="0">
            <a:noAutofit/>
          </a:bodyPr>
          <a:lstStyle/>
          <a:p>
            <a:endParaRPr/>
          </a:p>
        </p:txBody>
      </p:sp>
      <p:sp>
        <p:nvSpPr>
          <p:cNvPr id="1012" name="object 1012"/>
          <p:cNvSpPr/>
          <p:nvPr/>
        </p:nvSpPr>
        <p:spPr>
          <a:xfrm>
            <a:off x="8717963" y="821444"/>
            <a:ext cx="19345" cy="1518"/>
          </a:xfrm>
          <a:custGeom>
            <a:avLst/>
            <a:gdLst/>
            <a:ahLst/>
            <a:cxnLst/>
            <a:rect l="l" t="t" r="r" b="b"/>
            <a:pathLst>
              <a:path w="19345" h="1518">
                <a:moveTo>
                  <a:pt x="1488" y="0"/>
                </a:moveTo>
                <a:lnTo>
                  <a:pt x="0" y="1518"/>
                </a:lnTo>
                <a:lnTo>
                  <a:pt x="19345" y="1518"/>
                </a:lnTo>
                <a:lnTo>
                  <a:pt x="1488" y="0"/>
                </a:lnTo>
                <a:close/>
              </a:path>
            </a:pathLst>
          </a:custGeom>
          <a:solidFill>
            <a:srgbClr val="000000"/>
          </a:solidFill>
        </p:spPr>
        <p:txBody>
          <a:bodyPr wrap="square" lIns="0" tIns="0" rIns="0" bIns="0" rtlCol="0">
            <a:noAutofit/>
          </a:bodyPr>
          <a:lstStyle/>
          <a:p>
            <a:endParaRPr/>
          </a:p>
        </p:txBody>
      </p:sp>
      <p:sp>
        <p:nvSpPr>
          <p:cNvPr id="1013" name="object 1013"/>
          <p:cNvSpPr/>
          <p:nvPr/>
        </p:nvSpPr>
        <p:spPr>
          <a:xfrm>
            <a:off x="8716772" y="819926"/>
            <a:ext cx="20535" cy="3037"/>
          </a:xfrm>
          <a:custGeom>
            <a:avLst/>
            <a:gdLst/>
            <a:ahLst/>
            <a:cxnLst/>
            <a:rect l="l" t="t" r="r" b="b"/>
            <a:pathLst>
              <a:path w="20535" h="3037">
                <a:moveTo>
                  <a:pt x="0" y="1518"/>
                </a:moveTo>
                <a:lnTo>
                  <a:pt x="148" y="1974"/>
                </a:lnTo>
                <a:lnTo>
                  <a:pt x="297" y="2429"/>
                </a:lnTo>
                <a:lnTo>
                  <a:pt x="1190" y="3037"/>
                </a:lnTo>
                <a:lnTo>
                  <a:pt x="2678" y="1518"/>
                </a:lnTo>
                <a:lnTo>
                  <a:pt x="20535" y="3037"/>
                </a:lnTo>
                <a:lnTo>
                  <a:pt x="20535" y="0"/>
                </a:lnTo>
                <a:lnTo>
                  <a:pt x="1190" y="0"/>
                </a:lnTo>
                <a:lnTo>
                  <a:pt x="297" y="607"/>
                </a:lnTo>
                <a:lnTo>
                  <a:pt x="0" y="1518"/>
                </a:lnTo>
                <a:close/>
              </a:path>
            </a:pathLst>
          </a:custGeom>
          <a:solidFill>
            <a:srgbClr val="000000"/>
          </a:solidFill>
        </p:spPr>
        <p:txBody>
          <a:bodyPr wrap="square" lIns="0" tIns="0" rIns="0" bIns="0" rtlCol="0">
            <a:noAutofit/>
          </a:bodyPr>
          <a:lstStyle/>
          <a:p>
            <a:endParaRPr/>
          </a:p>
        </p:txBody>
      </p:sp>
      <p:sp>
        <p:nvSpPr>
          <p:cNvPr id="1014" name="object 1014"/>
          <p:cNvSpPr/>
          <p:nvPr/>
        </p:nvSpPr>
        <p:spPr>
          <a:xfrm>
            <a:off x="8664986" y="634046"/>
            <a:ext cx="2976" cy="184361"/>
          </a:xfrm>
          <a:custGeom>
            <a:avLst/>
            <a:gdLst/>
            <a:ahLst/>
            <a:cxnLst/>
            <a:rect l="l" t="t" r="r" b="b"/>
            <a:pathLst>
              <a:path w="2976" h="184361">
                <a:moveTo>
                  <a:pt x="1041" y="184209"/>
                </a:moveTo>
                <a:lnTo>
                  <a:pt x="1488" y="184361"/>
                </a:lnTo>
                <a:lnTo>
                  <a:pt x="1488" y="181627"/>
                </a:lnTo>
                <a:lnTo>
                  <a:pt x="2976" y="0"/>
                </a:lnTo>
                <a:lnTo>
                  <a:pt x="0" y="0"/>
                </a:lnTo>
                <a:lnTo>
                  <a:pt x="0" y="183146"/>
                </a:lnTo>
                <a:lnTo>
                  <a:pt x="595" y="184057"/>
                </a:lnTo>
                <a:lnTo>
                  <a:pt x="1041" y="184209"/>
                </a:lnTo>
                <a:close/>
              </a:path>
            </a:pathLst>
          </a:custGeom>
          <a:solidFill>
            <a:srgbClr val="000000"/>
          </a:solidFill>
        </p:spPr>
        <p:txBody>
          <a:bodyPr wrap="square" lIns="0" tIns="0" rIns="0" bIns="0" rtlCol="0">
            <a:noAutofit/>
          </a:bodyPr>
          <a:lstStyle/>
          <a:p>
            <a:endParaRPr/>
          </a:p>
        </p:txBody>
      </p:sp>
      <p:sp>
        <p:nvSpPr>
          <p:cNvPr id="1015" name="object 1015"/>
          <p:cNvSpPr/>
          <p:nvPr/>
        </p:nvSpPr>
        <p:spPr>
          <a:xfrm>
            <a:off x="8666474" y="634046"/>
            <a:ext cx="1488" cy="184361"/>
          </a:xfrm>
          <a:custGeom>
            <a:avLst/>
            <a:gdLst/>
            <a:ahLst/>
            <a:cxnLst/>
            <a:rect l="l" t="t" r="r" b="b"/>
            <a:pathLst>
              <a:path w="1488" h="184361">
                <a:moveTo>
                  <a:pt x="0" y="181627"/>
                </a:moveTo>
                <a:lnTo>
                  <a:pt x="0" y="184361"/>
                </a:lnTo>
                <a:lnTo>
                  <a:pt x="892" y="184057"/>
                </a:lnTo>
                <a:lnTo>
                  <a:pt x="1488" y="183146"/>
                </a:lnTo>
                <a:lnTo>
                  <a:pt x="1488" y="0"/>
                </a:lnTo>
                <a:lnTo>
                  <a:pt x="0" y="181627"/>
                </a:lnTo>
                <a:close/>
              </a:path>
            </a:pathLst>
          </a:custGeom>
          <a:solidFill>
            <a:srgbClr val="000000"/>
          </a:solidFill>
        </p:spPr>
        <p:txBody>
          <a:bodyPr wrap="square" lIns="0" tIns="0" rIns="0" bIns="0" rtlCol="0">
            <a:noAutofit/>
          </a:bodyPr>
          <a:lstStyle/>
          <a:p>
            <a:endParaRPr/>
          </a:p>
        </p:txBody>
      </p:sp>
      <p:sp>
        <p:nvSpPr>
          <p:cNvPr id="1016" name="object 1016"/>
          <p:cNvSpPr/>
          <p:nvPr/>
        </p:nvSpPr>
        <p:spPr>
          <a:xfrm>
            <a:off x="8666475" y="815674"/>
            <a:ext cx="22321" cy="5163"/>
          </a:xfrm>
          <a:custGeom>
            <a:avLst/>
            <a:gdLst/>
            <a:ahLst/>
            <a:cxnLst/>
            <a:rect l="l" t="t" r="r" b="b"/>
            <a:pathLst>
              <a:path w="22321" h="5163">
                <a:moveTo>
                  <a:pt x="21726" y="4555"/>
                </a:moveTo>
                <a:lnTo>
                  <a:pt x="22321" y="3644"/>
                </a:lnTo>
                <a:lnTo>
                  <a:pt x="21726" y="2733"/>
                </a:lnTo>
                <a:lnTo>
                  <a:pt x="20833" y="2126"/>
                </a:lnTo>
                <a:lnTo>
                  <a:pt x="0" y="0"/>
                </a:lnTo>
                <a:lnTo>
                  <a:pt x="0" y="3037"/>
                </a:lnTo>
                <a:lnTo>
                  <a:pt x="20833" y="5163"/>
                </a:lnTo>
                <a:lnTo>
                  <a:pt x="19345" y="3644"/>
                </a:lnTo>
                <a:lnTo>
                  <a:pt x="20833" y="5163"/>
                </a:lnTo>
                <a:lnTo>
                  <a:pt x="21726" y="4555"/>
                </a:lnTo>
                <a:close/>
              </a:path>
            </a:pathLst>
          </a:custGeom>
          <a:solidFill>
            <a:srgbClr val="000000"/>
          </a:solidFill>
        </p:spPr>
        <p:txBody>
          <a:bodyPr wrap="square" lIns="0" tIns="0" rIns="0" bIns="0" rtlCol="0">
            <a:noAutofit/>
          </a:bodyPr>
          <a:lstStyle/>
          <a:p>
            <a:endParaRPr/>
          </a:p>
        </p:txBody>
      </p:sp>
      <p:sp>
        <p:nvSpPr>
          <p:cNvPr id="1017" name="object 1017"/>
          <p:cNvSpPr/>
          <p:nvPr/>
        </p:nvSpPr>
        <p:spPr>
          <a:xfrm>
            <a:off x="8686414" y="631009"/>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1018" name="object 1018"/>
          <p:cNvSpPr/>
          <p:nvPr/>
        </p:nvSpPr>
        <p:spPr>
          <a:xfrm>
            <a:off x="8685819" y="631009"/>
            <a:ext cx="2976" cy="188309"/>
          </a:xfrm>
          <a:custGeom>
            <a:avLst/>
            <a:gdLst/>
            <a:ahLst/>
            <a:cxnLst/>
            <a:rect l="l" t="t" r="r" b="b"/>
            <a:pathLst>
              <a:path w="2976" h="188309">
                <a:moveTo>
                  <a:pt x="595" y="607"/>
                </a:moveTo>
                <a:lnTo>
                  <a:pt x="0" y="1518"/>
                </a:lnTo>
                <a:lnTo>
                  <a:pt x="0" y="188309"/>
                </a:lnTo>
                <a:lnTo>
                  <a:pt x="2976" y="188309"/>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1019" name="object 1019"/>
          <p:cNvSpPr/>
          <p:nvPr/>
        </p:nvSpPr>
        <p:spPr>
          <a:xfrm>
            <a:off x="8665284" y="631009"/>
            <a:ext cx="22023" cy="4555"/>
          </a:xfrm>
          <a:custGeom>
            <a:avLst/>
            <a:gdLst/>
            <a:ahLst/>
            <a:cxnLst/>
            <a:rect l="l" t="t" r="r" b="b"/>
            <a:pathLst>
              <a:path w="22023" h="4555">
                <a:moveTo>
                  <a:pt x="148" y="2581"/>
                </a:moveTo>
                <a:lnTo>
                  <a:pt x="0" y="3037"/>
                </a:lnTo>
                <a:lnTo>
                  <a:pt x="297" y="3948"/>
                </a:lnTo>
                <a:lnTo>
                  <a:pt x="1190" y="4555"/>
                </a:lnTo>
                <a:lnTo>
                  <a:pt x="22023" y="3037"/>
                </a:lnTo>
                <a:lnTo>
                  <a:pt x="22023" y="0"/>
                </a:lnTo>
                <a:lnTo>
                  <a:pt x="2678" y="3037"/>
                </a:lnTo>
                <a:lnTo>
                  <a:pt x="1190" y="1518"/>
                </a:lnTo>
                <a:lnTo>
                  <a:pt x="297" y="2126"/>
                </a:lnTo>
                <a:lnTo>
                  <a:pt x="148" y="2581"/>
                </a:lnTo>
                <a:close/>
              </a:path>
            </a:pathLst>
          </a:custGeom>
          <a:solidFill>
            <a:srgbClr val="000000"/>
          </a:solidFill>
        </p:spPr>
        <p:txBody>
          <a:bodyPr wrap="square" lIns="0" tIns="0" rIns="0" bIns="0" rtlCol="0">
            <a:noAutofit/>
          </a:bodyPr>
          <a:lstStyle/>
          <a:p>
            <a:endParaRPr/>
          </a:p>
        </p:txBody>
      </p:sp>
      <p:sp>
        <p:nvSpPr>
          <p:cNvPr id="1020" name="object 1020"/>
          <p:cNvSpPr/>
          <p:nvPr/>
        </p:nvSpPr>
        <p:spPr>
          <a:xfrm>
            <a:off x="8666475" y="631009"/>
            <a:ext cx="20833" cy="3037"/>
          </a:xfrm>
          <a:custGeom>
            <a:avLst/>
            <a:gdLst/>
            <a:ahLst/>
            <a:cxnLst/>
            <a:rect l="l" t="t" r="r" b="b"/>
            <a:pathLst>
              <a:path w="20833" h="3037">
                <a:moveTo>
                  <a:pt x="0" y="1518"/>
                </a:moveTo>
                <a:lnTo>
                  <a:pt x="1488" y="3037"/>
                </a:lnTo>
                <a:lnTo>
                  <a:pt x="20833" y="0"/>
                </a:lnTo>
                <a:lnTo>
                  <a:pt x="0" y="1518"/>
                </a:lnTo>
                <a:close/>
              </a:path>
            </a:pathLst>
          </a:custGeom>
          <a:solidFill>
            <a:srgbClr val="000000"/>
          </a:solidFill>
        </p:spPr>
        <p:txBody>
          <a:bodyPr wrap="square" lIns="0" tIns="0" rIns="0" bIns="0" rtlCol="0">
            <a:noAutofit/>
          </a:bodyPr>
          <a:lstStyle/>
          <a:p>
            <a:endParaRPr/>
          </a:p>
        </p:txBody>
      </p:sp>
      <p:sp>
        <p:nvSpPr>
          <p:cNvPr id="1021" name="object 1021"/>
          <p:cNvSpPr/>
          <p:nvPr/>
        </p:nvSpPr>
        <p:spPr>
          <a:xfrm>
            <a:off x="8665283" y="604889"/>
            <a:ext cx="8928" cy="18223"/>
          </a:xfrm>
          <a:custGeom>
            <a:avLst/>
            <a:gdLst/>
            <a:ahLst/>
            <a:cxnLst/>
            <a:rect l="l" t="t" r="r" b="b"/>
            <a:pathLst>
              <a:path w="8928" h="18223">
                <a:moveTo>
                  <a:pt x="8928" y="0"/>
                </a:moveTo>
                <a:lnTo>
                  <a:pt x="5059" y="911"/>
                </a:lnTo>
                <a:lnTo>
                  <a:pt x="2380" y="2733"/>
                </a:lnTo>
                <a:lnTo>
                  <a:pt x="595" y="5770"/>
                </a:lnTo>
                <a:lnTo>
                  <a:pt x="0" y="9111"/>
                </a:lnTo>
                <a:lnTo>
                  <a:pt x="595" y="12452"/>
                </a:lnTo>
                <a:lnTo>
                  <a:pt x="2380" y="15490"/>
                </a:lnTo>
                <a:lnTo>
                  <a:pt x="5059" y="17312"/>
                </a:lnTo>
                <a:lnTo>
                  <a:pt x="8928" y="18223"/>
                </a:lnTo>
                <a:lnTo>
                  <a:pt x="8928" y="0"/>
                </a:lnTo>
                <a:close/>
              </a:path>
            </a:pathLst>
          </a:custGeom>
          <a:solidFill>
            <a:srgbClr val="000000"/>
          </a:solidFill>
        </p:spPr>
        <p:txBody>
          <a:bodyPr wrap="square" lIns="0" tIns="0" rIns="0" bIns="0" rtlCol="0">
            <a:noAutofit/>
          </a:bodyPr>
          <a:lstStyle/>
          <a:p>
            <a:endParaRPr/>
          </a:p>
        </p:txBody>
      </p:sp>
      <p:sp>
        <p:nvSpPr>
          <p:cNvPr id="1022" name="object 1022"/>
          <p:cNvSpPr/>
          <p:nvPr/>
        </p:nvSpPr>
        <p:spPr>
          <a:xfrm>
            <a:off x="8674213" y="604889"/>
            <a:ext cx="29761" cy="18223"/>
          </a:xfrm>
          <a:custGeom>
            <a:avLst/>
            <a:gdLst/>
            <a:ahLst/>
            <a:cxnLst/>
            <a:rect l="l" t="t" r="r" b="b"/>
            <a:pathLst>
              <a:path w="29761" h="18223">
                <a:moveTo>
                  <a:pt x="20833" y="0"/>
                </a:moveTo>
                <a:lnTo>
                  <a:pt x="0" y="0"/>
                </a:lnTo>
                <a:lnTo>
                  <a:pt x="0" y="18223"/>
                </a:lnTo>
                <a:lnTo>
                  <a:pt x="20833" y="18223"/>
                </a:lnTo>
                <a:lnTo>
                  <a:pt x="24702" y="17312"/>
                </a:lnTo>
                <a:lnTo>
                  <a:pt x="27678" y="15490"/>
                </a:lnTo>
                <a:lnTo>
                  <a:pt x="29166" y="12452"/>
                </a:lnTo>
                <a:lnTo>
                  <a:pt x="29761" y="9111"/>
                </a:lnTo>
                <a:lnTo>
                  <a:pt x="29166" y="5770"/>
                </a:lnTo>
                <a:lnTo>
                  <a:pt x="27678" y="2733"/>
                </a:lnTo>
                <a:lnTo>
                  <a:pt x="24702" y="911"/>
                </a:lnTo>
                <a:lnTo>
                  <a:pt x="20833" y="0"/>
                </a:lnTo>
                <a:close/>
              </a:path>
            </a:pathLst>
          </a:custGeom>
          <a:solidFill>
            <a:srgbClr val="000000"/>
          </a:solidFill>
        </p:spPr>
        <p:txBody>
          <a:bodyPr wrap="square" lIns="0" tIns="0" rIns="0" bIns="0" rtlCol="0">
            <a:noAutofit/>
          </a:bodyPr>
          <a:lstStyle/>
          <a:p>
            <a:endParaRPr/>
          </a:p>
        </p:txBody>
      </p:sp>
      <p:sp>
        <p:nvSpPr>
          <p:cNvPr id="1023" name="object 1023"/>
          <p:cNvSpPr/>
          <p:nvPr/>
        </p:nvSpPr>
        <p:spPr>
          <a:xfrm>
            <a:off x="8694748" y="623111"/>
            <a:ext cx="1785" cy="10022"/>
          </a:xfrm>
          <a:custGeom>
            <a:avLst/>
            <a:gdLst/>
            <a:ahLst/>
            <a:cxnLst/>
            <a:rect l="l" t="t" r="r" b="b"/>
            <a:pathLst>
              <a:path w="1785" h="10022">
                <a:moveTo>
                  <a:pt x="1785" y="10022"/>
                </a:moveTo>
                <a:lnTo>
                  <a:pt x="297" y="0"/>
                </a:lnTo>
                <a:lnTo>
                  <a:pt x="0" y="7289"/>
                </a:lnTo>
                <a:lnTo>
                  <a:pt x="1785" y="10022"/>
                </a:lnTo>
                <a:close/>
              </a:path>
            </a:pathLst>
          </a:custGeom>
          <a:solidFill>
            <a:srgbClr val="000000"/>
          </a:solidFill>
        </p:spPr>
        <p:txBody>
          <a:bodyPr wrap="square" lIns="0" tIns="0" rIns="0" bIns="0" rtlCol="0">
            <a:noAutofit/>
          </a:bodyPr>
          <a:lstStyle/>
          <a:p>
            <a:endParaRPr/>
          </a:p>
        </p:txBody>
      </p:sp>
      <p:sp>
        <p:nvSpPr>
          <p:cNvPr id="1024" name="object 1024"/>
          <p:cNvSpPr/>
          <p:nvPr/>
        </p:nvSpPr>
        <p:spPr>
          <a:xfrm>
            <a:off x="8693260" y="621593"/>
            <a:ext cx="99" cy="404"/>
          </a:xfrm>
          <a:custGeom>
            <a:avLst/>
            <a:gdLst/>
            <a:ahLst/>
            <a:cxnLst/>
            <a:rect l="l" t="t" r="r" b="b"/>
            <a:pathLst>
              <a:path w="99" h="404">
                <a:moveTo>
                  <a:pt x="99" y="404"/>
                </a:moveTo>
                <a:lnTo>
                  <a:pt x="0" y="0"/>
                </a:lnTo>
                <a:lnTo>
                  <a:pt x="0" y="303"/>
                </a:lnTo>
                <a:close/>
              </a:path>
            </a:pathLst>
          </a:custGeom>
          <a:solidFill>
            <a:srgbClr val="000000"/>
          </a:solidFill>
        </p:spPr>
        <p:txBody>
          <a:bodyPr wrap="square" lIns="0" tIns="0" rIns="0" bIns="0" rtlCol="0">
            <a:noAutofit/>
          </a:bodyPr>
          <a:lstStyle/>
          <a:p>
            <a:endParaRPr/>
          </a:p>
        </p:txBody>
      </p:sp>
      <p:sp>
        <p:nvSpPr>
          <p:cNvPr id="1025" name="object 1025"/>
          <p:cNvSpPr/>
          <p:nvPr/>
        </p:nvSpPr>
        <p:spPr>
          <a:xfrm>
            <a:off x="8693360" y="605191"/>
            <a:ext cx="18353" cy="30372"/>
          </a:xfrm>
          <a:custGeom>
            <a:avLst/>
            <a:gdLst/>
            <a:ahLst/>
            <a:cxnLst/>
            <a:rect l="l" t="t" r="r" b="b"/>
            <a:pathLst>
              <a:path w="18353" h="30372">
                <a:moveTo>
                  <a:pt x="496" y="17312"/>
                </a:moveTo>
                <a:lnTo>
                  <a:pt x="0" y="16806"/>
                </a:lnTo>
                <a:lnTo>
                  <a:pt x="198" y="17616"/>
                </a:lnTo>
                <a:lnTo>
                  <a:pt x="496" y="18830"/>
                </a:lnTo>
                <a:lnTo>
                  <a:pt x="496" y="21260"/>
                </a:lnTo>
                <a:lnTo>
                  <a:pt x="1388" y="25209"/>
                </a:lnTo>
                <a:lnTo>
                  <a:pt x="1686" y="17919"/>
                </a:lnTo>
                <a:lnTo>
                  <a:pt x="3174" y="27942"/>
                </a:lnTo>
                <a:lnTo>
                  <a:pt x="6150" y="29765"/>
                </a:lnTo>
                <a:lnTo>
                  <a:pt x="9424" y="30372"/>
                </a:lnTo>
                <a:lnTo>
                  <a:pt x="12698" y="29765"/>
                </a:lnTo>
                <a:lnTo>
                  <a:pt x="15674" y="27942"/>
                </a:lnTo>
                <a:lnTo>
                  <a:pt x="17460" y="25209"/>
                </a:lnTo>
                <a:lnTo>
                  <a:pt x="18353" y="21260"/>
                </a:lnTo>
                <a:lnTo>
                  <a:pt x="18353" y="17008"/>
                </a:lnTo>
                <a:lnTo>
                  <a:pt x="17460" y="13363"/>
                </a:lnTo>
                <a:lnTo>
                  <a:pt x="16567" y="9719"/>
                </a:lnTo>
                <a:lnTo>
                  <a:pt x="14781" y="6378"/>
                </a:lnTo>
                <a:lnTo>
                  <a:pt x="12400" y="3340"/>
                </a:lnTo>
                <a:lnTo>
                  <a:pt x="8829" y="1214"/>
                </a:lnTo>
                <a:lnTo>
                  <a:pt x="4960" y="0"/>
                </a:lnTo>
                <a:lnTo>
                  <a:pt x="1984" y="17616"/>
                </a:lnTo>
                <a:lnTo>
                  <a:pt x="1091" y="17616"/>
                </a:lnTo>
                <a:lnTo>
                  <a:pt x="496" y="17312"/>
                </a:lnTo>
                <a:close/>
              </a:path>
            </a:pathLst>
          </a:custGeom>
          <a:solidFill>
            <a:srgbClr val="000000"/>
          </a:solidFill>
        </p:spPr>
        <p:txBody>
          <a:bodyPr wrap="square" lIns="0" tIns="0" rIns="0" bIns="0" rtlCol="0">
            <a:noAutofit/>
          </a:bodyPr>
          <a:lstStyle/>
          <a:p>
            <a:endParaRPr/>
          </a:p>
        </p:txBody>
      </p:sp>
      <p:sp>
        <p:nvSpPr>
          <p:cNvPr id="1026" name="object 1026"/>
          <p:cNvSpPr/>
          <p:nvPr/>
        </p:nvSpPr>
        <p:spPr>
          <a:xfrm>
            <a:off x="8695046" y="604889"/>
            <a:ext cx="3273" cy="17919"/>
          </a:xfrm>
          <a:custGeom>
            <a:avLst/>
            <a:gdLst/>
            <a:ahLst/>
            <a:cxnLst/>
            <a:rect l="l" t="t" r="r" b="b"/>
            <a:pathLst>
              <a:path w="3273" h="17919">
                <a:moveTo>
                  <a:pt x="0" y="0"/>
                </a:moveTo>
                <a:lnTo>
                  <a:pt x="0" y="17919"/>
                </a:lnTo>
                <a:lnTo>
                  <a:pt x="297" y="17919"/>
                </a:lnTo>
                <a:lnTo>
                  <a:pt x="3273" y="303"/>
                </a:lnTo>
                <a:lnTo>
                  <a:pt x="0" y="0"/>
                </a:lnTo>
                <a:close/>
              </a:path>
            </a:pathLst>
          </a:custGeom>
          <a:solidFill>
            <a:srgbClr val="000000"/>
          </a:solidFill>
        </p:spPr>
        <p:txBody>
          <a:bodyPr wrap="square" lIns="0" tIns="0" rIns="0" bIns="0" rtlCol="0">
            <a:noAutofit/>
          </a:bodyPr>
          <a:lstStyle/>
          <a:p>
            <a:endParaRPr/>
          </a:p>
        </p:txBody>
      </p:sp>
      <p:sp>
        <p:nvSpPr>
          <p:cNvPr id="1027" name="object 1027"/>
          <p:cNvSpPr/>
          <p:nvPr/>
        </p:nvSpPr>
        <p:spPr>
          <a:xfrm>
            <a:off x="8693856" y="626452"/>
            <a:ext cx="17857" cy="209874"/>
          </a:xfrm>
          <a:custGeom>
            <a:avLst/>
            <a:gdLst/>
            <a:ahLst/>
            <a:cxnLst/>
            <a:rect l="l" t="t" r="r" b="b"/>
            <a:pathLst>
              <a:path w="17857" h="209874">
                <a:moveTo>
                  <a:pt x="17857" y="200762"/>
                </a:moveTo>
                <a:lnTo>
                  <a:pt x="17857" y="0"/>
                </a:lnTo>
                <a:lnTo>
                  <a:pt x="0" y="0"/>
                </a:lnTo>
                <a:lnTo>
                  <a:pt x="0" y="200762"/>
                </a:lnTo>
                <a:lnTo>
                  <a:pt x="892" y="204711"/>
                </a:lnTo>
                <a:lnTo>
                  <a:pt x="2678" y="207444"/>
                </a:lnTo>
                <a:lnTo>
                  <a:pt x="5654" y="209266"/>
                </a:lnTo>
                <a:lnTo>
                  <a:pt x="8928" y="209874"/>
                </a:lnTo>
                <a:lnTo>
                  <a:pt x="12202" y="209266"/>
                </a:lnTo>
                <a:lnTo>
                  <a:pt x="15178" y="207444"/>
                </a:lnTo>
                <a:lnTo>
                  <a:pt x="16964" y="204711"/>
                </a:lnTo>
                <a:lnTo>
                  <a:pt x="17857" y="200762"/>
                </a:lnTo>
                <a:close/>
              </a:path>
            </a:pathLst>
          </a:custGeom>
          <a:solidFill>
            <a:srgbClr val="000000"/>
          </a:solidFill>
        </p:spPr>
        <p:txBody>
          <a:bodyPr wrap="square" lIns="0" tIns="0" rIns="0" bIns="0" rtlCol="0">
            <a:noAutofit/>
          </a:bodyPr>
          <a:lstStyle/>
          <a:p>
            <a:endParaRPr/>
          </a:p>
        </p:txBody>
      </p:sp>
      <p:sp>
        <p:nvSpPr>
          <p:cNvPr id="1028" name="object 1028"/>
          <p:cNvSpPr/>
          <p:nvPr/>
        </p:nvSpPr>
        <p:spPr>
          <a:xfrm>
            <a:off x="8677783" y="826305"/>
            <a:ext cx="33928" cy="22171"/>
          </a:xfrm>
          <a:custGeom>
            <a:avLst/>
            <a:gdLst/>
            <a:ahLst/>
            <a:cxnLst/>
            <a:rect l="l" t="t" r="r" b="b"/>
            <a:pathLst>
              <a:path w="33928" h="22171">
                <a:moveTo>
                  <a:pt x="3571" y="20653"/>
                </a:moveTo>
                <a:lnTo>
                  <a:pt x="6547" y="22171"/>
                </a:lnTo>
                <a:lnTo>
                  <a:pt x="10416" y="22171"/>
                </a:lnTo>
                <a:lnTo>
                  <a:pt x="13988" y="21564"/>
                </a:lnTo>
                <a:lnTo>
                  <a:pt x="17559" y="20349"/>
                </a:lnTo>
                <a:lnTo>
                  <a:pt x="20833" y="18830"/>
                </a:lnTo>
                <a:lnTo>
                  <a:pt x="24702" y="16704"/>
                </a:lnTo>
                <a:lnTo>
                  <a:pt x="27678" y="13971"/>
                </a:lnTo>
                <a:lnTo>
                  <a:pt x="30654" y="10934"/>
                </a:lnTo>
                <a:lnTo>
                  <a:pt x="33035" y="6074"/>
                </a:lnTo>
                <a:lnTo>
                  <a:pt x="33928" y="911"/>
                </a:lnTo>
                <a:lnTo>
                  <a:pt x="16071" y="911"/>
                </a:lnTo>
                <a:lnTo>
                  <a:pt x="16368" y="607"/>
                </a:lnTo>
                <a:lnTo>
                  <a:pt x="16368" y="0"/>
                </a:lnTo>
                <a:lnTo>
                  <a:pt x="15773" y="607"/>
                </a:lnTo>
                <a:lnTo>
                  <a:pt x="14583" y="1518"/>
                </a:lnTo>
                <a:lnTo>
                  <a:pt x="13095" y="2429"/>
                </a:lnTo>
                <a:lnTo>
                  <a:pt x="11011" y="3340"/>
                </a:lnTo>
                <a:lnTo>
                  <a:pt x="9226" y="3948"/>
                </a:lnTo>
                <a:lnTo>
                  <a:pt x="6845" y="4555"/>
                </a:lnTo>
                <a:lnTo>
                  <a:pt x="3273" y="6074"/>
                </a:lnTo>
                <a:lnTo>
                  <a:pt x="1190" y="8808"/>
                </a:lnTo>
                <a:lnTo>
                  <a:pt x="0" y="11845"/>
                </a:lnTo>
                <a:lnTo>
                  <a:pt x="297" y="15186"/>
                </a:lnTo>
                <a:lnTo>
                  <a:pt x="1190" y="18223"/>
                </a:lnTo>
                <a:lnTo>
                  <a:pt x="3571" y="20653"/>
                </a:lnTo>
                <a:close/>
              </a:path>
            </a:pathLst>
          </a:custGeom>
          <a:solidFill>
            <a:srgbClr val="000000"/>
          </a:solidFill>
        </p:spPr>
        <p:txBody>
          <a:bodyPr wrap="square" lIns="0" tIns="0" rIns="0" bIns="0" rtlCol="0">
            <a:noAutofit/>
          </a:bodyPr>
          <a:lstStyle/>
          <a:p>
            <a:endParaRPr/>
          </a:p>
        </p:txBody>
      </p:sp>
      <p:sp>
        <p:nvSpPr>
          <p:cNvPr id="1029" name="object 1029"/>
          <p:cNvSpPr/>
          <p:nvPr/>
        </p:nvSpPr>
        <p:spPr>
          <a:xfrm>
            <a:off x="8657248" y="830557"/>
            <a:ext cx="30654" cy="22779"/>
          </a:xfrm>
          <a:custGeom>
            <a:avLst/>
            <a:gdLst/>
            <a:ahLst/>
            <a:cxnLst/>
            <a:rect l="l" t="t" r="r" b="b"/>
            <a:pathLst>
              <a:path w="30654" h="22779">
                <a:moveTo>
                  <a:pt x="1488" y="13667"/>
                </a:moveTo>
                <a:lnTo>
                  <a:pt x="2976" y="22779"/>
                </a:lnTo>
                <a:lnTo>
                  <a:pt x="30654" y="18223"/>
                </a:lnTo>
                <a:lnTo>
                  <a:pt x="27678" y="0"/>
                </a:lnTo>
                <a:lnTo>
                  <a:pt x="0" y="4555"/>
                </a:lnTo>
                <a:lnTo>
                  <a:pt x="1488" y="13667"/>
                </a:lnTo>
                <a:close/>
              </a:path>
            </a:pathLst>
          </a:custGeom>
          <a:solidFill>
            <a:srgbClr val="000000"/>
          </a:solidFill>
        </p:spPr>
        <p:txBody>
          <a:bodyPr wrap="square" lIns="0" tIns="0" rIns="0" bIns="0" rtlCol="0">
            <a:noAutofit/>
          </a:bodyPr>
          <a:lstStyle/>
          <a:p>
            <a:endParaRPr/>
          </a:p>
        </p:txBody>
      </p:sp>
      <p:sp>
        <p:nvSpPr>
          <p:cNvPr id="1030" name="object 1030"/>
          <p:cNvSpPr/>
          <p:nvPr/>
        </p:nvSpPr>
        <p:spPr>
          <a:xfrm>
            <a:off x="8649807" y="835113"/>
            <a:ext cx="10416" cy="18223"/>
          </a:xfrm>
          <a:custGeom>
            <a:avLst/>
            <a:gdLst/>
            <a:ahLst/>
            <a:cxnLst/>
            <a:rect l="l" t="t" r="r" b="b"/>
            <a:pathLst>
              <a:path w="10416" h="18223">
                <a:moveTo>
                  <a:pt x="7440" y="0"/>
                </a:moveTo>
                <a:lnTo>
                  <a:pt x="3571" y="1518"/>
                </a:lnTo>
                <a:lnTo>
                  <a:pt x="1190" y="3948"/>
                </a:lnTo>
                <a:lnTo>
                  <a:pt x="0" y="6985"/>
                </a:lnTo>
                <a:lnTo>
                  <a:pt x="0" y="10326"/>
                </a:lnTo>
                <a:lnTo>
                  <a:pt x="1190" y="13667"/>
                </a:lnTo>
                <a:lnTo>
                  <a:pt x="3273" y="16401"/>
                </a:lnTo>
                <a:lnTo>
                  <a:pt x="6249" y="17919"/>
                </a:lnTo>
                <a:lnTo>
                  <a:pt x="10416" y="18223"/>
                </a:lnTo>
                <a:lnTo>
                  <a:pt x="7440" y="0"/>
                </a:lnTo>
                <a:close/>
              </a:path>
            </a:pathLst>
          </a:custGeom>
          <a:solidFill>
            <a:srgbClr val="000000"/>
          </a:solidFill>
        </p:spPr>
        <p:txBody>
          <a:bodyPr wrap="square" lIns="0" tIns="0" rIns="0" bIns="0" rtlCol="0">
            <a:noAutofit/>
          </a:bodyPr>
          <a:lstStyle/>
          <a:p>
            <a:endParaRPr/>
          </a:p>
        </p:txBody>
      </p:sp>
      <p:sp>
        <p:nvSpPr>
          <p:cNvPr id="1031" name="object 1031"/>
          <p:cNvSpPr/>
          <p:nvPr/>
        </p:nvSpPr>
        <p:spPr>
          <a:xfrm>
            <a:off x="8668557" y="607926"/>
            <a:ext cx="5654" cy="12149"/>
          </a:xfrm>
          <a:custGeom>
            <a:avLst/>
            <a:gdLst/>
            <a:ahLst/>
            <a:cxnLst/>
            <a:rect l="l" t="t" r="r" b="b"/>
            <a:pathLst>
              <a:path w="5654" h="12149">
                <a:moveTo>
                  <a:pt x="5654" y="0"/>
                </a:moveTo>
                <a:lnTo>
                  <a:pt x="2976" y="607"/>
                </a:lnTo>
                <a:lnTo>
                  <a:pt x="1190" y="1822"/>
                </a:lnTo>
                <a:lnTo>
                  <a:pt x="297" y="3948"/>
                </a:lnTo>
                <a:lnTo>
                  <a:pt x="0" y="6074"/>
                </a:lnTo>
                <a:lnTo>
                  <a:pt x="297" y="8200"/>
                </a:lnTo>
                <a:lnTo>
                  <a:pt x="1190" y="10326"/>
                </a:lnTo>
                <a:lnTo>
                  <a:pt x="2976" y="11541"/>
                </a:lnTo>
                <a:lnTo>
                  <a:pt x="5654" y="12149"/>
                </a:lnTo>
                <a:lnTo>
                  <a:pt x="5654" y="0"/>
                </a:lnTo>
                <a:close/>
              </a:path>
            </a:pathLst>
          </a:custGeom>
          <a:solidFill>
            <a:srgbClr val="BEBEBE"/>
          </a:solidFill>
        </p:spPr>
        <p:txBody>
          <a:bodyPr wrap="square" lIns="0" tIns="0" rIns="0" bIns="0" rtlCol="0">
            <a:noAutofit/>
          </a:bodyPr>
          <a:lstStyle/>
          <a:p>
            <a:endParaRPr/>
          </a:p>
        </p:txBody>
      </p:sp>
      <p:sp>
        <p:nvSpPr>
          <p:cNvPr id="1032" name="object 1032"/>
          <p:cNvSpPr/>
          <p:nvPr/>
        </p:nvSpPr>
        <p:spPr>
          <a:xfrm>
            <a:off x="8674213" y="607926"/>
            <a:ext cx="26785" cy="12149"/>
          </a:xfrm>
          <a:custGeom>
            <a:avLst/>
            <a:gdLst/>
            <a:ahLst/>
            <a:cxnLst/>
            <a:rect l="l" t="t" r="r" b="b"/>
            <a:pathLst>
              <a:path w="26785" h="12149">
                <a:moveTo>
                  <a:pt x="20833" y="0"/>
                </a:moveTo>
                <a:lnTo>
                  <a:pt x="0" y="0"/>
                </a:lnTo>
                <a:lnTo>
                  <a:pt x="0" y="12149"/>
                </a:lnTo>
                <a:lnTo>
                  <a:pt x="20833" y="12149"/>
                </a:lnTo>
                <a:lnTo>
                  <a:pt x="23511" y="11541"/>
                </a:lnTo>
                <a:lnTo>
                  <a:pt x="25297" y="10326"/>
                </a:lnTo>
                <a:lnTo>
                  <a:pt x="26190" y="8200"/>
                </a:lnTo>
                <a:lnTo>
                  <a:pt x="26785" y="6074"/>
                </a:lnTo>
                <a:lnTo>
                  <a:pt x="26190" y="3948"/>
                </a:lnTo>
                <a:lnTo>
                  <a:pt x="25297" y="1822"/>
                </a:lnTo>
                <a:lnTo>
                  <a:pt x="23511" y="607"/>
                </a:lnTo>
                <a:lnTo>
                  <a:pt x="20833" y="0"/>
                </a:lnTo>
                <a:close/>
              </a:path>
            </a:pathLst>
          </a:custGeom>
          <a:solidFill>
            <a:srgbClr val="BEBEBE"/>
          </a:solidFill>
        </p:spPr>
        <p:txBody>
          <a:bodyPr wrap="square" lIns="0" tIns="0" rIns="0" bIns="0" rtlCol="0">
            <a:noAutofit/>
          </a:bodyPr>
          <a:lstStyle/>
          <a:p>
            <a:endParaRPr/>
          </a:p>
        </p:txBody>
      </p:sp>
      <p:sp>
        <p:nvSpPr>
          <p:cNvPr id="1033" name="object 1033"/>
          <p:cNvSpPr/>
          <p:nvPr/>
        </p:nvSpPr>
        <p:spPr>
          <a:xfrm>
            <a:off x="8695640" y="620074"/>
            <a:ext cx="892" cy="2126"/>
          </a:xfrm>
          <a:custGeom>
            <a:avLst/>
            <a:gdLst/>
            <a:ahLst/>
            <a:cxnLst/>
            <a:rect l="l" t="t" r="r" b="b"/>
            <a:pathLst>
              <a:path w="892" h="2126">
                <a:moveTo>
                  <a:pt x="297" y="0"/>
                </a:moveTo>
                <a:lnTo>
                  <a:pt x="0" y="0"/>
                </a:lnTo>
                <a:lnTo>
                  <a:pt x="297" y="303"/>
                </a:lnTo>
                <a:lnTo>
                  <a:pt x="892" y="2126"/>
                </a:lnTo>
                <a:lnTo>
                  <a:pt x="297" y="0"/>
                </a:lnTo>
                <a:close/>
              </a:path>
            </a:pathLst>
          </a:custGeom>
          <a:solidFill>
            <a:srgbClr val="BEBEBE"/>
          </a:solidFill>
        </p:spPr>
        <p:txBody>
          <a:bodyPr wrap="square" lIns="0" tIns="0" rIns="0" bIns="0" rtlCol="0">
            <a:noAutofit/>
          </a:bodyPr>
          <a:lstStyle/>
          <a:p>
            <a:endParaRPr/>
          </a:p>
        </p:txBody>
      </p:sp>
      <p:sp>
        <p:nvSpPr>
          <p:cNvPr id="1034" name="object 1034"/>
          <p:cNvSpPr/>
          <p:nvPr/>
        </p:nvSpPr>
        <p:spPr>
          <a:xfrm>
            <a:off x="8695045" y="607925"/>
            <a:ext cx="13690" cy="24298"/>
          </a:xfrm>
          <a:custGeom>
            <a:avLst/>
            <a:gdLst/>
            <a:ahLst/>
            <a:cxnLst/>
            <a:rect l="l" t="t" r="r" b="b"/>
            <a:pathLst>
              <a:path w="13690" h="24298">
                <a:moveTo>
                  <a:pt x="2976" y="0"/>
                </a:moveTo>
                <a:lnTo>
                  <a:pt x="0" y="0"/>
                </a:lnTo>
                <a:lnTo>
                  <a:pt x="0" y="12149"/>
                </a:lnTo>
                <a:lnTo>
                  <a:pt x="892" y="12149"/>
                </a:lnTo>
                <a:lnTo>
                  <a:pt x="1488" y="14275"/>
                </a:lnTo>
                <a:lnTo>
                  <a:pt x="1785" y="15793"/>
                </a:lnTo>
                <a:lnTo>
                  <a:pt x="1785" y="18527"/>
                </a:lnTo>
                <a:lnTo>
                  <a:pt x="2380" y="21260"/>
                </a:lnTo>
                <a:lnTo>
                  <a:pt x="3571" y="23083"/>
                </a:lnTo>
                <a:lnTo>
                  <a:pt x="5654" y="23994"/>
                </a:lnTo>
                <a:lnTo>
                  <a:pt x="7738" y="24298"/>
                </a:lnTo>
                <a:lnTo>
                  <a:pt x="9821" y="23994"/>
                </a:lnTo>
                <a:lnTo>
                  <a:pt x="11904" y="23083"/>
                </a:lnTo>
                <a:lnTo>
                  <a:pt x="13095" y="21260"/>
                </a:lnTo>
                <a:lnTo>
                  <a:pt x="13690" y="18527"/>
                </a:lnTo>
                <a:lnTo>
                  <a:pt x="13690" y="14578"/>
                </a:lnTo>
                <a:lnTo>
                  <a:pt x="12797" y="11237"/>
                </a:lnTo>
                <a:lnTo>
                  <a:pt x="12202" y="8200"/>
                </a:lnTo>
                <a:lnTo>
                  <a:pt x="10714" y="5467"/>
                </a:lnTo>
                <a:lnTo>
                  <a:pt x="8630" y="3037"/>
                </a:lnTo>
                <a:lnTo>
                  <a:pt x="5952" y="1214"/>
                </a:lnTo>
                <a:lnTo>
                  <a:pt x="2976" y="0"/>
                </a:lnTo>
                <a:close/>
              </a:path>
            </a:pathLst>
          </a:custGeom>
          <a:solidFill>
            <a:srgbClr val="BEBEBE"/>
          </a:solidFill>
        </p:spPr>
        <p:txBody>
          <a:bodyPr wrap="square" lIns="0" tIns="0" rIns="0" bIns="0" rtlCol="0">
            <a:noAutofit/>
          </a:bodyPr>
          <a:lstStyle/>
          <a:p>
            <a:endParaRPr/>
          </a:p>
        </p:txBody>
      </p:sp>
      <p:sp>
        <p:nvSpPr>
          <p:cNvPr id="1035" name="object 1035"/>
          <p:cNvSpPr/>
          <p:nvPr/>
        </p:nvSpPr>
        <p:spPr>
          <a:xfrm>
            <a:off x="8696831" y="626453"/>
            <a:ext cx="11904" cy="206533"/>
          </a:xfrm>
          <a:custGeom>
            <a:avLst/>
            <a:gdLst/>
            <a:ahLst/>
            <a:cxnLst/>
            <a:rect l="l" t="t" r="r" b="b"/>
            <a:pathLst>
              <a:path w="11904" h="206533">
                <a:moveTo>
                  <a:pt x="11904" y="200762"/>
                </a:moveTo>
                <a:lnTo>
                  <a:pt x="11904" y="0"/>
                </a:lnTo>
                <a:lnTo>
                  <a:pt x="0" y="0"/>
                </a:lnTo>
                <a:lnTo>
                  <a:pt x="0" y="200762"/>
                </a:lnTo>
                <a:lnTo>
                  <a:pt x="595" y="203496"/>
                </a:lnTo>
                <a:lnTo>
                  <a:pt x="1785" y="205318"/>
                </a:lnTo>
                <a:lnTo>
                  <a:pt x="3869" y="206229"/>
                </a:lnTo>
                <a:lnTo>
                  <a:pt x="5952" y="206533"/>
                </a:lnTo>
                <a:lnTo>
                  <a:pt x="8035" y="206229"/>
                </a:lnTo>
                <a:lnTo>
                  <a:pt x="10119" y="205318"/>
                </a:lnTo>
                <a:lnTo>
                  <a:pt x="11309" y="203496"/>
                </a:lnTo>
                <a:lnTo>
                  <a:pt x="11904" y="200762"/>
                </a:lnTo>
                <a:close/>
              </a:path>
            </a:pathLst>
          </a:custGeom>
          <a:solidFill>
            <a:srgbClr val="BEBEBE"/>
          </a:solidFill>
        </p:spPr>
        <p:txBody>
          <a:bodyPr wrap="square" lIns="0" tIns="0" rIns="0" bIns="0" rtlCol="0">
            <a:noAutofit/>
          </a:bodyPr>
          <a:lstStyle/>
          <a:p>
            <a:endParaRPr/>
          </a:p>
        </p:txBody>
      </p:sp>
      <p:sp>
        <p:nvSpPr>
          <p:cNvPr id="1036" name="object 1036"/>
          <p:cNvSpPr/>
          <p:nvPr/>
        </p:nvSpPr>
        <p:spPr>
          <a:xfrm>
            <a:off x="8680463" y="833594"/>
            <a:ext cx="6845" cy="12149"/>
          </a:xfrm>
          <a:custGeom>
            <a:avLst/>
            <a:gdLst/>
            <a:ahLst/>
            <a:cxnLst/>
            <a:rect l="l" t="t" r="r" b="b"/>
            <a:pathLst>
              <a:path w="6845" h="12149">
                <a:moveTo>
                  <a:pt x="297" y="7289"/>
                </a:moveTo>
                <a:lnTo>
                  <a:pt x="892" y="9415"/>
                </a:lnTo>
                <a:lnTo>
                  <a:pt x="2380" y="11237"/>
                </a:lnTo>
                <a:lnTo>
                  <a:pt x="4464" y="12149"/>
                </a:lnTo>
                <a:lnTo>
                  <a:pt x="6845" y="12149"/>
                </a:lnTo>
                <a:lnTo>
                  <a:pt x="5059" y="0"/>
                </a:lnTo>
                <a:lnTo>
                  <a:pt x="4761" y="0"/>
                </a:lnTo>
                <a:lnTo>
                  <a:pt x="2380" y="911"/>
                </a:lnTo>
                <a:lnTo>
                  <a:pt x="892" y="2733"/>
                </a:lnTo>
                <a:lnTo>
                  <a:pt x="0" y="4859"/>
                </a:lnTo>
                <a:lnTo>
                  <a:pt x="297" y="7289"/>
                </a:lnTo>
                <a:close/>
              </a:path>
            </a:pathLst>
          </a:custGeom>
          <a:solidFill>
            <a:srgbClr val="BEBEBE"/>
          </a:solidFill>
        </p:spPr>
        <p:txBody>
          <a:bodyPr wrap="square" lIns="0" tIns="0" rIns="0" bIns="0" rtlCol="0">
            <a:noAutofit/>
          </a:bodyPr>
          <a:lstStyle/>
          <a:p>
            <a:endParaRPr/>
          </a:p>
        </p:txBody>
      </p:sp>
      <p:sp>
        <p:nvSpPr>
          <p:cNvPr id="1037" name="object 1037"/>
          <p:cNvSpPr/>
          <p:nvPr/>
        </p:nvSpPr>
        <p:spPr>
          <a:xfrm>
            <a:off x="8685225" y="827216"/>
            <a:ext cx="23511" cy="18527"/>
          </a:xfrm>
          <a:custGeom>
            <a:avLst/>
            <a:gdLst/>
            <a:ahLst/>
            <a:cxnLst/>
            <a:rect l="l" t="t" r="r" b="b"/>
            <a:pathLst>
              <a:path w="23511" h="18527">
                <a:moveTo>
                  <a:pt x="6845" y="4252"/>
                </a:moveTo>
                <a:lnTo>
                  <a:pt x="4761" y="5163"/>
                </a:lnTo>
                <a:lnTo>
                  <a:pt x="2678" y="6074"/>
                </a:lnTo>
                <a:lnTo>
                  <a:pt x="0" y="6378"/>
                </a:lnTo>
                <a:lnTo>
                  <a:pt x="297" y="6378"/>
                </a:lnTo>
                <a:lnTo>
                  <a:pt x="2083" y="18527"/>
                </a:lnTo>
                <a:lnTo>
                  <a:pt x="2380" y="18527"/>
                </a:lnTo>
                <a:lnTo>
                  <a:pt x="5654" y="17616"/>
                </a:lnTo>
                <a:lnTo>
                  <a:pt x="8928" y="16704"/>
                </a:lnTo>
                <a:lnTo>
                  <a:pt x="12202" y="15186"/>
                </a:lnTo>
                <a:lnTo>
                  <a:pt x="15476" y="13060"/>
                </a:lnTo>
                <a:lnTo>
                  <a:pt x="18452" y="10934"/>
                </a:lnTo>
                <a:lnTo>
                  <a:pt x="20833" y="8200"/>
                </a:lnTo>
                <a:lnTo>
                  <a:pt x="22916" y="4252"/>
                </a:lnTo>
                <a:lnTo>
                  <a:pt x="23511" y="0"/>
                </a:lnTo>
                <a:lnTo>
                  <a:pt x="11607" y="0"/>
                </a:lnTo>
                <a:lnTo>
                  <a:pt x="11607" y="607"/>
                </a:lnTo>
                <a:lnTo>
                  <a:pt x="11309" y="911"/>
                </a:lnTo>
                <a:lnTo>
                  <a:pt x="10119" y="1822"/>
                </a:lnTo>
                <a:lnTo>
                  <a:pt x="8928" y="3340"/>
                </a:lnTo>
                <a:lnTo>
                  <a:pt x="6845" y="4252"/>
                </a:lnTo>
                <a:close/>
              </a:path>
            </a:pathLst>
          </a:custGeom>
          <a:solidFill>
            <a:srgbClr val="BEBEBE"/>
          </a:solidFill>
        </p:spPr>
        <p:txBody>
          <a:bodyPr wrap="square" lIns="0" tIns="0" rIns="0" bIns="0" rtlCol="0">
            <a:noAutofit/>
          </a:bodyPr>
          <a:lstStyle/>
          <a:p>
            <a:endParaRPr/>
          </a:p>
        </p:txBody>
      </p:sp>
      <p:sp>
        <p:nvSpPr>
          <p:cNvPr id="1038" name="object 1038"/>
          <p:cNvSpPr/>
          <p:nvPr/>
        </p:nvSpPr>
        <p:spPr>
          <a:xfrm>
            <a:off x="8657843" y="833593"/>
            <a:ext cx="29464" cy="16704"/>
          </a:xfrm>
          <a:custGeom>
            <a:avLst/>
            <a:gdLst/>
            <a:ahLst/>
            <a:cxnLst/>
            <a:rect l="l" t="t" r="r" b="b"/>
            <a:pathLst>
              <a:path w="29464" h="16704">
                <a:moveTo>
                  <a:pt x="892" y="10630"/>
                </a:moveTo>
                <a:lnTo>
                  <a:pt x="1785" y="16704"/>
                </a:lnTo>
                <a:lnTo>
                  <a:pt x="29464" y="12149"/>
                </a:lnTo>
                <a:lnTo>
                  <a:pt x="27678" y="0"/>
                </a:lnTo>
                <a:lnTo>
                  <a:pt x="0" y="4555"/>
                </a:lnTo>
                <a:lnTo>
                  <a:pt x="892" y="10630"/>
                </a:lnTo>
                <a:close/>
              </a:path>
            </a:pathLst>
          </a:custGeom>
          <a:solidFill>
            <a:srgbClr val="BEBEBE"/>
          </a:solidFill>
        </p:spPr>
        <p:txBody>
          <a:bodyPr wrap="square" lIns="0" tIns="0" rIns="0" bIns="0" rtlCol="0">
            <a:noAutofit/>
          </a:bodyPr>
          <a:lstStyle/>
          <a:p>
            <a:endParaRPr/>
          </a:p>
        </p:txBody>
      </p:sp>
      <p:sp>
        <p:nvSpPr>
          <p:cNvPr id="1039" name="object 1039"/>
          <p:cNvSpPr/>
          <p:nvPr/>
        </p:nvSpPr>
        <p:spPr>
          <a:xfrm>
            <a:off x="8653082" y="838150"/>
            <a:ext cx="6547" cy="12149"/>
          </a:xfrm>
          <a:custGeom>
            <a:avLst/>
            <a:gdLst/>
            <a:ahLst/>
            <a:cxnLst/>
            <a:rect l="l" t="t" r="r" b="b"/>
            <a:pathLst>
              <a:path w="6547" h="12149">
                <a:moveTo>
                  <a:pt x="4761" y="0"/>
                </a:moveTo>
                <a:lnTo>
                  <a:pt x="2380" y="911"/>
                </a:lnTo>
                <a:lnTo>
                  <a:pt x="595" y="2429"/>
                </a:lnTo>
                <a:lnTo>
                  <a:pt x="0" y="4555"/>
                </a:lnTo>
                <a:lnTo>
                  <a:pt x="0" y="6985"/>
                </a:lnTo>
                <a:lnTo>
                  <a:pt x="595" y="9111"/>
                </a:lnTo>
                <a:lnTo>
                  <a:pt x="1785" y="10934"/>
                </a:lnTo>
                <a:lnTo>
                  <a:pt x="3869" y="12149"/>
                </a:lnTo>
                <a:lnTo>
                  <a:pt x="6547" y="12149"/>
                </a:lnTo>
                <a:lnTo>
                  <a:pt x="4761" y="0"/>
                </a:lnTo>
                <a:close/>
              </a:path>
            </a:pathLst>
          </a:custGeom>
          <a:solidFill>
            <a:srgbClr val="BEBEBE"/>
          </a:solidFill>
        </p:spPr>
        <p:txBody>
          <a:bodyPr wrap="square" lIns="0" tIns="0" rIns="0" bIns="0" rtlCol="0">
            <a:noAutofit/>
          </a:bodyPr>
          <a:lstStyle/>
          <a:p>
            <a:endParaRPr/>
          </a:p>
        </p:txBody>
      </p:sp>
      <p:sp>
        <p:nvSpPr>
          <p:cNvPr id="1040" name="object 1040"/>
          <p:cNvSpPr/>
          <p:nvPr/>
        </p:nvSpPr>
        <p:spPr>
          <a:xfrm>
            <a:off x="8671236" y="610962"/>
            <a:ext cx="2976" cy="6074"/>
          </a:xfrm>
          <a:custGeom>
            <a:avLst/>
            <a:gdLst/>
            <a:ahLst/>
            <a:cxnLst/>
            <a:rect l="l" t="t" r="r" b="b"/>
            <a:pathLst>
              <a:path w="2976" h="6074">
                <a:moveTo>
                  <a:pt x="2976" y="0"/>
                </a:moveTo>
                <a:lnTo>
                  <a:pt x="892" y="911"/>
                </a:lnTo>
                <a:lnTo>
                  <a:pt x="0" y="3037"/>
                </a:lnTo>
                <a:lnTo>
                  <a:pt x="892" y="5163"/>
                </a:lnTo>
                <a:lnTo>
                  <a:pt x="2976" y="6074"/>
                </a:lnTo>
                <a:lnTo>
                  <a:pt x="2976" y="0"/>
                </a:lnTo>
                <a:close/>
              </a:path>
            </a:pathLst>
          </a:custGeom>
          <a:solidFill>
            <a:srgbClr val="FFFFFF"/>
          </a:solidFill>
        </p:spPr>
        <p:txBody>
          <a:bodyPr wrap="square" lIns="0" tIns="0" rIns="0" bIns="0" rtlCol="0">
            <a:noAutofit/>
          </a:bodyPr>
          <a:lstStyle/>
          <a:p>
            <a:endParaRPr/>
          </a:p>
        </p:txBody>
      </p:sp>
      <p:sp>
        <p:nvSpPr>
          <p:cNvPr id="1041" name="object 1041"/>
          <p:cNvSpPr/>
          <p:nvPr/>
        </p:nvSpPr>
        <p:spPr>
          <a:xfrm>
            <a:off x="8674213" y="610962"/>
            <a:ext cx="23809" cy="6074"/>
          </a:xfrm>
          <a:custGeom>
            <a:avLst/>
            <a:gdLst/>
            <a:ahLst/>
            <a:cxnLst/>
            <a:rect l="l" t="t" r="r" b="b"/>
            <a:pathLst>
              <a:path w="23809" h="6074">
                <a:moveTo>
                  <a:pt x="20833" y="0"/>
                </a:moveTo>
                <a:lnTo>
                  <a:pt x="0" y="0"/>
                </a:lnTo>
                <a:lnTo>
                  <a:pt x="0" y="6074"/>
                </a:lnTo>
                <a:lnTo>
                  <a:pt x="20833" y="6074"/>
                </a:lnTo>
                <a:lnTo>
                  <a:pt x="22916" y="5163"/>
                </a:lnTo>
                <a:lnTo>
                  <a:pt x="23809" y="3037"/>
                </a:lnTo>
                <a:lnTo>
                  <a:pt x="22916" y="911"/>
                </a:lnTo>
                <a:lnTo>
                  <a:pt x="20833" y="0"/>
                </a:lnTo>
                <a:close/>
              </a:path>
            </a:pathLst>
          </a:custGeom>
          <a:solidFill>
            <a:srgbClr val="FFFFFF"/>
          </a:solidFill>
        </p:spPr>
        <p:txBody>
          <a:bodyPr wrap="square" lIns="0" tIns="0" rIns="0" bIns="0" rtlCol="0">
            <a:noAutofit/>
          </a:bodyPr>
          <a:lstStyle/>
          <a:p>
            <a:endParaRPr/>
          </a:p>
        </p:txBody>
      </p:sp>
      <p:sp>
        <p:nvSpPr>
          <p:cNvPr id="1042" name="object 1042"/>
          <p:cNvSpPr/>
          <p:nvPr/>
        </p:nvSpPr>
        <p:spPr>
          <a:xfrm>
            <a:off x="8695045" y="610963"/>
            <a:ext cx="10714" cy="18527"/>
          </a:xfrm>
          <a:custGeom>
            <a:avLst/>
            <a:gdLst/>
            <a:ahLst/>
            <a:cxnLst/>
            <a:rect l="l" t="t" r="r" b="b"/>
            <a:pathLst>
              <a:path w="10714" h="18527">
                <a:moveTo>
                  <a:pt x="1190" y="6074"/>
                </a:moveTo>
                <a:lnTo>
                  <a:pt x="2083" y="6378"/>
                </a:lnTo>
                <a:lnTo>
                  <a:pt x="2678" y="6985"/>
                </a:lnTo>
                <a:lnTo>
                  <a:pt x="3273" y="7593"/>
                </a:lnTo>
                <a:lnTo>
                  <a:pt x="3869" y="8504"/>
                </a:lnTo>
                <a:lnTo>
                  <a:pt x="4166" y="10326"/>
                </a:lnTo>
                <a:lnTo>
                  <a:pt x="4761" y="12452"/>
                </a:lnTo>
                <a:lnTo>
                  <a:pt x="4761" y="15490"/>
                </a:lnTo>
                <a:lnTo>
                  <a:pt x="5654" y="17616"/>
                </a:lnTo>
                <a:lnTo>
                  <a:pt x="7738" y="18527"/>
                </a:lnTo>
                <a:lnTo>
                  <a:pt x="9821" y="17616"/>
                </a:lnTo>
                <a:lnTo>
                  <a:pt x="10714" y="15490"/>
                </a:lnTo>
                <a:lnTo>
                  <a:pt x="10714" y="11845"/>
                </a:lnTo>
                <a:lnTo>
                  <a:pt x="10119" y="9111"/>
                </a:lnTo>
                <a:lnTo>
                  <a:pt x="9226" y="6074"/>
                </a:lnTo>
                <a:lnTo>
                  <a:pt x="8035" y="3948"/>
                </a:lnTo>
                <a:lnTo>
                  <a:pt x="6845" y="2126"/>
                </a:lnTo>
                <a:lnTo>
                  <a:pt x="4464" y="911"/>
                </a:lnTo>
                <a:lnTo>
                  <a:pt x="2380" y="0"/>
                </a:lnTo>
                <a:lnTo>
                  <a:pt x="0" y="0"/>
                </a:lnTo>
                <a:lnTo>
                  <a:pt x="0" y="6074"/>
                </a:lnTo>
                <a:lnTo>
                  <a:pt x="1190" y="6074"/>
                </a:lnTo>
                <a:close/>
              </a:path>
            </a:pathLst>
          </a:custGeom>
          <a:solidFill>
            <a:srgbClr val="FFFFFF"/>
          </a:solidFill>
        </p:spPr>
        <p:txBody>
          <a:bodyPr wrap="square" lIns="0" tIns="0" rIns="0" bIns="0" rtlCol="0">
            <a:noAutofit/>
          </a:bodyPr>
          <a:lstStyle/>
          <a:p>
            <a:endParaRPr/>
          </a:p>
        </p:txBody>
      </p:sp>
      <p:sp>
        <p:nvSpPr>
          <p:cNvPr id="1043" name="object 1043"/>
          <p:cNvSpPr/>
          <p:nvPr/>
        </p:nvSpPr>
        <p:spPr>
          <a:xfrm>
            <a:off x="8699807" y="626453"/>
            <a:ext cx="5952" cy="203799"/>
          </a:xfrm>
          <a:custGeom>
            <a:avLst/>
            <a:gdLst/>
            <a:ahLst/>
            <a:cxnLst/>
            <a:rect l="l" t="t" r="r" b="b"/>
            <a:pathLst>
              <a:path w="5952" h="203799">
                <a:moveTo>
                  <a:pt x="5952" y="200762"/>
                </a:moveTo>
                <a:lnTo>
                  <a:pt x="5952" y="0"/>
                </a:lnTo>
                <a:lnTo>
                  <a:pt x="0" y="0"/>
                </a:lnTo>
                <a:lnTo>
                  <a:pt x="0" y="200762"/>
                </a:lnTo>
                <a:lnTo>
                  <a:pt x="892" y="202888"/>
                </a:lnTo>
                <a:lnTo>
                  <a:pt x="2976" y="203799"/>
                </a:lnTo>
                <a:lnTo>
                  <a:pt x="5059" y="202888"/>
                </a:lnTo>
                <a:lnTo>
                  <a:pt x="5952" y="200762"/>
                </a:lnTo>
                <a:close/>
              </a:path>
            </a:pathLst>
          </a:custGeom>
          <a:solidFill>
            <a:srgbClr val="FFFFFF"/>
          </a:solidFill>
        </p:spPr>
        <p:txBody>
          <a:bodyPr wrap="square" lIns="0" tIns="0" rIns="0" bIns="0" rtlCol="0">
            <a:noAutofit/>
          </a:bodyPr>
          <a:lstStyle/>
          <a:p>
            <a:endParaRPr/>
          </a:p>
        </p:txBody>
      </p:sp>
      <p:sp>
        <p:nvSpPr>
          <p:cNvPr id="1044" name="object 1044"/>
          <p:cNvSpPr/>
          <p:nvPr/>
        </p:nvSpPr>
        <p:spPr>
          <a:xfrm>
            <a:off x="8683439" y="827215"/>
            <a:ext cx="22321" cy="15490"/>
          </a:xfrm>
          <a:custGeom>
            <a:avLst/>
            <a:gdLst/>
            <a:ahLst/>
            <a:cxnLst/>
            <a:rect l="l" t="t" r="r" b="b"/>
            <a:pathLst>
              <a:path w="22321" h="15490">
                <a:moveTo>
                  <a:pt x="1190" y="14882"/>
                </a:moveTo>
                <a:lnTo>
                  <a:pt x="3571" y="15490"/>
                </a:lnTo>
                <a:lnTo>
                  <a:pt x="6845" y="14882"/>
                </a:lnTo>
                <a:lnTo>
                  <a:pt x="9821" y="13667"/>
                </a:lnTo>
                <a:lnTo>
                  <a:pt x="12499" y="12452"/>
                </a:lnTo>
                <a:lnTo>
                  <a:pt x="15773" y="10630"/>
                </a:lnTo>
                <a:lnTo>
                  <a:pt x="18154" y="8504"/>
                </a:lnTo>
                <a:lnTo>
                  <a:pt x="20238" y="6378"/>
                </a:lnTo>
                <a:lnTo>
                  <a:pt x="21726" y="3340"/>
                </a:lnTo>
                <a:lnTo>
                  <a:pt x="22321" y="0"/>
                </a:lnTo>
                <a:lnTo>
                  <a:pt x="16368" y="0"/>
                </a:lnTo>
                <a:lnTo>
                  <a:pt x="16368" y="1518"/>
                </a:lnTo>
                <a:lnTo>
                  <a:pt x="15476" y="2733"/>
                </a:lnTo>
                <a:lnTo>
                  <a:pt x="13988" y="4252"/>
                </a:lnTo>
                <a:lnTo>
                  <a:pt x="12202" y="5770"/>
                </a:lnTo>
                <a:lnTo>
                  <a:pt x="10119" y="6985"/>
                </a:lnTo>
                <a:lnTo>
                  <a:pt x="7440" y="8200"/>
                </a:lnTo>
                <a:lnTo>
                  <a:pt x="5059" y="8808"/>
                </a:lnTo>
                <a:lnTo>
                  <a:pt x="2380" y="9415"/>
                </a:lnTo>
                <a:lnTo>
                  <a:pt x="297" y="10630"/>
                </a:lnTo>
                <a:lnTo>
                  <a:pt x="0" y="12756"/>
                </a:lnTo>
                <a:lnTo>
                  <a:pt x="1190" y="14882"/>
                </a:lnTo>
                <a:close/>
              </a:path>
            </a:pathLst>
          </a:custGeom>
          <a:solidFill>
            <a:srgbClr val="FFFFFF"/>
          </a:solidFill>
        </p:spPr>
        <p:txBody>
          <a:bodyPr wrap="square" lIns="0" tIns="0" rIns="0" bIns="0" rtlCol="0">
            <a:noAutofit/>
          </a:bodyPr>
          <a:lstStyle/>
          <a:p>
            <a:endParaRPr/>
          </a:p>
        </p:txBody>
      </p:sp>
      <p:sp>
        <p:nvSpPr>
          <p:cNvPr id="1045" name="object 1045"/>
          <p:cNvSpPr/>
          <p:nvPr/>
        </p:nvSpPr>
        <p:spPr>
          <a:xfrm>
            <a:off x="8658140" y="836630"/>
            <a:ext cx="28868" cy="10630"/>
          </a:xfrm>
          <a:custGeom>
            <a:avLst/>
            <a:gdLst/>
            <a:ahLst/>
            <a:cxnLst/>
            <a:rect l="l" t="t" r="r" b="b"/>
            <a:pathLst>
              <a:path w="28868" h="10630">
                <a:moveTo>
                  <a:pt x="595" y="7593"/>
                </a:moveTo>
                <a:lnTo>
                  <a:pt x="1190" y="10630"/>
                </a:lnTo>
                <a:lnTo>
                  <a:pt x="28868" y="6074"/>
                </a:lnTo>
                <a:lnTo>
                  <a:pt x="27678" y="0"/>
                </a:lnTo>
                <a:lnTo>
                  <a:pt x="0" y="4555"/>
                </a:lnTo>
                <a:lnTo>
                  <a:pt x="595" y="7593"/>
                </a:lnTo>
                <a:close/>
              </a:path>
            </a:pathLst>
          </a:custGeom>
          <a:solidFill>
            <a:srgbClr val="FFFFFF"/>
          </a:solidFill>
        </p:spPr>
        <p:txBody>
          <a:bodyPr wrap="square" lIns="0" tIns="0" rIns="0" bIns="0" rtlCol="0">
            <a:noAutofit/>
          </a:bodyPr>
          <a:lstStyle/>
          <a:p>
            <a:endParaRPr/>
          </a:p>
        </p:txBody>
      </p:sp>
      <p:sp>
        <p:nvSpPr>
          <p:cNvPr id="1046" name="object 1046"/>
          <p:cNvSpPr/>
          <p:nvPr/>
        </p:nvSpPr>
        <p:spPr>
          <a:xfrm>
            <a:off x="8655760" y="841186"/>
            <a:ext cx="3571" cy="6074"/>
          </a:xfrm>
          <a:custGeom>
            <a:avLst/>
            <a:gdLst/>
            <a:ahLst/>
            <a:cxnLst/>
            <a:rect l="l" t="t" r="r" b="b"/>
            <a:pathLst>
              <a:path w="3571" h="6074">
                <a:moveTo>
                  <a:pt x="2380" y="0"/>
                </a:moveTo>
                <a:lnTo>
                  <a:pt x="297" y="1214"/>
                </a:lnTo>
                <a:lnTo>
                  <a:pt x="0" y="3340"/>
                </a:lnTo>
                <a:lnTo>
                  <a:pt x="1190" y="5467"/>
                </a:lnTo>
                <a:lnTo>
                  <a:pt x="3571" y="6074"/>
                </a:lnTo>
                <a:lnTo>
                  <a:pt x="2380" y="0"/>
                </a:lnTo>
                <a:close/>
              </a:path>
            </a:pathLst>
          </a:custGeom>
          <a:solidFill>
            <a:srgbClr val="FFFFFF"/>
          </a:solidFill>
        </p:spPr>
        <p:txBody>
          <a:bodyPr wrap="square" lIns="0" tIns="0" rIns="0" bIns="0" rtlCol="0">
            <a:noAutofit/>
          </a:bodyPr>
          <a:lstStyle/>
          <a:p>
            <a:endParaRPr/>
          </a:p>
        </p:txBody>
      </p:sp>
      <p:sp>
        <p:nvSpPr>
          <p:cNvPr id="1047" name="object 1047"/>
          <p:cNvSpPr/>
          <p:nvPr/>
        </p:nvSpPr>
        <p:spPr>
          <a:xfrm>
            <a:off x="8606058" y="1146430"/>
            <a:ext cx="53571" cy="32498"/>
          </a:xfrm>
          <a:custGeom>
            <a:avLst/>
            <a:gdLst/>
            <a:ahLst/>
            <a:cxnLst/>
            <a:rect l="l" t="t" r="r" b="b"/>
            <a:pathLst>
              <a:path w="53571" h="32498">
                <a:moveTo>
                  <a:pt x="8333" y="0"/>
                </a:moveTo>
                <a:lnTo>
                  <a:pt x="5059" y="607"/>
                </a:lnTo>
                <a:lnTo>
                  <a:pt x="2380" y="2429"/>
                </a:lnTo>
                <a:lnTo>
                  <a:pt x="595" y="5163"/>
                </a:lnTo>
                <a:lnTo>
                  <a:pt x="0" y="8504"/>
                </a:lnTo>
                <a:lnTo>
                  <a:pt x="0" y="23994"/>
                </a:lnTo>
                <a:lnTo>
                  <a:pt x="595" y="27335"/>
                </a:lnTo>
                <a:lnTo>
                  <a:pt x="2380" y="30068"/>
                </a:lnTo>
                <a:lnTo>
                  <a:pt x="5059" y="31891"/>
                </a:lnTo>
                <a:lnTo>
                  <a:pt x="8333" y="32498"/>
                </a:lnTo>
                <a:lnTo>
                  <a:pt x="45535" y="32498"/>
                </a:lnTo>
                <a:lnTo>
                  <a:pt x="48809" y="31891"/>
                </a:lnTo>
                <a:lnTo>
                  <a:pt x="51487" y="30068"/>
                </a:lnTo>
                <a:lnTo>
                  <a:pt x="52976" y="27335"/>
                </a:lnTo>
                <a:lnTo>
                  <a:pt x="53571" y="23994"/>
                </a:lnTo>
                <a:lnTo>
                  <a:pt x="53571" y="8504"/>
                </a:lnTo>
                <a:lnTo>
                  <a:pt x="52976" y="5163"/>
                </a:lnTo>
                <a:lnTo>
                  <a:pt x="51487" y="2429"/>
                </a:lnTo>
                <a:lnTo>
                  <a:pt x="48809" y="607"/>
                </a:lnTo>
                <a:lnTo>
                  <a:pt x="45535" y="0"/>
                </a:lnTo>
                <a:lnTo>
                  <a:pt x="8333" y="0"/>
                </a:lnTo>
                <a:close/>
              </a:path>
            </a:pathLst>
          </a:custGeom>
          <a:solidFill>
            <a:srgbClr val="000000"/>
          </a:solidFill>
        </p:spPr>
        <p:txBody>
          <a:bodyPr wrap="square" lIns="0" tIns="0" rIns="0" bIns="0" rtlCol="0">
            <a:noAutofit/>
          </a:bodyPr>
          <a:lstStyle/>
          <a:p>
            <a:endParaRPr/>
          </a:p>
        </p:txBody>
      </p:sp>
      <p:sp>
        <p:nvSpPr>
          <p:cNvPr id="1048" name="object 1048"/>
          <p:cNvSpPr/>
          <p:nvPr/>
        </p:nvSpPr>
        <p:spPr>
          <a:xfrm>
            <a:off x="8614391" y="1146430"/>
            <a:ext cx="37202" cy="0"/>
          </a:xfrm>
          <a:custGeom>
            <a:avLst/>
            <a:gdLst/>
            <a:ahLst/>
            <a:cxnLst/>
            <a:rect l="l" t="t" r="r" b="b"/>
            <a:pathLst>
              <a:path w="37202">
                <a:moveTo>
                  <a:pt x="0" y="0"/>
                </a:moveTo>
                <a:lnTo>
                  <a:pt x="37202" y="0"/>
                </a:lnTo>
              </a:path>
            </a:pathLst>
          </a:custGeom>
          <a:ln w="4307">
            <a:solidFill>
              <a:srgbClr val="000000"/>
            </a:solidFill>
          </a:ln>
        </p:spPr>
        <p:txBody>
          <a:bodyPr wrap="square" lIns="0" tIns="0" rIns="0" bIns="0" rtlCol="0">
            <a:noAutofit/>
          </a:bodyPr>
          <a:lstStyle/>
          <a:p>
            <a:endParaRPr/>
          </a:p>
        </p:txBody>
      </p:sp>
      <p:sp>
        <p:nvSpPr>
          <p:cNvPr id="1049" name="object 1049"/>
          <p:cNvSpPr/>
          <p:nvPr/>
        </p:nvSpPr>
        <p:spPr>
          <a:xfrm>
            <a:off x="8651594" y="1144912"/>
            <a:ext cx="9523" cy="10022"/>
          </a:xfrm>
          <a:custGeom>
            <a:avLst/>
            <a:gdLst/>
            <a:ahLst/>
            <a:cxnLst/>
            <a:rect l="l" t="t" r="r" b="b"/>
            <a:pathLst>
              <a:path w="9523" h="10022">
                <a:moveTo>
                  <a:pt x="7142" y="3037"/>
                </a:moveTo>
                <a:lnTo>
                  <a:pt x="3869" y="607"/>
                </a:lnTo>
                <a:lnTo>
                  <a:pt x="0" y="0"/>
                </a:lnTo>
                <a:lnTo>
                  <a:pt x="0" y="3037"/>
                </a:lnTo>
                <a:lnTo>
                  <a:pt x="2678" y="3644"/>
                </a:lnTo>
                <a:lnTo>
                  <a:pt x="4761" y="4859"/>
                </a:lnTo>
                <a:lnTo>
                  <a:pt x="5952" y="7289"/>
                </a:lnTo>
                <a:lnTo>
                  <a:pt x="6547" y="10022"/>
                </a:lnTo>
                <a:lnTo>
                  <a:pt x="9523" y="10022"/>
                </a:lnTo>
                <a:lnTo>
                  <a:pt x="8928" y="6074"/>
                </a:lnTo>
                <a:lnTo>
                  <a:pt x="7142" y="3037"/>
                </a:lnTo>
                <a:close/>
              </a:path>
            </a:pathLst>
          </a:custGeom>
          <a:solidFill>
            <a:srgbClr val="000000"/>
          </a:solidFill>
        </p:spPr>
        <p:txBody>
          <a:bodyPr wrap="square" lIns="0" tIns="0" rIns="0" bIns="0" rtlCol="0">
            <a:noAutofit/>
          </a:bodyPr>
          <a:lstStyle/>
          <a:p>
            <a:endParaRPr/>
          </a:p>
        </p:txBody>
      </p:sp>
      <p:sp>
        <p:nvSpPr>
          <p:cNvPr id="1050" name="object 1050"/>
          <p:cNvSpPr/>
          <p:nvPr/>
        </p:nvSpPr>
        <p:spPr>
          <a:xfrm>
            <a:off x="8658140" y="1162680"/>
            <a:ext cx="2976" cy="0"/>
          </a:xfrm>
          <a:custGeom>
            <a:avLst/>
            <a:gdLst/>
            <a:ahLst/>
            <a:cxnLst/>
            <a:rect l="l" t="t" r="r" b="b"/>
            <a:pathLst>
              <a:path w="2976">
                <a:moveTo>
                  <a:pt x="0" y="0"/>
                </a:moveTo>
                <a:lnTo>
                  <a:pt x="2976" y="0"/>
                </a:lnTo>
              </a:path>
            </a:pathLst>
          </a:custGeom>
          <a:ln w="16760">
            <a:solidFill>
              <a:srgbClr val="000000"/>
            </a:solidFill>
          </a:ln>
        </p:spPr>
        <p:txBody>
          <a:bodyPr wrap="square" lIns="0" tIns="0" rIns="0" bIns="0" rtlCol="0">
            <a:noAutofit/>
          </a:bodyPr>
          <a:lstStyle/>
          <a:p>
            <a:endParaRPr/>
          </a:p>
        </p:txBody>
      </p:sp>
      <p:sp>
        <p:nvSpPr>
          <p:cNvPr id="1051" name="object 1051"/>
          <p:cNvSpPr/>
          <p:nvPr/>
        </p:nvSpPr>
        <p:spPr>
          <a:xfrm>
            <a:off x="8651594" y="1170425"/>
            <a:ext cx="9523" cy="10022"/>
          </a:xfrm>
          <a:custGeom>
            <a:avLst/>
            <a:gdLst/>
            <a:ahLst/>
            <a:cxnLst/>
            <a:rect l="l" t="t" r="r" b="b"/>
            <a:pathLst>
              <a:path w="9523" h="10022">
                <a:moveTo>
                  <a:pt x="7142" y="6985"/>
                </a:moveTo>
                <a:lnTo>
                  <a:pt x="8928" y="3948"/>
                </a:lnTo>
                <a:lnTo>
                  <a:pt x="9523" y="0"/>
                </a:lnTo>
                <a:lnTo>
                  <a:pt x="6547" y="0"/>
                </a:lnTo>
                <a:lnTo>
                  <a:pt x="5952" y="2733"/>
                </a:lnTo>
                <a:lnTo>
                  <a:pt x="4761" y="5163"/>
                </a:lnTo>
                <a:lnTo>
                  <a:pt x="2678" y="6378"/>
                </a:lnTo>
                <a:lnTo>
                  <a:pt x="0" y="6985"/>
                </a:lnTo>
                <a:lnTo>
                  <a:pt x="0" y="10022"/>
                </a:lnTo>
                <a:lnTo>
                  <a:pt x="3869" y="9415"/>
                </a:lnTo>
                <a:lnTo>
                  <a:pt x="7142" y="6985"/>
                </a:lnTo>
                <a:close/>
              </a:path>
            </a:pathLst>
          </a:custGeom>
          <a:solidFill>
            <a:srgbClr val="000000"/>
          </a:solidFill>
        </p:spPr>
        <p:txBody>
          <a:bodyPr wrap="square" lIns="0" tIns="0" rIns="0" bIns="0" rtlCol="0">
            <a:noAutofit/>
          </a:bodyPr>
          <a:lstStyle/>
          <a:p>
            <a:endParaRPr/>
          </a:p>
        </p:txBody>
      </p:sp>
      <p:sp>
        <p:nvSpPr>
          <p:cNvPr id="1052" name="object 1052"/>
          <p:cNvSpPr/>
          <p:nvPr/>
        </p:nvSpPr>
        <p:spPr>
          <a:xfrm>
            <a:off x="8614391" y="1178929"/>
            <a:ext cx="37202" cy="0"/>
          </a:xfrm>
          <a:custGeom>
            <a:avLst/>
            <a:gdLst/>
            <a:ahLst/>
            <a:cxnLst/>
            <a:rect l="l" t="t" r="r" b="b"/>
            <a:pathLst>
              <a:path w="37202">
                <a:moveTo>
                  <a:pt x="0" y="0"/>
                </a:moveTo>
                <a:lnTo>
                  <a:pt x="37202" y="0"/>
                </a:lnTo>
              </a:path>
            </a:pathLst>
          </a:custGeom>
          <a:ln w="4307">
            <a:solidFill>
              <a:srgbClr val="000000"/>
            </a:solidFill>
          </a:ln>
        </p:spPr>
        <p:txBody>
          <a:bodyPr wrap="square" lIns="0" tIns="0" rIns="0" bIns="0" rtlCol="0">
            <a:noAutofit/>
          </a:bodyPr>
          <a:lstStyle/>
          <a:p>
            <a:endParaRPr/>
          </a:p>
        </p:txBody>
      </p:sp>
      <p:sp>
        <p:nvSpPr>
          <p:cNvPr id="1053" name="object 1053"/>
          <p:cNvSpPr/>
          <p:nvPr/>
        </p:nvSpPr>
        <p:spPr>
          <a:xfrm>
            <a:off x="8604570" y="1170425"/>
            <a:ext cx="9821" cy="10022"/>
          </a:xfrm>
          <a:custGeom>
            <a:avLst/>
            <a:gdLst/>
            <a:ahLst/>
            <a:cxnLst/>
            <a:rect l="l" t="t" r="r" b="b"/>
            <a:pathLst>
              <a:path w="9821" h="10022">
                <a:moveTo>
                  <a:pt x="7142" y="6378"/>
                </a:moveTo>
                <a:lnTo>
                  <a:pt x="5059" y="4859"/>
                </a:lnTo>
                <a:lnTo>
                  <a:pt x="3571" y="2733"/>
                </a:lnTo>
                <a:lnTo>
                  <a:pt x="2976" y="0"/>
                </a:lnTo>
                <a:lnTo>
                  <a:pt x="0" y="0"/>
                </a:lnTo>
                <a:lnTo>
                  <a:pt x="595" y="3948"/>
                </a:lnTo>
                <a:lnTo>
                  <a:pt x="2678" y="7289"/>
                </a:lnTo>
                <a:lnTo>
                  <a:pt x="5952" y="9415"/>
                </a:lnTo>
                <a:lnTo>
                  <a:pt x="9821" y="10022"/>
                </a:lnTo>
                <a:lnTo>
                  <a:pt x="9821" y="6985"/>
                </a:lnTo>
                <a:lnTo>
                  <a:pt x="7142" y="6378"/>
                </a:lnTo>
                <a:close/>
              </a:path>
            </a:pathLst>
          </a:custGeom>
          <a:solidFill>
            <a:srgbClr val="000000"/>
          </a:solidFill>
        </p:spPr>
        <p:txBody>
          <a:bodyPr wrap="square" lIns="0" tIns="0" rIns="0" bIns="0" rtlCol="0">
            <a:noAutofit/>
          </a:bodyPr>
          <a:lstStyle/>
          <a:p>
            <a:endParaRPr/>
          </a:p>
        </p:txBody>
      </p:sp>
      <p:sp>
        <p:nvSpPr>
          <p:cNvPr id="1054" name="object 1054"/>
          <p:cNvSpPr/>
          <p:nvPr/>
        </p:nvSpPr>
        <p:spPr>
          <a:xfrm>
            <a:off x="8604569" y="1162680"/>
            <a:ext cx="2976" cy="0"/>
          </a:xfrm>
          <a:custGeom>
            <a:avLst/>
            <a:gdLst/>
            <a:ahLst/>
            <a:cxnLst/>
            <a:rect l="l" t="t" r="r" b="b"/>
            <a:pathLst>
              <a:path w="2976">
                <a:moveTo>
                  <a:pt x="0" y="0"/>
                </a:moveTo>
                <a:lnTo>
                  <a:pt x="2976" y="0"/>
                </a:lnTo>
              </a:path>
            </a:pathLst>
          </a:custGeom>
          <a:ln w="16760">
            <a:solidFill>
              <a:srgbClr val="000000"/>
            </a:solidFill>
          </a:ln>
        </p:spPr>
        <p:txBody>
          <a:bodyPr wrap="square" lIns="0" tIns="0" rIns="0" bIns="0" rtlCol="0">
            <a:noAutofit/>
          </a:bodyPr>
          <a:lstStyle/>
          <a:p>
            <a:endParaRPr/>
          </a:p>
        </p:txBody>
      </p:sp>
      <p:sp>
        <p:nvSpPr>
          <p:cNvPr id="1055" name="object 1055"/>
          <p:cNvSpPr/>
          <p:nvPr/>
        </p:nvSpPr>
        <p:spPr>
          <a:xfrm>
            <a:off x="8604570" y="1144912"/>
            <a:ext cx="9821" cy="10022"/>
          </a:xfrm>
          <a:custGeom>
            <a:avLst/>
            <a:gdLst/>
            <a:ahLst/>
            <a:cxnLst/>
            <a:rect l="l" t="t" r="r" b="b"/>
            <a:pathLst>
              <a:path w="9821" h="10022">
                <a:moveTo>
                  <a:pt x="2976" y="10022"/>
                </a:moveTo>
                <a:lnTo>
                  <a:pt x="3571" y="7289"/>
                </a:lnTo>
                <a:lnTo>
                  <a:pt x="5059" y="5163"/>
                </a:lnTo>
                <a:lnTo>
                  <a:pt x="7142" y="3644"/>
                </a:lnTo>
                <a:lnTo>
                  <a:pt x="9821" y="3037"/>
                </a:lnTo>
                <a:lnTo>
                  <a:pt x="9821" y="0"/>
                </a:lnTo>
                <a:lnTo>
                  <a:pt x="5952" y="607"/>
                </a:lnTo>
                <a:lnTo>
                  <a:pt x="2678" y="2733"/>
                </a:lnTo>
                <a:lnTo>
                  <a:pt x="595" y="6074"/>
                </a:lnTo>
                <a:lnTo>
                  <a:pt x="0" y="10022"/>
                </a:lnTo>
                <a:lnTo>
                  <a:pt x="2976" y="10022"/>
                </a:lnTo>
                <a:close/>
              </a:path>
            </a:pathLst>
          </a:custGeom>
          <a:solidFill>
            <a:srgbClr val="000000"/>
          </a:solidFill>
        </p:spPr>
        <p:txBody>
          <a:bodyPr wrap="square" lIns="0" tIns="0" rIns="0" bIns="0" rtlCol="0">
            <a:noAutofit/>
          </a:bodyPr>
          <a:lstStyle/>
          <a:p>
            <a:endParaRPr/>
          </a:p>
        </p:txBody>
      </p:sp>
      <p:sp>
        <p:nvSpPr>
          <p:cNvPr id="1056" name="object 1056"/>
          <p:cNvSpPr/>
          <p:nvPr/>
        </p:nvSpPr>
        <p:spPr>
          <a:xfrm>
            <a:off x="8612011" y="1149468"/>
            <a:ext cx="42559" cy="25816"/>
          </a:xfrm>
          <a:custGeom>
            <a:avLst/>
            <a:gdLst/>
            <a:ahLst/>
            <a:cxnLst/>
            <a:rect l="l" t="t" r="r" b="b"/>
            <a:pathLst>
              <a:path w="42559" h="25816">
                <a:moveTo>
                  <a:pt x="6547" y="0"/>
                </a:moveTo>
                <a:lnTo>
                  <a:pt x="3869" y="607"/>
                </a:lnTo>
                <a:lnTo>
                  <a:pt x="1785" y="1822"/>
                </a:lnTo>
                <a:lnTo>
                  <a:pt x="595" y="3948"/>
                </a:lnTo>
                <a:lnTo>
                  <a:pt x="0" y="6681"/>
                </a:lnTo>
                <a:lnTo>
                  <a:pt x="0" y="19134"/>
                </a:lnTo>
                <a:lnTo>
                  <a:pt x="595" y="21564"/>
                </a:lnTo>
                <a:lnTo>
                  <a:pt x="1785" y="23690"/>
                </a:lnTo>
                <a:lnTo>
                  <a:pt x="3869" y="25209"/>
                </a:lnTo>
                <a:lnTo>
                  <a:pt x="6547" y="25816"/>
                </a:lnTo>
                <a:lnTo>
                  <a:pt x="36011" y="25816"/>
                </a:lnTo>
                <a:lnTo>
                  <a:pt x="38690" y="25209"/>
                </a:lnTo>
                <a:lnTo>
                  <a:pt x="40773" y="23690"/>
                </a:lnTo>
                <a:lnTo>
                  <a:pt x="41964" y="21564"/>
                </a:lnTo>
                <a:lnTo>
                  <a:pt x="42559" y="19134"/>
                </a:lnTo>
                <a:lnTo>
                  <a:pt x="42559" y="6681"/>
                </a:lnTo>
                <a:lnTo>
                  <a:pt x="41964" y="3948"/>
                </a:lnTo>
                <a:lnTo>
                  <a:pt x="40773" y="1822"/>
                </a:lnTo>
                <a:lnTo>
                  <a:pt x="38690" y="607"/>
                </a:lnTo>
                <a:lnTo>
                  <a:pt x="36011" y="0"/>
                </a:lnTo>
                <a:lnTo>
                  <a:pt x="6547" y="0"/>
                </a:lnTo>
                <a:close/>
              </a:path>
            </a:pathLst>
          </a:custGeom>
          <a:solidFill>
            <a:srgbClr val="FF7E00"/>
          </a:solidFill>
        </p:spPr>
        <p:txBody>
          <a:bodyPr wrap="square" lIns="0" tIns="0" rIns="0" bIns="0" rtlCol="0">
            <a:noAutofit/>
          </a:bodyPr>
          <a:lstStyle/>
          <a:p>
            <a:endParaRPr/>
          </a:p>
        </p:txBody>
      </p:sp>
      <p:sp>
        <p:nvSpPr>
          <p:cNvPr id="1057" name="object 1057"/>
          <p:cNvSpPr/>
          <p:nvPr/>
        </p:nvSpPr>
        <p:spPr>
          <a:xfrm>
            <a:off x="8618557" y="1149468"/>
            <a:ext cx="29464" cy="0"/>
          </a:xfrm>
          <a:custGeom>
            <a:avLst/>
            <a:gdLst/>
            <a:ahLst/>
            <a:cxnLst/>
            <a:rect l="l" t="t" r="r" b="b"/>
            <a:pathLst>
              <a:path w="29464">
                <a:moveTo>
                  <a:pt x="0" y="0"/>
                </a:moveTo>
                <a:lnTo>
                  <a:pt x="29464" y="0"/>
                </a:lnTo>
              </a:path>
            </a:pathLst>
          </a:custGeom>
          <a:ln w="4307">
            <a:solidFill>
              <a:srgbClr val="000000"/>
            </a:solidFill>
          </a:ln>
        </p:spPr>
        <p:txBody>
          <a:bodyPr wrap="square" lIns="0" tIns="0" rIns="0" bIns="0" rtlCol="0">
            <a:noAutofit/>
          </a:bodyPr>
          <a:lstStyle/>
          <a:p>
            <a:endParaRPr/>
          </a:p>
        </p:txBody>
      </p:sp>
      <p:sp>
        <p:nvSpPr>
          <p:cNvPr id="1058" name="object 1058"/>
          <p:cNvSpPr/>
          <p:nvPr/>
        </p:nvSpPr>
        <p:spPr>
          <a:xfrm>
            <a:off x="8648022" y="1147949"/>
            <a:ext cx="8035" cy="8200"/>
          </a:xfrm>
          <a:custGeom>
            <a:avLst/>
            <a:gdLst/>
            <a:ahLst/>
            <a:cxnLst/>
            <a:rect l="l" t="t" r="r" b="b"/>
            <a:pathLst>
              <a:path w="8035" h="8200">
                <a:moveTo>
                  <a:pt x="5952" y="2126"/>
                </a:moveTo>
                <a:lnTo>
                  <a:pt x="3273" y="607"/>
                </a:lnTo>
                <a:lnTo>
                  <a:pt x="0" y="0"/>
                </a:lnTo>
                <a:lnTo>
                  <a:pt x="0" y="3037"/>
                </a:lnTo>
                <a:lnTo>
                  <a:pt x="2083" y="3644"/>
                </a:lnTo>
                <a:lnTo>
                  <a:pt x="3571" y="4555"/>
                </a:lnTo>
                <a:lnTo>
                  <a:pt x="4464" y="6074"/>
                </a:lnTo>
                <a:lnTo>
                  <a:pt x="5059" y="8200"/>
                </a:lnTo>
                <a:lnTo>
                  <a:pt x="8035" y="8200"/>
                </a:lnTo>
                <a:lnTo>
                  <a:pt x="7440" y="4859"/>
                </a:lnTo>
                <a:lnTo>
                  <a:pt x="5952" y="2126"/>
                </a:lnTo>
                <a:close/>
              </a:path>
            </a:pathLst>
          </a:custGeom>
          <a:solidFill>
            <a:srgbClr val="000000"/>
          </a:solidFill>
        </p:spPr>
        <p:txBody>
          <a:bodyPr wrap="square" lIns="0" tIns="0" rIns="0" bIns="0" rtlCol="0">
            <a:noAutofit/>
          </a:bodyPr>
          <a:lstStyle/>
          <a:p>
            <a:endParaRPr/>
          </a:p>
        </p:txBody>
      </p:sp>
      <p:sp>
        <p:nvSpPr>
          <p:cNvPr id="1059" name="object 1059"/>
          <p:cNvSpPr/>
          <p:nvPr/>
        </p:nvSpPr>
        <p:spPr>
          <a:xfrm>
            <a:off x="8653081" y="1162376"/>
            <a:ext cx="2976" cy="0"/>
          </a:xfrm>
          <a:custGeom>
            <a:avLst/>
            <a:gdLst/>
            <a:ahLst/>
            <a:cxnLst/>
            <a:rect l="l" t="t" r="r" b="b"/>
            <a:pathLst>
              <a:path w="2976">
                <a:moveTo>
                  <a:pt x="0" y="0"/>
                </a:moveTo>
                <a:lnTo>
                  <a:pt x="2976" y="0"/>
                </a:lnTo>
              </a:path>
            </a:pathLst>
          </a:custGeom>
          <a:ln w="13722">
            <a:solidFill>
              <a:srgbClr val="000000"/>
            </a:solidFill>
          </a:ln>
        </p:spPr>
        <p:txBody>
          <a:bodyPr wrap="square" lIns="0" tIns="0" rIns="0" bIns="0" rtlCol="0">
            <a:noAutofit/>
          </a:bodyPr>
          <a:lstStyle/>
          <a:p>
            <a:endParaRPr/>
          </a:p>
        </p:txBody>
      </p:sp>
      <p:sp>
        <p:nvSpPr>
          <p:cNvPr id="1060" name="object 1060"/>
          <p:cNvSpPr/>
          <p:nvPr/>
        </p:nvSpPr>
        <p:spPr>
          <a:xfrm>
            <a:off x="8648022" y="1168602"/>
            <a:ext cx="8035" cy="8200"/>
          </a:xfrm>
          <a:custGeom>
            <a:avLst/>
            <a:gdLst/>
            <a:ahLst/>
            <a:cxnLst/>
            <a:rect l="l" t="t" r="r" b="b"/>
            <a:pathLst>
              <a:path w="8035" h="8200">
                <a:moveTo>
                  <a:pt x="5952" y="5467"/>
                </a:moveTo>
                <a:lnTo>
                  <a:pt x="7440" y="3037"/>
                </a:lnTo>
                <a:lnTo>
                  <a:pt x="8035" y="0"/>
                </a:lnTo>
                <a:lnTo>
                  <a:pt x="5059" y="0"/>
                </a:lnTo>
                <a:lnTo>
                  <a:pt x="4464" y="1822"/>
                </a:lnTo>
                <a:lnTo>
                  <a:pt x="3571" y="3644"/>
                </a:lnTo>
                <a:lnTo>
                  <a:pt x="2083" y="4555"/>
                </a:lnTo>
                <a:lnTo>
                  <a:pt x="0" y="5163"/>
                </a:lnTo>
                <a:lnTo>
                  <a:pt x="0" y="8200"/>
                </a:lnTo>
                <a:lnTo>
                  <a:pt x="3273" y="7593"/>
                </a:lnTo>
                <a:lnTo>
                  <a:pt x="5952" y="5467"/>
                </a:lnTo>
                <a:close/>
              </a:path>
            </a:pathLst>
          </a:custGeom>
          <a:solidFill>
            <a:srgbClr val="000000"/>
          </a:solidFill>
        </p:spPr>
        <p:txBody>
          <a:bodyPr wrap="square" lIns="0" tIns="0" rIns="0" bIns="0" rtlCol="0">
            <a:noAutofit/>
          </a:bodyPr>
          <a:lstStyle/>
          <a:p>
            <a:endParaRPr/>
          </a:p>
        </p:txBody>
      </p:sp>
      <p:sp>
        <p:nvSpPr>
          <p:cNvPr id="1061" name="object 1061"/>
          <p:cNvSpPr/>
          <p:nvPr/>
        </p:nvSpPr>
        <p:spPr>
          <a:xfrm>
            <a:off x="8618557" y="1175284"/>
            <a:ext cx="29464" cy="0"/>
          </a:xfrm>
          <a:custGeom>
            <a:avLst/>
            <a:gdLst/>
            <a:ahLst/>
            <a:cxnLst/>
            <a:rect l="l" t="t" r="r" b="b"/>
            <a:pathLst>
              <a:path w="29464">
                <a:moveTo>
                  <a:pt x="0" y="0"/>
                </a:moveTo>
                <a:lnTo>
                  <a:pt x="29464" y="0"/>
                </a:lnTo>
              </a:path>
            </a:pathLst>
          </a:custGeom>
          <a:ln w="4307">
            <a:solidFill>
              <a:srgbClr val="000000"/>
            </a:solidFill>
          </a:ln>
        </p:spPr>
        <p:txBody>
          <a:bodyPr wrap="square" lIns="0" tIns="0" rIns="0" bIns="0" rtlCol="0">
            <a:noAutofit/>
          </a:bodyPr>
          <a:lstStyle/>
          <a:p>
            <a:endParaRPr/>
          </a:p>
        </p:txBody>
      </p:sp>
      <p:sp>
        <p:nvSpPr>
          <p:cNvPr id="1062" name="object 1062"/>
          <p:cNvSpPr/>
          <p:nvPr/>
        </p:nvSpPr>
        <p:spPr>
          <a:xfrm>
            <a:off x="8610522" y="1168602"/>
            <a:ext cx="8035" cy="8200"/>
          </a:xfrm>
          <a:custGeom>
            <a:avLst/>
            <a:gdLst/>
            <a:ahLst/>
            <a:cxnLst/>
            <a:rect l="l" t="t" r="r" b="b"/>
            <a:pathLst>
              <a:path w="8035" h="8200">
                <a:moveTo>
                  <a:pt x="595" y="3037"/>
                </a:moveTo>
                <a:lnTo>
                  <a:pt x="2083" y="5467"/>
                </a:lnTo>
                <a:lnTo>
                  <a:pt x="4761" y="7593"/>
                </a:lnTo>
                <a:lnTo>
                  <a:pt x="8035" y="8200"/>
                </a:lnTo>
                <a:lnTo>
                  <a:pt x="8035" y="5163"/>
                </a:lnTo>
                <a:lnTo>
                  <a:pt x="5952" y="4555"/>
                </a:lnTo>
                <a:lnTo>
                  <a:pt x="4464" y="3644"/>
                </a:lnTo>
                <a:lnTo>
                  <a:pt x="3571" y="1822"/>
                </a:lnTo>
                <a:lnTo>
                  <a:pt x="2976" y="0"/>
                </a:lnTo>
                <a:lnTo>
                  <a:pt x="0" y="0"/>
                </a:lnTo>
                <a:lnTo>
                  <a:pt x="595" y="3037"/>
                </a:lnTo>
                <a:close/>
              </a:path>
            </a:pathLst>
          </a:custGeom>
          <a:solidFill>
            <a:srgbClr val="000000"/>
          </a:solidFill>
        </p:spPr>
        <p:txBody>
          <a:bodyPr wrap="square" lIns="0" tIns="0" rIns="0" bIns="0" rtlCol="0">
            <a:noAutofit/>
          </a:bodyPr>
          <a:lstStyle/>
          <a:p>
            <a:endParaRPr/>
          </a:p>
        </p:txBody>
      </p:sp>
      <p:sp>
        <p:nvSpPr>
          <p:cNvPr id="1063" name="object 1063"/>
          <p:cNvSpPr/>
          <p:nvPr/>
        </p:nvSpPr>
        <p:spPr>
          <a:xfrm>
            <a:off x="8610521" y="1162376"/>
            <a:ext cx="2976" cy="0"/>
          </a:xfrm>
          <a:custGeom>
            <a:avLst/>
            <a:gdLst/>
            <a:ahLst/>
            <a:cxnLst/>
            <a:rect l="l" t="t" r="r" b="b"/>
            <a:pathLst>
              <a:path w="2976">
                <a:moveTo>
                  <a:pt x="0" y="0"/>
                </a:moveTo>
                <a:lnTo>
                  <a:pt x="2976" y="0"/>
                </a:lnTo>
              </a:path>
            </a:pathLst>
          </a:custGeom>
          <a:ln w="13722">
            <a:solidFill>
              <a:srgbClr val="000000"/>
            </a:solidFill>
          </a:ln>
        </p:spPr>
        <p:txBody>
          <a:bodyPr wrap="square" lIns="0" tIns="0" rIns="0" bIns="0" rtlCol="0">
            <a:noAutofit/>
          </a:bodyPr>
          <a:lstStyle/>
          <a:p>
            <a:endParaRPr/>
          </a:p>
        </p:txBody>
      </p:sp>
      <p:sp>
        <p:nvSpPr>
          <p:cNvPr id="1064" name="object 1064"/>
          <p:cNvSpPr/>
          <p:nvPr/>
        </p:nvSpPr>
        <p:spPr>
          <a:xfrm>
            <a:off x="8610522" y="1147949"/>
            <a:ext cx="8035" cy="8200"/>
          </a:xfrm>
          <a:custGeom>
            <a:avLst/>
            <a:gdLst/>
            <a:ahLst/>
            <a:cxnLst/>
            <a:rect l="l" t="t" r="r" b="b"/>
            <a:pathLst>
              <a:path w="8035" h="8200">
                <a:moveTo>
                  <a:pt x="3571" y="6074"/>
                </a:moveTo>
                <a:lnTo>
                  <a:pt x="4464" y="4555"/>
                </a:lnTo>
                <a:lnTo>
                  <a:pt x="5952" y="3644"/>
                </a:lnTo>
                <a:lnTo>
                  <a:pt x="8035" y="3037"/>
                </a:lnTo>
                <a:lnTo>
                  <a:pt x="8035" y="0"/>
                </a:lnTo>
                <a:lnTo>
                  <a:pt x="4761" y="607"/>
                </a:lnTo>
                <a:lnTo>
                  <a:pt x="2083" y="2126"/>
                </a:lnTo>
                <a:lnTo>
                  <a:pt x="595" y="4859"/>
                </a:lnTo>
                <a:lnTo>
                  <a:pt x="0" y="8200"/>
                </a:lnTo>
                <a:lnTo>
                  <a:pt x="2976" y="8200"/>
                </a:lnTo>
                <a:lnTo>
                  <a:pt x="3571" y="6074"/>
                </a:lnTo>
                <a:close/>
              </a:path>
            </a:pathLst>
          </a:custGeom>
          <a:solidFill>
            <a:srgbClr val="000000"/>
          </a:solidFill>
        </p:spPr>
        <p:txBody>
          <a:bodyPr wrap="square" lIns="0" tIns="0" rIns="0" bIns="0" rtlCol="0">
            <a:noAutofit/>
          </a:bodyPr>
          <a:lstStyle/>
          <a:p>
            <a:endParaRPr/>
          </a:p>
        </p:txBody>
      </p:sp>
      <p:sp>
        <p:nvSpPr>
          <p:cNvPr id="1065" name="object 1065"/>
          <p:cNvSpPr/>
          <p:nvPr/>
        </p:nvSpPr>
        <p:spPr>
          <a:xfrm>
            <a:off x="8621534" y="1149468"/>
            <a:ext cx="42559" cy="25816"/>
          </a:xfrm>
          <a:custGeom>
            <a:avLst/>
            <a:gdLst/>
            <a:ahLst/>
            <a:cxnLst/>
            <a:rect l="l" t="t" r="r" b="b"/>
            <a:pathLst>
              <a:path w="42559" h="25816">
                <a:moveTo>
                  <a:pt x="6547" y="0"/>
                </a:moveTo>
                <a:lnTo>
                  <a:pt x="3869" y="607"/>
                </a:lnTo>
                <a:lnTo>
                  <a:pt x="1785" y="1822"/>
                </a:lnTo>
                <a:lnTo>
                  <a:pt x="595" y="3948"/>
                </a:lnTo>
                <a:lnTo>
                  <a:pt x="0" y="6681"/>
                </a:lnTo>
                <a:lnTo>
                  <a:pt x="0" y="19134"/>
                </a:lnTo>
                <a:lnTo>
                  <a:pt x="595" y="21564"/>
                </a:lnTo>
                <a:lnTo>
                  <a:pt x="1785" y="23690"/>
                </a:lnTo>
                <a:lnTo>
                  <a:pt x="3869" y="25209"/>
                </a:lnTo>
                <a:lnTo>
                  <a:pt x="6547" y="25816"/>
                </a:lnTo>
                <a:lnTo>
                  <a:pt x="36011" y="25816"/>
                </a:lnTo>
                <a:lnTo>
                  <a:pt x="38690" y="25209"/>
                </a:lnTo>
                <a:lnTo>
                  <a:pt x="40773" y="23690"/>
                </a:lnTo>
                <a:lnTo>
                  <a:pt x="41964" y="21564"/>
                </a:lnTo>
                <a:lnTo>
                  <a:pt x="42559" y="19134"/>
                </a:lnTo>
                <a:lnTo>
                  <a:pt x="42559" y="6681"/>
                </a:lnTo>
                <a:lnTo>
                  <a:pt x="41964" y="3948"/>
                </a:lnTo>
                <a:lnTo>
                  <a:pt x="40773" y="1822"/>
                </a:lnTo>
                <a:lnTo>
                  <a:pt x="38690" y="607"/>
                </a:lnTo>
                <a:lnTo>
                  <a:pt x="36011" y="0"/>
                </a:lnTo>
                <a:lnTo>
                  <a:pt x="6547" y="0"/>
                </a:lnTo>
                <a:close/>
              </a:path>
            </a:pathLst>
          </a:custGeom>
          <a:solidFill>
            <a:srgbClr val="FFDF00"/>
          </a:solidFill>
        </p:spPr>
        <p:txBody>
          <a:bodyPr wrap="square" lIns="0" tIns="0" rIns="0" bIns="0" rtlCol="0">
            <a:noAutofit/>
          </a:bodyPr>
          <a:lstStyle/>
          <a:p>
            <a:endParaRPr/>
          </a:p>
        </p:txBody>
      </p:sp>
      <p:sp>
        <p:nvSpPr>
          <p:cNvPr id="1066" name="object 1066"/>
          <p:cNvSpPr/>
          <p:nvPr/>
        </p:nvSpPr>
        <p:spPr>
          <a:xfrm>
            <a:off x="8628081" y="1149468"/>
            <a:ext cx="29464" cy="0"/>
          </a:xfrm>
          <a:custGeom>
            <a:avLst/>
            <a:gdLst/>
            <a:ahLst/>
            <a:cxnLst/>
            <a:rect l="l" t="t" r="r" b="b"/>
            <a:pathLst>
              <a:path w="29464">
                <a:moveTo>
                  <a:pt x="0" y="0"/>
                </a:moveTo>
                <a:lnTo>
                  <a:pt x="29464" y="0"/>
                </a:lnTo>
              </a:path>
            </a:pathLst>
          </a:custGeom>
          <a:ln w="4307">
            <a:solidFill>
              <a:srgbClr val="000000"/>
            </a:solidFill>
          </a:ln>
        </p:spPr>
        <p:txBody>
          <a:bodyPr wrap="square" lIns="0" tIns="0" rIns="0" bIns="0" rtlCol="0">
            <a:noAutofit/>
          </a:bodyPr>
          <a:lstStyle/>
          <a:p>
            <a:endParaRPr/>
          </a:p>
        </p:txBody>
      </p:sp>
      <p:sp>
        <p:nvSpPr>
          <p:cNvPr id="1067" name="object 1067"/>
          <p:cNvSpPr/>
          <p:nvPr/>
        </p:nvSpPr>
        <p:spPr>
          <a:xfrm>
            <a:off x="8657546" y="1147949"/>
            <a:ext cx="8035" cy="8200"/>
          </a:xfrm>
          <a:custGeom>
            <a:avLst/>
            <a:gdLst/>
            <a:ahLst/>
            <a:cxnLst/>
            <a:rect l="l" t="t" r="r" b="b"/>
            <a:pathLst>
              <a:path w="8035" h="8200">
                <a:moveTo>
                  <a:pt x="5952" y="2126"/>
                </a:moveTo>
                <a:lnTo>
                  <a:pt x="3273" y="607"/>
                </a:lnTo>
                <a:lnTo>
                  <a:pt x="0" y="0"/>
                </a:lnTo>
                <a:lnTo>
                  <a:pt x="0" y="3037"/>
                </a:lnTo>
                <a:lnTo>
                  <a:pt x="2083" y="3644"/>
                </a:lnTo>
                <a:lnTo>
                  <a:pt x="3571" y="4555"/>
                </a:lnTo>
                <a:lnTo>
                  <a:pt x="4464" y="6074"/>
                </a:lnTo>
                <a:lnTo>
                  <a:pt x="5059" y="8200"/>
                </a:lnTo>
                <a:lnTo>
                  <a:pt x="8035" y="8200"/>
                </a:lnTo>
                <a:lnTo>
                  <a:pt x="7440" y="4859"/>
                </a:lnTo>
                <a:lnTo>
                  <a:pt x="5952" y="2126"/>
                </a:lnTo>
                <a:close/>
              </a:path>
            </a:pathLst>
          </a:custGeom>
          <a:solidFill>
            <a:srgbClr val="000000"/>
          </a:solidFill>
        </p:spPr>
        <p:txBody>
          <a:bodyPr wrap="square" lIns="0" tIns="0" rIns="0" bIns="0" rtlCol="0">
            <a:noAutofit/>
          </a:bodyPr>
          <a:lstStyle/>
          <a:p>
            <a:endParaRPr/>
          </a:p>
        </p:txBody>
      </p:sp>
      <p:sp>
        <p:nvSpPr>
          <p:cNvPr id="1068" name="object 1068"/>
          <p:cNvSpPr/>
          <p:nvPr/>
        </p:nvSpPr>
        <p:spPr>
          <a:xfrm>
            <a:off x="8662605" y="1162376"/>
            <a:ext cx="2976" cy="0"/>
          </a:xfrm>
          <a:custGeom>
            <a:avLst/>
            <a:gdLst/>
            <a:ahLst/>
            <a:cxnLst/>
            <a:rect l="l" t="t" r="r" b="b"/>
            <a:pathLst>
              <a:path w="2976">
                <a:moveTo>
                  <a:pt x="0" y="0"/>
                </a:moveTo>
                <a:lnTo>
                  <a:pt x="2976" y="0"/>
                </a:lnTo>
              </a:path>
            </a:pathLst>
          </a:custGeom>
          <a:ln w="13722">
            <a:solidFill>
              <a:srgbClr val="000000"/>
            </a:solidFill>
          </a:ln>
        </p:spPr>
        <p:txBody>
          <a:bodyPr wrap="square" lIns="0" tIns="0" rIns="0" bIns="0" rtlCol="0">
            <a:noAutofit/>
          </a:bodyPr>
          <a:lstStyle/>
          <a:p>
            <a:endParaRPr/>
          </a:p>
        </p:txBody>
      </p:sp>
      <p:sp>
        <p:nvSpPr>
          <p:cNvPr id="1069" name="object 1069"/>
          <p:cNvSpPr/>
          <p:nvPr/>
        </p:nvSpPr>
        <p:spPr>
          <a:xfrm>
            <a:off x="8657546" y="1168602"/>
            <a:ext cx="8035" cy="8200"/>
          </a:xfrm>
          <a:custGeom>
            <a:avLst/>
            <a:gdLst/>
            <a:ahLst/>
            <a:cxnLst/>
            <a:rect l="l" t="t" r="r" b="b"/>
            <a:pathLst>
              <a:path w="8035" h="8200">
                <a:moveTo>
                  <a:pt x="5952" y="5467"/>
                </a:moveTo>
                <a:lnTo>
                  <a:pt x="7440" y="3037"/>
                </a:lnTo>
                <a:lnTo>
                  <a:pt x="8035" y="0"/>
                </a:lnTo>
                <a:lnTo>
                  <a:pt x="5059" y="0"/>
                </a:lnTo>
                <a:lnTo>
                  <a:pt x="4464" y="1822"/>
                </a:lnTo>
                <a:lnTo>
                  <a:pt x="3571" y="3644"/>
                </a:lnTo>
                <a:lnTo>
                  <a:pt x="2083" y="4555"/>
                </a:lnTo>
                <a:lnTo>
                  <a:pt x="0" y="5163"/>
                </a:lnTo>
                <a:lnTo>
                  <a:pt x="0" y="8200"/>
                </a:lnTo>
                <a:lnTo>
                  <a:pt x="3273" y="7593"/>
                </a:lnTo>
                <a:lnTo>
                  <a:pt x="5952" y="5467"/>
                </a:lnTo>
                <a:close/>
              </a:path>
            </a:pathLst>
          </a:custGeom>
          <a:solidFill>
            <a:srgbClr val="000000"/>
          </a:solidFill>
        </p:spPr>
        <p:txBody>
          <a:bodyPr wrap="square" lIns="0" tIns="0" rIns="0" bIns="0" rtlCol="0">
            <a:noAutofit/>
          </a:bodyPr>
          <a:lstStyle/>
          <a:p>
            <a:endParaRPr/>
          </a:p>
        </p:txBody>
      </p:sp>
      <p:sp>
        <p:nvSpPr>
          <p:cNvPr id="1070" name="object 1070"/>
          <p:cNvSpPr/>
          <p:nvPr/>
        </p:nvSpPr>
        <p:spPr>
          <a:xfrm>
            <a:off x="8628081" y="1175284"/>
            <a:ext cx="29464" cy="0"/>
          </a:xfrm>
          <a:custGeom>
            <a:avLst/>
            <a:gdLst/>
            <a:ahLst/>
            <a:cxnLst/>
            <a:rect l="l" t="t" r="r" b="b"/>
            <a:pathLst>
              <a:path w="29464">
                <a:moveTo>
                  <a:pt x="0" y="0"/>
                </a:moveTo>
                <a:lnTo>
                  <a:pt x="29464" y="0"/>
                </a:lnTo>
              </a:path>
            </a:pathLst>
          </a:custGeom>
          <a:ln w="4307">
            <a:solidFill>
              <a:srgbClr val="000000"/>
            </a:solidFill>
          </a:ln>
        </p:spPr>
        <p:txBody>
          <a:bodyPr wrap="square" lIns="0" tIns="0" rIns="0" bIns="0" rtlCol="0">
            <a:noAutofit/>
          </a:bodyPr>
          <a:lstStyle/>
          <a:p>
            <a:endParaRPr/>
          </a:p>
        </p:txBody>
      </p:sp>
      <p:sp>
        <p:nvSpPr>
          <p:cNvPr id="1071" name="object 1071"/>
          <p:cNvSpPr/>
          <p:nvPr/>
        </p:nvSpPr>
        <p:spPr>
          <a:xfrm>
            <a:off x="8620046" y="1168602"/>
            <a:ext cx="8035" cy="8200"/>
          </a:xfrm>
          <a:custGeom>
            <a:avLst/>
            <a:gdLst/>
            <a:ahLst/>
            <a:cxnLst/>
            <a:rect l="l" t="t" r="r" b="b"/>
            <a:pathLst>
              <a:path w="8035" h="8200">
                <a:moveTo>
                  <a:pt x="595" y="3037"/>
                </a:moveTo>
                <a:lnTo>
                  <a:pt x="2083" y="5467"/>
                </a:lnTo>
                <a:lnTo>
                  <a:pt x="4761" y="7593"/>
                </a:lnTo>
                <a:lnTo>
                  <a:pt x="8035" y="8200"/>
                </a:lnTo>
                <a:lnTo>
                  <a:pt x="8035" y="5163"/>
                </a:lnTo>
                <a:lnTo>
                  <a:pt x="5952" y="4555"/>
                </a:lnTo>
                <a:lnTo>
                  <a:pt x="4464" y="3644"/>
                </a:lnTo>
                <a:lnTo>
                  <a:pt x="3571" y="1822"/>
                </a:lnTo>
                <a:lnTo>
                  <a:pt x="2976" y="0"/>
                </a:lnTo>
                <a:lnTo>
                  <a:pt x="0" y="0"/>
                </a:lnTo>
                <a:lnTo>
                  <a:pt x="595" y="3037"/>
                </a:lnTo>
                <a:close/>
              </a:path>
            </a:pathLst>
          </a:custGeom>
          <a:solidFill>
            <a:srgbClr val="000000"/>
          </a:solidFill>
        </p:spPr>
        <p:txBody>
          <a:bodyPr wrap="square" lIns="0" tIns="0" rIns="0" bIns="0" rtlCol="0">
            <a:noAutofit/>
          </a:bodyPr>
          <a:lstStyle/>
          <a:p>
            <a:endParaRPr/>
          </a:p>
        </p:txBody>
      </p:sp>
      <p:sp>
        <p:nvSpPr>
          <p:cNvPr id="1072" name="object 1072"/>
          <p:cNvSpPr/>
          <p:nvPr/>
        </p:nvSpPr>
        <p:spPr>
          <a:xfrm>
            <a:off x="8620045" y="1162376"/>
            <a:ext cx="2976" cy="0"/>
          </a:xfrm>
          <a:custGeom>
            <a:avLst/>
            <a:gdLst/>
            <a:ahLst/>
            <a:cxnLst/>
            <a:rect l="l" t="t" r="r" b="b"/>
            <a:pathLst>
              <a:path w="2976">
                <a:moveTo>
                  <a:pt x="0" y="0"/>
                </a:moveTo>
                <a:lnTo>
                  <a:pt x="2976" y="0"/>
                </a:lnTo>
              </a:path>
            </a:pathLst>
          </a:custGeom>
          <a:ln w="13722">
            <a:solidFill>
              <a:srgbClr val="000000"/>
            </a:solidFill>
          </a:ln>
        </p:spPr>
        <p:txBody>
          <a:bodyPr wrap="square" lIns="0" tIns="0" rIns="0" bIns="0" rtlCol="0">
            <a:noAutofit/>
          </a:bodyPr>
          <a:lstStyle/>
          <a:p>
            <a:endParaRPr/>
          </a:p>
        </p:txBody>
      </p:sp>
      <p:sp>
        <p:nvSpPr>
          <p:cNvPr id="1073" name="object 1073"/>
          <p:cNvSpPr/>
          <p:nvPr/>
        </p:nvSpPr>
        <p:spPr>
          <a:xfrm>
            <a:off x="8620046" y="1147949"/>
            <a:ext cx="8035" cy="8200"/>
          </a:xfrm>
          <a:custGeom>
            <a:avLst/>
            <a:gdLst/>
            <a:ahLst/>
            <a:cxnLst/>
            <a:rect l="l" t="t" r="r" b="b"/>
            <a:pathLst>
              <a:path w="8035" h="8200">
                <a:moveTo>
                  <a:pt x="3571" y="6074"/>
                </a:moveTo>
                <a:lnTo>
                  <a:pt x="4464" y="4555"/>
                </a:lnTo>
                <a:lnTo>
                  <a:pt x="5952" y="3644"/>
                </a:lnTo>
                <a:lnTo>
                  <a:pt x="8035" y="3037"/>
                </a:lnTo>
                <a:lnTo>
                  <a:pt x="8035" y="0"/>
                </a:lnTo>
                <a:lnTo>
                  <a:pt x="4761" y="607"/>
                </a:lnTo>
                <a:lnTo>
                  <a:pt x="2083" y="2126"/>
                </a:lnTo>
                <a:lnTo>
                  <a:pt x="595" y="4859"/>
                </a:lnTo>
                <a:lnTo>
                  <a:pt x="0" y="8200"/>
                </a:lnTo>
                <a:lnTo>
                  <a:pt x="2976" y="8200"/>
                </a:lnTo>
                <a:lnTo>
                  <a:pt x="3571" y="6074"/>
                </a:lnTo>
                <a:close/>
              </a:path>
            </a:pathLst>
          </a:custGeom>
          <a:solidFill>
            <a:srgbClr val="000000"/>
          </a:solidFill>
        </p:spPr>
        <p:txBody>
          <a:bodyPr wrap="square" lIns="0" tIns="0" rIns="0" bIns="0" rtlCol="0">
            <a:noAutofit/>
          </a:bodyPr>
          <a:lstStyle/>
          <a:p>
            <a:endParaRPr/>
          </a:p>
        </p:txBody>
      </p:sp>
      <p:sp>
        <p:nvSpPr>
          <p:cNvPr id="1074" name="object 1074"/>
          <p:cNvSpPr/>
          <p:nvPr/>
        </p:nvSpPr>
        <p:spPr>
          <a:xfrm>
            <a:off x="8767962" y="873686"/>
            <a:ext cx="45237" cy="34017"/>
          </a:xfrm>
          <a:custGeom>
            <a:avLst/>
            <a:gdLst/>
            <a:ahLst/>
            <a:cxnLst/>
            <a:rect l="l" t="t" r="r" b="b"/>
            <a:pathLst>
              <a:path w="45237" h="34017">
                <a:moveTo>
                  <a:pt x="4464" y="0"/>
                </a:moveTo>
                <a:lnTo>
                  <a:pt x="2976" y="303"/>
                </a:lnTo>
                <a:lnTo>
                  <a:pt x="1488" y="1214"/>
                </a:lnTo>
                <a:lnTo>
                  <a:pt x="595" y="2733"/>
                </a:lnTo>
                <a:lnTo>
                  <a:pt x="0" y="4555"/>
                </a:lnTo>
                <a:lnTo>
                  <a:pt x="0" y="26727"/>
                </a:lnTo>
                <a:lnTo>
                  <a:pt x="297" y="28550"/>
                </a:lnTo>
                <a:lnTo>
                  <a:pt x="1488" y="29765"/>
                </a:lnTo>
                <a:lnTo>
                  <a:pt x="2678" y="30980"/>
                </a:lnTo>
                <a:lnTo>
                  <a:pt x="4464" y="31283"/>
                </a:lnTo>
                <a:lnTo>
                  <a:pt x="40773" y="34017"/>
                </a:lnTo>
                <a:lnTo>
                  <a:pt x="42261" y="33713"/>
                </a:lnTo>
                <a:lnTo>
                  <a:pt x="43749" y="32498"/>
                </a:lnTo>
                <a:lnTo>
                  <a:pt x="44940" y="31283"/>
                </a:lnTo>
                <a:lnTo>
                  <a:pt x="45237" y="29461"/>
                </a:lnTo>
                <a:lnTo>
                  <a:pt x="45237" y="8808"/>
                </a:lnTo>
                <a:lnTo>
                  <a:pt x="44642" y="7289"/>
                </a:lnTo>
                <a:lnTo>
                  <a:pt x="43452" y="5770"/>
                </a:lnTo>
                <a:lnTo>
                  <a:pt x="41964" y="4859"/>
                </a:lnTo>
                <a:lnTo>
                  <a:pt x="40773" y="4252"/>
                </a:lnTo>
                <a:lnTo>
                  <a:pt x="4464" y="0"/>
                </a:lnTo>
                <a:close/>
              </a:path>
            </a:pathLst>
          </a:custGeom>
          <a:solidFill>
            <a:srgbClr val="000000"/>
          </a:solidFill>
        </p:spPr>
        <p:txBody>
          <a:bodyPr wrap="square" lIns="0" tIns="0" rIns="0" bIns="0" rtlCol="0">
            <a:noAutofit/>
          </a:bodyPr>
          <a:lstStyle/>
          <a:p>
            <a:endParaRPr/>
          </a:p>
        </p:txBody>
      </p:sp>
      <p:sp>
        <p:nvSpPr>
          <p:cNvPr id="1075" name="object 1075"/>
          <p:cNvSpPr/>
          <p:nvPr/>
        </p:nvSpPr>
        <p:spPr>
          <a:xfrm>
            <a:off x="8772128" y="872167"/>
            <a:ext cx="36904" cy="7289"/>
          </a:xfrm>
          <a:custGeom>
            <a:avLst/>
            <a:gdLst/>
            <a:ahLst/>
            <a:cxnLst/>
            <a:rect l="l" t="t" r="r" b="b"/>
            <a:pathLst>
              <a:path w="36904" h="7289">
                <a:moveTo>
                  <a:pt x="36904" y="4252"/>
                </a:moveTo>
                <a:lnTo>
                  <a:pt x="595" y="0"/>
                </a:lnTo>
                <a:lnTo>
                  <a:pt x="0" y="3037"/>
                </a:lnTo>
                <a:lnTo>
                  <a:pt x="36309" y="7289"/>
                </a:lnTo>
                <a:lnTo>
                  <a:pt x="36904" y="4252"/>
                </a:lnTo>
                <a:close/>
              </a:path>
            </a:pathLst>
          </a:custGeom>
          <a:solidFill>
            <a:srgbClr val="000000"/>
          </a:solidFill>
        </p:spPr>
        <p:txBody>
          <a:bodyPr wrap="square" lIns="0" tIns="0" rIns="0" bIns="0" rtlCol="0">
            <a:noAutofit/>
          </a:bodyPr>
          <a:lstStyle/>
          <a:p>
            <a:endParaRPr/>
          </a:p>
        </p:txBody>
      </p:sp>
      <p:sp>
        <p:nvSpPr>
          <p:cNvPr id="1076" name="object 1076"/>
          <p:cNvSpPr/>
          <p:nvPr/>
        </p:nvSpPr>
        <p:spPr>
          <a:xfrm>
            <a:off x="8808439" y="876418"/>
            <a:ext cx="6249" cy="6074"/>
          </a:xfrm>
          <a:custGeom>
            <a:avLst/>
            <a:gdLst/>
            <a:ahLst/>
            <a:cxnLst/>
            <a:rect l="l" t="t" r="r" b="b"/>
            <a:pathLst>
              <a:path w="6249" h="6074">
                <a:moveTo>
                  <a:pt x="892" y="3340"/>
                </a:moveTo>
                <a:lnTo>
                  <a:pt x="2083" y="4252"/>
                </a:lnTo>
                <a:lnTo>
                  <a:pt x="2976" y="5467"/>
                </a:lnTo>
                <a:lnTo>
                  <a:pt x="3273" y="6074"/>
                </a:lnTo>
                <a:lnTo>
                  <a:pt x="6249" y="6074"/>
                </a:lnTo>
                <a:lnTo>
                  <a:pt x="5357" y="3644"/>
                </a:lnTo>
                <a:lnTo>
                  <a:pt x="3869" y="1822"/>
                </a:lnTo>
                <a:lnTo>
                  <a:pt x="2083" y="911"/>
                </a:lnTo>
                <a:lnTo>
                  <a:pt x="595" y="0"/>
                </a:lnTo>
                <a:lnTo>
                  <a:pt x="0" y="3037"/>
                </a:lnTo>
                <a:lnTo>
                  <a:pt x="892" y="3340"/>
                </a:lnTo>
                <a:close/>
              </a:path>
            </a:pathLst>
          </a:custGeom>
          <a:solidFill>
            <a:srgbClr val="000000"/>
          </a:solidFill>
        </p:spPr>
        <p:txBody>
          <a:bodyPr wrap="square" lIns="0" tIns="0" rIns="0" bIns="0" rtlCol="0">
            <a:noAutofit/>
          </a:bodyPr>
          <a:lstStyle/>
          <a:p>
            <a:endParaRPr/>
          </a:p>
        </p:txBody>
      </p:sp>
      <p:sp>
        <p:nvSpPr>
          <p:cNvPr id="1077" name="object 1077"/>
          <p:cNvSpPr/>
          <p:nvPr/>
        </p:nvSpPr>
        <p:spPr>
          <a:xfrm>
            <a:off x="8811711" y="892820"/>
            <a:ext cx="2976" cy="0"/>
          </a:xfrm>
          <a:custGeom>
            <a:avLst/>
            <a:gdLst/>
            <a:ahLst/>
            <a:cxnLst/>
            <a:rect l="l" t="t" r="r" b="b"/>
            <a:pathLst>
              <a:path w="2976">
                <a:moveTo>
                  <a:pt x="0" y="0"/>
                </a:moveTo>
                <a:lnTo>
                  <a:pt x="2976" y="0"/>
                </a:lnTo>
              </a:path>
            </a:pathLst>
          </a:custGeom>
          <a:ln w="21923">
            <a:solidFill>
              <a:srgbClr val="000000"/>
            </a:solidFill>
          </a:ln>
        </p:spPr>
        <p:txBody>
          <a:bodyPr wrap="square" lIns="0" tIns="0" rIns="0" bIns="0" rtlCol="0">
            <a:noAutofit/>
          </a:bodyPr>
          <a:lstStyle/>
          <a:p>
            <a:endParaRPr/>
          </a:p>
        </p:txBody>
      </p:sp>
      <p:sp>
        <p:nvSpPr>
          <p:cNvPr id="1078" name="object 1078"/>
          <p:cNvSpPr/>
          <p:nvPr/>
        </p:nvSpPr>
        <p:spPr>
          <a:xfrm>
            <a:off x="8808735" y="903146"/>
            <a:ext cx="5952" cy="6074"/>
          </a:xfrm>
          <a:custGeom>
            <a:avLst/>
            <a:gdLst/>
            <a:ahLst/>
            <a:cxnLst/>
            <a:rect l="l" t="t" r="r" b="b"/>
            <a:pathLst>
              <a:path w="5952" h="6074">
                <a:moveTo>
                  <a:pt x="3869" y="4252"/>
                </a:moveTo>
                <a:lnTo>
                  <a:pt x="5357" y="2429"/>
                </a:lnTo>
                <a:lnTo>
                  <a:pt x="5952" y="0"/>
                </a:lnTo>
                <a:lnTo>
                  <a:pt x="2976" y="0"/>
                </a:lnTo>
                <a:lnTo>
                  <a:pt x="2976" y="1214"/>
                </a:lnTo>
                <a:lnTo>
                  <a:pt x="2083" y="1822"/>
                </a:lnTo>
                <a:lnTo>
                  <a:pt x="892" y="3037"/>
                </a:lnTo>
                <a:lnTo>
                  <a:pt x="0" y="3037"/>
                </a:lnTo>
                <a:lnTo>
                  <a:pt x="0" y="6074"/>
                </a:lnTo>
                <a:lnTo>
                  <a:pt x="2083" y="5467"/>
                </a:lnTo>
                <a:lnTo>
                  <a:pt x="3869" y="4252"/>
                </a:lnTo>
                <a:close/>
              </a:path>
            </a:pathLst>
          </a:custGeom>
          <a:solidFill>
            <a:srgbClr val="000000"/>
          </a:solidFill>
        </p:spPr>
        <p:txBody>
          <a:bodyPr wrap="square" lIns="0" tIns="0" rIns="0" bIns="0" rtlCol="0">
            <a:noAutofit/>
          </a:bodyPr>
          <a:lstStyle/>
          <a:p>
            <a:endParaRPr/>
          </a:p>
        </p:txBody>
      </p:sp>
      <p:sp>
        <p:nvSpPr>
          <p:cNvPr id="1079" name="object 1079"/>
          <p:cNvSpPr/>
          <p:nvPr/>
        </p:nvSpPr>
        <p:spPr>
          <a:xfrm>
            <a:off x="8772427" y="903450"/>
            <a:ext cx="36309" cy="5770"/>
          </a:xfrm>
          <a:custGeom>
            <a:avLst/>
            <a:gdLst/>
            <a:ahLst/>
            <a:cxnLst/>
            <a:rect l="l" t="t" r="r" b="b"/>
            <a:pathLst>
              <a:path w="36309" h="5770">
                <a:moveTo>
                  <a:pt x="0" y="3037"/>
                </a:moveTo>
                <a:lnTo>
                  <a:pt x="36309" y="5770"/>
                </a:lnTo>
                <a:lnTo>
                  <a:pt x="36309" y="2733"/>
                </a:lnTo>
                <a:lnTo>
                  <a:pt x="0" y="0"/>
                </a:lnTo>
                <a:lnTo>
                  <a:pt x="0" y="3037"/>
                </a:lnTo>
                <a:close/>
              </a:path>
            </a:pathLst>
          </a:custGeom>
          <a:solidFill>
            <a:srgbClr val="000000"/>
          </a:solidFill>
        </p:spPr>
        <p:txBody>
          <a:bodyPr wrap="square" lIns="0" tIns="0" rIns="0" bIns="0" rtlCol="0">
            <a:noAutofit/>
          </a:bodyPr>
          <a:lstStyle/>
          <a:p>
            <a:endParaRPr/>
          </a:p>
        </p:txBody>
      </p:sp>
      <p:sp>
        <p:nvSpPr>
          <p:cNvPr id="1080" name="object 1080"/>
          <p:cNvSpPr/>
          <p:nvPr/>
        </p:nvSpPr>
        <p:spPr>
          <a:xfrm>
            <a:off x="8766473" y="900413"/>
            <a:ext cx="5952" cy="6074"/>
          </a:xfrm>
          <a:custGeom>
            <a:avLst/>
            <a:gdLst/>
            <a:ahLst/>
            <a:cxnLst/>
            <a:rect l="l" t="t" r="r" b="b"/>
            <a:pathLst>
              <a:path w="5952" h="6074">
                <a:moveTo>
                  <a:pt x="5952" y="3037"/>
                </a:moveTo>
                <a:lnTo>
                  <a:pt x="4761" y="3037"/>
                </a:lnTo>
                <a:lnTo>
                  <a:pt x="4166" y="1822"/>
                </a:lnTo>
                <a:lnTo>
                  <a:pt x="2976" y="1214"/>
                </a:lnTo>
                <a:lnTo>
                  <a:pt x="2976" y="0"/>
                </a:lnTo>
                <a:lnTo>
                  <a:pt x="0" y="0"/>
                </a:lnTo>
                <a:lnTo>
                  <a:pt x="595" y="2429"/>
                </a:lnTo>
                <a:lnTo>
                  <a:pt x="1785" y="4252"/>
                </a:lnTo>
                <a:lnTo>
                  <a:pt x="3571" y="5467"/>
                </a:lnTo>
                <a:lnTo>
                  <a:pt x="5952" y="6074"/>
                </a:lnTo>
                <a:lnTo>
                  <a:pt x="5952" y="3037"/>
                </a:lnTo>
                <a:close/>
              </a:path>
            </a:pathLst>
          </a:custGeom>
          <a:solidFill>
            <a:srgbClr val="000000"/>
          </a:solidFill>
        </p:spPr>
        <p:txBody>
          <a:bodyPr wrap="square" lIns="0" tIns="0" rIns="0" bIns="0" rtlCol="0">
            <a:noAutofit/>
          </a:bodyPr>
          <a:lstStyle/>
          <a:p>
            <a:endParaRPr/>
          </a:p>
        </p:txBody>
      </p:sp>
      <p:sp>
        <p:nvSpPr>
          <p:cNvPr id="1081" name="object 1081"/>
          <p:cNvSpPr/>
          <p:nvPr/>
        </p:nvSpPr>
        <p:spPr>
          <a:xfrm>
            <a:off x="8766473" y="889327"/>
            <a:ext cx="2976" cy="0"/>
          </a:xfrm>
          <a:custGeom>
            <a:avLst/>
            <a:gdLst/>
            <a:ahLst/>
            <a:cxnLst/>
            <a:rect l="l" t="t" r="r" b="b"/>
            <a:pathLst>
              <a:path w="2976">
                <a:moveTo>
                  <a:pt x="0" y="0"/>
                </a:moveTo>
                <a:lnTo>
                  <a:pt x="2976" y="0"/>
                </a:lnTo>
              </a:path>
            </a:pathLst>
          </a:custGeom>
          <a:ln w="23441">
            <a:solidFill>
              <a:srgbClr val="000000"/>
            </a:solidFill>
          </a:ln>
        </p:spPr>
        <p:txBody>
          <a:bodyPr wrap="square" lIns="0" tIns="0" rIns="0" bIns="0" rtlCol="0">
            <a:noAutofit/>
          </a:bodyPr>
          <a:lstStyle/>
          <a:p>
            <a:endParaRPr/>
          </a:p>
        </p:txBody>
      </p:sp>
      <p:sp>
        <p:nvSpPr>
          <p:cNvPr id="1082" name="object 1082"/>
          <p:cNvSpPr/>
          <p:nvPr/>
        </p:nvSpPr>
        <p:spPr>
          <a:xfrm>
            <a:off x="8766474" y="872166"/>
            <a:ext cx="6249" cy="6074"/>
          </a:xfrm>
          <a:custGeom>
            <a:avLst/>
            <a:gdLst/>
            <a:ahLst/>
            <a:cxnLst/>
            <a:rect l="l" t="t" r="r" b="b"/>
            <a:pathLst>
              <a:path w="6249" h="6074">
                <a:moveTo>
                  <a:pt x="2976" y="6074"/>
                </a:moveTo>
                <a:lnTo>
                  <a:pt x="3571" y="4859"/>
                </a:lnTo>
                <a:lnTo>
                  <a:pt x="4166" y="3948"/>
                </a:lnTo>
                <a:lnTo>
                  <a:pt x="5059" y="3340"/>
                </a:lnTo>
                <a:lnTo>
                  <a:pt x="5654" y="3037"/>
                </a:lnTo>
                <a:lnTo>
                  <a:pt x="6249" y="0"/>
                </a:lnTo>
                <a:lnTo>
                  <a:pt x="3869" y="303"/>
                </a:lnTo>
                <a:lnTo>
                  <a:pt x="1785" y="1518"/>
                </a:lnTo>
                <a:lnTo>
                  <a:pt x="595" y="3644"/>
                </a:lnTo>
                <a:lnTo>
                  <a:pt x="0" y="6074"/>
                </a:lnTo>
                <a:lnTo>
                  <a:pt x="2976" y="6074"/>
                </a:lnTo>
                <a:close/>
              </a:path>
            </a:pathLst>
          </a:custGeom>
          <a:solidFill>
            <a:srgbClr val="000000"/>
          </a:solidFill>
        </p:spPr>
        <p:txBody>
          <a:bodyPr wrap="square" lIns="0" tIns="0" rIns="0" bIns="0" rtlCol="0">
            <a:noAutofit/>
          </a:bodyPr>
          <a:lstStyle/>
          <a:p>
            <a:endParaRPr/>
          </a:p>
        </p:txBody>
      </p:sp>
      <p:sp>
        <p:nvSpPr>
          <p:cNvPr id="1083" name="object 1083"/>
          <p:cNvSpPr/>
          <p:nvPr/>
        </p:nvSpPr>
        <p:spPr>
          <a:xfrm>
            <a:off x="8767962" y="873381"/>
            <a:ext cx="47321" cy="17312"/>
          </a:xfrm>
          <a:custGeom>
            <a:avLst/>
            <a:gdLst/>
            <a:ahLst/>
            <a:cxnLst/>
            <a:rect l="l" t="t" r="r" b="b"/>
            <a:pathLst>
              <a:path w="47321" h="17312">
                <a:moveTo>
                  <a:pt x="0" y="12452"/>
                </a:moveTo>
                <a:lnTo>
                  <a:pt x="47321" y="17312"/>
                </a:lnTo>
                <a:lnTo>
                  <a:pt x="47321" y="7289"/>
                </a:lnTo>
                <a:lnTo>
                  <a:pt x="46130" y="5163"/>
                </a:lnTo>
                <a:lnTo>
                  <a:pt x="3869" y="0"/>
                </a:lnTo>
                <a:lnTo>
                  <a:pt x="0" y="1822"/>
                </a:lnTo>
                <a:lnTo>
                  <a:pt x="0" y="12452"/>
                </a:lnTo>
                <a:close/>
              </a:path>
            </a:pathLst>
          </a:custGeom>
          <a:solidFill>
            <a:srgbClr val="BEBEBE"/>
          </a:solidFill>
        </p:spPr>
        <p:txBody>
          <a:bodyPr wrap="square" lIns="0" tIns="0" rIns="0" bIns="0" rtlCol="0">
            <a:noAutofit/>
          </a:bodyPr>
          <a:lstStyle/>
          <a:p>
            <a:endParaRPr/>
          </a:p>
        </p:txBody>
      </p:sp>
      <p:sp>
        <p:nvSpPr>
          <p:cNvPr id="1084" name="object 1084"/>
          <p:cNvSpPr/>
          <p:nvPr/>
        </p:nvSpPr>
        <p:spPr>
          <a:xfrm>
            <a:off x="8767962" y="884315"/>
            <a:ext cx="48809" cy="7896"/>
          </a:xfrm>
          <a:custGeom>
            <a:avLst/>
            <a:gdLst/>
            <a:ahLst/>
            <a:cxnLst/>
            <a:rect l="l" t="t" r="r" b="b"/>
            <a:pathLst>
              <a:path w="48809" h="7896">
                <a:moveTo>
                  <a:pt x="48214" y="7289"/>
                </a:moveTo>
                <a:lnTo>
                  <a:pt x="48809" y="6378"/>
                </a:lnTo>
                <a:lnTo>
                  <a:pt x="48214" y="5467"/>
                </a:lnTo>
                <a:lnTo>
                  <a:pt x="47321" y="4859"/>
                </a:lnTo>
                <a:lnTo>
                  <a:pt x="0" y="0"/>
                </a:lnTo>
                <a:lnTo>
                  <a:pt x="0" y="3037"/>
                </a:lnTo>
                <a:lnTo>
                  <a:pt x="47321" y="7896"/>
                </a:lnTo>
                <a:lnTo>
                  <a:pt x="45833" y="6378"/>
                </a:lnTo>
                <a:lnTo>
                  <a:pt x="47321" y="7896"/>
                </a:lnTo>
                <a:lnTo>
                  <a:pt x="48214" y="7289"/>
                </a:lnTo>
                <a:close/>
              </a:path>
            </a:pathLst>
          </a:custGeom>
          <a:solidFill>
            <a:srgbClr val="000000"/>
          </a:solidFill>
        </p:spPr>
        <p:txBody>
          <a:bodyPr wrap="square" lIns="0" tIns="0" rIns="0" bIns="0" rtlCol="0">
            <a:noAutofit/>
          </a:bodyPr>
          <a:lstStyle/>
          <a:p>
            <a:endParaRPr/>
          </a:p>
        </p:txBody>
      </p:sp>
      <p:sp>
        <p:nvSpPr>
          <p:cNvPr id="1085" name="object 1085"/>
          <p:cNvSpPr/>
          <p:nvPr/>
        </p:nvSpPr>
        <p:spPr>
          <a:xfrm>
            <a:off x="8813795" y="879153"/>
            <a:ext cx="2976" cy="11541"/>
          </a:xfrm>
          <a:custGeom>
            <a:avLst/>
            <a:gdLst/>
            <a:ahLst/>
            <a:cxnLst/>
            <a:rect l="l" t="t" r="r" b="b"/>
            <a:pathLst>
              <a:path w="2976" h="11541">
                <a:moveTo>
                  <a:pt x="2380" y="607"/>
                </a:moveTo>
                <a:lnTo>
                  <a:pt x="1488" y="0"/>
                </a:lnTo>
                <a:lnTo>
                  <a:pt x="595" y="607"/>
                </a:lnTo>
                <a:lnTo>
                  <a:pt x="0" y="1518"/>
                </a:lnTo>
                <a:lnTo>
                  <a:pt x="0" y="11541"/>
                </a:lnTo>
                <a:lnTo>
                  <a:pt x="2976" y="11541"/>
                </a:lnTo>
                <a:lnTo>
                  <a:pt x="297" y="2126"/>
                </a:lnTo>
                <a:lnTo>
                  <a:pt x="2976" y="11541"/>
                </a:lnTo>
                <a:lnTo>
                  <a:pt x="2976" y="1518"/>
                </a:lnTo>
                <a:lnTo>
                  <a:pt x="2380" y="607"/>
                </a:lnTo>
                <a:close/>
              </a:path>
            </a:pathLst>
          </a:custGeom>
          <a:solidFill>
            <a:srgbClr val="000000"/>
          </a:solidFill>
        </p:spPr>
        <p:txBody>
          <a:bodyPr wrap="square" lIns="0" tIns="0" rIns="0" bIns="0" rtlCol="0">
            <a:noAutofit/>
          </a:bodyPr>
          <a:lstStyle/>
          <a:p>
            <a:endParaRPr/>
          </a:p>
        </p:txBody>
      </p:sp>
      <p:sp>
        <p:nvSpPr>
          <p:cNvPr id="1086" name="object 1086"/>
          <p:cNvSpPr/>
          <p:nvPr/>
        </p:nvSpPr>
        <p:spPr>
          <a:xfrm>
            <a:off x="8812903" y="877330"/>
            <a:ext cx="3571" cy="3948"/>
          </a:xfrm>
          <a:custGeom>
            <a:avLst/>
            <a:gdLst/>
            <a:ahLst/>
            <a:cxnLst/>
            <a:rect l="l" t="t" r="r" b="b"/>
            <a:pathLst>
              <a:path w="3571" h="3948">
                <a:moveTo>
                  <a:pt x="0" y="911"/>
                </a:moveTo>
                <a:lnTo>
                  <a:pt x="892" y="2733"/>
                </a:lnTo>
                <a:lnTo>
                  <a:pt x="1190" y="3948"/>
                </a:lnTo>
                <a:lnTo>
                  <a:pt x="3571" y="2733"/>
                </a:lnTo>
                <a:lnTo>
                  <a:pt x="2380" y="607"/>
                </a:lnTo>
                <a:lnTo>
                  <a:pt x="1785" y="0"/>
                </a:lnTo>
                <a:lnTo>
                  <a:pt x="892" y="0"/>
                </a:lnTo>
                <a:lnTo>
                  <a:pt x="0" y="911"/>
                </a:lnTo>
                <a:close/>
              </a:path>
              <a:path w="3571" h="3948">
                <a:moveTo>
                  <a:pt x="892" y="2733"/>
                </a:moveTo>
                <a:lnTo>
                  <a:pt x="0" y="911"/>
                </a:lnTo>
                <a:lnTo>
                  <a:pt x="0" y="1822"/>
                </a:lnTo>
                <a:lnTo>
                  <a:pt x="1190" y="3948"/>
                </a:lnTo>
                <a:lnTo>
                  <a:pt x="892" y="2733"/>
                </a:lnTo>
                <a:close/>
              </a:path>
            </a:pathLst>
          </a:custGeom>
          <a:solidFill>
            <a:srgbClr val="000000"/>
          </a:solidFill>
        </p:spPr>
        <p:txBody>
          <a:bodyPr wrap="square" lIns="0" tIns="0" rIns="0" bIns="0" rtlCol="0">
            <a:noAutofit/>
          </a:bodyPr>
          <a:lstStyle/>
          <a:p>
            <a:endParaRPr/>
          </a:p>
        </p:txBody>
      </p:sp>
      <p:sp>
        <p:nvSpPr>
          <p:cNvPr id="1087" name="object 1087"/>
          <p:cNvSpPr/>
          <p:nvPr/>
        </p:nvSpPr>
        <p:spPr>
          <a:xfrm>
            <a:off x="8771534" y="874901"/>
            <a:ext cx="42261" cy="5163"/>
          </a:xfrm>
          <a:custGeom>
            <a:avLst/>
            <a:gdLst/>
            <a:ahLst/>
            <a:cxnLst/>
            <a:rect l="l" t="t" r="r" b="b"/>
            <a:pathLst>
              <a:path w="42261" h="5163">
                <a:moveTo>
                  <a:pt x="42261" y="5163"/>
                </a:moveTo>
                <a:lnTo>
                  <a:pt x="892" y="0"/>
                </a:lnTo>
                <a:lnTo>
                  <a:pt x="0" y="0"/>
                </a:lnTo>
                <a:lnTo>
                  <a:pt x="42261" y="5163"/>
                </a:lnTo>
                <a:close/>
              </a:path>
            </a:pathLst>
          </a:custGeom>
          <a:solidFill>
            <a:srgbClr val="000000"/>
          </a:solidFill>
        </p:spPr>
        <p:txBody>
          <a:bodyPr wrap="square" lIns="0" tIns="0" rIns="0" bIns="0" rtlCol="0">
            <a:noAutofit/>
          </a:bodyPr>
          <a:lstStyle/>
          <a:p>
            <a:endParaRPr/>
          </a:p>
        </p:txBody>
      </p:sp>
      <p:sp>
        <p:nvSpPr>
          <p:cNvPr id="1088" name="object 1088"/>
          <p:cNvSpPr/>
          <p:nvPr/>
        </p:nvSpPr>
        <p:spPr>
          <a:xfrm>
            <a:off x="8770641" y="871862"/>
            <a:ext cx="43749" cy="8200"/>
          </a:xfrm>
          <a:custGeom>
            <a:avLst/>
            <a:gdLst/>
            <a:ahLst/>
            <a:cxnLst/>
            <a:rect l="l" t="t" r="r" b="b"/>
            <a:pathLst>
              <a:path w="43749" h="8200">
                <a:moveTo>
                  <a:pt x="43154" y="8200"/>
                </a:moveTo>
                <a:lnTo>
                  <a:pt x="43749" y="5163"/>
                </a:lnTo>
                <a:lnTo>
                  <a:pt x="1488" y="0"/>
                </a:lnTo>
                <a:lnTo>
                  <a:pt x="297" y="303"/>
                </a:lnTo>
                <a:lnTo>
                  <a:pt x="0" y="1214"/>
                </a:lnTo>
                <a:lnTo>
                  <a:pt x="0" y="2429"/>
                </a:lnTo>
                <a:lnTo>
                  <a:pt x="892" y="3037"/>
                </a:lnTo>
                <a:lnTo>
                  <a:pt x="1785" y="3037"/>
                </a:lnTo>
                <a:lnTo>
                  <a:pt x="43154" y="8200"/>
                </a:lnTo>
                <a:close/>
              </a:path>
            </a:pathLst>
          </a:custGeom>
          <a:solidFill>
            <a:srgbClr val="000000"/>
          </a:solidFill>
        </p:spPr>
        <p:txBody>
          <a:bodyPr wrap="square" lIns="0" tIns="0" rIns="0" bIns="0" rtlCol="0">
            <a:noAutofit/>
          </a:bodyPr>
          <a:lstStyle/>
          <a:p>
            <a:endParaRPr/>
          </a:p>
        </p:txBody>
      </p:sp>
      <p:sp>
        <p:nvSpPr>
          <p:cNvPr id="1089" name="object 1089"/>
          <p:cNvSpPr/>
          <p:nvPr/>
        </p:nvSpPr>
        <p:spPr>
          <a:xfrm>
            <a:off x="8766473" y="871863"/>
            <a:ext cx="5952" cy="4859"/>
          </a:xfrm>
          <a:custGeom>
            <a:avLst/>
            <a:gdLst/>
            <a:ahLst/>
            <a:cxnLst/>
            <a:rect l="l" t="t" r="r" b="b"/>
            <a:pathLst>
              <a:path w="5952" h="4859">
                <a:moveTo>
                  <a:pt x="297" y="3644"/>
                </a:moveTo>
                <a:lnTo>
                  <a:pt x="892" y="4859"/>
                </a:lnTo>
                <a:lnTo>
                  <a:pt x="2083" y="4859"/>
                </a:lnTo>
                <a:lnTo>
                  <a:pt x="2976" y="3340"/>
                </a:lnTo>
                <a:lnTo>
                  <a:pt x="2083" y="4859"/>
                </a:lnTo>
                <a:lnTo>
                  <a:pt x="5952" y="3037"/>
                </a:lnTo>
                <a:lnTo>
                  <a:pt x="4761" y="0"/>
                </a:lnTo>
                <a:lnTo>
                  <a:pt x="892" y="1822"/>
                </a:lnTo>
                <a:lnTo>
                  <a:pt x="0" y="2733"/>
                </a:lnTo>
                <a:lnTo>
                  <a:pt x="127" y="3124"/>
                </a:lnTo>
                <a:lnTo>
                  <a:pt x="297" y="3644"/>
                </a:lnTo>
                <a:close/>
              </a:path>
            </a:pathLst>
          </a:custGeom>
          <a:solidFill>
            <a:srgbClr val="000000"/>
          </a:solidFill>
        </p:spPr>
        <p:txBody>
          <a:bodyPr wrap="square" lIns="0" tIns="0" rIns="0" bIns="0" rtlCol="0">
            <a:noAutofit/>
          </a:bodyPr>
          <a:lstStyle/>
          <a:p>
            <a:endParaRPr/>
          </a:p>
        </p:txBody>
      </p:sp>
      <p:sp>
        <p:nvSpPr>
          <p:cNvPr id="1090" name="object 1090"/>
          <p:cNvSpPr/>
          <p:nvPr/>
        </p:nvSpPr>
        <p:spPr>
          <a:xfrm>
            <a:off x="8766473" y="875204"/>
            <a:ext cx="2976" cy="11845"/>
          </a:xfrm>
          <a:custGeom>
            <a:avLst/>
            <a:gdLst/>
            <a:ahLst/>
            <a:cxnLst/>
            <a:rect l="l" t="t" r="r" b="b"/>
            <a:pathLst>
              <a:path w="2976" h="11845">
                <a:moveTo>
                  <a:pt x="1041" y="11693"/>
                </a:moveTo>
                <a:lnTo>
                  <a:pt x="1488" y="11845"/>
                </a:lnTo>
                <a:lnTo>
                  <a:pt x="1488" y="9111"/>
                </a:lnTo>
                <a:lnTo>
                  <a:pt x="2976" y="0"/>
                </a:lnTo>
                <a:lnTo>
                  <a:pt x="0" y="0"/>
                </a:lnTo>
                <a:lnTo>
                  <a:pt x="0" y="10630"/>
                </a:lnTo>
                <a:lnTo>
                  <a:pt x="595" y="11541"/>
                </a:lnTo>
                <a:lnTo>
                  <a:pt x="1041" y="11693"/>
                </a:lnTo>
                <a:close/>
              </a:path>
            </a:pathLst>
          </a:custGeom>
          <a:solidFill>
            <a:srgbClr val="000000"/>
          </a:solidFill>
        </p:spPr>
        <p:txBody>
          <a:bodyPr wrap="square" lIns="0" tIns="0" rIns="0" bIns="0" rtlCol="0">
            <a:noAutofit/>
          </a:bodyPr>
          <a:lstStyle/>
          <a:p>
            <a:endParaRPr/>
          </a:p>
        </p:txBody>
      </p:sp>
      <p:sp>
        <p:nvSpPr>
          <p:cNvPr id="1091" name="object 1091"/>
          <p:cNvSpPr/>
          <p:nvPr/>
        </p:nvSpPr>
        <p:spPr>
          <a:xfrm>
            <a:off x="8767961" y="875204"/>
            <a:ext cx="1488" cy="11845"/>
          </a:xfrm>
          <a:custGeom>
            <a:avLst/>
            <a:gdLst/>
            <a:ahLst/>
            <a:cxnLst/>
            <a:rect l="l" t="t" r="r" b="b"/>
            <a:pathLst>
              <a:path w="1488" h="11845">
                <a:moveTo>
                  <a:pt x="0" y="9111"/>
                </a:moveTo>
                <a:lnTo>
                  <a:pt x="0" y="11845"/>
                </a:lnTo>
                <a:lnTo>
                  <a:pt x="892" y="11541"/>
                </a:lnTo>
                <a:lnTo>
                  <a:pt x="1488" y="10630"/>
                </a:lnTo>
                <a:lnTo>
                  <a:pt x="1488" y="0"/>
                </a:lnTo>
                <a:lnTo>
                  <a:pt x="0" y="9111"/>
                </a:lnTo>
                <a:close/>
              </a:path>
            </a:pathLst>
          </a:custGeom>
          <a:solidFill>
            <a:srgbClr val="000000"/>
          </a:solidFill>
        </p:spPr>
        <p:txBody>
          <a:bodyPr wrap="square" lIns="0" tIns="0" rIns="0" bIns="0" rtlCol="0">
            <a:noAutofit/>
          </a:bodyPr>
          <a:lstStyle/>
          <a:p>
            <a:endParaRPr/>
          </a:p>
        </p:txBody>
      </p:sp>
      <p:sp>
        <p:nvSpPr>
          <p:cNvPr id="1092" name="object 1092"/>
          <p:cNvSpPr/>
          <p:nvPr/>
        </p:nvSpPr>
        <p:spPr>
          <a:xfrm>
            <a:off x="8336415" y="471856"/>
            <a:ext cx="180356" cy="86258"/>
          </a:xfrm>
          <a:custGeom>
            <a:avLst/>
            <a:gdLst/>
            <a:ahLst/>
            <a:cxnLst/>
            <a:rect l="l" t="t" r="r" b="b"/>
            <a:pathLst>
              <a:path w="180356" h="86258">
                <a:moveTo>
                  <a:pt x="180356" y="0"/>
                </a:moveTo>
                <a:lnTo>
                  <a:pt x="0" y="28853"/>
                </a:lnTo>
                <a:lnTo>
                  <a:pt x="0" y="86258"/>
                </a:lnTo>
                <a:lnTo>
                  <a:pt x="11309" y="85346"/>
                </a:lnTo>
                <a:lnTo>
                  <a:pt x="22618" y="84739"/>
                </a:lnTo>
                <a:lnTo>
                  <a:pt x="33928" y="84131"/>
                </a:lnTo>
                <a:lnTo>
                  <a:pt x="45237" y="83524"/>
                </a:lnTo>
                <a:lnTo>
                  <a:pt x="56547" y="83220"/>
                </a:lnTo>
                <a:lnTo>
                  <a:pt x="67856" y="82917"/>
                </a:lnTo>
                <a:lnTo>
                  <a:pt x="79166" y="82613"/>
                </a:lnTo>
                <a:lnTo>
                  <a:pt x="180356" y="82613"/>
                </a:lnTo>
                <a:lnTo>
                  <a:pt x="180356" y="0"/>
                </a:lnTo>
                <a:close/>
              </a:path>
            </a:pathLst>
          </a:custGeom>
          <a:solidFill>
            <a:srgbClr val="BEBEBE"/>
          </a:solidFill>
        </p:spPr>
        <p:txBody>
          <a:bodyPr wrap="square" lIns="0" tIns="0" rIns="0" bIns="0" rtlCol="0">
            <a:noAutofit/>
          </a:bodyPr>
          <a:lstStyle/>
          <a:p>
            <a:endParaRPr/>
          </a:p>
        </p:txBody>
      </p:sp>
      <p:sp>
        <p:nvSpPr>
          <p:cNvPr id="1093" name="object 1093"/>
          <p:cNvSpPr/>
          <p:nvPr/>
        </p:nvSpPr>
        <p:spPr>
          <a:xfrm>
            <a:off x="8336415" y="499192"/>
            <a:ext cx="1488" cy="3037"/>
          </a:xfrm>
          <a:custGeom>
            <a:avLst/>
            <a:gdLst/>
            <a:ahLst/>
            <a:cxnLst/>
            <a:rect l="l" t="t" r="r" b="b"/>
            <a:pathLst>
              <a:path w="1488" h="3037">
                <a:moveTo>
                  <a:pt x="892" y="607"/>
                </a:moveTo>
                <a:lnTo>
                  <a:pt x="0" y="0"/>
                </a:lnTo>
                <a:lnTo>
                  <a:pt x="297" y="3037"/>
                </a:lnTo>
                <a:lnTo>
                  <a:pt x="1488" y="1518"/>
                </a:lnTo>
                <a:lnTo>
                  <a:pt x="892" y="607"/>
                </a:lnTo>
                <a:close/>
              </a:path>
            </a:pathLst>
          </a:custGeom>
          <a:solidFill>
            <a:srgbClr val="000000"/>
          </a:solidFill>
        </p:spPr>
        <p:txBody>
          <a:bodyPr wrap="square" lIns="0" tIns="0" rIns="0" bIns="0" rtlCol="0">
            <a:noAutofit/>
          </a:bodyPr>
          <a:lstStyle/>
          <a:p>
            <a:endParaRPr/>
          </a:p>
        </p:txBody>
      </p:sp>
      <p:sp>
        <p:nvSpPr>
          <p:cNvPr id="1094" name="object 1094"/>
          <p:cNvSpPr/>
          <p:nvPr/>
        </p:nvSpPr>
        <p:spPr>
          <a:xfrm>
            <a:off x="8334927" y="499191"/>
            <a:ext cx="2976" cy="58922"/>
          </a:xfrm>
          <a:custGeom>
            <a:avLst/>
            <a:gdLst/>
            <a:ahLst/>
            <a:cxnLst/>
            <a:rect l="l" t="t" r="r" b="b"/>
            <a:pathLst>
              <a:path w="2976" h="58922">
                <a:moveTo>
                  <a:pt x="2976" y="58922"/>
                </a:moveTo>
                <a:lnTo>
                  <a:pt x="2976" y="1518"/>
                </a:lnTo>
                <a:lnTo>
                  <a:pt x="1785" y="3037"/>
                </a:lnTo>
                <a:lnTo>
                  <a:pt x="1488" y="0"/>
                </a:lnTo>
                <a:lnTo>
                  <a:pt x="850" y="433"/>
                </a:lnTo>
                <a:lnTo>
                  <a:pt x="595" y="607"/>
                </a:lnTo>
                <a:lnTo>
                  <a:pt x="0" y="1518"/>
                </a:lnTo>
                <a:lnTo>
                  <a:pt x="0" y="58922"/>
                </a:lnTo>
                <a:lnTo>
                  <a:pt x="2976" y="58922"/>
                </a:lnTo>
                <a:close/>
              </a:path>
            </a:pathLst>
          </a:custGeom>
          <a:solidFill>
            <a:srgbClr val="000000"/>
          </a:solidFill>
        </p:spPr>
        <p:txBody>
          <a:bodyPr wrap="square" lIns="0" tIns="0" rIns="0" bIns="0" rtlCol="0">
            <a:noAutofit/>
          </a:bodyPr>
          <a:lstStyle/>
          <a:p>
            <a:endParaRPr/>
          </a:p>
        </p:txBody>
      </p:sp>
      <p:sp>
        <p:nvSpPr>
          <p:cNvPr id="1095" name="object 1095"/>
          <p:cNvSpPr/>
          <p:nvPr/>
        </p:nvSpPr>
        <p:spPr>
          <a:xfrm>
            <a:off x="8336118" y="470338"/>
            <a:ext cx="182142" cy="31891"/>
          </a:xfrm>
          <a:custGeom>
            <a:avLst/>
            <a:gdLst/>
            <a:ahLst/>
            <a:cxnLst/>
            <a:rect l="l" t="t" r="r" b="b"/>
            <a:pathLst>
              <a:path w="182142" h="31891">
                <a:moveTo>
                  <a:pt x="182142" y="1214"/>
                </a:moveTo>
                <a:lnTo>
                  <a:pt x="181547" y="303"/>
                </a:lnTo>
                <a:lnTo>
                  <a:pt x="180356" y="0"/>
                </a:lnTo>
                <a:lnTo>
                  <a:pt x="179166" y="1518"/>
                </a:lnTo>
                <a:lnTo>
                  <a:pt x="180356" y="0"/>
                </a:lnTo>
                <a:lnTo>
                  <a:pt x="0" y="28853"/>
                </a:lnTo>
                <a:lnTo>
                  <a:pt x="595" y="31891"/>
                </a:lnTo>
                <a:lnTo>
                  <a:pt x="180951" y="3037"/>
                </a:lnTo>
                <a:lnTo>
                  <a:pt x="181844" y="2429"/>
                </a:lnTo>
                <a:lnTo>
                  <a:pt x="182080" y="1466"/>
                </a:lnTo>
                <a:lnTo>
                  <a:pt x="182142" y="1214"/>
                </a:lnTo>
                <a:close/>
              </a:path>
            </a:pathLst>
          </a:custGeom>
          <a:solidFill>
            <a:srgbClr val="000000"/>
          </a:solidFill>
        </p:spPr>
        <p:txBody>
          <a:bodyPr wrap="square" lIns="0" tIns="0" rIns="0" bIns="0" rtlCol="0">
            <a:noAutofit/>
          </a:bodyPr>
          <a:lstStyle/>
          <a:p>
            <a:endParaRPr/>
          </a:p>
        </p:txBody>
      </p:sp>
      <p:sp>
        <p:nvSpPr>
          <p:cNvPr id="1096" name="object 1096"/>
          <p:cNvSpPr/>
          <p:nvPr/>
        </p:nvSpPr>
        <p:spPr>
          <a:xfrm>
            <a:off x="8515284" y="471856"/>
            <a:ext cx="2976" cy="83676"/>
          </a:xfrm>
          <a:custGeom>
            <a:avLst/>
            <a:gdLst/>
            <a:ahLst/>
            <a:cxnLst/>
            <a:rect l="l" t="t" r="r" b="b"/>
            <a:pathLst>
              <a:path w="2976" h="83676">
                <a:moveTo>
                  <a:pt x="2380" y="83524"/>
                </a:moveTo>
                <a:lnTo>
                  <a:pt x="2976" y="82613"/>
                </a:lnTo>
                <a:lnTo>
                  <a:pt x="2976" y="0"/>
                </a:lnTo>
                <a:lnTo>
                  <a:pt x="0" y="0"/>
                </a:lnTo>
                <a:lnTo>
                  <a:pt x="0" y="82613"/>
                </a:lnTo>
                <a:lnTo>
                  <a:pt x="1488" y="81094"/>
                </a:lnTo>
                <a:lnTo>
                  <a:pt x="1934" y="83676"/>
                </a:lnTo>
                <a:lnTo>
                  <a:pt x="2380" y="83524"/>
                </a:lnTo>
                <a:close/>
              </a:path>
            </a:pathLst>
          </a:custGeom>
          <a:solidFill>
            <a:srgbClr val="000000"/>
          </a:solidFill>
        </p:spPr>
        <p:txBody>
          <a:bodyPr wrap="square" lIns="0" tIns="0" rIns="0" bIns="0" rtlCol="0">
            <a:noAutofit/>
          </a:bodyPr>
          <a:lstStyle/>
          <a:p>
            <a:endParaRPr/>
          </a:p>
        </p:txBody>
      </p:sp>
      <p:sp>
        <p:nvSpPr>
          <p:cNvPr id="1097" name="object 1097"/>
          <p:cNvSpPr/>
          <p:nvPr/>
        </p:nvSpPr>
        <p:spPr>
          <a:xfrm>
            <a:off x="8515284" y="552952"/>
            <a:ext cx="1934" cy="2733"/>
          </a:xfrm>
          <a:custGeom>
            <a:avLst/>
            <a:gdLst/>
            <a:ahLst/>
            <a:cxnLst/>
            <a:rect l="l" t="t" r="r" b="b"/>
            <a:pathLst>
              <a:path w="1934" h="2733">
                <a:moveTo>
                  <a:pt x="1488" y="0"/>
                </a:moveTo>
                <a:lnTo>
                  <a:pt x="0" y="1518"/>
                </a:lnTo>
                <a:lnTo>
                  <a:pt x="595" y="2429"/>
                </a:lnTo>
                <a:lnTo>
                  <a:pt x="1488" y="2733"/>
                </a:lnTo>
                <a:lnTo>
                  <a:pt x="1934" y="2581"/>
                </a:lnTo>
                <a:lnTo>
                  <a:pt x="1488" y="0"/>
                </a:lnTo>
                <a:close/>
              </a:path>
            </a:pathLst>
          </a:custGeom>
          <a:solidFill>
            <a:srgbClr val="000000"/>
          </a:solidFill>
        </p:spPr>
        <p:txBody>
          <a:bodyPr wrap="square" lIns="0" tIns="0" rIns="0" bIns="0" rtlCol="0">
            <a:noAutofit/>
          </a:bodyPr>
          <a:lstStyle/>
          <a:p>
            <a:endParaRPr/>
          </a:p>
        </p:txBody>
      </p:sp>
      <p:sp>
        <p:nvSpPr>
          <p:cNvPr id="1098" name="object 1098"/>
          <p:cNvSpPr/>
          <p:nvPr/>
        </p:nvSpPr>
        <p:spPr>
          <a:xfrm>
            <a:off x="8336416" y="555685"/>
            <a:ext cx="11309" cy="2429"/>
          </a:xfrm>
          <a:custGeom>
            <a:avLst/>
            <a:gdLst/>
            <a:ahLst/>
            <a:cxnLst/>
            <a:rect l="l" t="t" r="r" b="b"/>
            <a:pathLst>
              <a:path w="11309" h="2429">
                <a:moveTo>
                  <a:pt x="1488" y="2429"/>
                </a:moveTo>
                <a:lnTo>
                  <a:pt x="11309" y="0"/>
                </a:lnTo>
                <a:lnTo>
                  <a:pt x="0" y="911"/>
                </a:lnTo>
                <a:lnTo>
                  <a:pt x="1488" y="2429"/>
                </a:lnTo>
                <a:close/>
              </a:path>
            </a:pathLst>
          </a:custGeom>
          <a:solidFill>
            <a:srgbClr val="000000"/>
          </a:solidFill>
        </p:spPr>
        <p:txBody>
          <a:bodyPr wrap="square" lIns="0" tIns="0" rIns="0" bIns="0" rtlCol="0">
            <a:noAutofit/>
          </a:bodyPr>
          <a:lstStyle/>
          <a:p>
            <a:endParaRPr/>
          </a:p>
        </p:txBody>
      </p:sp>
      <p:sp>
        <p:nvSpPr>
          <p:cNvPr id="1099" name="object 1099"/>
          <p:cNvSpPr/>
          <p:nvPr/>
        </p:nvSpPr>
        <p:spPr>
          <a:xfrm>
            <a:off x="8335226" y="552952"/>
            <a:ext cx="181547" cy="6681"/>
          </a:xfrm>
          <a:custGeom>
            <a:avLst/>
            <a:gdLst/>
            <a:ahLst/>
            <a:cxnLst/>
            <a:rect l="l" t="t" r="r" b="b"/>
            <a:pathLst>
              <a:path w="181547" h="6681">
                <a:moveTo>
                  <a:pt x="1190" y="6681"/>
                </a:moveTo>
                <a:lnTo>
                  <a:pt x="12499" y="5770"/>
                </a:lnTo>
                <a:lnTo>
                  <a:pt x="23809" y="5163"/>
                </a:lnTo>
                <a:lnTo>
                  <a:pt x="35118" y="4555"/>
                </a:lnTo>
                <a:lnTo>
                  <a:pt x="46428" y="3948"/>
                </a:lnTo>
                <a:lnTo>
                  <a:pt x="57737" y="3644"/>
                </a:lnTo>
                <a:lnTo>
                  <a:pt x="69047" y="3340"/>
                </a:lnTo>
                <a:lnTo>
                  <a:pt x="80356" y="3037"/>
                </a:lnTo>
                <a:lnTo>
                  <a:pt x="181547" y="3037"/>
                </a:lnTo>
                <a:lnTo>
                  <a:pt x="181547" y="0"/>
                </a:lnTo>
                <a:lnTo>
                  <a:pt x="80356" y="0"/>
                </a:lnTo>
                <a:lnTo>
                  <a:pt x="69047" y="303"/>
                </a:lnTo>
                <a:lnTo>
                  <a:pt x="57737" y="607"/>
                </a:lnTo>
                <a:lnTo>
                  <a:pt x="46428" y="911"/>
                </a:lnTo>
                <a:lnTo>
                  <a:pt x="35118" y="1518"/>
                </a:lnTo>
                <a:lnTo>
                  <a:pt x="23809" y="2126"/>
                </a:lnTo>
                <a:lnTo>
                  <a:pt x="12499" y="2733"/>
                </a:lnTo>
                <a:lnTo>
                  <a:pt x="2678" y="5163"/>
                </a:lnTo>
                <a:lnTo>
                  <a:pt x="1190" y="3644"/>
                </a:lnTo>
                <a:lnTo>
                  <a:pt x="297" y="4252"/>
                </a:lnTo>
                <a:lnTo>
                  <a:pt x="0" y="5163"/>
                </a:lnTo>
                <a:lnTo>
                  <a:pt x="148" y="5618"/>
                </a:lnTo>
                <a:lnTo>
                  <a:pt x="297" y="6074"/>
                </a:lnTo>
                <a:lnTo>
                  <a:pt x="1190" y="6681"/>
                </a:lnTo>
                <a:close/>
              </a:path>
            </a:pathLst>
          </a:custGeom>
          <a:solidFill>
            <a:srgbClr val="000000"/>
          </a:solidFill>
        </p:spPr>
        <p:txBody>
          <a:bodyPr wrap="square" lIns="0" tIns="0" rIns="0" bIns="0" rtlCol="0">
            <a:noAutofit/>
          </a:bodyPr>
          <a:lstStyle/>
          <a:p>
            <a:endParaRPr/>
          </a:p>
        </p:txBody>
      </p:sp>
      <p:sp>
        <p:nvSpPr>
          <p:cNvPr id="1100" name="object 1100"/>
          <p:cNvSpPr/>
          <p:nvPr/>
        </p:nvSpPr>
        <p:spPr>
          <a:xfrm>
            <a:off x="8579272" y="1208391"/>
            <a:ext cx="267856" cy="387251"/>
          </a:xfrm>
          <a:custGeom>
            <a:avLst/>
            <a:gdLst/>
            <a:ahLst/>
            <a:cxnLst/>
            <a:rect l="l" t="t" r="r" b="b"/>
            <a:pathLst>
              <a:path w="267856" h="387251">
                <a:moveTo>
                  <a:pt x="133928" y="0"/>
                </a:moveTo>
                <a:lnTo>
                  <a:pt x="120237" y="911"/>
                </a:lnTo>
                <a:lnTo>
                  <a:pt x="106844" y="3948"/>
                </a:lnTo>
                <a:lnTo>
                  <a:pt x="94047" y="8808"/>
                </a:lnTo>
                <a:lnTo>
                  <a:pt x="81844" y="15186"/>
                </a:lnTo>
                <a:lnTo>
                  <a:pt x="70237" y="23386"/>
                </a:lnTo>
                <a:lnTo>
                  <a:pt x="59226" y="33106"/>
                </a:lnTo>
                <a:lnTo>
                  <a:pt x="48809" y="44343"/>
                </a:lnTo>
                <a:lnTo>
                  <a:pt x="39285" y="56796"/>
                </a:lnTo>
                <a:lnTo>
                  <a:pt x="30654" y="70464"/>
                </a:lnTo>
                <a:lnTo>
                  <a:pt x="22916" y="85346"/>
                </a:lnTo>
                <a:lnTo>
                  <a:pt x="16071" y="101444"/>
                </a:lnTo>
                <a:lnTo>
                  <a:pt x="10416" y="118149"/>
                </a:lnTo>
                <a:lnTo>
                  <a:pt x="5952" y="136069"/>
                </a:lnTo>
                <a:lnTo>
                  <a:pt x="2678" y="154596"/>
                </a:lnTo>
                <a:lnTo>
                  <a:pt x="595" y="173731"/>
                </a:lnTo>
                <a:lnTo>
                  <a:pt x="0" y="193473"/>
                </a:lnTo>
                <a:lnTo>
                  <a:pt x="595" y="213215"/>
                </a:lnTo>
                <a:lnTo>
                  <a:pt x="2678" y="232350"/>
                </a:lnTo>
                <a:lnTo>
                  <a:pt x="5952" y="250877"/>
                </a:lnTo>
                <a:lnTo>
                  <a:pt x="10416" y="268797"/>
                </a:lnTo>
                <a:lnTo>
                  <a:pt x="16071" y="285805"/>
                </a:lnTo>
                <a:lnTo>
                  <a:pt x="22916" y="301599"/>
                </a:lnTo>
                <a:lnTo>
                  <a:pt x="30654" y="316482"/>
                </a:lnTo>
                <a:lnTo>
                  <a:pt x="39285" y="330453"/>
                </a:lnTo>
                <a:lnTo>
                  <a:pt x="48809" y="342906"/>
                </a:lnTo>
                <a:lnTo>
                  <a:pt x="59226" y="354144"/>
                </a:lnTo>
                <a:lnTo>
                  <a:pt x="70237" y="363864"/>
                </a:lnTo>
                <a:lnTo>
                  <a:pt x="81844" y="372065"/>
                </a:lnTo>
                <a:lnTo>
                  <a:pt x="94047" y="378443"/>
                </a:lnTo>
                <a:lnTo>
                  <a:pt x="106844" y="383303"/>
                </a:lnTo>
                <a:lnTo>
                  <a:pt x="120237" y="386340"/>
                </a:lnTo>
                <a:lnTo>
                  <a:pt x="133928" y="387251"/>
                </a:lnTo>
                <a:lnTo>
                  <a:pt x="147618" y="386340"/>
                </a:lnTo>
                <a:lnTo>
                  <a:pt x="161011" y="383303"/>
                </a:lnTo>
                <a:lnTo>
                  <a:pt x="173808" y="378443"/>
                </a:lnTo>
                <a:lnTo>
                  <a:pt x="186011" y="372065"/>
                </a:lnTo>
                <a:lnTo>
                  <a:pt x="197618" y="363864"/>
                </a:lnTo>
                <a:lnTo>
                  <a:pt x="208630" y="354144"/>
                </a:lnTo>
                <a:lnTo>
                  <a:pt x="219046" y="342906"/>
                </a:lnTo>
                <a:lnTo>
                  <a:pt x="228570" y="330453"/>
                </a:lnTo>
                <a:lnTo>
                  <a:pt x="237201" y="316482"/>
                </a:lnTo>
                <a:lnTo>
                  <a:pt x="244939" y="301599"/>
                </a:lnTo>
                <a:lnTo>
                  <a:pt x="251784" y="285805"/>
                </a:lnTo>
                <a:lnTo>
                  <a:pt x="257439" y="268797"/>
                </a:lnTo>
                <a:lnTo>
                  <a:pt x="261903" y="250877"/>
                </a:lnTo>
                <a:lnTo>
                  <a:pt x="265177" y="232350"/>
                </a:lnTo>
                <a:lnTo>
                  <a:pt x="267261" y="213215"/>
                </a:lnTo>
                <a:lnTo>
                  <a:pt x="267856" y="193473"/>
                </a:lnTo>
                <a:lnTo>
                  <a:pt x="267261" y="173731"/>
                </a:lnTo>
                <a:lnTo>
                  <a:pt x="265177" y="154596"/>
                </a:lnTo>
                <a:lnTo>
                  <a:pt x="261903" y="136069"/>
                </a:lnTo>
                <a:lnTo>
                  <a:pt x="257439" y="118149"/>
                </a:lnTo>
                <a:lnTo>
                  <a:pt x="251784" y="101444"/>
                </a:lnTo>
                <a:lnTo>
                  <a:pt x="244939" y="85346"/>
                </a:lnTo>
                <a:lnTo>
                  <a:pt x="237201" y="70464"/>
                </a:lnTo>
                <a:lnTo>
                  <a:pt x="228570" y="56796"/>
                </a:lnTo>
                <a:lnTo>
                  <a:pt x="219046" y="44343"/>
                </a:lnTo>
                <a:lnTo>
                  <a:pt x="208630" y="33106"/>
                </a:lnTo>
                <a:lnTo>
                  <a:pt x="197618" y="23386"/>
                </a:lnTo>
                <a:lnTo>
                  <a:pt x="186011" y="15186"/>
                </a:lnTo>
                <a:lnTo>
                  <a:pt x="173808" y="8808"/>
                </a:lnTo>
                <a:lnTo>
                  <a:pt x="161011" y="3948"/>
                </a:lnTo>
                <a:lnTo>
                  <a:pt x="147618" y="911"/>
                </a:lnTo>
                <a:lnTo>
                  <a:pt x="133928" y="0"/>
                </a:lnTo>
                <a:close/>
              </a:path>
            </a:pathLst>
          </a:custGeom>
          <a:solidFill>
            <a:srgbClr val="000000"/>
          </a:solidFill>
        </p:spPr>
        <p:txBody>
          <a:bodyPr wrap="square" lIns="0" tIns="0" rIns="0" bIns="0" rtlCol="0">
            <a:noAutofit/>
          </a:bodyPr>
          <a:lstStyle/>
          <a:p>
            <a:endParaRPr/>
          </a:p>
        </p:txBody>
      </p:sp>
      <p:sp>
        <p:nvSpPr>
          <p:cNvPr id="1101" name="object 1101"/>
          <p:cNvSpPr/>
          <p:nvPr/>
        </p:nvSpPr>
        <p:spPr>
          <a:xfrm>
            <a:off x="8713201" y="1206265"/>
            <a:ext cx="136011" cy="195599"/>
          </a:xfrm>
          <a:custGeom>
            <a:avLst/>
            <a:gdLst/>
            <a:ahLst/>
            <a:cxnLst/>
            <a:rect l="l" t="t" r="r" b="b"/>
            <a:pathLst>
              <a:path w="136011" h="195599">
                <a:moveTo>
                  <a:pt x="13392" y="5163"/>
                </a:moveTo>
                <a:lnTo>
                  <a:pt x="26488" y="8200"/>
                </a:lnTo>
                <a:lnTo>
                  <a:pt x="38987" y="12756"/>
                </a:lnTo>
                <a:lnTo>
                  <a:pt x="50892" y="19134"/>
                </a:lnTo>
                <a:lnTo>
                  <a:pt x="62499" y="27335"/>
                </a:lnTo>
                <a:lnTo>
                  <a:pt x="73214" y="36750"/>
                </a:lnTo>
                <a:lnTo>
                  <a:pt x="83630" y="47988"/>
                </a:lnTo>
                <a:lnTo>
                  <a:pt x="92856" y="60137"/>
                </a:lnTo>
                <a:lnTo>
                  <a:pt x="101487" y="73805"/>
                </a:lnTo>
                <a:lnTo>
                  <a:pt x="109225" y="88384"/>
                </a:lnTo>
                <a:lnTo>
                  <a:pt x="115773" y="104481"/>
                </a:lnTo>
                <a:lnTo>
                  <a:pt x="121428" y="120882"/>
                </a:lnTo>
                <a:lnTo>
                  <a:pt x="125892" y="138498"/>
                </a:lnTo>
                <a:lnTo>
                  <a:pt x="129166" y="157026"/>
                </a:lnTo>
                <a:lnTo>
                  <a:pt x="131249" y="175857"/>
                </a:lnTo>
                <a:lnTo>
                  <a:pt x="131844" y="195599"/>
                </a:lnTo>
                <a:lnTo>
                  <a:pt x="136011" y="195599"/>
                </a:lnTo>
                <a:lnTo>
                  <a:pt x="135416" y="175857"/>
                </a:lnTo>
                <a:lnTo>
                  <a:pt x="133332" y="156418"/>
                </a:lnTo>
                <a:lnTo>
                  <a:pt x="130059" y="137891"/>
                </a:lnTo>
                <a:lnTo>
                  <a:pt x="125594" y="119667"/>
                </a:lnTo>
                <a:lnTo>
                  <a:pt x="119940" y="102659"/>
                </a:lnTo>
                <a:lnTo>
                  <a:pt x="112797" y="86561"/>
                </a:lnTo>
                <a:lnTo>
                  <a:pt x="105059" y="71375"/>
                </a:lnTo>
                <a:lnTo>
                  <a:pt x="96428" y="57707"/>
                </a:lnTo>
                <a:lnTo>
                  <a:pt x="86606" y="44951"/>
                </a:lnTo>
                <a:lnTo>
                  <a:pt x="76190" y="33713"/>
                </a:lnTo>
                <a:lnTo>
                  <a:pt x="64880" y="23690"/>
                </a:lnTo>
                <a:lnTo>
                  <a:pt x="53273" y="15490"/>
                </a:lnTo>
                <a:lnTo>
                  <a:pt x="40773" y="9111"/>
                </a:lnTo>
                <a:lnTo>
                  <a:pt x="27678" y="3948"/>
                </a:lnTo>
                <a:lnTo>
                  <a:pt x="13988" y="911"/>
                </a:lnTo>
                <a:lnTo>
                  <a:pt x="0" y="0"/>
                </a:lnTo>
                <a:lnTo>
                  <a:pt x="0" y="4252"/>
                </a:lnTo>
                <a:lnTo>
                  <a:pt x="13392" y="5163"/>
                </a:lnTo>
                <a:close/>
              </a:path>
            </a:pathLst>
          </a:custGeom>
          <a:solidFill>
            <a:srgbClr val="000000"/>
          </a:solidFill>
        </p:spPr>
        <p:txBody>
          <a:bodyPr wrap="square" lIns="0" tIns="0" rIns="0" bIns="0" rtlCol="0">
            <a:noAutofit/>
          </a:bodyPr>
          <a:lstStyle/>
          <a:p>
            <a:endParaRPr/>
          </a:p>
        </p:txBody>
      </p:sp>
      <p:sp>
        <p:nvSpPr>
          <p:cNvPr id="1102" name="object 1102"/>
          <p:cNvSpPr/>
          <p:nvPr/>
        </p:nvSpPr>
        <p:spPr>
          <a:xfrm>
            <a:off x="8713201" y="1401864"/>
            <a:ext cx="136011" cy="195904"/>
          </a:xfrm>
          <a:custGeom>
            <a:avLst/>
            <a:gdLst/>
            <a:ahLst/>
            <a:cxnLst/>
            <a:rect l="l" t="t" r="r" b="b"/>
            <a:pathLst>
              <a:path w="136011" h="195904">
                <a:moveTo>
                  <a:pt x="13988" y="194993"/>
                </a:moveTo>
                <a:lnTo>
                  <a:pt x="27678" y="191956"/>
                </a:lnTo>
                <a:lnTo>
                  <a:pt x="40773" y="186792"/>
                </a:lnTo>
                <a:lnTo>
                  <a:pt x="53273" y="180414"/>
                </a:lnTo>
                <a:lnTo>
                  <a:pt x="64880" y="172213"/>
                </a:lnTo>
                <a:lnTo>
                  <a:pt x="76190" y="162189"/>
                </a:lnTo>
                <a:lnTo>
                  <a:pt x="86606" y="150951"/>
                </a:lnTo>
                <a:lnTo>
                  <a:pt x="96428" y="138195"/>
                </a:lnTo>
                <a:lnTo>
                  <a:pt x="105059" y="124223"/>
                </a:lnTo>
                <a:lnTo>
                  <a:pt x="112797" y="109037"/>
                </a:lnTo>
                <a:lnTo>
                  <a:pt x="119940" y="93243"/>
                </a:lnTo>
                <a:lnTo>
                  <a:pt x="125594" y="75931"/>
                </a:lnTo>
                <a:lnTo>
                  <a:pt x="130059" y="57707"/>
                </a:lnTo>
                <a:lnTo>
                  <a:pt x="133332" y="39180"/>
                </a:lnTo>
                <a:lnTo>
                  <a:pt x="135416" y="19742"/>
                </a:lnTo>
                <a:lnTo>
                  <a:pt x="136011" y="0"/>
                </a:lnTo>
                <a:lnTo>
                  <a:pt x="131844" y="0"/>
                </a:lnTo>
                <a:lnTo>
                  <a:pt x="131249" y="19742"/>
                </a:lnTo>
                <a:lnTo>
                  <a:pt x="129166" y="38573"/>
                </a:lnTo>
                <a:lnTo>
                  <a:pt x="125892" y="57100"/>
                </a:lnTo>
                <a:lnTo>
                  <a:pt x="121428" y="74716"/>
                </a:lnTo>
                <a:lnTo>
                  <a:pt x="115773" y="91421"/>
                </a:lnTo>
                <a:lnTo>
                  <a:pt x="109225" y="107215"/>
                </a:lnTo>
                <a:lnTo>
                  <a:pt x="101487" y="121793"/>
                </a:lnTo>
                <a:lnTo>
                  <a:pt x="92856" y="135765"/>
                </a:lnTo>
                <a:lnTo>
                  <a:pt x="83630" y="147914"/>
                </a:lnTo>
                <a:lnTo>
                  <a:pt x="73214" y="159152"/>
                </a:lnTo>
                <a:lnTo>
                  <a:pt x="62499" y="168569"/>
                </a:lnTo>
                <a:lnTo>
                  <a:pt x="50892" y="176769"/>
                </a:lnTo>
                <a:lnTo>
                  <a:pt x="38987" y="183148"/>
                </a:lnTo>
                <a:lnTo>
                  <a:pt x="26488" y="187703"/>
                </a:lnTo>
                <a:lnTo>
                  <a:pt x="13392" y="190741"/>
                </a:lnTo>
                <a:lnTo>
                  <a:pt x="0" y="191652"/>
                </a:lnTo>
                <a:lnTo>
                  <a:pt x="0" y="195904"/>
                </a:lnTo>
                <a:lnTo>
                  <a:pt x="13988" y="194993"/>
                </a:lnTo>
                <a:close/>
              </a:path>
            </a:pathLst>
          </a:custGeom>
          <a:solidFill>
            <a:srgbClr val="000000"/>
          </a:solidFill>
        </p:spPr>
        <p:txBody>
          <a:bodyPr wrap="square" lIns="0" tIns="0" rIns="0" bIns="0" rtlCol="0">
            <a:noAutofit/>
          </a:bodyPr>
          <a:lstStyle/>
          <a:p>
            <a:endParaRPr/>
          </a:p>
        </p:txBody>
      </p:sp>
      <p:sp>
        <p:nvSpPr>
          <p:cNvPr id="1103" name="object 1103"/>
          <p:cNvSpPr/>
          <p:nvPr/>
        </p:nvSpPr>
        <p:spPr>
          <a:xfrm>
            <a:off x="8577189" y="1401864"/>
            <a:ext cx="136011" cy="195904"/>
          </a:xfrm>
          <a:custGeom>
            <a:avLst/>
            <a:gdLst/>
            <a:ahLst/>
            <a:cxnLst/>
            <a:rect l="l" t="t" r="r" b="b"/>
            <a:pathLst>
              <a:path w="136011" h="195904">
                <a:moveTo>
                  <a:pt x="10119" y="57100"/>
                </a:moveTo>
                <a:lnTo>
                  <a:pt x="6845" y="38573"/>
                </a:lnTo>
                <a:lnTo>
                  <a:pt x="4761" y="19742"/>
                </a:lnTo>
                <a:lnTo>
                  <a:pt x="4166" y="0"/>
                </a:lnTo>
                <a:lnTo>
                  <a:pt x="0" y="0"/>
                </a:lnTo>
                <a:lnTo>
                  <a:pt x="595" y="19742"/>
                </a:lnTo>
                <a:lnTo>
                  <a:pt x="2678" y="39180"/>
                </a:lnTo>
                <a:lnTo>
                  <a:pt x="5952" y="57707"/>
                </a:lnTo>
                <a:lnTo>
                  <a:pt x="10416" y="75931"/>
                </a:lnTo>
                <a:lnTo>
                  <a:pt x="16071" y="93243"/>
                </a:lnTo>
                <a:lnTo>
                  <a:pt x="23214" y="109037"/>
                </a:lnTo>
                <a:lnTo>
                  <a:pt x="30952" y="124223"/>
                </a:lnTo>
                <a:lnTo>
                  <a:pt x="39583" y="138195"/>
                </a:lnTo>
                <a:lnTo>
                  <a:pt x="49404" y="150951"/>
                </a:lnTo>
                <a:lnTo>
                  <a:pt x="59821" y="162189"/>
                </a:lnTo>
                <a:lnTo>
                  <a:pt x="71130" y="172213"/>
                </a:lnTo>
                <a:lnTo>
                  <a:pt x="82737" y="180414"/>
                </a:lnTo>
                <a:lnTo>
                  <a:pt x="95237" y="186792"/>
                </a:lnTo>
                <a:lnTo>
                  <a:pt x="108333" y="191956"/>
                </a:lnTo>
                <a:lnTo>
                  <a:pt x="122023" y="194993"/>
                </a:lnTo>
                <a:lnTo>
                  <a:pt x="136011" y="195904"/>
                </a:lnTo>
                <a:lnTo>
                  <a:pt x="136011" y="191652"/>
                </a:lnTo>
                <a:lnTo>
                  <a:pt x="122618" y="190741"/>
                </a:lnTo>
                <a:lnTo>
                  <a:pt x="109523" y="187703"/>
                </a:lnTo>
                <a:lnTo>
                  <a:pt x="97023" y="183148"/>
                </a:lnTo>
                <a:lnTo>
                  <a:pt x="85118" y="176769"/>
                </a:lnTo>
                <a:lnTo>
                  <a:pt x="73511" y="168569"/>
                </a:lnTo>
                <a:lnTo>
                  <a:pt x="62797" y="159152"/>
                </a:lnTo>
                <a:lnTo>
                  <a:pt x="52380" y="147914"/>
                </a:lnTo>
                <a:lnTo>
                  <a:pt x="43154" y="135765"/>
                </a:lnTo>
                <a:lnTo>
                  <a:pt x="34523" y="121793"/>
                </a:lnTo>
                <a:lnTo>
                  <a:pt x="26785" y="107215"/>
                </a:lnTo>
                <a:lnTo>
                  <a:pt x="20238" y="91421"/>
                </a:lnTo>
                <a:lnTo>
                  <a:pt x="14583" y="74716"/>
                </a:lnTo>
                <a:lnTo>
                  <a:pt x="10119" y="57100"/>
                </a:lnTo>
                <a:close/>
              </a:path>
            </a:pathLst>
          </a:custGeom>
          <a:solidFill>
            <a:srgbClr val="000000"/>
          </a:solidFill>
        </p:spPr>
        <p:txBody>
          <a:bodyPr wrap="square" lIns="0" tIns="0" rIns="0" bIns="0" rtlCol="0">
            <a:noAutofit/>
          </a:bodyPr>
          <a:lstStyle/>
          <a:p>
            <a:endParaRPr/>
          </a:p>
        </p:txBody>
      </p:sp>
      <p:sp>
        <p:nvSpPr>
          <p:cNvPr id="1104" name="object 1104"/>
          <p:cNvSpPr/>
          <p:nvPr/>
        </p:nvSpPr>
        <p:spPr>
          <a:xfrm>
            <a:off x="8577189" y="1206265"/>
            <a:ext cx="136011" cy="195599"/>
          </a:xfrm>
          <a:custGeom>
            <a:avLst/>
            <a:gdLst/>
            <a:ahLst/>
            <a:cxnLst/>
            <a:rect l="l" t="t" r="r" b="b"/>
            <a:pathLst>
              <a:path w="136011" h="195599">
                <a:moveTo>
                  <a:pt x="4166" y="195599"/>
                </a:moveTo>
                <a:lnTo>
                  <a:pt x="4761" y="175857"/>
                </a:lnTo>
                <a:lnTo>
                  <a:pt x="6845" y="157026"/>
                </a:lnTo>
                <a:lnTo>
                  <a:pt x="10119" y="138498"/>
                </a:lnTo>
                <a:lnTo>
                  <a:pt x="14583" y="120882"/>
                </a:lnTo>
                <a:lnTo>
                  <a:pt x="20238" y="104481"/>
                </a:lnTo>
                <a:lnTo>
                  <a:pt x="26785" y="88384"/>
                </a:lnTo>
                <a:lnTo>
                  <a:pt x="34523" y="73805"/>
                </a:lnTo>
                <a:lnTo>
                  <a:pt x="43154" y="60137"/>
                </a:lnTo>
                <a:lnTo>
                  <a:pt x="52380" y="47988"/>
                </a:lnTo>
                <a:lnTo>
                  <a:pt x="62797" y="36750"/>
                </a:lnTo>
                <a:lnTo>
                  <a:pt x="73511" y="27335"/>
                </a:lnTo>
                <a:lnTo>
                  <a:pt x="85118" y="19134"/>
                </a:lnTo>
                <a:lnTo>
                  <a:pt x="97023" y="12756"/>
                </a:lnTo>
                <a:lnTo>
                  <a:pt x="109523" y="8200"/>
                </a:lnTo>
                <a:lnTo>
                  <a:pt x="122618" y="5163"/>
                </a:lnTo>
                <a:lnTo>
                  <a:pt x="136011" y="4252"/>
                </a:lnTo>
                <a:lnTo>
                  <a:pt x="136011" y="0"/>
                </a:lnTo>
                <a:lnTo>
                  <a:pt x="122023" y="911"/>
                </a:lnTo>
                <a:lnTo>
                  <a:pt x="108333" y="3948"/>
                </a:lnTo>
                <a:lnTo>
                  <a:pt x="95237" y="9111"/>
                </a:lnTo>
                <a:lnTo>
                  <a:pt x="82737" y="15490"/>
                </a:lnTo>
                <a:lnTo>
                  <a:pt x="71130" y="23690"/>
                </a:lnTo>
                <a:lnTo>
                  <a:pt x="59821" y="33713"/>
                </a:lnTo>
                <a:lnTo>
                  <a:pt x="49404" y="44951"/>
                </a:lnTo>
                <a:lnTo>
                  <a:pt x="39583" y="57707"/>
                </a:lnTo>
                <a:lnTo>
                  <a:pt x="30952" y="71375"/>
                </a:lnTo>
                <a:lnTo>
                  <a:pt x="23214" y="86561"/>
                </a:lnTo>
                <a:lnTo>
                  <a:pt x="16071" y="102659"/>
                </a:lnTo>
                <a:lnTo>
                  <a:pt x="10416" y="119667"/>
                </a:lnTo>
                <a:lnTo>
                  <a:pt x="5952" y="137891"/>
                </a:lnTo>
                <a:lnTo>
                  <a:pt x="2678" y="156418"/>
                </a:lnTo>
                <a:lnTo>
                  <a:pt x="595" y="175857"/>
                </a:lnTo>
                <a:lnTo>
                  <a:pt x="0" y="195599"/>
                </a:lnTo>
                <a:lnTo>
                  <a:pt x="4166" y="195599"/>
                </a:lnTo>
                <a:close/>
              </a:path>
            </a:pathLst>
          </a:custGeom>
          <a:solidFill>
            <a:srgbClr val="000000"/>
          </a:solidFill>
        </p:spPr>
        <p:txBody>
          <a:bodyPr wrap="square" lIns="0" tIns="0" rIns="0" bIns="0" rtlCol="0">
            <a:noAutofit/>
          </a:bodyPr>
          <a:lstStyle/>
          <a:p>
            <a:endParaRPr/>
          </a:p>
        </p:txBody>
      </p:sp>
      <p:sp>
        <p:nvSpPr>
          <p:cNvPr id="1105" name="object 1105"/>
          <p:cNvSpPr/>
          <p:nvPr/>
        </p:nvSpPr>
        <p:spPr>
          <a:xfrm>
            <a:off x="8646236" y="1284019"/>
            <a:ext cx="163094" cy="235691"/>
          </a:xfrm>
          <a:custGeom>
            <a:avLst/>
            <a:gdLst/>
            <a:ahLst/>
            <a:cxnLst/>
            <a:rect l="l" t="t" r="r" b="b"/>
            <a:pathLst>
              <a:path w="163094" h="235691">
                <a:moveTo>
                  <a:pt x="81547" y="0"/>
                </a:moveTo>
                <a:lnTo>
                  <a:pt x="73214" y="607"/>
                </a:lnTo>
                <a:lnTo>
                  <a:pt x="65178" y="2429"/>
                </a:lnTo>
                <a:lnTo>
                  <a:pt x="57440" y="5163"/>
                </a:lnTo>
                <a:lnTo>
                  <a:pt x="49702" y="9415"/>
                </a:lnTo>
                <a:lnTo>
                  <a:pt x="42857" y="14275"/>
                </a:lnTo>
                <a:lnTo>
                  <a:pt x="36011" y="20045"/>
                </a:lnTo>
                <a:lnTo>
                  <a:pt x="29761" y="27031"/>
                </a:lnTo>
                <a:lnTo>
                  <a:pt x="23809" y="34624"/>
                </a:lnTo>
                <a:lnTo>
                  <a:pt x="18749" y="42825"/>
                </a:lnTo>
                <a:lnTo>
                  <a:pt x="13988" y="51937"/>
                </a:lnTo>
                <a:lnTo>
                  <a:pt x="9821" y="61656"/>
                </a:lnTo>
                <a:lnTo>
                  <a:pt x="6547" y="71982"/>
                </a:lnTo>
                <a:lnTo>
                  <a:pt x="3571" y="82917"/>
                </a:lnTo>
                <a:lnTo>
                  <a:pt x="1785" y="94154"/>
                </a:lnTo>
                <a:lnTo>
                  <a:pt x="297" y="105696"/>
                </a:lnTo>
                <a:lnTo>
                  <a:pt x="0" y="117845"/>
                </a:lnTo>
                <a:lnTo>
                  <a:pt x="297" y="129994"/>
                </a:lnTo>
                <a:lnTo>
                  <a:pt x="1785" y="141536"/>
                </a:lnTo>
                <a:lnTo>
                  <a:pt x="3571" y="152773"/>
                </a:lnTo>
                <a:lnTo>
                  <a:pt x="6547" y="163708"/>
                </a:lnTo>
                <a:lnTo>
                  <a:pt x="9821" y="174034"/>
                </a:lnTo>
                <a:lnTo>
                  <a:pt x="13988" y="183753"/>
                </a:lnTo>
                <a:lnTo>
                  <a:pt x="18749" y="192865"/>
                </a:lnTo>
                <a:lnTo>
                  <a:pt x="23809" y="201066"/>
                </a:lnTo>
                <a:lnTo>
                  <a:pt x="29761" y="208659"/>
                </a:lnTo>
                <a:lnTo>
                  <a:pt x="36011" y="215645"/>
                </a:lnTo>
                <a:lnTo>
                  <a:pt x="42857" y="221415"/>
                </a:lnTo>
                <a:lnTo>
                  <a:pt x="49702" y="226275"/>
                </a:lnTo>
                <a:lnTo>
                  <a:pt x="57440" y="230527"/>
                </a:lnTo>
                <a:lnTo>
                  <a:pt x="65178" y="233261"/>
                </a:lnTo>
                <a:lnTo>
                  <a:pt x="73214" y="235083"/>
                </a:lnTo>
                <a:lnTo>
                  <a:pt x="81547" y="235691"/>
                </a:lnTo>
                <a:lnTo>
                  <a:pt x="89880" y="235083"/>
                </a:lnTo>
                <a:lnTo>
                  <a:pt x="97916" y="233261"/>
                </a:lnTo>
                <a:lnTo>
                  <a:pt x="105654" y="230527"/>
                </a:lnTo>
                <a:lnTo>
                  <a:pt x="113392" y="226275"/>
                </a:lnTo>
                <a:lnTo>
                  <a:pt x="120237" y="221415"/>
                </a:lnTo>
                <a:lnTo>
                  <a:pt x="127082" y="215645"/>
                </a:lnTo>
                <a:lnTo>
                  <a:pt x="133332" y="208659"/>
                </a:lnTo>
                <a:lnTo>
                  <a:pt x="139285" y="201066"/>
                </a:lnTo>
                <a:lnTo>
                  <a:pt x="144344" y="192865"/>
                </a:lnTo>
                <a:lnTo>
                  <a:pt x="149106" y="183753"/>
                </a:lnTo>
                <a:lnTo>
                  <a:pt x="153273" y="174034"/>
                </a:lnTo>
                <a:lnTo>
                  <a:pt x="156547" y="163708"/>
                </a:lnTo>
                <a:lnTo>
                  <a:pt x="159523" y="152773"/>
                </a:lnTo>
                <a:lnTo>
                  <a:pt x="161309" y="141536"/>
                </a:lnTo>
                <a:lnTo>
                  <a:pt x="162797" y="129994"/>
                </a:lnTo>
                <a:lnTo>
                  <a:pt x="163094" y="117845"/>
                </a:lnTo>
                <a:lnTo>
                  <a:pt x="162797" y="105696"/>
                </a:lnTo>
                <a:lnTo>
                  <a:pt x="161309" y="94154"/>
                </a:lnTo>
                <a:lnTo>
                  <a:pt x="159523" y="82917"/>
                </a:lnTo>
                <a:lnTo>
                  <a:pt x="156547" y="71982"/>
                </a:lnTo>
                <a:lnTo>
                  <a:pt x="153273" y="61656"/>
                </a:lnTo>
                <a:lnTo>
                  <a:pt x="149106" y="51937"/>
                </a:lnTo>
                <a:lnTo>
                  <a:pt x="144344" y="42825"/>
                </a:lnTo>
                <a:lnTo>
                  <a:pt x="139285" y="34624"/>
                </a:lnTo>
                <a:lnTo>
                  <a:pt x="133332" y="27031"/>
                </a:lnTo>
                <a:lnTo>
                  <a:pt x="127082" y="20045"/>
                </a:lnTo>
                <a:lnTo>
                  <a:pt x="120237" y="14275"/>
                </a:lnTo>
                <a:lnTo>
                  <a:pt x="113392" y="9415"/>
                </a:lnTo>
                <a:lnTo>
                  <a:pt x="105654" y="5163"/>
                </a:lnTo>
                <a:lnTo>
                  <a:pt x="97916" y="2429"/>
                </a:lnTo>
                <a:lnTo>
                  <a:pt x="89880" y="607"/>
                </a:lnTo>
                <a:lnTo>
                  <a:pt x="81547" y="0"/>
                </a:lnTo>
                <a:close/>
              </a:path>
            </a:pathLst>
          </a:custGeom>
          <a:solidFill>
            <a:srgbClr val="E4E4E4"/>
          </a:solidFill>
        </p:spPr>
        <p:txBody>
          <a:bodyPr wrap="square" lIns="0" tIns="0" rIns="0" bIns="0" rtlCol="0">
            <a:noAutofit/>
          </a:bodyPr>
          <a:lstStyle/>
          <a:p>
            <a:endParaRPr/>
          </a:p>
        </p:txBody>
      </p:sp>
      <p:sp>
        <p:nvSpPr>
          <p:cNvPr id="1106" name="object 1106"/>
          <p:cNvSpPr/>
          <p:nvPr/>
        </p:nvSpPr>
        <p:spPr>
          <a:xfrm>
            <a:off x="8727783" y="1281893"/>
            <a:ext cx="83630" cy="119971"/>
          </a:xfrm>
          <a:custGeom>
            <a:avLst/>
            <a:gdLst/>
            <a:ahLst/>
            <a:cxnLst/>
            <a:rect l="l" t="t" r="r" b="b"/>
            <a:pathLst>
              <a:path w="83630" h="119971">
                <a:moveTo>
                  <a:pt x="0" y="0"/>
                </a:moveTo>
                <a:lnTo>
                  <a:pt x="0" y="4252"/>
                </a:lnTo>
                <a:lnTo>
                  <a:pt x="8035" y="4859"/>
                </a:lnTo>
                <a:lnTo>
                  <a:pt x="15773" y="6681"/>
                </a:lnTo>
                <a:lnTo>
                  <a:pt x="23214" y="9111"/>
                </a:lnTo>
                <a:lnTo>
                  <a:pt x="30654" y="13363"/>
                </a:lnTo>
                <a:lnTo>
                  <a:pt x="37499" y="18223"/>
                </a:lnTo>
                <a:lnTo>
                  <a:pt x="44047" y="23690"/>
                </a:lnTo>
                <a:lnTo>
                  <a:pt x="50297" y="30676"/>
                </a:lnTo>
                <a:lnTo>
                  <a:pt x="55952" y="37965"/>
                </a:lnTo>
                <a:lnTo>
                  <a:pt x="61011" y="46166"/>
                </a:lnTo>
                <a:lnTo>
                  <a:pt x="65773" y="54974"/>
                </a:lnTo>
                <a:lnTo>
                  <a:pt x="69642" y="64389"/>
                </a:lnTo>
                <a:lnTo>
                  <a:pt x="72916" y="74716"/>
                </a:lnTo>
                <a:lnTo>
                  <a:pt x="75892" y="85346"/>
                </a:lnTo>
                <a:lnTo>
                  <a:pt x="77678" y="96584"/>
                </a:lnTo>
                <a:lnTo>
                  <a:pt x="79166" y="108126"/>
                </a:lnTo>
                <a:lnTo>
                  <a:pt x="79464" y="119971"/>
                </a:lnTo>
                <a:lnTo>
                  <a:pt x="83630" y="119971"/>
                </a:lnTo>
                <a:lnTo>
                  <a:pt x="83333" y="107518"/>
                </a:lnTo>
                <a:lnTo>
                  <a:pt x="81844" y="95977"/>
                </a:lnTo>
                <a:lnTo>
                  <a:pt x="80059" y="84739"/>
                </a:lnTo>
                <a:lnTo>
                  <a:pt x="77083" y="73501"/>
                </a:lnTo>
                <a:lnTo>
                  <a:pt x="73809" y="63174"/>
                </a:lnTo>
                <a:lnTo>
                  <a:pt x="69345" y="53151"/>
                </a:lnTo>
                <a:lnTo>
                  <a:pt x="64583" y="43736"/>
                </a:lnTo>
                <a:lnTo>
                  <a:pt x="59523" y="35535"/>
                </a:lnTo>
                <a:lnTo>
                  <a:pt x="53273" y="27639"/>
                </a:lnTo>
                <a:lnTo>
                  <a:pt x="47023" y="20653"/>
                </a:lnTo>
                <a:lnTo>
                  <a:pt x="39880" y="14578"/>
                </a:lnTo>
                <a:lnTo>
                  <a:pt x="33035" y="9719"/>
                </a:lnTo>
                <a:lnTo>
                  <a:pt x="24999" y="5467"/>
                </a:lnTo>
                <a:lnTo>
                  <a:pt x="16964" y="2429"/>
                </a:lnTo>
                <a:lnTo>
                  <a:pt x="8630" y="607"/>
                </a:lnTo>
                <a:lnTo>
                  <a:pt x="0" y="0"/>
                </a:lnTo>
                <a:close/>
              </a:path>
            </a:pathLst>
          </a:custGeom>
          <a:solidFill>
            <a:srgbClr val="000000"/>
          </a:solidFill>
        </p:spPr>
        <p:txBody>
          <a:bodyPr wrap="square" lIns="0" tIns="0" rIns="0" bIns="0" rtlCol="0">
            <a:noAutofit/>
          </a:bodyPr>
          <a:lstStyle/>
          <a:p>
            <a:endParaRPr/>
          </a:p>
        </p:txBody>
      </p:sp>
      <p:sp>
        <p:nvSpPr>
          <p:cNvPr id="1107" name="object 1107"/>
          <p:cNvSpPr/>
          <p:nvPr/>
        </p:nvSpPr>
        <p:spPr>
          <a:xfrm>
            <a:off x="8727783" y="1401865"/>
            <a:ext cx="83630" cy="119971"/>
          </a:xfrm>
          <a:custGeom>
            <a:avLst/>
            <a:gdLst/>
            <a:ahLst/>
            <a:cxnLst/>
            <a:rect l="l" t="t" r="r" b="b"/>
            <a:pathLst>
              <a:path w="83630" h="119971">
                <a:moveTo>
                  <a:pt x="73809" y="56796"/>
                </a:moveTo>
                <a:lnTo>
                  <a:pt x="77083" y="46470"/>
                </a:lnTo>
                <a:lnTo>
                  <a:pt x="80059" y="35232"/>
                </a:lnTo>
                <a:lnTo>
                  <a:pt x="81844" y="23994"/>
                </a:lnTo>
                <a:lnTo>
                  <a:pt x="83333" y="12452"/>
                </a:lnTo>
                <a:lnTo>
                  <a:pt x="83630" y="0"/>
                </a:lnTo>
                <a:lnTo>
                  <a:pt x="79464" y="0"/>
                </a:lnTo>
                <a:lnTo>
                  <a:pt x="79166" y="11845"/>
                </a:lnTo>
                <a:lnTo>
                  <a:pt x="77678" y="23386"/>
                </a:lnTo>
                <a:lnTo>
                  <a:pt x="75892" y="34624"/>
                </a:lnTo>
                <a:lnTo>
                  <a:pt x="72916" y="45255"/>
                </a:lnTo>
                <a:lnTo>
                  <a:pt x="69642" y="55581"/>
                </a:lnTo>
                <a:lnTo>
                  <a:pt x="65773" y="64997"/>
                </a:lnTo>
                <a:lnTo>
                  <a:pt x="61011" y="73805"/>
                </a:lnTo>
                <a:lnTo>
                  <a:pt x="55952" y="82005"/>
                </a:lnTo>
                <a:lnTo>
                  <a:pt x="50297" y="89295"/>
                </a:lnTo>
                <a:lnTo>
                  <a:pt x="44047" y="96281"/>
                </a:lnTo>
                <a:lnTo>
                  <a:pt x="37499" y="101748"/>
                </a:lnTo>
                <a:lnTo>
                  <a:pt x="30654" y="106607"/>
                </a:lnTo>
                <a:lnTo>
                  <a:pt x="23214" y="110859"/>
                </a:lnTo>
                <a:lnTo>
                  <a:pt x="15773" y="113289"/>
                </a:lnTo>
                <a:lnTo>
                  <a:pt x="8035" y="115112"/>
                </a:lnTo>
                <a:lnTo>
                  <a:pt x="0" y="115719"/>
                </a:lnTo>
                <a:lnTo>
                  <a:pt x="0" y="119971"/>
                </a:lnTo>
                <a:lnTo>
                  <a:pt x="8630" y="119364"/>
                </a:lnTo>
                <a:lnTo>
                  <a:pt x="16964" y="117541"/>
                </a:lnTo>
                <a:lnTo>
                  <a:pt x="24999" y="114504"/>
                </a:lnTo>
                <a:lnTo>
                  <a:pt x="33035" y="110252"/>
                </a:lnTo>
                <a:lnTo>
                  <a:pt x="39880" y="105392"/>
                </a:lnTo>
                <a:lnTo>
                  <a:pt x="47023" y="99318"/>
                </a:lnTo>
                <a:lnTo>
                  <a:pt x="53273" y="92332"/>
                </a:lnTo>
                <a:lnTo>
                  <a:pt x="59523" y="84435"/>
                </a:lnTo>
                <a:lnTo>
                  <a:pt x="64583" y="76235"/>
                </a:lnTo>
                <a:lnTo>
                  <a:pt x="69345" y="66819"/>
                </a:lnTo>
                <a:lnTo>
                  <a:pt x="73809" y="56796"/>
                </a:lnTo>
                <a:close/>
              </a:path>
            </a:pathLst>
          </a:custGeom>
          <a:solidFill>
            <a:srgbClr val="000000"/>
          </a:solidFill>
        </p:spPr>
        <p:txBody>
          <a:bodyPr wrap="square" lIns="0" tIns="0" rIns="0" bIns="0" rtlCol="0">
            <a:noAutofit/>
          </a:bodyPr>
          <a:lstStyle/>
          <a:p>
            <a:endParaRPr/>
          </a:p>
        </p:txBody>
      </p:sp>
      <p:sp>
        <p:nvSpPr>
          <p:cNvPr id="1108" name="object 1108"/>
          <p:cNvSpPr/>
          <p:nvPr/>
        </p:nvSpPr>
        <p:spPr>
          <a:xfrm>
            <a:off x="8644152" y="1401865"/>
            <a:ext cx="83630" cy="119971"/>
          </a:xfrm>
          <a:custGeom>
            <a:avLst/>
            <a:gdLst/>
            <a:ahLst/>
            <a:cxnLst/>
            <a:rect l="l" t="t" r="r" b="b"/>
            <a:pathLst>
              <a:path w="83630" h="119971">
                <a:moveTo>
                  <a:pt x="297" y="12452"/>
                </a:moveTo>
                <a:lnTo>
                  <a:pt x="1785" y="23994"/>
                </a:lnTo>
                <a:lnTo>
                  <a:pt x="3571" y="35232"/>
                </a:lnTo>
                <a:lnTo>
                  <a:pt x="6547" y="46470"/>
                </a:lnTo>
                <a:lnTo>
                  <a:pt x="9821" y="56796"/>
                </a:lnTo>
                <a:lnTo>
                  <a:pt x="14285" y="66819"/>
                </a:lnTo>
                <a:lnTo>
                  <a:pt x="19047" y="76235"/>
                </a:lnTo>
                <a:lnTo>
                  <a:pt x="24107" y="84435"/>
                </a:lnTo>
                <a:lnTo>
                  <a:pt x="30357" y="92332"/>
                </a:lnTo>
                <a:lnTo>
                  <a:pt x="36607" y="99318"/>
                </a:lnTo>
                <a:lnTo>
                  <a:pt x="43749" y="105392"/>
                </a:lnTo>
                <a:lnTo>
                  <a:pt x="50595" y="110252"/>
                </a:lnTo>
                <a:lnTo>
                  <a:pt x="58630" y="114504"/>
                </a:lnTo>
                <a:lnTo>
                  <a:pt x="66666" y="117541"/>
                </a:lnTo>
                <a:lnTo>
                  <a:pt x="74999" y="119364"/>
                </a:lnTo>
                <a:lnTo>
                  <a:pt x="83630" y="119971"/>
                </a:lnTo>
                <a:lnTo>
                  <a:pt x="83630" y="115719"/>
                </a:lnTo>
                <a:lnTo>
                  <a:pt x="75595" y="115112"/>
                </a:lnTo>
                <a:lnTo>
                  <a:pt x="67856" y="113289"/>
                </a:lnTo>
                <a:lnTo>
                  <a:pt x="60416" y="110859"/>
                </a:lnTo>
                <a:lnTo>
                  <a:pt x="52976" y="106607"/>
                </a:lnTo>
                <a:lnTo>
                  <a:pt x="46130" y="101748"/>
                </a:lnTo>
                <a:lnTo>
                  <a:pt x="39583" y="96281"/>
                </a:lnTo>
                <a:lnTo>
                  <a:pt x="33333" y="89295"/>
                </a:lnTo>
                <a:lnTo>
                  <a:pt x="27678" y="82005"/>
                </a:lnTo>
                <a:lnTo>
                  <a:pt x="22618" y="73805"/>
                </a:lnTo>
                <a:lnTo>
                  <a:pt x="17857" y="64997"/>
                </a:lnTo>
                <a:lnTo>
                  <a:pt x="13988" y="55581"/>
                </a:lnTo>
                <a:lnTo>
                  <a:pt x="10714" y="45255"/>
                </a:lnTo>
                <a:lnTo>
                  <a:pt x="7738" y="34624"/>
                </a:lnTo>
                <a:lnTo>
                  <a:pt x="5952" y="23386"/>
                </a:lnTo>
                <a:lnTo>
                  <a:pt x="4464" y="11845"/>
                </a:lnTo>
                <a:lnTo>
                  <a:pt x="4166" y="0"/>
                </a:lnTo>
                <a:lnTo>
                  <a:pt x="0" y="0"/>
                </a:lnTo>
                <a:lnTo>
                  <a:pt x="297" y="12452"/>
                </a:lnTo>
                <a:close/>
              </a:path>
            </a:pathLst>
          </a:custGeom>
          <a:solidFill>
            <a:srgbClr val="000000"/>
          </a:solidFill>
        </p:spPr>
        <p:txBody>
          <a:bodyPr wrap="square" lIns="0" tIns="0" rIns="0" bIns="0" rtlCol="0">
            <a:noAutofit/>
          </a:bodyPr>
          <a:lstStyle/>
          <a:p>
            <a:endParaRPr/>
          </a:p>
        </p:txBody>
      </p:sp>
      <p:sp>
        <p:nvSpPr>
          <p:cNvPr id="1109" name="object 1109"/>
          <p:cNvSpPr/>
          <p:nvPr/>
        </p:nvSpPr>
        <p:spPr>
          <a:xfrm>
            <a:off x="8644152" y="1281893"/>
            <a:ext cx="83630" cy="119971"/>
          </a:xfrm>
          <a:custGeom>
            <a:avLst/>
            <a:gdLst/>
            <a:ahLst/>
            <a:cxnLst/>
            <a:rect l="l" t="t" r="r" b="b"/>
            <a:pathLst>
              <a:path w="83630" h="119971">
                <a:moveTo>
                  <a:pt x="3571" y="84739"/>
                </a:moveTo>
                <a:lnTo>
                  <a:pt x="1785" y="95977"/>
                </a:lnTo>
                <a:lnTo>
                  <a:pt x="297" y="107518"/>
                </a:lnTo>
                <a:lnTo>
                  <a:pt x="0" y="119971"/>
                </a:lnTo>
                <a:lnTo>
                  <a:pt x="4166" y="119971"/>
                </a:lnTo>
                <a:lnTo>
                  <a:pt x="4464" y="108126"/>
                </a:lnTo>
                <a:lnTo>
                  <a:pt x="5952" y="96584"/>
                </a:lnTo>
                <a:lnTo>
                  <a:pt x="7738" y="85346"/>
                </a:lnTo>
                <a:lnTo>
                  <a:pt x="10714" y="74716"/>
                </a:lnTo>
                <a:lnTo>
                  <a:pt x="13988" y="64389"/>
                </a:lnTo>
                <a:lnTo>
                  <a:pt x="17857" y="54974"/>
                </a:lnTo>
                <a:lnTo>
                  <a:pt x="22618" y="46166"/>
                </a:lnTo>
                <a:lnTo>
                  <a:pt x="27678" y="37965"/>
                </a:lnTo>
                <a:lnTo>
                  <a:pt x="33333" y="30676"/>
                </a:lnTo>
                <a:lnTo>
                  <a:pt x="39583" y="23690"/>
                </a:lnTo>
                <a:lnTo>
                  <a:pt x="46130" y="18223"/>
                </a:lnTo>
                <a:lnTo>
                  <a:pt x="52976" y="13363"/>
                </a:lnTo>
                <a:lnTo>
                  <a:pt x="60416" y="9111"/>
                </a:lnTo>
                <a:lnTo>
                  <a:pt x="67856" y="6681"/>
                </a:lnTo>
                <a:lnTo>
                  <a:pt x="75595" y="4859"/>
                </a:lnTo>
                <a:lnTo>
                  <a:pt x="83630" y="4252"/>
                </a:lnTo>
                <a:lnTo>
                  <a:pt x="83630" y="0"/>
                </a:lnTo>
                <a:lnTo>
                  <a:pt x="74999" y="607"/>
                </a:lnTo>
                <a:lnTo>
                  <a:pt x="66666" y="2429"/>
                </a:lnTo>
                <a:lnTo>
                  <a:pt x="58630" y="5467"/>
                </a:lnTo>
                <a:lnTo>
                  <a:pt x="50595" y="9719"/>
                </a:lnTo>
                <a:lnTo>
                  <a:pt x="43749" y="14578"/>
                </a:lnTo>
                <a:lnTo>
                  <a:pt x="36607" y="20653"/>
                </a:lnTo>
                <a:lnTo>
                  <a:pt x="30357" y="27639"/>
                </a:lnTo>
                <a:lnTo>
                  <a:pt x="24107" y="35535"/>
                </a:lnTo>
                <a:lnTo>
                  <a:pt x="19047" y="43736"/>
                </a:lnTo>
                <a:lnTo>
                  <a:pt x="14285" y="53151"/>
                </a:lnTo>
                <a:lnTo>
                  <a:pt x="9821" y="63174"/>
                </a:lnTo>
                <a:lnTo>
                  <a:pt x="6547" y="73501"/>
                </a:lnTo>
                <a:lnTo>
                  <a:pt x="3571" y="84739"/>
                </a:lnTo>
                <a:close/>
              </a:path>
            </a:pathLst>
          </a:custGeom>
          <a:solidFill>
            <a:srgbClr val="000000"/>
          </a:solidFill>
        </p:spPr>
        <p:txBody>
          <a:bodyPr wrap="square" lIns="0" tIns="0" rIns="0" bIns="0" rtlCol="0">
            <a:noAutofit/>
          </a:bodyPr>
          <a:lstStyle/>
          <a:p>
            <a:endParaRPr/>
          </a:p>
        </p:txBody>
      </p:sp>
      <p:sp>
        <p:nvSpPr>
          <p:cNvPr id="1110" name="object 1110"/>
          <p:cNvSpPr/>
          <p:nvPr/>
        </p:nvSpPr>
        <p:spPr>
          <a:xfrm>
            <a:off x="8646237" y="1292220"/>
            <a:ext cx="151785" cy="219289"/>
          </a:xfrm>
          <a:custGeom>
            <a:avLst/>
            <a:gdLst/>
            <a:ahLst/>
            <a:cxnLst/>
            <a:rect l="l" t="t" r="r" b="b"/>
            <a:pathLst>
              <a:path w="151785" h="219289">
                <a:moveTo>
                  <a:pt x="75892" y="0"/>
                </a:moveTo>
                <a:lnTo>
                  <a:pt x="68154" y="607"/>
                </a:lnTo>
                <a:lnTo>
                  <a:pt x="60714" y="2126"/>
                </a:lnTo>
                <a:lnTo>
                  <a:pt x="53273" y="4859"/>
                </a:lnTo>
                <a:lnTo>
                  <a:pt x="46428" y="8504"/>
                </a:lnTo>
                <a:lnTo>
                  <a:pt x="39880" y="13363"/>
                </a:lnTo>
                <a:lnTo>
                  <a:pt x="33630" y="18830"/>
                </a:lnTo>
                <a:lnTo>
                  <a:pt x="27678" y="25209"/>
                </a:lnTo>
                <a:lnTo>
                  <a:pt x="22321" y="32194"/>
                </a:lnTo>
                <a:lnTo>
                  <a:pt x="17261" y="40091"/>
                </a:lnTo>
                <a:lnTo>
                  <a:pt x="13095" y="48292"/>
                </a:lnTo>
                <a:lnTo>
                  <a:pt x="9226" y="57404"/>
                </a:lnTo>
                <a:lnTo>
                  <a:pt x="5952" y="67123"/>
                </a:lnTo>
                <a:lnTo>
                  <a:pt x="3571" y="77146"/>
                </a:lnTo>
                <a:lnTo>
                  <a:pt x="1488" y="87472"/>
                </a:lnTo>
                <a:lnTo>
                  <a:pt x="297" y="98407"/>
                </a:lnTo>
                <a:lnTo>
                  <a:pt x="0" y="109644"/>
                </a:lnTo>
                <a:lnTo>
                  <a:pt x="297" y="120882"/>
                </a:lnTo>
                <a:lnTo>
                  <a:pt x="1488" y="131816"/>
                </a:lnTo>
                <a:lnTo>
                  <a:pt x="3571" y="142143"/>
                </a:lnTo>
                <a:lnTo>
                  <a:pt x="5952" y="152166"/>
                </a:lnTo>
                <a:lnTo>
                  <a:pt x="9226" y="161885"/>
                </a:lnTo>
                <a:lnTo>
                  <a:pt x="13095" y="170997"/>
                </a:lnTo>
                <a:lnTo>
                  <a:pt x="17261" y="179198"/>
                </a:lnTo>
                <a:lnTo>
                  <a:pt x="22321" y="187094"/>
                </a:lnTo>
                <a:lnTo>
                  <a:pt x="27678" y="194080"/>
                </a:lnTo>
                <a:lnTo>
                  <a:pt x="33630" y="200458"/>
                </a:lnTo>
                <a:lnTo>
                  <a:pt x="39880" y="205925"/>
                </a:lnTo>
                <a:lnTo>
                  <a:pt x="46428" y="210785"/>
                </a:lnTo>
                <a:lnTo>
                  <a:pt x="53273" y="214430"/>
                </a:lnTo>
                <a:lnTo>
                  <a:pt x="60714" y="217163"/>
                </a:lnTo>
                <a:lnTo>
                  <a:pt x="68154" y="218682"/>
                </a:lnTo>
                <a:lnTo>
                  <a:pt x="75892" y="219289"/>
                </a:lnTo>
                <a:lnTo>
                  <a:pt x="83630" y="218682"/>
                </a:lnTo>
                <a:lnTo>
                  <a:pt x="91071" y="217163"/>
                </a:lnTo>
                <a:lnTo>
                  <a:pt x="98511" y="214430"/>
                </a:lnTo>
                <a:lnTo>
                  <a:pt x="105356" y="210785"/>
                </a:lnTo>
                <a:lnTo>
                  <a:pt x="112202" y="205925"/>
                </a:lnTo>
                <a:lnTo>
                  <a:pt x="118452" y="200458"/>
                </a:lnTo>
                <a:lnTo>
                  <a:pt x="124106" y="194080"/>
                </a:lnTo>
                <a:lnTo>
                  <a:pt x="129463" y="187094"/>
                </a:lnTo>
                <a:lnTo>
                  <a:pt x="134523" y="179198"/>
                </a:lnTo>
                <a:lnTo>
                  <a:pt x="138690" y="170997"/>
                </a:lnTo>
                <a:lnTo>
                  <a:pt x="142559" y="161885"/>
                </a:lnTo>
                <a:lnTo>
                  <a:pt x="145832" y="152166"/>
                </a:lnTo>
                <a:lnTo>
                  <a:pt x="148511" y="142143"/>
                </a:lnTo>
                <a:lnTo>
                  <a:pt x="150297" y="131816"/>
                </a:lnTo>
                <a:lnTo>
                  <a:pt x="151487" y="120882"/>
                </a:lnTo>
                <a:lnTo>
                  <a:pt x="151785" y="109644"/>
                </a:lnTo>
                <a:lnTo>
                  <a:pt x="151487" y="98407"/>
                </a:lnTo>
                <a:lnTo>
                  <a:pt x="150297" y="87472"/>
                </a:lnTo>
                <a:lnTo>
                  <a:pt x="148511" y="77146"/>
                </a:lnTo>
                <a:lnTo>
                  <a:pt x="145832" y="67123"/>
                </a:lnTo>
                <a:lnTo>
                  <a:pt x="142559" y="57404"/>
                </a:lnTo>
                <a:lnTo>
                  <a:pt x="138690" y="48292"/>
                </a:lnTo>
                <a:lnTo>
                  <a:pt x="134523" y="40091"/>
                </a:lnTo>
                <a:lnTo>
                  <a:pt x="129463" y="32194"/>
                </a:lnTo>
                <a:lnTo>
                  <a:pt x="124106" y="25209"/>
                </a:lnTo>
                <a:lnTo>
                  <a:pt x="118452" y="18830"/>
                </a:lnTo>
                <a:lnTo>
                  <a:pt x="112202" y="13363"/>
                </a:lnTo>
                <a:lnTo>
                  <a:pt x="105356" y="8504"/>
                </a:lnTo>
                <a:lnTo>
                  <a:pt x="98511" y="4859"/>
                </a:lnTo>
                <a:lnTo>
                  <a:pt x="91071" y="2126"/>
                </a:lnTo>
                <a:lnTo>
                  <a:pt x="83630" y="607"/>
                </a:lnTo>
                <a:lnTo>
                  <a:pt x="75892" y="0"/>
                </a:lnTo>
                <a:close/>
              </a:path>
            </a:pathLst>
          </a:custGeom>
          <a:solidFill>
            <a:srgbClr val="B1B1B1"/>
          </a:solidFill>
        </p:spPr>
        <p:txBody>
          <a:bodyPr wrap="square" lIns="0" tIns="0" rIns="0" bIns="0" rtlCol="0">
            <a:noAutofit/>
          </a:bodyPr>
          <a:lstStyle/>
          <a:p>
            <a:endParaRPr/>
          </a:p>
        </p:txBody>
      </p:sp>
      <p:sp>
        <p:nvSpPr>
          <p:cNvPr id="1111" name="object 1111"/>
          <p:cNvSpPr/>
          <p:nvPr/>
        </p:nvSpPr>
        <p:spPr>
          <a:xfrm>
            <a:off x="8644153" y="1290094"/>
            <a:ext cx="77975" cy="111771"/>
          </a:xfrm>
          <a:custGeom>
            <a:avLst/>
            <a:gdLst/>
            <a:ahLst/>
            <a:cxnLst/>
            <a:rect l="l" t="t" r="r" b="b"/>
            <a:pathLst>
              <a:path w="77975" h="111771">
                <a:moveTo>
                  <a:pt x="3571" y="78664"/>
                </a:moveTo>
                <a:lnTo>
                  <a:pt x="1488" y="89295"/>
                </a:lnTo>
                <a:lnTo>
                  <a:pt x="297" y="100533"/>
                </a:lnTo>
                <a:lnTo>
                  <a:pt x="0" y="111771"/>
                </a:lnTo>
                <a:lnTo>
                  <a:pt x="4166" y="111771"/>
                </a:lnTo>
                <a:lnTo>
                  <a:pt x="4464" y="100533"/>
                </a:lnTo>
                <a:lnTo>
                  <a:pt x="5654" y="89902"/>
                </a:lnTo>
                <a:lnTo>
                  <a:pt x="7738" y="79879"/>
                </a:lnTo>
                <a:lnTo>
                  <a:pt x="10119" y="69856"/>
                </a:lnTo>
                <a:lnTo>
                  <a:pt x="13392" y="60441"/>
                </a:lnTo>
                <a:lnTo>
                  <a:pt x="16964" y="51329"/>
                </a:lnTo>
                <a:lnTo>
                  <a:pt x="21130" y="43432"/>
                </a:lnTo>
                <a:lnTo>
                  <a:pt x="26190" y="35535"/>
                </a:lnTo>
                <a:lnTo>
                  <a:pt x="31249" y="28853"/>
                </a:lnTo>
                <a:lnTo>
                  <a:pt x="37202" y="22475"/>
                </a:lnTo>
                <a:lnTo>
                  <a:pt x="43154" y="17008"/>
                </a:lnTo>
                <a:lnTo>
                  <a:pt x="49702" y="12452"/>
                </a:lnTo>
                <a:lnTo>
                  <a:pt x="56249" y="8808"/>
                </a:lnTo>
                <a:lnTo>
                  <a:pt x="63392" y="6378"/>
                </a:lnTo>
                <a:lnTo>
                  <a:pt x="70535" y="4859"/>
                </a:lnTo>
                <a:lnTo>
                  <a:pt x="77975" y="4252"/>
                </a:lnTo>
                <a:lnTo>
                  <a:pt x="77975" y="0"/>
                </a:lnTo>
                <a:lnTo>
                  <a:pt x="69940" y="607"/>
                </a:lnTo>
                <a:lnTo>
                  <a:pt x="62202" y="2126"/>
                </a:lnTo>
                <a:lnTo>
                  <a:pt x="54464" y="5163"/>
                </a:lnTo>
                <a:lnTo>
                  <a:pt x="47321" y="8808"/>
                </a:lnTo>
                <a:lnTo>
                  <a:pt x="40773" y="13971"/>
                </a:lnTo>
                <a:lnTo>
                  <a:pt x="34226" y="19438"/>
                </a:lnTo>
                <a:lnTo>
                  <a:pt x="28273" y="25816"/>
                </a:lnTo>
                <a:lnTo>
                  <a:pt x="22618" y="33106"/>
                </a:lnTo>
                <a:lnTo>
                  <a:pt x="17559" y="41002"/>
                </a:lnTo>
                <a:lnTo>
                  <a:pt x="13392" y="49507"/>
                </a:lnTo>
                <a:lnTo>
                  <a:pt x="9226" y="58619"/>
                </a:lnTo>
                <a:lnTo>
                  <a:pt x="5952" y="68641"/>
                </a:lnTo>
                <a:lnTo>
                  <a:pt x="3571" y="78664"/>
                </a:lnTo>
                <a:close/>
              </a:path>
            </a:pathLst>
          </a:custGeom>
          <a:solidFill>
            <a:srgbClr val="FFFFFF"/>
          </a:solidFill>
        </p:spPr>
        <p:txBody>
          <a:bodyPr wrap="square" lIns="0" tIns="0" rIns="0" bIns="0" rtlCol="0">
            <a:noAutofit/>
          </a:bodyPr>
          <a:lstStyle/>
          <a:p>
            <a:endParaRPr/>
          </a:p>
        </p:txBody>
      </p:sp>
      <p:sp>
        <p:nvSpPr>
          <p:cNvPr id="1112" name="object 1112"/>
          <p:cNvSpPr/>
          <p:nvPr/>
        </p:nvSpPr>
        <p:spPr>
          <a:xfrm>
            <a:off x="8644153" y="1401865"/>
            <a:ext cx="77975" cy="111771"/>
          </a:xfrm>
          <a:custGeom>
            <a:avLst/>
            <a:gdLst/>
            <a:ahLst/>
            <a:cxnLst/>
            <a:rect l="l" t="t" r="r" b="b"/>
            <a:pathLst>
              <a:path w="77975" h="111771">
                <a:moveTo>
                  <a:pt x="297" y="11237"/>
                </a:moveTo>
                <a:lnTo>
                  <a:pt x="1488" y="22475"/>
                </a:lnTo>
                <a:lnTo>
                  <a:pt x="3571" y="33106"/>
                </a:lnTo>
                <a:lnTo>
                  <a:pt x="5952" y="43129"/>
                </a:lnTo>
                <a:lnTo>
                  <a:pt x="9226" y="53151"/>
                </a:lnTo>
                <a:lnTo>
                  <a:pt x="13392" y="62263"/>
                </a:lnTo>
                <a:lnTo>
                  <a:pt x="17559" y="70768"/>
                </a:lnTo>
                <a:lnTo>
                  <a:pt x="22618" y="78664"/>
                </a:lnTo>
                <a:lnTo>
                  <a:pt x="28273" y="85954"/>
                </a:lnTo>
                <a:lnTo>
                  <a:pt x="34226" y="92332"/>
                </a:lnTo>
                <a:lnTo>
                  <a:pt x="40773" y="97799"/>
                </a:lnTo>
                <a:lnTo>
                  <a:pt x="47321" y="102962"/>
                </a:lnTo>
                <a:lnTo>
                  <a:pt x="54464" y="106607"/>
                </a:lnTo>
                <a:lnTo>
                  <a:pt x="62202" y="109644"/>
                </a:lnTo>
                <a:lnTo>
                  <a:pt x="69940" y="111163"/>
                </a:lnTo>
                <a:lnTo>
                  <a:pt x="77975" y="111771"/>
                </a:lnTo>
                <a:lnTo>
                  <a:pt x="77975" y="107518"/>
                </a:lnTo>
                <a:lnTo>
                  <a:pt x="70535" y="106911"/>
                </a:lnTo>
                <a:lnTo>
                  <a:pt x="63392" y="105392"/>
                </a:lnTo>
                <a:lnTo>
                  <a:pt x="56249" y="102962"/>
                </a:lnTo>
                <a:lnTo>
                  <a:pt x="49702" y="99318"/>
                </a:lnTo>
                <a:lnTo>
                  <a:pt x="43154" y="94762"/>
                </a:lnTo>
                <a:lnTo>
                  <a:pt x="37202" y="89295"/>
                </a:lnTo>
                <a:lnTo>
                  <a:pt x="31249" y="82917"/>
                </a:lnTo>
                <a:lnTo>
                  <a:pt x="26190" y="76235"/>
                </a:lnTo>
                <a:lnTo>
                  <a:pt x="21130" y="68338"/>
                </a:lnTo>
                <a:lnTo>
                  <a:pt x="16964" y="60441"/>
                </a:lnTo>
                <a:lnTo>
                  <a:pt x="13392" y="51329"/>
                </a:lnTo>
                <a:lnTo>
                  <a:pt x="10119" y="41914"/>
                </a:lnTo>
                <a:lnTo>
                  <a:pt x="7738" y="31891"/>
                </a:lnTo>
                <a:lnTo>
                  <a:pt x="5654" y="21868"/>
                </a:lnTo>
                <a:lnTo>
                  <a:pt x="4464" y="11237"/>
                </a:lnTo>
                <a:lnTo>
                  <a:pt x="4166" y="0"/>
                </a:lnTo>
                <a:lnTo>
                  <a:pt x="0" y="0"/>
                </a:lnTo>
                <a:lnTo>
                  <a:pt x="297" y="11237"/>
                </a:lnTo>
                <a:close/>
              </a:path>
            </a:pathLst>
          </a:custGeom>
          <a:solidFill>
            <a:srgbClr val="FFFFFF"/>
          </a:solidFill>
        </p:spPr>
        <p:txBody>
          <a:bodyPr wrap="square" lIns="0" tIns="0" rIns="0" bIns="0" rtlCol="0">
            <a:noAutofit/>
          </a:bodyPr>
          <a:lstStyle/>
          <a:p>
            <a:endParaRPr/>
          </a:p>
        </p:txBody>
      </p:sp>
      <p:sp>
        <p:nvSpPr>
          <p:cNvPr id="1113" name="object 1113"/>
          <p:cNvSpPr/>
          <p:nvPr/>
        </p:nvSpPr>
        <p:spPr>
          <a:xfrm>
            <a:off x="8722129" y="1401865"/>
            <a:ext cx="77975" cy="111771"/>
          </a:xfrm>
          <a:custGeom>
            <a:avLst/>
            <a:gdLst/>
            <a:ahLst/>
            <a:cxnLst/>
            <a:rect l="l" t="t" r="r" b="b"/>
            <a:pathLst>
              <a:path w="77975" h="111771">
                <a:moveTo>
                  <a:pt x="68749" y="53151"/>
                </a:moveTo>
                <a:lnTo>
                  <a:pt x="72023" y="43129"/>
                </a:lnTo>
                <a:lnTo>
                  <a:pt x="74702" y="33106"/>
                </a:lnTo>
                <a:lnTo>
                  <a:pt x="76487" y="22475"/>
                </a:lnTo>
                <a:lnTo>
                  <a:pt x="77678" y="11237"/>
                </a:lnTo>
                <a:lnTo>
                  <a:pt x="77975" y="0"/>
                </a:lnTo>
                <a:lnTo>
                  <a:pt x="73809" y="0"/>
                </a:lnTo>
                <a:lnTo>
                  <a:pt x="73511" y="11237"/>
                </a:lnTo>
                <a:lnTo>
                  <a:pt x="72321" y="21868"/>
                </a:lnTo>
                <a:lnTo>
                  <a:pt x="70535" y="31891"/>
                </a:lnTo>
                <a:lnTo>
                  <a:pt x="67856" y="41914"/>
                </a:lnTo>
                <a:lnTo>
                  <a:pt x="64583" y="51329"/>
                </a:lnTo>
                <a:lnTo>
                  <a:pt x="61011" y="60441"/>
                </a:lnTo>
                <a:lnTo>
                  <a:pt x="56845" y="68338"/>
                </a:lnTo>
                <a:lnTo>
                  <a:pt x="51785" y="76235"/>
                </a:lnTo>
                <a:lnTo>
                  <a:pt x="46726" y="83220"/>
                </a:lnTo>
                <a:lnTo>
                  <a:pt x="41071" y="89295"/>
                </a:lnTo>
                <a:lnTo>
                  <a:pt x="35118" y="94458"/>
                </a:lnTo>
                <a:lnTo>
                  <a:pt x="28273" y="99318"/>
                </a:lnTo>
                <a:lnTo>
                  <a:pt x="21726" y="102962"/>
                </a:lnTo>
                <a:lnTo>
                  <a:pt x="14583" y="105392"/>
                </a:lnTo>
                <a:lnTo>
                  <a:pt x="7440" y="106911"/>
                </a:lnTo>
                <a:lnTo>
                  <a:pt x="0" y="107518"/>
                </a:lnTo>
                <a:lnTo>
                  <a:pt x="0" y="111771"/>
                </a:lnTo>
                <a:lnTo>
                  <a:pt x="8035" y="111163"/>
                </a:lnTo>
                <a:lnTo>
                  <a:pt x="15773" y="109644"/>
                </a:lnTo>
                <a:lnTo>
                  <a:pt x="23511" y="106607"/>
                </a:lnTo>
                <a:lnTo>
                  <a:pt x="30654" y="102962"/>
                </a:lnTo>
                <a:lnTo>
                  <a:pt x="37499" y="98103"/>
                </a:lnTo>
                <a:lnTo>
                  <a:pt x="44047" y="92332"/>
                </a:lnTo>
                <a:lnTo>
                  <a:pt x="49702" y="85650"/>
                </a:lnTo>
                <a:lnTo>
                  <a:pt x="55356" y="78664"/>
                </a:lnTo>
                <a:lnTo>
                  <a:pt x="60416" y="70768"/>
                </a:lnTo>
                <a:lnTo>
                  <a:pt x="64583" y="62263"/>
                </a:lnTo>
                <a:lnTo>
                  <a:pt x="68749" y="53151"/>
                </a:lnTo>
                <a:close/>
              </a:path>
            </a:pathLst>
          </a:custGeom>
          <a:solidFill>
            <a:srgbClr val="FFFFFF"/>
          </a:solidFill>
        </p:spPr>
        <p:txBody>
          <a:bodyPr wrap="square" lIns="0" tIns="0" rIns="0" bIns="0" rtlCol="0">
            <a:noAutofit/>
          </a:bodyPr>
          <a:lstStyle/>
          <a:p>
            <a:endParaRPr/>
          </a:p>
        </p:txBody>
      </p:sp>
      <p:sp>
        <p:nvSpPr>
          <p:cNvPr id="1114" name="object 1114"/>
          <p:cNvSpPr/>
          <p:nvPr/>
        </p:nvSpPr>
        <p:spPr>
          <a:xfrm>
            <a:off x="8722129" y="1290094"/>
            <a:ext cx="77975" cy="111771"/>
          </a:xfrm>
          <a:custGeom>
            <a:avLst/>
            <a:gdLst/>
            <a:ahLst/>
            <a:cxnLst/>
            <a:rect l="l" t="t" r="r" b="b"/>
            <a:pathLst>
              <a:path w="77975" h="111771">
                <a:moveTo>
                  <a:pt x="0" y="0"/>
                </a:moveTo>
                <a:lnTo>
                  <a:pt x="0" y="4252"/>
                </a:lnTo>
                <a:lnTo>
                  <a:pt x="7440" y="4859"/>
                </a:lnTo>
                <a:lnTo>
                  <a:pt x="14583" y="6378"/>
                </a:lnTo>
                <a:lnTo>
                  <a:pt x="21726" y="8808"/>
                </a:lnTo>
                <a:lnTo>
                  <a:pt x="28273" y="12452"/>
                </a:lnTo>
                <a:lnTo>
                  <a:pt x="35118" y="17312"/>
                </a:lnTo>
                <a:lnTo>
                  <a:pt x="41071" y="22475"/>
                </a:lnTo>
                <a:lnTo>
                  <a:pt x="46726" y="28550"/>
                </a:lnTo>
                <a:lnTo>
                  <a:pt x="51785" y="35535"/>
                </a:lnTo>
                <a:lnTo>
                  <a:pt x="56845" y="43432"/>
                </a:lnTo>
                <a:lnTo>
                  <a:pt x="61011" y="51329"/>
                </a:lnTo>
                <a:lnTo>
                  <a:pt x="64583" y="60441"/>
                </a:lnTo>
                <a:lnTo>
                  <a:pt x="67856" y="69856"/>
                </a:lnTo>
                <a:lnTo>
                  <a:pt x="70535" y="79879"/>
                </a:lnTo>
                <a:lnTo>
                  <a:pt x="72321" y="89902"/>
                </a:lnTo>
                <a:lnTo>
                  <a:pt x="73511" y="100533"/>
                </a:lnTo>
                <a:lnTo>
                  <a:pt x="73809" y="111771"/>
                </a:lnTo>
                <a:lnTo>
                  <a:pt x="77975" y="111771"/>
                </a:lnTo>
                <a:lnTo>
                  <a:pt x="77678" y="100533"/>
                </a:lnTo>
                <a:lnTo>
                  <a:pt x="76487" y="89295"/>
                </a:lnTo>
                <a:lnTo>
                  <a:pt x="74702" y="78664"/>
                </a:lnTo>
                <a:lnTo>
                  <a:pt x="72023" y="68641"/>
                </a:lnTo>
                <a:lnTo>
                  <a:pt x="68749" y="58619"/>
                </a:lnTo>
                <a:lnTo>
                  <a:pt x="64583" y="49507"/>
                </a:lnTo>
                <a:lnTo>
                  <a:pt x="60416" y="41002"/>
                </a:lnTo>
                <a:lnTo>
                  <a:pt x="55356" y="33106"/>
                </a:lnTo>
                <a:lnTo>
                  <a:pt x="49702" y="26120"/>
                </a:lnTo>
                <a:lnTo>
                  <a:pt x="44047" y="19438"/>
                </a:lnTo>
                <a:lnTo>
                  <a:pt x="37499" y="13667"/>
                </a:lnTo>
                <a:lnTo>
                  <a:pt x="30654" y="8808"/>
                </a:lnTo>
                <a:lnTo>
                  <a:pt x="23511" y="5163"/>
                </a:lnTo>
                <a:lnTo>
                  <a:pt x="15773" y="2126"/>
                </a:lnTo>
                <a:lnTo>
                  <a:pt x="8035" y="607"/>
                </a:lnTo>
                <a:lnTo>
                  <a:pt x="0" y="0"/>
                </a:lnTo>
                <a:close/>
              </a:path>
            </a:pathLst>
          </a:custGeom>
          <a:solidFill>
            <a:srgbClr val="FFFFFF"/>
          </a:solidFill>
        </p:spPr>
        <p:txBody>
          <a:bodyPr wrap="square" lIns="0" tIns="0" rIns="0" bIns="0" rtlCol="0">
            <a:noAutofit/>
          </a:bodyPr>
          <a:lstStyle/>
          <a:p>
            <a:endParaRPr/>
          </a:p>
        </p:txBody>
      </p:sp>
      <p:sp>
        <p:nvSpPr>
          <p:cNvPr id="1115" name="object 1115"/>
          <p:cNvSpPr/>
          <p:nvPr/>
        </p:nvSpPr>
        <p:spPr>
          <a:xfrm>
            <a:off x="8646237" y="1301634"/>
            <a:ext cx="138987" cy="200762"/>
          </a:xfrm>
          <a:custGeom>
            <a:avLst/>
            <a:gdLst/>
            <a:ahLst/>
            <a:cxnLst/>
            <a:rect l="l" t="t" r="r" b="b"/>
            <a:pathLst>
              <a:path w="138987" h="200762">
                <a:moveTo>
                  <a:pt x="69345" y="0"/>
                </a:moveTo>
                <a:lnTo>
                  <a:pt x="62202" y="607"/>
                </a:lnTo>
                <a:lnTo>
                  <a:pt x="55356" y="2126"/>
                </a:lnTo>
                <a:lnTo>
                  <a:pt x="48809" y="4555"/>
                </a:lnTo>
                <a:lnTo>
                  <a:pt x="42559" y="7896"/>
                </a:lnTo>
                <a:lnTo>
                  <a:pt x="36309" y="12149"/>
                </a:lnTo>
                <a:lnTo>
                  <a:pt x="30654" y="17312"/>
                </a:lnTo>
                <a:lnTo>
                  <a:pt x="25297" y="23083"/>
                </a:lnTo>
                <a:lnTo>
                  <a:pt x="20535" y="29461"/>
                </a:lnTo>
                <a:lnTo>
                  <a:pt x="15773" y="36750"/>
                </a:lnTo>
                <a:lnTo>
                  <a:pt x="11904" y="44343"/>
                </a:lnTo>
                <a:lnTo>
                  <a:pt x="8333" y="52848"/>
                </a:lnTo>
                <a:lnTo>
                  <a:pt x="5357" y="61352"/>
                </a:lnTo>
                <a:lnTo>
                  <a:pt x="3273" y="70768"/>
                </a:lnTo>
                <a:lnTo>
                  <a:pt x="1488" y="80487"/>
                </a:lnTo>
                <a:lnTo>
                  <a:pt x="297" y="90206"/>
                </a:lnTo>
                <a:lnTo>
                  <a:pt x="0" y="100533"/>
                </a:lnTo>
                <a:lnTo>
                  <a:pt x="297" y="110859"/>
                </a:lnTo>
                <a:lnTo>
                  <a:pt x="1488" y="120579"/>
                </a:lnTo>
                <a:lnTo>
                  <a:pt x="3273" y="130298"/>
                </a:lnTo>
                <a:lnTo>
                  <a:pt x="5357" y="139410"/>
                </a:lnTo>
                <a:lnTo>
                  <a:pt x="8333" y="148218"/>
                </a:lnTo>
                <a:lnTo>
                  <a:pt x="11904" y="156418"/>
                </a:lnTo>
                <a:lnTo>
                  <a:pt x="15773" y="164315"/>
                </a:lnTo>
                <a:lnTo>
                  <a:pt x="20535" y="171301"/>
                </a:lnTo>
                <a:lnTo>
                  <a:pt x="25297" y="177983"/>
                </a:lnTo>
                <a:lnTo>
                  <a:pt x="30654" y="183753"/>
                </a:lnTo>
                <a:lnTo>
                  <a:pt x="36309" y="188613"/>
                </a:lnTo>
                <a:lnTo>
                  <a:pt x="42559" y="192865"/>
                </a:lnTo>
                <a:lnTo>
                  <a:pt x="48809" y="196206"/>
                </a:lnTo>
                <a:lnTo>
                  <a:pt x="55356" y="198636"/>
                </a:lnTo>
                <a:lnTo>
                  <a:pt x="62202" y="200155"/>
                </a:lnTo>
                <a:lnTo>
                  <a:pt x="69345" y="200762"/>
                </a:lnTo>
                <a:lnTo>
                  <a:pt x="76487" y="200155"/>
                </a:lnTo>
                <a:lnTo>
                  <a:pt x="83333" y="198636"/>
                </a:lnTo>
                <a:lnTo>
                  <a:pt x="89880" y="196206"/>
                </a:lnTo>
                <a:lnTo>
                  <a:pt x="96428" y="192865"/>
                </a:lnTo>
                <a:lnTo>
                  <a:pt x="102380" y="188613"/>
                </a:lnTo>
                <a:lnTo>
                  <a:pt x="108333" y="183753"/>
                </a:lnTo>
                <a:lnTo>
                  <a:pt x="113690" y="177983"/>
                </a:lnTo>
                <a:lnTo>
                  <a:pt x="118452" y="171301"/>
                </a:lnTo>
                <a:lnTo>
                  <a:pt x="122916" y="164315"/>
                </a:lnTo>
                <a:lnTo>
                  <a:pt x="127082" y="156418"/>
                </a:lnTo>
                <a:lnTo>
                  <a:pt x="130654" y="148218"/>
                </a:lnTo>
                <a:lnTo>
                  <a:pt x="133630" y="139410"/>
                </a:lnTo>
                <a:lnTo>
                  <a:pt x="135713" y="130298"/>
                </a:lnTo>
                <a:lnTo>
                  <a:pt x="137499" y="120579"/>
                </a:lnTo>
                <a:lnTo>
                  <a:pt x="138690" y="110859"/>
                </a:lnTo>
                <a:lnTo>
                  <a:pt x="138987" y="100533"/>
                </a:lnTo>
                <a:lnTo>
                  <a:pt x="138690" y="90206"/>
                </a:lnTo>
                <a:lnTo>
                  <a:pt x="137499" y="80487"/>
                </a:lnTo>
                <a:lnTo>
                  <a:pt x="135713" y="70768"/>
                </a:lnTo>
                <a:lnTo>
                  <a:pt x="133630" y="61352"/>
                </a:lnTo>
                <a:lnTo>
                  <a:pt x="130654" y="52848"/>
                </a:lnTo>
                <a:lnTo>
                  <a:pt x="127082" y="44343"/>
                </a:lnTo>
                <a:lnTo>
                  <a:pt x="122916" y="36750"/>
                </a:lnTo>
                <a:lnTo>
                  <a:pt x="118452" y="29461"/>
                </a:lnTo>
                <a:lnTo>
                  <a:pt x="113690" y="23083"/>
                </a:lnTo>
                <a:lnTo>
                  <a:pt x="108333" y="17312"/>
                </a:lnTo>
                <a:lnTo>
                  <a:pt x="102380" y="12149"/>
                </a:lnTo>
                <a:lnTo>
                  <a:pt x="96428" y="7896"/>
                </a:lnTo>
                <a:lnTo>
                  <a:pt x="89880" y="4555"/>
                </a:lnTo>
                <a:lnTo>
                  <a:pt x="83333" y="2126"/>
                </a:lnTo>
                <a:lnTo>
                  <a:pt x="76487" y="607"/>
                </a:lnTo>
                <a:lnTo>
                  <a:pt x="69345" y="0"/>
                </a:lnTo>
                <a:close/>
              </a:path>
            </a:pathLst>
          </a:custGeom>
          <a:solidFill>
            <a:srgbClr val="999999"/>
          </a:solidFill>
        </p:spPr>
        <p:txBody>
          <a:bodyPr wrap="square" lIns="0" tIns="0" rIns="0" bIns="0" rtlCol="0">
            <a:noAutofit/>
          </a:bodyPr>
          <a:lstStyle/>
          <a:p>
            <a:endParaRPr/>
          </a:p>
        </p:txBody>
      </p:sp>
      <p:sp>
        <p:nvSpPr>
          <p:cNvPr id="1116" name="object 1116"/>
          <p:cNvSpPr/>
          <p:nvPr/>
        </p:nvSpPr>
        <p:spPr>
          <a:xfrm>
            <a:off x="8715582" y="1299509"/>
            <a:ext cx="71725" cy="102659"/>
          </a:xfrm>
          <a:custGeom>
            <a:avLst/>
            <a:gdLst/>
            <a:ahLst/>
            <a:cxnLst/>
            <a:rect l="l" t="t" r="r" b="b"/>
            <a:pathLst>
              <a:path w="71725" h="102659">
                <a:moveTo>
                  <a:pt x="6845" y="4859"/>
                </a:moveTo>
                <a:lnTo>
                  <a:pt x="13392" y="6378"/>
                </a:lnTo>
                <a:lnTo>
                  <a:pt x="19642" y="8504"/>
                </a:lnTo>
                <a:lnTo>
                  <a:pt x="25892" y="11845"/>
                </a:lnTo>
                <a:lnTo>
                  <a:pt x="31845" y="16097"/>
                </a:lnTo>
                <a:lnTo>
                  <a:pt x="37499" y="20957"/>
                </a:lnTo>
                <a:lnTo>
                  <a:pt x="42857" y="26727"/>
                </a:lnTo>
                <a:lnTo>
                  <a:pt x="47321" y="32802"/>
                </a:lnTo>
                <a:lnTo>
                  <a:pt x="51785" y="40091"/>
                </a:lnTo>
                <a:lnTo>
                  <a:pt x="55952" y="47381"/>
                </a:lnTo>
                <a:lnTo>
                  <a:pt x="59226" y="55885"/>
                </a:lnTo>
                <a:lnTo>
                  <a:pt x="62202" y="64086"/>
                </a:lnTo>
                <a:lnTo>
                  <a:pt x="64285" y="73197"/>
                </a:lnTo>
                <a:lnTo>
                  <a:pt x="66071" y="82917"/>
                </a:lnTo>
                <a:lnTo>
                  <a:pt x="67261" y="92636"/>
                </a:lnTo>
                <a:lnTo>
                  <a:pt x="67559" y="102659"/>
                </a:lnTo>
                <a:lnTo>
                  <a:pt x="71725" y="102659"/>
                </a:lnTo>
                <a:lnTo>
                  <a:pt x="71428" y="92028"/>
                </a:lnTo>
                <a:lnTo>
                  <a:pt x="70237" y="82309"/>
                </a:lnTo>
                <a:lnTo>
                  <a:pt x="68452" y="72590"/>
                </a:lnTo>
                <a:lnTo>
                  <a:pt x="66368" y="62871"/>
                </a:lnTo>
                <a:lnTo>
                  <a:pt x="63392" y="54063"/>
                </a:lnTo>
                <a:lnTo>
                  <a:pt x="59523" y="45558"/>
                </a:lnTo>
                <a:lnTo>
                  <a:pt x="55356" y="37661"/>
                </a:lnTo>
                <a:lnTo>
                  <a:pt x="50892" y="30372"/>
                </a:lnTo>
                <a:lnTo>
                  <a:pt x="45833" y="23690"/>
                </a:lnTo>
                <a:lnTo>
                  <a:pt x="40476" y="17919"/>
                </a:lnTo>
                <a:lnTo>
                  <a:pt x="34226" y="12452"/>
                </a:lnTo>
                <a:lnTo>
                  <a:pt x="28273" y="8200"/>
                </a:lnTo>
                <a:lnTo>
                  <a:pt x="21428" y="4859"/>
                </a:lnTo>
                <a:lnTo>
                  <a:pt x="14583" y="2126"/>
                </a:lnTo>
                <a:lnTo>
                  <a:pt x="7440" y="607"/>
                </a:lnTo>
                <a:lnTo>
                  <a:pt x="0" y="0"/>
                </a:lnTo>
                <a:lnTo>
                  <a:pt x="0" y="4252"/>
                </a:lnTo>
                <a:lnTo>
                  <a:pt x="6845" y="4859"/>
                </a:lnTo>
                <a:close/>
              </a:path>
            </a:pathLst>
          </a:custGeom>
          <a:solidFill>
            <a:srgbClr val="000000"/>
          </a:solidFill>
        </p:spPr>
        <p:txBody>
          <a:bodyPr wrap="square" lIns="0" tIns="0" rIns="0" bIns="0" rtlCol="0">
            <a:noAutofit/>
          </a:bodyPr>
          <a:lstStyle/>
          <a:p>
            <a:endParaRPr/>
          </a:p>
        </p:txBody>
      </p:sp>
      <p:sp>
        <p:nvSpPr>
          <p:cNvPr id="1117" name="object 1117"/>
          <p:cNvSpPr/>
          <p:nvPr/>
        </p:nvSpPr>
        <p:spPr>
          <a:xfrm>
            <a:off x="8715582" y="1402168"/>
            <a:ext cx="71725" cy="102355"/>
          </a:xfrm>
          <a:custGeom>
            <a:avLst/>
            <a:gdLst/>
            <a:ahLst/>
            <a:cxnLst/>
            <a:rect l="l" t="t" r="r" b="b"/>
            <a:pathLst>
              <a:path w="71725" h="102355">
                <a:moveTo>
                  <a:pt x="0" y="98103"/>
                </a:moveTo>
                <a:lnTo>
                  <a:pt x="0" y="102355"/>
                </a:lnTo>
                <a:lnTo>
                  <a:pt x="7440" y="101748"/>
                </a:lnTo>
                <a:lnTo>
                  <a:pt x="14583" y="100229"/>
                </a:lnTo>
                <a:lnTo>
                  <a:pt x="21428" y="97495"/>
                </a:lnTo>
                <a:lnTo>
                  <a:pt x="28273" y="94154"/>
                </a:lnTo>
                <a:lnTo>
                  <a:pt x="34226" y="89902"/>
                </a:lnTo>
                <a:lnTo>
                  <a:pt x="40476" y="84739"/>
                </a:lnTo>
                <a:lnTo>
                  <a:pt x="45833" y="78664"/>
                </a:lnTo>
                <a:lnTo>
                  <a:pt x="50892" y="71982"/>
                </a:lnTo>
                <a:lnTo>
                  <a:pt x="55356" y="64997"/>
                </a:lnTo>
                <a:lnTo>
                  <a:pt x="59523" y="56796"/>
                </a:lnTo>
                <a:lnTo>
                  <a:pt x="63392" y="48596"/>
                </a:lnTo>
                <a:lnTo>
                  <a:pt x="66368" y="39484"/>
                </a:lnTo>
                <a:lnTo>
                  <a:pt x="68452" y="30068"/>
                </a:lnTo>
                <a:lnTo>
                  <a:pt x="70237" y="20349"/>
                </a:lnTo>
                <a:lnTo>
                  <a:pt x="71428" y="10630"/>
                </a:lnTo>
                <a:lnTo>
                  <a:pt x="71725" y="0"/>
                </a:lnTo>
                <a:lnTo>
                  <a:pt x="67559" y="0"/>
                </a:lnTo>
                <a:lnTo>
                  <a:pt x="67261" y="10022"/>
                </a:lnTo>
                <a:lnTo>
                  <a:pt x="66071" y="19742"/>
                </a:lnTo>
                <a:lnTo>
                  <a:pt x="64285" y="29461"/>
                </a:lnTo>
                <a:lnTo>
                  <a:pt x="62202" y="38269"/>
                </a:lnTo>
                <a:lnTo>
                  <a:pt x="59226" y="46773"/>
                </a:lnTo>
                <a:lnTo>
                  <a:pt x="55952" y="54974"/>
                </a:lnTo>
                <a:lnTo>
                  <a:pt x="51785" y="62567"/>
                </a:lnTo>
                <a:lnTo>
                  <a:pt x="47321" y="69553"/>
                </a:lnTo>
                <a:lnTo>
                  <a:pt x="42857" y="76235"/>
                </a:lnTo>
                <a:lnTo>
                  <a:pt x="37499" y="81702"/>
                </a:lnTo>
                <a:lnTo>
                  <a:pt x="31845" y="86258"/>
                </a:lnTo>
                <a:lnTo>
                  <a:pt x="25892" y="90510"/>
                </a:lnTo>
                <a:lnTo>
                  <a:pt x="19642" y="93851"/>
                </a:lnTo>
                <a:lnTo>
                  <a:pt x="13392" y="95977"/>
                </a:lnTo>
                <a:lnTo>
                  <a:pt x="6845" y="97495"/>
                </a:lnTo>
                <a:lnTo>
                  <a:pt x="0" y="98103"/>
                </a:lnTo>
                <a:close/>
              </a:path>
            </a:pathLst>
          </a:custGeom>
          <a:solidFill>
            <a:srgbClr val="000000"/>
          </a:solidFill>
        </p:spPr>
        <p:txBody>
          <a:bodyPr wrap="square" lIns="0" tIns="0" rIns="0" bIns="0" rtlCol="0">
            <a:noAutofit/>
          </a:bodyPr>
          <a:lstStyle/>
          <a:p>
            <a:endParaRPr/>
          </a:p>
        </p:txBody>
      </p:sp>
      <p:sp>
        <p:nvSpPr>
          <p:cNvPr id="1118" name="object 1118"/>
          <p:cNvSpPr/>
          <p:nvPr/>
        </p:nvSpPr>
        <p:spPr>
          <a:xfrm>
            <a:off x="8644152" y="1402168"/>
            <a:ext cx="71428" cy="102355"/>
          </a:xfrm>
          <a:custGeom>
            <a:avLst/>
            <a:gdLst/>
            <a:ahLst/>
            <a:cxnLst/>
            <a:rect l="l" t="t" r="r" b="b"/>
            <a:pathLst>
              <a:path w="71428" h="102355">
                <a:moveTo>
                  <a:pt x="297" y="10630"/>
                </a:moveTo>
                <a:lnTo>
                  <a:pt x="1488" y="20349"/>
                </a:lnTo>
                <a:lnTo>
                  <a:pt x="3273" y="30068"/>
                </a:lnTo>
                <a:lnTo>
                  <a:pt x="5357" y="39484"/>
                </a:lnTo>
                <a:lnTo>
                  <a:pt x="8333" y="48596"/>
                </a:lnTo>
                <a:lnTo>
                  <a:pt x="12202" y="56796"/>
                </a:lnTo>
                <a:lnTo>
                  <a:pt x="16071" y="64997"/>
                </a:lnTo>
                <a:lnTo>
                  <a:pt x="20833" y="71982"/>
                </a:lnTo>
                <a:lnTo>
                  <a:pt x="25892" y="78664"/>
                </a:lnTo>
                <a:lnTo>
                  <a:pt x="31249" y="84739"/>
                </a:lnTo>
                <a:lnTo>
                  <a:pt x="37202" y="89902"/>
                </a:lnTo>
                <a:lnTo>
                  <a:pt x="43452" y="94154"/>
                </a:lnTo>
                <a:lnTo>
                  <a:pt x="49999" y="97495"/>
                </a:lnTo>
                <a:lnTo>
                  <a:pt x="56845" y="100229"/>
                </a:lnTo>
                <a:lnTo>
                  <a:pt x="63987" y="101748"/>
                </a:lnTo>
                <a:lnTo>
                  <a:pt x="71428" y="102355"/>
                </a:lnTo>
                <a:lnTo>
                  <a:pt x="71428" y="98103"/>
                </a:lnTo>
                <a:lnTo>
                  <a:pt x="64583" y="97495"/>
                </a:lnTo>
                <a:lnTo>
                  <a:pt x="58035" y="95977"/>
                </a:lnTo>
                <a:lnTo>
                  <a:pt x="51785" y="93851"/>
                </a:lnTo>
                <a:lnTo>
                  <a:pt x="45833" y="90510"/>
                </a:lnTo>
                <a:lnTo>
                  <a:pt x="39583" y="86258"/>
                </a:lnTo>
                <a:lnTo>
                  <a:pt x="34226" y="81702"/>
                </a:lnTo>
                <a:lnTo>
                  <a:pt x="28868" y="76235"/>
                </a:lnTo>
                <a:lnTo>
                  <a:pt x="24404" y="69553"/>
                </a:lnTo>
                <a:lnTo>
                  <a:pt x="19642" y="62567"/>
                </a:lnTo>
                <a:lnTo>
                  <a:pt x="15773" y="54974"/>
                </a:lnTo>
                <a:lnTo>
                  <a:pt x="12499" y="46773"/>
                </a:lnTo>
                <a:lnTo>
                  <a:pt x="9523" y="38269"/>
                </a:lnTo>
                <a:lnTo>
                  <a:pt x="7440" y="29461"/>
                </a:lnTo>
                <a:lnTo>
                  <a:pt x="5654" y="19742"/>
                </a:lnTo>
                <a:lnTo>
                  <a:pt x="4464" y="10022"/>
                </a:lnTo>
                <a:lnTo>
                  <a:pt x="4166" y="0"/>
                </a:lnTo>
                <a:lnTo>
                  <a:pt x="0" y="0"/>
                </a:lnTo>
                <a:lnTo>
                  <a:pt x="297" y="10630"/>
                </a:lnTo>
                <a:close/>
              </a:path>
            </a:pathLst>
          </a:custGeom>
          <a:solidFill>
            <a:srgbClr val="000000"/>
          </a:solidFill>
        </p:spPr>
        <p:txBody>
          <a:bodyPr wrap="square" lIns="0" tIns="0" rIns="0" bIns="0" rtlCol="0">
            <a:noAutofit/>
          </a:bodyPr>
          <a:lstStyle/>
          <a:p>
            <a:endParaRPr/>
          </a:p>
        </p:txBody>
      </p:sp>
      <p:sp>
        <p:nvSpPr>
          <p:cNvPr id="1119" name="object 1119"/>
          <p:cNvSpPr/>
          <p:nvPr/>
        </p:nvSpPr>
        <p:spPr>
          <a:xfrm>
            <a:off x="8644152" y="1299509"/>
            <a:ext cx="71428" cy="102659"/>
          </a:xfrm>
          <a:custGeom>
            <a:avLst/>
            <a:gdLst/>
            <a:ahLst/>
            <a:cxnLst/>
            <a:rect l="l" t="t" r="r" b="b"/>
            <a:pathLst>
              <a:path w="71428" h="102659">
                <a:moveTo>
                  <a:pt x="1488" y="82309"/>
                </a:moveTo>
                <a:lnTo>
                  <a:pt x="297" y="92028"/>
                </a:lnTo>
                <a:lnTo>
                  <a:pt x="0" y="102659"/>
                </a:lnTo>
                <a:lnTo>
                  <a:pt x="4166" y="102659"/>
                </a:lnTo>
                <a:lnTo>
                  <a:pt x="4464" y="92636"/>
                </a:lnTo>
                <a:lnTo>
                  <a:pt x="5654" y="82917"/>
                </a:lnTo>
                <a:lnTo>
                  <a:pt x="7440" y="73197"/>
                </a:lnTo>
                <a:lnTo>
                  <a:pt x="9523" y="64086"/>
                </a:lnTo>
                <a:lnTo>
                  <a:pt x="12499" y="55885"/>
                </a:lnTo>
                <a:lnTo>
                  <a:pt x="15773" y="47381"/>
                </a:lnTo>
                <a:lnTo>
                  <a:pt x="19642" y="40091"/>
                </a:lnTo>
                <a:lnTo>
                  <a:pt x="24404" y="32802"/>
                </a:lnTo>
                <a:lnTo>
                  <a:pt x="28868" y="26727"/>
                </a:lnTo>
                <a:lnTo>
                  <a:pt x="34226" y="20957"/>
                </a:lnTo>
                <a:lnTo>
                  <a:pt x="39583" y="16097"/>
                </a:lnTo>
                <a:lnTo>
                  <a:pt x="45833" y="11845"/>
                </a:lnTo>
                <a:lnTo>
                  <a:pt x="51785" y="8504"/>
                </a:lnTo>
                <a:lnTo>
                  <a:pt x="58035" y="6378"/>
                </a:lnTo>
                <a:lnTo>
                  <a:pt x="64583" y="4859"/>
                </a:lnTo>
                <a:lnTo>
                  <a:pt x="71428" y="4252"/>
                </a:lnTo>
                <a:lnTo>
                  <a:pt x="71428" y="0"/>
                </a:lnTo>
                <a:lnTo>
                  <a:pt x="63987" y="607"/>
                </a:lnTo>
                <a:lnTo>
                  <a:pt x="56845" y="2126"/>
                </a:lnTo>
                <a:lnTo>
                  <a:pt x="49999" y="4859"/>
                </a:lnTo>
                <a:lnTo>
                  <a:pt x="43452" y="8200"/>
                </a:lnTo>
                <a:lnTo>
                  <a:pt x="37202" y="12452"/>
                </a:lnTo>
                <a:lnTo>
                  <a:pt x="31249" y="17919"/>
                </a:lnTo>
                <a:lnTo>
                  <a:pt x="25892" y="23690"/>
                </a:lnTo>
                <a:lnTo>
                  <a:pt x="20833" y="30372"/>
                </a:lnTo>
                <a:lnTo>
                  <a:pt x="16071" y="37661"/>
                </a:lnTo>
                <a:lnTo>
                  <a:pt x="12202" y="45558"/>
                </a:lnTo>
                <a:lnTo>
                  <a:pt x="8333" y="54063"/>
                </a:lnTo>
                <a:lnTo>
                  <a:pt x="5357" y="62871"/>
                </a:lnTo>
                <a:lnTo>
                  <a:pt x="3273" y="72590"/>
                </a:lnTo>
                <a:lnTo>
                  <a:pt x="1488" y="82309"/>
                </a:lnTo>
                <a:close/>
              </a:path>
            </a:pathLst>
          </a:custGeom>
          <a:solidFill>
            <a:srgbClr val="000000"/>
          </a:solidFill>
        </p:spPr>
        <p:txBody>
          <a:bodyPr wrap="square" lIns="0" tIns="0" rIns="0" bIns="0" rtlCol="0">
            <a:noAutofit/>
          </a:bodyPr>
          <a:lstStyle/>
          <a:p>
            <a:endParaRPr/>
          </a:p>
        </p:txBody>
      </p:sp>
      <p:sp>
        <p:nvSpPr>
          <p:cNvPr id="1120" name="object 1120"/>
          <p:cNvSpPr/>
          <p:nvPr/>
        </p:nvSpPr>
        <p:spPr>
          <a:xfrm>
            <a:off x="8664391" y="1313479"/>
            <a:ext cx="122321" cy="176768"/>
          </a:xfrm>
          <a:custGeom>
            <a:avLst/>
            <a:gdLst/>
            <a:ahLst/>
            <a:cxnLst/>
            <a:rect l="l" t="t" r="r" b="b"/>
            <a:pathLst>
              <a:path w="122321" h="176768">
                <a:moveTo>
                  <a:pt x="61011" y="0"/>
                </a:moveTo>
                <a:lnTo>
                  <a:pt x="54761" y="607"/>
                </a:lnTo>
                <a:lnTo>
                  <a:pt x="48809" y="1822"/>
                </a:lnTo>
                <a:lnTo>
                  <a:pt x="42857" y="3948"/>
                </a:lnTo>
                <a:lnTo>
                  <a:pt x="37202" y="6985"/>
                </a:lnTo>
                <a:lnTo>
                  <a:pt x="31845" y="10630"/>
                </a:lnTo>
                <a:lnTo>
                  <a:pt x="26785" y="15186"/>
                </a:lnTo>
                <a:lnTo>
                  <a:pt x="22321" y="20349"/>
                </a:lnTo>
                <a:lnTo>
                  <a:pt x="17857" y="25816"/>
                </a:lnTo>
                <a:lnTo>
                  <a:pt x="13988" y="32194"/>
                </a:lnTo>
                <a:lnTo>
                  <a:pt x="10416" y="39180"/>
                </a:lnTo>
                <a:lnTo>
                  <a:pt x="7440" y="46470"/>
                </a:lnTo>
                <a:lnTo>
                  <a:pt x="4761" y="54063"/>
                </a:lnTo>
                <a:lnTo>
                  <a:pt x="2678" y="62263"/>
                </a:lnTo>
                <a:lnTo>
                  <a:pt x="1190" y="70768"/>
                </a:lnTo>
                <a:lnTo>
                  <a:pt x="297" y="79272"/>
                </a:lnTo>
                <a:lnTo>
                  <a:pt x="0" y="88384"/>
                </a:lnTo>
                <a:lnTo>
                  <a:pt x="297" y="97495"/>
                </a:lnTo>
                <a:lnTo>
                  <a:pt x="1190" y="106000"/>
                </a:lnTo>
                <a:lnTo>
                  <a:pt x="2678" y="114504"/>
                </a:lnTo>
                <a:lnTo>
                  <a:pt x="4761" y="122705"/>
                </a:lnTo>
                <a:lnTo>
                  <a:pt x="7440" y="130298"/>
                </a:lnTo>
                <a:lnTo>
                  <a:pt x="10416" y="137587"/>
                </a:lnTo>
                <a:lnTo>
                  <a:pt x="13988" y="144573"/>
                </a:lnTo>
                <a:lnTo>
                  <a:pt x="17857" y="150647"/>
                </a:lnTo>
                <a:lnTo>
                  <a:pt x="22321" y="156418"/>
                </a:lnTo>
                <a:lnTo>
                  <a:pt x="26785" y="161582"/>
                </a:lnTo>
                <a:lnTo>
                  <a:pt x="31845" y="166137"/>
                </a:lnTo>
                <a:lnTo>
                  <a:pt x="37202" y="169782"/>
                </a:lnTo>
                <a:lnTo>
                  <a:pt x="42857" y="172819"/>
                </a:lnTo>
                <a:lnTo>
                  <a:pt x="48809" y="174945"/>
                </a:lnTo>
                <a:lnTo>
                  <a:pt x="54761" y="176160"/>
                </a:lnTo>
                <a:lnTo>
                  <a:pt x="61011" y="176768"/>
                </a:lnTo>
                <a:lnTo>
                  <a:pt x="67261" y="176160"/>
                </a:lnTo>
                <a:lnTo>
                  <a:pt x="73214" y="174945"/>
                </a:lnTo>
                <a:lnTo>
                  <a:pt x="79166" y="172819"/>
                </a:lnTo>
                <a:lnTo>
                  <a:pt x="84821" y="169782"/>
                </a:lnTo>
                <a:lnTo>
                  <a:pt x="90178" y="166137"/>
                </a:lnTo>
                <a:lnTo>
                  <a:pt x="95237" y="161582"/>
                </a:lnTo>
                <a:lnTo>
                  <a:pt x="99999" y="156418"/>
                </a:lnTo>
                <a:lnTo>
                  <a:pt x="104166" y="150647"/>
                </a:lnTo>
                <a:lnTo>
                  <a:pt x="108333" y="144573"/>
                </a:lnTo>
                <a:lnTo>
                  <a:pt x="111904" y="137587"/>
                </a:lnTo>
                <a:lnTo>
                  <a:pt x="114880" y="130298"/>
                </a:lnTo>
                <a:lnTo>
                  <a:pt x="117559" y="122705"/>
                </a:lnTo>
                <a:lnTo>
                  <a:pt x="119642" y="114504"/>
                </a:lnTo>
                <a:lnTo>
                  <a:pt x="121130" y="106000"/>
                </a:lnTo>
                <a:lnTo>
                  <a:pt x="122023" y="97495"/>
                </a:lnTo>
                <a:lnTo>
                  <a:pt x="122321" y="88384"/>
                </a:lnTo>
                <a:lnTo>
                  <a:pt x="122023" y="79272"/>
                </a:lnTo>
                <a:lnTo>
                  <a:pt x="121130" y="70768"/>
                </a:lnTo>
                <a:lnTo>
                  <a:pt x="119642" y="62263"/>
                </a:lnTo>
                <a:lnTo>
                  <a:pt x="117559" y="54063"/>
                </a:lnTo>
                <a:lnTo>
                  <a:pt x="114880" y="46470"/>
                </a:lnTo>
                <a:lnTo>
                  <a:pt x="111904" y="39180"/>
                </a:lnTo>
                <a:lnTo>
                  <a:pt x="108333" y="32194"/>
                </a:lnTo>
                <a:lnTo>
                  <a:pt x="104166" y="25816"/>
                </a:lnTo>
                <a:lnTo>
                  <a:pt x="99999" y="20349"/>
                </a:lnTo>
                <a:lnTo>
                  <a:pt x="95237" y="15186"/>
                </a:lnTo>
                <a:lnTo>
                  <a:pt x="90178" y="10630"/>
                </a:lnTo>
                <a:lnTo>
                  <a:pt x="84821" y="6985"/>
                </a:lnTo>
                <a:lnTo>
                  <a:pt x="79166" y="3948"/>
                </a:lnTo>
                <a:lnTo>
                  <a:pt x="73214" y="1822"/>
                </a:lnTo>
                <a:lnTo>
                  <a:pt x="67261" y="607"/>
                </a:lnTo>
                <a:lnTo>
                  <a:pt x="61011" y="0"/>
                </a:lnTo>
                <a:close/>
              </a:path>
            </a:pathLst>
          </a:custGeom>
          <a:solidFill>
            <a:srgbClr val="000000"/>
          </a:solidFill>
        </p:spPr>
        <p:txBody>
          <a:bodyPr wrap="square" lIns="0" tIns="0" rIns="0" bIns="0" rtlCol="0">
            <a:noAutofit/>
          </a:bodyPr>
          <a:lstStyle/>
          <a:p>
            <a:endParaRPr/>
          </a:p>
        </p:txBody>
      </p:sp>
      <p:sp>
        <p:nvSpPr>
          <p:cNvPr id="1121" name="object 1121"/>
          <p:cNvSpPr/>
          <p:nvPr/>
        </p:nvSpPr>
        <p:spPr>
          <a:xfrm>
            <a:off x="8725402" y="1311353"/>
            <a:ext cx="63392" cy="90510"/>
          </a:xfrm>
          <a:custGeom>
            <a:avLst/>
            <a:gdLst/>
            <a:ahLst/>
            <a:cxnLst/>
            <a:rect l="l" t="t" r="r" b="b"/>
            <a:pathLst>
              <a:path w="63392" h="90510">
                <a:moveTo>
                  <a:pt x="5952" y="4859"/>
                </a:moveTo>
                <a:lnTo>
                  <a:pt x="11607" y="6074"/>
                </a:lnTo>
                <a:lnTo>
                  <a:pt x="17261" y="7896"/>
                </a:lnTo>
                <a:lnTo>
                  <a:pt x="22618" y="10934"/>
                </a:lnTo>
                <a:lnTo>
                  <a:pt x="27976" y="14578"/>
                </a:lnTo>
                <a:lnTo>
                  <a:pt x="32737" y="18830"/>
                </a:lnTo>
                <a:lnTo>
                  <a:pt x="37499" y="23994"/>
                </a:lnTo>
                <a:lnTo>
                  <a:pt x="41368" y="29157"/>
                </a:lnTo>
                <a:lnTo>
                  <a:pt x="45535" y="35535"/>
                </a:lnTo>
                <a:lnTo>
                  <a:pt x="49106" y="42217"/>
                </a:lnTo>
                <a:lnTo>
                  <a:pt x="51785" y="49507"/>
                </a:lnTo>
                <a:lnTo>
                  <a:pt x="54464" y="56796"/>
                </a:lnTo>
                <a:lnTo>
                  <a:pt x="56547" y="64693"/>
                </a:lnTo>
                <a:lnTo>
                  <a:pt x="58035" y="73197"/>
                </a:lnTo>
                <a:lnTo>
                  <a:pt x="58928" y="81398"/>
                </a:lnTo>
                <a:lnTo>
                  <a:pt x="59226" y="90510"/>
                </a:lnTo>
                <a:lnTo>
                  <a:pt x="63392" y="90510"/>
                </a:lnTo>
                <a:lnTo>
                  <a:pt x="63095" y="81398"/>
                </a:lnTo>
                <a:lnTo>
                  <a:pt x="62202" y="72590"/>
                </a:lnTo>
                <a:lnTo>
                  <a:pt x="60714" y="64086"/>
                </a:lnTo>
                <a:lnTo>
                  <a:pt x="58630" y="55581"/>
                </a:lnTo>
                <a:lnTo>
                  <a:pt x="55952" y="47684"/>
                </a:lnTo>
                <a:lnTo>
                  <a:pt x="52678" y="40395"/>
                </a:lnTo>
                <a:lnTo>
                  <a:pt x="49106" y="33106"/>
                </a:lnTo>
                <a:lnTo>
                  <a:pt x="44940" y="26727"/>
                </a:lnTo>
                <a:lnTo>
                  <a:pt x="40476" y="20957"/>
                </a:lnTo>
                <a:lnTo>
                  <a:pt x="35714" y="15793"/>
                </a:lnTo>
                <a:lnTo>
                  <a:pt x="30357" y="10934"/>
                </a:lnTo>
                <a:lnTo>
                  <a:pt x="24999" y="7289"/>
                </a:lnTo>
                <a:lnTo>
                  <a:pt x="19047" y="4252"/>
                </a:lnTo>
                <a:lnTo>
                  <a:pt x="12797" y="1822"/>
                </a:lnTo>
                <a:lnTo>
                  <a:pt x="6547" y="607"/>
                </a:lnTo>
                <a:lnTo>
                  <a:pt x="0" y="0"/>
                </a:lnTo>
                <a:lnTo>
                  <a:pt x="0" y="4252"/>
                </a:lnTo>
                <a:lnTo>
                  <a:pt x="5952" y="4859"/>
                </a:lnTo>
                <a:close/>
              </a:path>
            </a:pathLst>
          </a:custGeom>
          <a:solidFill>
            <a:srgbClr val="000000"/>
          </a:solidFill>
        </p:spPr>
        <p:txBody>
          <a:bodyPr wrap="square" lIns="0" tIns="0" rIns="0" bIns="0" rtlCol="0">
            <a:noAutofit/>
          </a:bodyPr>
          <a:lstStyle/>
          <a:p>
            <a:endParaRPr/>
          </a:p>
        </p:txBody>
      </p:sp>
      <p:sp>
        <p:nvSpPr>
          <p:cNvPr id="1122" name="object 1122"/>
          <p:cNvSpPr/>
          <p:nvPr/>
        </p:nvSpPr>
        <p:spPr>
          <a:xfrm>
            <a:off x="8725402" y="1401864"/>
            <a:ext cx="63392" cy="90510"/>
          </a:xfrm>
          <a:custGeom>
            <a:avLst/>
            <a:gdLst/>
            <a:ahLst/>
            <a:cxnLst/>
            <a:rect l="l" t="t" r="r" b="b"/>
            <a:pathLst>
              <a:path w="63392" h="90510">
                <a:moveTo>
                  <a:pt x="0" y="86258"/>
                </a:moveTo>
                <a:lnTo>
                  <a:pt x="0" y="90510"/>
                </a:lnTo>
                <a:lnTo>
                  <a:pt x="6547" y="89902"/>
                </a:lnTo>
                <a:lnTo>
                  <a:pt x="12797" y="88687"/>
                </a:lnTo>
                <a:lnTo>
                  <a:pt x="19047" y="86258"/>
                </a:lnTo>
                <a:lnTo>
                  <a:pt x="24999" y="83220"/>
                </a:lnTo>
                <a:lnTo>
                  <a:pt x="30357" y="79576"/>
                </a:lnTo>
                <a:lnTo>
                  <a:pt x="35714" y="74716"/>
                </a:lnTo>
                <a:lnTo>
                  <a:pt x="40476" y="69249"/>
                </a:lnTo>
                <a:lnTo>
                  <a:pt x="44940" y="63478"/>
                </a:lnTo>
                <a:lnTo>
                  <a:pt x="49106" y="57404"/>
                </a:lnTo>
                <a:lnTo>
                  <a:pt x="52678" y="50114"/>
                </a:lnTo>
                <a:lnTo>
                  <a:pt x="55952" y="42825"/>
                </a:lnTo>
                <a:lnTo>
                  <a:pt x="58630" y="34928"/>
                </a:lnTo>
                <a:lnTo>
                  <a:pt x="60714" y="26424"/>
                </a:lnTo>
                <a:lnTo>
                  <a:pt x="62202" y="17919"/>
                </a:lnTo>
                <a:lnTo>
                  <a:pt x="63095" y="9111"/>
                </a:lnTo>
                <a:lnTo>
                  <a:pt x="63392" y="0"/>
                </a:lnTo>
                <a:lnTo>
                  <a:pt x="59226" y="0"/>
                </a:lnTo>
                <a:lnTo>
                  <a:pt x="58928" y="9111"/>
                </a:lnTo>
                <a:lnTo>
                  <a:pt x="58035" y="17312"/>
                </a:lnTo>
                <a:lnTo>
                  <a:pt x="56547" y="25816"/>
                </a:lnTo>
                <a:lnTo>
                  <a:pt x="54464" y="33713"/>
                </a:lnTo>
                <a:lnTo>
                  <a:pt x="51785" y="41002"/>
                </a:lnTo>
                <a:lnTo>
                  <a:pt x="49106" y="48292"/>
                </a:lnTo>
                <a:lnTo>
                  <a:pt x="45535" y="54974"/>
                </a:lnTo>
                <a:lnTo>
                  <a:pt x="41368" y="61048"/>
                </a:lnTo>
                <a:lnTo>
                  <a:pt x="37499" y="66819"/>
                </a:lnTo>
                <a:lnTo>
                  <a:pt x="32737" y="71679"/>
                </a:lnTo>
                <a:lnTo>
                  <a:pt x="27976" y="75931"/>
                </a:lnTo>
                <a:lnTo>
                  <a:pt x="22618" y="79576"/>
                </a:lnTo>
                <a:lnTo>
                  <a:pt x="17261" y="82613"/>
                </a:lnTo>
                <a:lnTo>
                  <a:pt x="11607" y="84435"/>
                </a:lnTo>
                <a:lnTo>
                  <a:pt x="5952" y="85650"/>
                </a:lnTo>
                <a:lnTo>
                  <a:pt x="0" y="86258"/>
                </a:lnTo>
                <a:close/>
              </a:path>
            </a:pathLst>
          </a:custGeom>
          <a:solidFill>
            <a:srgbClr val="000000"/>
          </a:solidFill>
        </p:spPr>
        <p:txBody>
          <a:bodyPr wrap="square" lIns="0" tIns="0" rIns="0" bIns="0" rtlCol="0">
            <a:noAutofit/>
          </a:bodyPr>
          <a:lstStyle/>
          <a:p>
            <a:endParaRPr/>
          </a:p>
        </p:txBody>
      </p:sp>
      <p:sp>
        <p:nvSpPr>
          <p:cNvPr id="1123" name="object 1123"/>
          <p:cNvSpPr/>
          <p:nvPr/>
        </p:nvSpPr>
        <p:spPr>
          <a:xfrm>
            <a:off x="8662308" y="1401864"/>
            <a:ext cx="63095" cy="90510"/>
          </a:xfrm>
          <a:custGeom>
            <a:avLst/>
            <a:gdLst/>
            <a:ahLst/>
            <a:cxnLst/>
            <a:rect l="l" t="t" r="r" b="b"/>
            <a:pathLst>
              <a:path w="63095" h="90510">
                <a:moveTo>
                  <a:pt x="5357" y="17312"/>
                </a:moveTo>
                <a:lnTo>
                  <a:pt x="4464" y="9111"/>
                </a:lnTo>
                <a:lnTo>
                  <a:pt x="4166" y="0"/>
                </a:lnTo>
                <a:lnTo>
                  <a:pt x="0" y="0"/>
                </a:lnTo>
                <a:lnTo>
                  <a:pt x="297" y="9111"/>
                </a:lnTo>
                <a:lnTo>
                  <a:pt x="1190" y="17919"/>
                </a:lnTo>
                <a:lnTo>
                  <a:pt x="2678" y="26424"/>
                </a:lnTo>
                <a:lnTo>
                  <a:pt x="4761" y="34928"/>
                </a:lnTo>
                <a:lnTo>
                  <a:pt x="7440" y="42825"/>
                </a:lnTo>
                <a:lnTo>
                  <a:pt x="10714" y="50114"/>
                </a:lnTo>
                <a:lnTo>
                  <a:pt x="14285" y="57404"/>
                </a:lnTo>
                <a:lnTo>
                  <a:pt x="18154" y="63478"/>
                </a:lnTo>
                <a:lnTo>
                  <a:pt x="22916" y="69249"/>
                </a:lnTo>
                <a:lnTo>
                  <a:pt x="27380" y="74716"/>
                </a:lnTo>
                <a:lnTo>
                  <a:pt x="32737" y="79576"/>
                </a:lnTo>
                <a:lnTo>
                  <a:pt x="38095" y="83220"/>
                </a:lnTo>
                <a:lnTo>
                  <a:pt x="44047" y="86258"/>
                </a:lnTo>
                <a:lnTo>
                  <a:pt x="50297" y="88687"/>
                </a:lnTo>
                <a:lnTo>
                  <a:pt x="56547" y="89902"/>
                </a:lnTo>
                <a:lnTo>
                  <a:pt x="63095" y="90510"/>
                </a:lnTo>
                <a:lnTo>
                  <a:pt x="63095" y="86258"/>
                </a:lnTo>
                <a:lnTo>
                  <a:pt x="57142" y="85650"/>
                </a:lnTo>
                <a:lnTo>
                  <a:pt x="51487" y="84435"/>
                </a:lnTo>
                <a:lnTo>
                  <a:pt x="45833" y="82613"/>
                </a:lnTo>
                <a:lnTo>
                  <a:pt x="40476" y="79576"/>
                </a:lnTo>
                <a:lnTo>
                  <a:pt x="35118" y="75931"/>
                </a:lnTo>
                <a:lnTo>
                  <a:pt x="30357" y="71679"/>
                </a:lnTo>
                <a:lnTo>
                  <a:pt x="25892" y="66819"/>
                </a:lnTo>
                <a:lnTo>
                  <a:pt x="21726" y="61048"/>
                </a:lnTo>
                <a:lnTo>
                  <a:pt x="17857" y="54974"/>
                </a:lnTo>
                <a:lnTo>
                  <a:pt x="14285" y="48292"/>
                </a:lnTo>
                <a:lnTo>
                  <a:pt x="11607" y="41002"/>
                </a:lnTo>
                <a:lnTo>
                  <a:pt x="8928" y="33713"/>
                </a:lnTo>
                <a:lnTo>
                  <a:pt x="6845" y="25816"/>
                </a:lnTo>
                <a:lnTo>
                  <a:pt x="5357" y="17312"/>
                </a:lnTo>
                <a:close/>
              </a:path>
            </a:pathLst>
          </a:custGeom>
          <a:solidFill>
            <a:srgbClr val="000000"/>
          </a:solidFill>
        </p:spPr>
        <p:txBody>
          <a:bodyPr wrap="square" lIns="0" tIns="0" rIns="0" bIns="0" rtlCol="0">
            <a:noAutofit/>
          </a:bodyPr>
          <a:lstStyle/>
          <a:p>
            <a:endParaRPr/>
          </a:p>
        </p:txBody>
      </p:sp>
      <p:sp>
        <p:nvSpPr>
          <p:cNvPr id="1124" name="object 1124"/>
          <p:cNvSpPr/>
          <p:nvPr/>
        </p:nvSpPr>
        <p:spPr>
          <a:xfrm>
            <a:off x="8662308" y="1311353"/>
            <a:ext cx="63095" cy="90510"/>
          </a:xfrm>
          <a:custGeom>
            <a:avLst/>
            <a:gdLst/>
            <a:ahLst/>
            <a:cxnLst/>
            <a:rect l="l" t="t" r="r" b="b"/>
            <a:pathLst>
              <a:path w="63095" h="90510">
                <a:moveTo>
                  <a:pt x="4761" y="55581"/>
                </a:moveTo>
                <a:lnTo>
                  <a:pt x="2678" y="64086"/>
                </a:lnTo>
                <a:lnTo>
                  <a:pt x="1190" y="72590"/>
                </a:lnTo>
                <a:lnTo>
                  <a:pt x="297" y="81398"/>
                </a:lnTo>
                <a:lnTo>
                  <a:pt x="0" y="90510"/>
                </a:lnTo>
                <a:lnTo>
                  <a:pt x="4166" y="90510"/>
                </a:lnTo>
                <a:lnTo>
                  <a:pt x="4464" y="81398"/>
                </a:lnTo>
                <a:lnTo>
                  <a:pt x="5357" y="73197"/>
                </a:lnTo>
                <a:lnTo>
                  <a:pt x="6845" y="64693"/>
                </a:lnTo>
                <a:lnTo>
                  <a:pt x="8928" y="56796"/>
                </a:lnTo>
                <a:lnTo>
                  <a:pt x="11607" y="49507"/>
                </a:lnTo>
                <a:lnTo>
                  <a:pt x="14285" y="42217"/>
                </a:lnTo>
                <a:lnTo>
                  <a:pt x="17857" y="35232"/>
                </a:lnTo>
                <a:lnTo>
                  <a:pt x="21726" y="29157"/>
                </a:lnTo>
                <a:lnTo>
                  <a:pt x="25892" y="23994"/>
                </a:lnTo>
                <a:lnTo>
                  <a:pt x="30357" y="18830"/>
                </a:lnTo>
                <a:lnTo>
                  <a:pt x="35118" y="14578"/>
                </a:lnTo>
                <a:lnTo>
                  <a:pt x="40476" y="10934"/>
                </a:lnTo>
                <a:lnTo>
                  <a:pt x="45833" y="7896"/>
                </a:lnTo>
                <a:lnTo>
                  <a:pt x="51487" y="6074"/>
                </a:lnTo>
                <a:lnTo>
                  <a:pt x="57142" y="4859"/>
                </a:lnTo>
                <a:lnTo>
                  <a:pt x="63095" y="4252"/>
                </a:lnTo>
                <a:lnTo>
                  <a:pt x="63095" y="0"/>
                </a:lnTo>
                <a:lnTo>
                  <a:pt x="56547" y="607"/>
                </a:lnTo>
                <a:lnTo>
                  <a:pt x="50297" y="1822"/>
                </a:lnTo>
                <a:lnTo>
                  <a:pt x="44047" y="4252"/>
                </a:lnTo>
                <a:lnTo>
                  <a:pt x="38095" y="7289"/>
                </a:lnTo>
                <a:lnTo>
                  <a:pt x="32737" y="10934"/>
                </a:lnTo>
                <a:lnTo>
                  <a:pt x="27380" y="15793"/>
                </a:lnTo>
                <a:lnTo>
                  <a:pt x="22916" y="20957"/>
                </a:lnTo>
                <a:lnTo>
                  <a:pt x="18154" y="26727"/>
                </a:lnTo>
                <a:lnTo>
                  <a:pt x="14285" y="33409"/>
                </a:lnTo>
                <a:lnTo>
                  <a:pt x="10714" y="40395"/>
                </a:lnTo>
                <a:lnTo>
                  <a:pt x="7440" y="47684"/>
                </a:lnTo>
                <a:lnTo>
                  <a:pt x="4761" y="55581"/>
                </a:lnTo>
                <a:close/>
              </a:path>
            </a:pathLst>
          </a:custGeom>
          <a:solidFill>
            <a:srgbClr val="000000"/>
          </a:solidFill>
        </p:spPr>
        <p:txBody>
          <a:bodyPr wrap="square" lIns="0" tIns="0" rIns="0" bIns="0" rtlCol="0">
            <a:noAutofit/>
          </a:bodyPr>
          <a:lstStyle/>
          <a:p>
            <a:endParaRPr/>
          </a:p>
        </p:txBody>
      </p:sp>
      <p:sp>
        <p:nvSpPr>
          <p:cNvPr id="1125" name="object 1125"/>
          <p:cNvSpPr/>
          <p:nvPr/>
        </p:nvSpPr>
        <p:spPr>
          <a:xfrm>
            <a:off x="8665878" y="1314998"/>
            <a:ext cx="119642" cy="167960"/>
          </a:xfrm>
          <a:custGeom>
            <a:avLst/>
            <a:gdLst/>
            <a:ahLst/>
            <a:cxnLst/>
            <a:rect l="l" t="t" r="r" b="b"/>
            <a:pathLst>
              <a:path w="119642" h="167960">
                <a:moveTo>
                  <a:pt x="52976" y="91421"/>
                </a:moveTo>
                <a:lnTo>
                  <a:pt x="54362" y="95942"/>
                </a:lnTo>
                <a:lnTo>
                  <a:pt x="58630" y="96584"/>
                </a:lnTo>
                <a:lnTo>
                  <a:pt x="59753" y="91542"/>
                </a:lnTo>
                <a:lnTo>
                  <a:pt x="58982" y="88080"/>
                </a:lnTo>
                <a:lnTo>
                  <a:pt x="56167" y="88080"/>
                </a:lnTo>
                <a:lnTo>
                  <a:pt x="52976" y="91421"/>
                </a:lnTo>
                <a:close/>
              </a:path>
              <a:path w="119642" h="167960">
                <a:moveTo>
                  <a:pt x="51748" y="81815"/>
                </a:moveTo>
                <a:lnTo>
                  <a:pt x="52678" y="88080"/>
                </a:lnTo>
                <a:lnTo>
                  <a:pt x="56167" y="88080"/>
                </a:lnTo>
                <a:lnTo>
                  <a:pt x="58450" y="85691"/>
                </a:lnTo>
                <a:lnTo>
                  <a:pt x="57711" y="82373"/>
                </a:lnTo>
                <a:lnTo>
                  <a:pt x="54166" y="78664"/>
                </a:lnTo>
                <a:lnTo>
                  <a:pt x="51748" y="81815"/>
                </a:lnTo>
                <a:close/>
              </a:path>
              <a:path w="119642" h="167960">
                <a:moveTo>
                  <a:pt x="42297" y="94128"/>
                </a:moveTo>
                <a:lnTo>
                  <a:pt x="51748" y="81815"/>
                </a:lnTo>
                <a:lnTo>
                  <a:pt x="49248" y="64977"/>
                </a:lnTo>
                <a:lnTo>
                  <a:pt x="13988" y="35535"/>
                </a:lnTo>
                <a:lnTo>
                  <a:pt x="12797" y="34928"/>
                </a:lnTo>
                <a:lnTo>
                  <a:pt x="11309" y="35839"/>
                </a:lnTo>
                <a:lnTo>
                  <a:pt x="9821" y="37965"/>
                </a:lnTo>
                <a:lnTo>
                  <a:pt x="8333" y="41002"/>
                </a:lnTo>
                <a:lnTo>
                  <a:pt x="6845" y="44951"/>
                </a:lnTo>
                <a:lnTo>
                  <a:pt x="5654" y="49203"/>
                </a:lnTo>
                <a:lnTo>
                  <a:pt x="4166" y="54063"/>
                </a:lnTo>
                <a:lnTo>
                  <a:pt x="2976" y="59226"/>
                </a:lnTo>
                <a:lnTo>
                  <a:pt x="1785" y="64389"/>
                </a:lnTo>
                <a:lnTo>
                  <a:pt x="892" y="69553"/>
                </a:lnTo>
                <a:lnTo>
                  <a:pt x="297" y="74412"/>
                </a:lnTo>
                <a:lnTo>
                  <a:pt x="0" y="78968"/>
                </a:lnTo>
                <a:lnTo>
                  <a:pt x="0" y="82613"/>
                </a:lnTo>
                <a:lnTo>
                  <a:pt x="297" y="85346"/>
                </a:lnTo>
                <a:lnTo>
                  <a:pt x="892" y="87472"/>
                </a:lnTo>
                <a:lnTo>
                  <a:pt x="2083" y="88080"/>
                </a:lnTo>
                <a:lnTo>
                  <a:pt x="42297" y="94128"/>
                </a:lnTo>
                <a:close/>
              </a:path>
              <a:path w="119642" h="167960">
                <a:moveTo>
                  <a:pt x="13988" y="142751"/>
                </a:moveTo>
                <a:lnTo>
                  <a:pt x="18452" y="149129"/>
                </a:lnTo>
                <a:lnTo>
                  <a:pt x="24404" y="155811"/>
                </a:lnTo>
                <a:lnTo>
                  <a:pt x="30654" y="161885"/>
                </a:lnTo>
                <a:lnTo>
                  <a:pt x="36309" y="166137"/>
                </a:lnTo>
                <a:lnTo>
                  <a:pt x="40773" y="167656"/>
                </a:lnTo>
                <a:lnTo>
                  <a:pt x="43154" y="165834"/>
                </a:lnTo>
                <a:lnTo>
                  <a:pt x="59477" y="112617"/>
                </a:lnTo>
                <a:lnTo>
                  <a:pt x="54362" y="95942"/>
                </a:lnTo>
                <a:lnTo>
                  <a:pt x="42297" y="94128"/>
                </a:lnTo>
                <a:lnTo>
                  <a:pt x="12202" y="133335"/>
                </a:lnTo>
                <a:lnTo>
                  <a:pt x="11607" y="136980"/>
                </a:lnTo>
                <a:lnTo>
                  <a:pt x="13988" y="142751"/>
                </a:lnTo>
                <a:close/>
              </a:path>
              <a:path w="119642" h="167960">
                <a:moveTo>
                  <a:pt x="60185" y="74109"/>
                </a:moveTo>
                <a:lnTo>
                  <a:pt x="56547" y="77146"/>
                </a:lnTo>
                <a:lnTo>
                  <a:pt x="57711" y="82373"/>
                </a:lnTo>
                <a:lnTo>
                  <a:pt x="59666" y="84418"/>
                </a:lnTo>
                <a:lnTo>
                  <a:pt x="61848" y="82134"/>
                </a:lnTo>
                <a:lnTo>
                  <a:pt x="63095" y="76538"/>
                </a:lnTo>
                <a:lnTo>
                  <a:pt x="60185" y="74109"/>
                </a:lnTo>
                <a:close/>
              </a:path>
              <a:path w="119642" h="167960">
                <a:moveTo>
                  <a:pt x="63167" y="88080"/>
                </a:moveTo>
                <a:lnTo>
                  <a:pt x="60524" y="88080"/>
                </a:lnTo>
                <a:lnTo>
                  <a:pt x="59753" y="91542"/>
                </a:lnTo>
                <a:lnTo>
                  <a:pt x="61011" y="97192"/>
                </a:lnTo>
                <a:lnTo>
                  <a:pt x="64363" y="96685"/>
                </a:lnTo>
                <a:lnTo>
                  <a:pt x="66071" y="91117"/>
                </a:lnTo>
                <a:lnTo>
                  <a:pt x="63167" y="88080"/>
                </a:lnTo>
                <a:close/>
              </a:path>
              <a:path w="119642" h="167960">
                <a:moveTo>
                  <a:pt x="41964" y="4555"/>
                </a:moveTo>
                <a:lnTo>
                  <a:pt x="40773" y="7896"/>
                </a:lnTo>
                <a:lnTo>
                  <a:pt x="49248" y="64977"/>
                </a:lnTo>
                <a:lnTo>
                  <a:pt x="60185" y="74109"/>
                </a:lnTo>
                <a:lnTo>
                  <a:pt x="70630" y="65386"/>
                </a:lnTo>
                <a:lnTo>
                  <a:pt x="79166" y="7896"/>
                </a:lnTo>
                <a:lnTo>
                  <a:pt x="77975" y="4555"/>
                </a:lnTo>
                <a:lnTo>
                  <a:pt x="73809" y="1822"/>
                </a:lnTo>
                <a:lnTo>
                  <a:pt x="67261" y="303"/>
                </a:lnTo>
                <a:lnTo>
                  <a:pt x="60118" y="0"/>
                </a:lnTo>
                <a:lnTo>
                  <a:pt x="52678" y="303"/>
                </a:lnTo>
                <a:lnTo>
                  <a:pt x="46130" y="1822"/>
                </a:lnTo>
                <a:lnTo>
                  <a:pt x="41964" y="4555"/>
                </a:lnTo>
                <a:close/>
              </a:path>
              <a:path w="119642" h="167960">
                <a:moveTo>
                  <a:pt x="70630" y="65386"/>
                </a:moveTo>
                <a:lnTo>
                  <a:pt x="67930" y="83578"/>
                </a:lnTo>
                <a:lnTo>
                  <a:pt x="76672" y="94824"/>
                </a:lnTo>
                <a:lnTo>
                  <a:pt x="117261" y="88687"/>
                </a:lnTo>
                <a:lnTo>
                  <a:pt x="118452" y="88080"/>
                </a:lnTo>
                <a:lnTo>
                  <a:pt x="119344" y="85954"/>
                </a:lnTo>
                <a:lnTo>
                  <a:pt x="119642" y="83220"/>
                </a:lnTo>
                <a:lnTo>
                  <a:pt x="119642" y="79576"/>
                </a:lnTo>
                <a:lnTo>
                  <a:pt x="119344" y="75020"/>
                </a:lnTo>
                <a:lnTo>
                  <a:pt x="118749" y="70160"/>
                </a:lnTo>
                <a:lnTo>
                  <a:pt x="117856" y="64997"/>
                </a:lnTo>
                <a:lnTo>
                  <a:pt x="116666" y="59833"/>
                </a:lnTo>
                <a:lnTo>
                  <a:pt x="115475" y="54670"/>
                </a:lnTo>
                <a:lnTo>
                  <a:pt x="113987" y="49810"/>
                </a:lnTo>
                <a:lnTo>
                  <a:pt x="112797" y="45558"/>
                </a:lnTo>
                <a:lnTo>
                  <a:pt x="111309" y="41610"/>
                </a:lnTo>
                <a:lnTo>
                  <a:pt x="109821" y="38573"/>
                </a:lnTo>
                <a:lnTo>
                  <a:pt x="108333" y="36447"/>
                </a:lnTo>
                <a:lnTo>
                  <a:pt x="106844" y="35535"/>
                </a:lnTo>
                <a:lnTo>
                  <a:pt x="105654" y="36143"/>
                </a:lnTo>
                <a:lnTo>
                  <a:pt x="70630" y="65386"/>
                </a:lnTo>
                <a:close/>
              </a:path>
              <a:path w="119642" h="167960">
                <a:moveTo>
                  <a:pt x="106844" y="133639"/>
                </a:moveTo>
                <a:lnTo>
                  <a:pt x="76672" y="94824"/>
                </a:lnTo>
                <a:lnTo>
                  <a:pt x="64363" y="96685"/>
                </a:lnTo>
                <a:lnTo>
                  <a:pt x="59477" y="112617"/>
                </a:lnTo>
                <a:lnTo>
                  <a:pt x="75892" y="166137"/>
                </a:lnTo>
                <a:lnTo>
                  <a:pt x="78273" y="167960"/>
                </a:lnTo>
                <a:lnTo>
                  <a:pt x="82737" y="166441"/>
                </a:lnTo>
                <a:lnTo>
                  <a:pt x="88392" y="162493"/>
                </a:lnTo>
                <a:lnTo>
                  <a:pt x="94642" y="156418"/>
                </a:lnTo>
                <a:lnTo>
                  <a:pt x="100297" y="149736"/>
                </a:lnTo>
                <a:lnTo>
                  <a:pt x="104761" y="143054"/>
                </a:lnTo>
                <a:lnTo>
                  <a:pt x="107440" y="137587"/>
                </a:lnTo>
                <a:lnTo>
                  <a:pt x="106844" y="133639"/>
                </a:lnTo>
                <a:close/>
              </a:path>
              <a:path w="119642" h="167960">
                <a:moveTo>
                  <a:pt x="64583" y="79272"/>
                </a:moveTo>
                <a:lnTo>
                  <a:pt x="61848" y="82134"/>
                </a:lnTo>
                <a:lnTo>
                  <a:pt x="61024" y="85838"/>
                </a:lnTo>
                <a:lnTo>
                  <a:pt x="63167" y="88080"/>
                </a:lnTo>
                <a:lnTo>
                  <a:pt x="67261" y="88080"/>
                </a:lnTo>
                <a:lnTo>
                  <a:pt x="67930" y="83578"/>
                </a:lnTo>
                <a:lnTo>
                  <a:pt x="64583" y="79272"/>
                </a:lnTo>
                <a:close/>
              </a:path>
              <a:path w="119642" h="167960">
                <a:moveTo>
                  <a:pt x="59666" y="84418"/>
                </a:moveTo>
                <a:lnTo>
                  <a:pt x="58450" y="85691"/>
                </a:lnTo>
                <a:lnTo>
                  <a:pt x="58982" y="88080"/>
                </a:lnTo>
                <a:lnTo>
                  <a:pt x="60524" y="88080"/>
                </a:lnTo>
                <a:lnTo>
                  <a:pt x="61024" y="85838"/>
                </a:lnTo>
                <a:lnTo>
                  <a:pt x="59666" y="84418"/>
                </a:lnTo>
                <a:close/>
              </a:path>
            </a:pathLst>
          </a:custGeom>
          <a:solidFill>
            <a:srgbClr val="404040"/>
          </a:solidFill>
        </p:spPr>
        <p:txBody>
          <a:bodyPr wrap="square" lIns="0" tIns="0" rIns="0" bIns="0" rtlCol="0">
            <a:noAutofit/>
          </a:bodyPr>
          <a:lstStyle/>
          <a:p>
            <a:endParaRPr/>
          </a:p>
        </p:txBody>
      </p:sp>
      <p:sp>
        <p:nvSpPr>
          <p:cNvPr id="1126" name="object 1126"/>
          <p:cNvSpPr/>
          <p:nvPr/>
        </p:nvSpPr>
        <p:spPr>
          <a:xfrm>
            <a:off x="8706951" y="1405508"/>
            <a:ext cx="27083" cy="77450"/>
          </a:xfrm>
          <a:custGeom>
            <a:avLst/>
            <a:gdLst/>
            <a:ahLst/>
            <a:cxnLst/>
            <a:rect l="l" t="t" r="r" b="b"/>
            <a:pathLst>
              <a:path w="27083" h="77450">
                <a:moveTo>
                  <a:pt x="4166" y="75931"/>
                </a:moveTo>
                <a:lnTo>
                  <a:pt x="27083" y="1214"/>
                </a:lnTo>
                <a:lnTo>
                  <a:pt x="22916" y="0"/>
                </a:lnTo>
                <a:lnTo>
                  <a:pt x="0" y="74716"/>
                </a:lnTo>
                <a:lnTo>
                  <a:pt x="297" y="76538"/>
                </a:lnTo>
                <a:lnTo>
                  <a:pt x="1785" y="77450"/>
                </a:lnTo>
                <a:lnTo>
                  <a:pt x="3273" y="77146"/>
                </a:lnTo>
                <a:lnTo>
                  <a:pt x="4166" y="75931"/>
                </a:lnTo>
                <a:close/>
              </a:path>
            </a:pathLst>
          </a:custGeom>
          <a:solidFill>
            <a:srgbClr val="000000"/>
          </a:solidFill>
        </p:spPr>
        <p:txBody>
          <a:bodyPr wrap="square" lIns="0" tIns="0" rIns="0" bIns="0" rtlCol="0">
            <a:noAutofit/>
          </a:bodyPr>
          <a:lstStyle/>
          <a:p>
            <a:endParaRPr/>
          </a:p>
        </p:txBody>
      </p:sp>
      <p:sp>
        <p:nvSpPr>
          <p:cNvPr id="1127" name="object 1127"/>
          <p:cNvSpPr/>
          <p:nvPr/>
        </p:nvSpPr>
        <p:spPr>
          <a:xfrm>
            <a:off x="8675402" y="1446209"/>
            <a:ext cx="35714" cy="38573"/>
          </a:xfrm>
          <a:custGeom>
            <a:avLst/>
            <a:gdLst/>
            <a:ahLst/>
            <a:cxnLst/>
            <a:rect l="l" t="t" r="r" b="b"/>
            <a:pathLst>
              <a:path w="35714" h="38573">
                <a:moveTo>
                  <a:pt x="6249" y="10630"/>
                </a:moveTo>
                <a:lnTo>
                  <a:pt x="4166" y="5467"/>
                </a:lnTo>
                <a:lnTo>
                  <a:pt x="4166" y="3644"/>
                </a:lnTo>
                <a:lnTo>
                  <a:pt x="4761" y="2126"/>
                </a:lnTo>
                <a:lnTo>
                  <a:pt x="4166" y="607"/>
                </a:lnTo>
                <a:lnTo>
                  <a:pt x="4166" y="3340"/>
                </a:lnTo>
                <a:lnTo>
                  <a:pt x="4166" y="607"/>
                </a:lnTo>
                <a:lnTo>
                  <a:pt x="2678" y="0"/>
                </a:lnTo>
                <a:lnTo>
                  <a:pt x="1190" y="607"/>
                </a:lnTo>
                <a:lnTo>
                  <a:pt x="0" y="6074"/>
                </a:lnTo>
                <a:lnTo>
                  <a:pt x="2678" y="12452"/>
                </a:lnTo>
                <a:lnTo>
                  <a:pt x="1190" y="911"/>
                </a:lnTo>
                <a:lnTo>
                  <a:pt x="2678" y="12452"/>
                </a:lnTo>
                <a:lnTo>
                  <a:pt x="7440" y="19134"/>
                </a:lnTo>
                <a:lnTo>
                  <a:pt x="13392" y="26120"/>
                </a:lnTo>
                <a:lnTo>
                  <a:pt x="19642" y="32194"/>
                </a:lnTo>
                <a:lnTo>
                  <a:pt x="25892" y="36750"/>
                </a:lnTo>
                <a:lnTo>
                  <a:pt x="31249" y="38573"/>
                </a:lnTo>
                <a:lnTo>
                  <a:pt x="35714" y="35232"/>
                </a:lnTo>
                <a:lnTo>
                  <a:pt x="31547" y="34017"/>
                </a:lnTo>
                <a:lnTo>
                  <a:pt x="31249" y="34320"/>
                </a:lnTo>
                <a:lnTo>
                  <a:pt x="27678" y="33106"/>
                </a:lnTo>
                <a:lnTo>
                  <a:pt x="22618" y="29157"/>
                </a:lnTo>
                <a:lnTo>
                  <a:pt x="16368" y="23083"/>
                </a:lnTo>
                <a:lnTo>
                  <a:pt x="10416" y="16704"/>
                </a:lnTo>
                <a:lnTo>
                  <a:pt x="6249" y="10630"/>
                </a:lnTo>
                <a:close/>
              </a:path>
            </a:pathLst>
          </a:custGeom>
          <a:solidFill>
            <a:srgbClr val="000000"/>
          </a:solidFill>
        </p:spPr>
        <p:txBody>
          <a:bodyPr wrap="square" lIns="0" tIns="0" rIns="0" bIns="0" rtlCol="0">
            <a:noAutofit/>
          </a:bodyPr>
          <a:lstStyle/>
          <a:p>
            <a:endParaRPr/>
          </a:p>
        </p:txBody>
      </p:sp>
      <p:sp>
        <p:nvSpPr>
          <p:cNvPr id="1128" name="object 1128"/>
          <p:cNvSpPr/>
          <p:nvPr/>
        </p:nvSpPr>
        <p:spPr>
          <a:xfrm>
            <a:off x="8676594" y="1391842"/>
            <a:ext cx="45237" cy="57707"/>
          </a:xfrm>
          <a:custGeom>
            <a:avLst/>
            <a:gdLst/>
            <a:ahLst/>
            <a:cxnLst/>
            <a:rect l="l" t="t" r="r" b="b"/>
            <a:pathLst>
              <a:path w="45237" h="57707">
                <a:moveTo>
                  <a:pt x="44642" y="303"/>
                </a:moveTo>
                <a:lnTo>
                  <a:pt x="43154" y="0"/>
                </a:lnTo>
                <a:lnTo>
                  <a:pt x="41964" y="607"/>
                </a:lnTo>
                <a:lnTo>
                  <a:pt x="41964" y="3340"/>
                </a:lnTo>
                <a:lnTo>
                  <a:pt x="41964" y="607"/>
                </a:lnTo>
                <a:lnTo>
                  <a:pt x="0" y="55278"/>
                </a:lnTo>
                <a:lnTo>
                  <a:pt x="2976" y="57707"/>
                </a:lnTo>
                <a:lnTo>
                  <a:pt x="44940" y="3037"/>
                </a:lnTo>
                <a:lnTo>
                  <a:pt x="45237" y="1518"/>
                </a:lnTo>
                <a:lnTo>
                  <a:pt x="44656" y="332"/>
                </a:lnTo>
                <a:close/>
              </a:path>
            </a:pathLst>
          </a:custGeom>
          <a:solidFill>
            <a:srgbClr val="000000"/>
          </a:solidFill>
        </p:spPr>
        <p:txBody>
          <a:bodyPr wrap="square" lIns="0" tIns="0" rIns="0" bIns="0" rtlCol="0">
            <a:noAutofit/>
          </a:bodyPr>
          <a:lstStyle/>
          <a:p>
            <a:endParaRPr/>
          </a:p>
        </p:txBody>
      </p:sp>
      <p:sp>
        <p:nvSpPr>
          <p:cNvPr id="1129" name="object 1129"/>
          <p:cNvSpPr/>
          <p:nvPr/>
        </p:nvSpPr>
        <p:spPr>
          <a:xfrm>
            <a:off x="8718557" y="1392145"/>
            <a:ext cx="15476" cy="16097"/>
          </a:xfrm>
          <a:custGeom>
            <a:avLst/>
            <a:gdLst/>
            <a:ahLst/>
            <a:cxnLst/>
            <a:rect l="l" t="t" r="r" b="b"/>
            <a:pathLst>
              <a:path w="15476" h="16097">
                <a:moveTo>
                  <a:pt x="14880" y="12452"/>
                </a:moveTo>
                <a:lnTo>
                  <a:pt x="2976" y="0"/>
                </a:lnTo>
                <a:lnTo>
                  <a:pt x="0" y="3037"/>
                </a:lnTo>
                <a:lnTo>
                  <a:pt x="11904" y="15490"/>
                </a:lnTo>
                <a:lnTo>
                  <a:pt x="13392" y="16097"/>
                </a:lnTo>
                <a:lnTo>
                  <a:pt x="14880" y="15186"/>
                </a:lnTo>
                <a:lnTo>
                  <a:pt x="15367" y="14192"/>
                </a:lnTo>
                <a:lnTo>
                  <a:pt x="15476" y="13971"/>
                </a:lnTo>
                <a:lnTo>
                  <a:pt x="14880" y="12452"/>
                </a:lnTo>
                <a:lnTo>
                  <a:pt x="11309" y="13363"/>
                </a:lnTo>
                <a:lnTo>
                  <a:pt x="14880" y="12452"/>
                </a:lnTo>
                <a:close/>
              </a:path>
            </a:pathLst>
          </a:custGeom>
          <a:solidFill>
            <a:srgbClr val="000000"/>
          </a:solidFill>
        </p:spPr>
        <p:txBody>
          <a:bodyPr wrap="square" lIns="0" tIns="0" rIns="0" bIns="0" rtlCol="0">
            <a:noAutofit/>
          </a:bodyPr>
          <a:lstStyle/>
          <a:p>
            <a:endParaRPr/>
          </a:p>
        </p:txBody>
      </p:sp>
      <p:sp>
        <p:nvSpPr>
          <p:cNvPr id="1130" name="object 1130"/>
          <p:cNvSpPr/>
          <p:nvPr/>
        </p:nvSpPr>
        <p:spPr>
          <a:xfrm>
            <a:off x="8728974" y="1393056"/>
            <a:ext cx="45535" cy="57404"/>
          </a:xfrm>
          <a:custGeom>
            <a:avLst/>
            <a:gdLst/>
            <a:ahLst/>
            <a:cxnLst/>
            <a:rect l="l" t="t" r="r" b="b"/>
            <a:pathLst>
              <a:path w="45535" h="57404">
                <a:moveTo>
                  <a:pt x="45237" y="54366"/>
                </a:moveTo>
                <a:lnTo>
                  <a:pt x="2976" y="0"/>
                </a:lnTo>
                <a:lnTo>
                  <a:pt x="0" y="2429"/>
                </a:lnTo>
                <a:lnTo>
                  <a:pt x="42261" y="56796"/>
                </a:lnTo>
                <a:lnTo>
                  <a:pt x="43452" y="57404"/>
                </a:lnTo>
                <a:lnTo>
                  <a:pt x="44940" y="56796"/>
                </a:lnTo>
                <a:lnTo>
                  <a:pt x="45535" y="55885"/>
                </a:lnTo>
                <a:lnTo>
                  <a:pt x="45237" y="54366"/>
                </a:lnTo>
                <a:close/>
              </a:path>
            </a:pathLst>
          </a:custGeom>
          <a:solidFill>
            <a:srgbClr val="000000"/>
          </a:solidFill>
        </p:spPr>
        <p:txBody>
          <a:bodyPr wrap="square" lIns="0" tIns="0" rIns="0" bIns="0" rtlCol="0">
            <a:noAutofit/>
          </a:bodyPr>
          <a:lstStyle/>
          <a:p>
            <a:endParaRPr/>
          </a:p>
        </p:txBody>
      </p:sp>
      <p:sp>
        <p:nvSpPr>
          <p:cNvPr id="1131" name="object 1131"/>
          <p:cNvSpPr/>
          <p:nvPr/>
        </p:nvSpPr>
        <p:spPr>
          <a:xfrm>
            <a:off x="8739688" y="1447120"/>
            <a:ext cx="35714" cy="37965"/>
          </a:xfrm>
          <a:custGeom>
            <a:avLst/>
            <a:gdLst/>
            <a:ahLst/>
            <a:cxnLst/>
            <a:rect l="l" t="t" r="r" b="b"/>
            <a:pathLst>
              <a:path w="35714" h="37965">
                <a:moveTo>
                  <a:pt x="4464" y="33713"/>
                </a:moveTo>
                <a:lnTo>
                  <a:pt x="4166" y="33409"/>
                </a:lnTo>
                <a:lnTo>
                  <a:pt x="3273" y="32194"/>
                </a:lnTo>
                <a:lnTo>
                  <a:pt x="1785" y="31891"/>
                </a:lnTo>
                <a:lnTo>
                  <a:pt x="297" y="32802"/>
                </a:lnTo>
                <a:lnTo>
                  <a:pt x="0" y="34624"/>
                </a:lnTo>
                <a:lnTo>
                  <a:pt x="4464" y="37965"/>
                </a:lnTo>
                <a:lnTo>
                  <a:pt x="9821" y="36143"/>
                </a:lnTo>
                <a:lnTo>
                  <a:pt x="15773" y="31891"/>
                </a:lnTo>
                <a:lnTo>
                  <a:pt x="22321" y="25816"/>
                </a:lnTo>
                <a:lnTo>
                  <a:pt x="28273" y="18830"/>
                </a:lnTo>
                <a:lnTo>
                  <a:pt x="32737" y="12149"/>
                </a:lnTo>
                <a:lnTo>
                  <a:pt x="35714" y="6074"/>
                </a:lnTo>
                <a:lnTo>
                  <a:pt x="34523" y="0"/>
                </a:lnTo>
                <a:lnTo>
                  <a:pt x="31547" y="3037"/>
                </a:lnTo>
                <a:lnTo>
                  <a:pt x="31547" y="4859"/>
                </a:lnTo>
                <a:lnTo>
                  <a:pt x="29166" y="9719"/>
                </a:lnTo>
                <a:lnTo>
                  <a:pt x="24702" y="16401"/>
                </a:lnTo>
                <a:lnTo>
                  <a:pt x="19345" y="22779"/>
                </a:lnTo>
                <a:lnTo>
                  <a:pt x="13392" y="28853"/>
                </a:lnTo>
                <a:lnTo>
                  <a:pt x="8035" y="32498"/>
                </a:lnTo>
                <a:lnTo>
                  <a:pt x="4464" y="33713"/>
                </a:lnTo>
                <a:close/>
              </a:path>
            </a:pathLst>
          </a:custGeom>
          <a:solidFill>
            <a:srgbClr val="000000"/>
          </a:solidFill>
        </p:spPr>
        <p:txBody>
          <a:bodyPr wrap="square" lIns="0" tIns="0" rIns="0" bIns="0" rtlCol="0">
            <a:noAutofit/>
          </a:bodyPr>
          <a:lstStyle/>
          <a:p>
            <a:endParaRPr/>
          </a:p>
        </p:txBody>
      </p:sp>
      <p:sp>
        <p:nvSpPr>
          <p:cNvPr id="1132" name="object 1132"/>
          <p:cNvSpPr/>
          <p:nvPr/>
        </p:nvSpPr>
        <p:spPr>
          <a:xfrm>
            <a:off x="8716772" y="1404293"/>
            <a:ext cx="27083" cy="77450"/>
          </a:xfrm>
          <a:custGeom>
            <a:avLst/>
            <a:gdLst/>
            <a:ahLst/>
            <a:cxnLst/>
            <a:rect l="l" t="t" r="r" b="b"/>
            <a:pathLst>
              <a:path w="27083" h="77450">
                <a:moveTo>
                  <a:pt x="4166" y="1518"/>
                </a:moveTo>
                <a:lnTo>
                  <a:pt x="3273" y="303"/>
                </a:lnTo>
                <a:lnTo>
                  <a:pt x="1785" y="0"/>
                </a:lnTo>
                <a:lnTo>
                  <a:pt x="554" y="754"/>
                </a:lnTo>
                <a:lnTo>
                  <a:pt x="297" y="911"/>
                </a:lnTo>
                <a:lnTo>
                  <a:pt x="0" y="2733"/>
                </a:lnTo>
                <a:lnTo>
                  <a:pt x="22916" y="77450"/>
                </a:lnTo>
                <a:lnTo>
                  <a:pt x="3571" y="3644"/>
                </a:lnTo>
                <a:lnTo>
                  <a:pt x="4166" y="1518"/>
                </a:lnTo>
                <a:close/>
              </a:path>
              <a:path w="27083" h="77450">
                <a:moveTo>
                  <a:pt x="4166" y="1518"/>
                </a:moveTo>
                <a:lnTo>
                  <a:pt x="3571" y="3644"/>
                </a:lnTo>
                <a:lnTo>
                  <a:pt x="22916" y="77450"/>
                </a:lnTo>
                <a:lnTo>
                  <a:pt x="27083" y="76235"/>
                </a:lnTo>
                <a:lnTo>
                  <a:pt x="4166" y="1518"/>
                </a:lnTo>
                <a:close/>
              </a:path>
            </a:pathLst>
          </a:custGeom>
          <a:solidFill>
            <a:srgbClr val="000000"/>
          </a:solidFill>
        </p:spPr>
        <p:txBody>
          <a:bodyPr wrap="square" lIns="0" tIns="0" rIns="0" bIns="0" rtlCol="0">
            <a:noAutofit/>
          </a:bodyPr>
          <a:lstStyle/>
          <a:p>
            <a:endParaRPr/>
          </a:p>
        </p:txBody>
      </p:sp>
      <p:sp>
        <p:nvSpPr>
          <p:cNvPr id="1133" name="object 1133"/>
          <p:cNvSpPr/>
          <p:nvPr/>
        </p:nvSpPr>
        <p:spPr>
          <a:xfrm>
            <a:off x="8717367" y="1392145"/>
            <a:ext cx="14583" cy="15793"/>
          </a:xfrm>
          <a:custGeom>
            <a:avLst/>
            <a:gdLst/>
            <a:ahLst/>
            <a:cxnLst/>
            <a:rect l="l" t="t" r="r" b="b"/>
            <a:pathLst>
              <a:path w="14583" h="15793">
                <a:moveTo>
                  <a:pt x="14583" y="607"/>
                </a:moveTo>
                <a:lnTo>
                  <a:pt x="13095" y="0"/>
                </a:lnTo>
                <a:lnTo>
                  <a:pt x="11607" y="607"/>
                </a:lnTo>
                <a:lnTo>
                  <a:pt x="11607" y="3340"/>
                </a:lnTo>
                <a:lnTo>
                  <a:pt x="11607" y="607"/>
                </a:lnTo>
                <a:lnTo>
                  <a:pt x="0" y="12756"/>
                </a:lnTo>
                <a:lnTo>
                  <a:pt x="2976" y="15793"/>
                </a:lnTo>
                <a:lnTo>
                  <a:pt x="14583" y="3644"/>
                </a:lnTo>
                <a:lnTo>
                  <a:pt x="14583" y="607"/>
                </a:lnTo>
                <a:close/>
              </a:path>
            </a:pathLst>
          </a:custGeom>
          <a:solidFill>
            <a:srgbClr val="000000"/>
          </a:solidFill>
        </p:spPr>
        <p:txBody>
          <a:bodyPr wrap="square" lIns="0" tIns="0" rIns="0" bIns="0" rtlCol="0">
            <a:noAutofit/>
          </a:bodyPr>
          <a:lstStyle/>
          <a:p>
            <a:endParaRPr/>
          </a:p>
        </p:txBody>
      </p:sp>
      <p:sp>
        <p:nvSpPr>
          <p:cNvPr id="1134" name="object 1134"/>
          <p:cNvSpPr/>
          <p:nvPr/>
        </p:nvSpPr>
        <p:spPr>
          <a:xfrm>
            <a:off x="8731951" y="1392753"/>
            <a:ext cx="595" cy="3037"/>
          </a:xfrm>
          <a:custGeom>
            <a:avLst/>
            <a:gdLst/>
            <a:ahLst/>
            <a:cxnLst/>
            <a:rect l="l" t="t" r="r" b="b"/>
            <a:pathLst>
              <a:path w="595" h="3037">
                <a:moveTo>
                  <a:pt x="0" y="303"/>
                </a:moveTo>
                <a:lnTo>
                  <a:pt x="0" y="3037"/>
                </a:lnTo>
                <a:lnTo>
                  <a:pt x="595" y="1518"/>
                </a:lnTo>
                <a:lnTo>
                  <a:pt x="0" y="0"/>
                </a:lnTo>
                <a:lnTo>
                  <a:pt x="0" y="303"/>
                </a:lnTo>
                <a:close/>
              </a:path>
            </a:pathLst>
          </a:custGeom>
          <a:solidFill>
            <a:srgbClr val="000000"/>
          </a:solidFill>
        </p:spPr>
        <p:txBody>
          <a:bodyPr wrap="square" lIns="0" tIns="0" rIns="0" bIns="0" rtlCol="0">
            <a:noAutofit/>
          </a:bodyPr>
          <a:lstStyle/>
          <a:p>
            <a:endParaRPr/>
          </a:p>
        </p:txBody>
      </p:sp>
      <p:sp>
        <p:nvSpPr>
          <p:cNvPr id="1135" name="object 1135"/>
          <p:cNvSpPr/>
          <p:nvPr/>
        </p:nvSpPr>
        <p:spPr>
          <a:xfrm>
            <a:off x="8721236" y="1349320"/>
            <a:ext cx="52083" cy="44343"/>
          </a:xfrm>
          <a:custGeom>
            <a:avLst/>
            <a:gdLst/>
            <a:ahLst/>
            <a:cxnLst/>
            <a:rect l="l" t="t" r="r" b="b"/>
            <a:pathLst>
              <a:path w="52083" h="44343">
                <a:moveTo>
                  <a:pt x="51487" y="3340"/>
                </a:moveTo>
                <a:lnTo>
                  <a:pt x="52083" y="2126"/>
                </a:lnTo>
                <a:lnTo>
                  <a:pt x="51785" y="607"/>
                </a:lnTo>
                <a:lnTo>
                  <a:pt x="50595" y="0"/>
                </a:lnTo>
                <a:lnTo>
                  <a:pt x="49106" y="303"/>
                </a:lnTo>
                <a:lnTo>
                  <a:pt x="0" y="41306"/>
                </a:lnTo>
                <a:lnTo>
                  <a:pt x="2380" y="44343"/>
                </a:lnTo>
                <a:lnTo>
                  <a:pt x="51487" y="3340"/>
                </a:lnTo>
                <a:close/>
              </a:path>
            </a:pathLst>
          </a:custGeom>
          <a:solidFill>
            <a:srgbClr val="000000"/>
          </a:solidFill>
        </p:spPr>
        <p:txBody>
          <a:bodyPr wrap="square" lIns="0" tIns="0" rIns="0" bIns="0" rtlCol="0">
            <a:noAutofit/>
          </a:bodyPr>
          <a:lstStyle/>
          <a:p>
            <a:endParaRPr/>
          </a:p>
        </p:txBody>
      </p:sp>
      <p:sp>
        <p:nvSpPr>
          <p:cNvPr id="1136" name="object 1136"/>
          <p:cNvSpPr/>
          <p:nvPr/>
        </p:nvSpPr>
        <p:spPr>
          <a:xfrm>
            <a:off x="8781058" y="1400346"/>
            <a:ext cx="2083" cy="5467"/>
          </a:xfrm>
          <a:custGeom>
            <a:avLst/>
            <a:gdLst/>
            <a:ahLst/>
            <a:cxnLst/>
            <a:rect l="l" t="t" r="r" b="b"/>
            <a:pathLst>
              <a:path w="2083" h="5467">
                <a:moveTo>
                  <a:pt x="595" y="4859"/>
                </a:moveTo>
                <a:lnTo>
                  <a:pt x="2083" y="5467"/>
                </a:lnTo>
                <a:lnTo>
                  <a:pt x="1488" y="1518"/>
                </a:lnTo>
                <a:lnTo>
                  <a:pt x="2083" y="1214"/>
                </a:lnTo>
                <a:lnTo>
                  <a:pt x="2083" y="0"/>
                </a:lnTo>
                <a:lnTo>
                  <a:pt x="1516" y="1446"/>
                </a:lnTo>
                <a:lnTo>
                  <a:pt x="1785" y="1214"/>
                </a:lnTo>
                <a:lnTo>
                  <a:pt x="1516" y="1446"/>
                </a:lnTo>
                <a:lnTo>
                  <a:pt x="595" y="1822"/>
                </a:lnTo>
                <a:lnTo>
                  <a:pt x="0" y="3340"/>
                </a:lnTo>
                <a:lnTo>
                  <a:pt x="595" y="4859"/>
                </a:lnTo>
                <a:close/>
              </a:path>
            </a:pathLst>
          </a:custGeom>
          <a:solidFill>
            <a:srgbClr val="000000"/>
          </a:solidFill>
        </p:spPr>
        <p:txBody>
          <a:bodyPr wrap="square" lIns="0" tIns="0" rIns="0" bIns="0" rtlCol="0">
            <a:noAutofit/>
          </a:bodyPr>
          <a:lstStyle/>
          <a:p>
            <a:endParaRPr/>
          </a:p>
        </p:txBody>
      </p:sp>
      <p:sp>
        <p:nvSpPr>
          <p:cNvPr id="1137" name="object 1137"/>
          <p:cNvSpPr/>
          <p:nvPr/>
        </p:nvSpPr>
        <p:spPr>
          <a:xfrm>
            <a:off x="8770046" y="1348408"/>
            <a:ext cx="17559" cy="57404"/>
          </a:xfrm>
          <a:custGeom>
            <a:avLst/>
            <a:gdLst/>
            <a:ahLst/>
            <a:cxnLst/>
            <a:rect l="l" t="t" r="r" b="b"/>
            <a:pathLst>
              <a:path w="17559" h="57404">
                <a:moveTo>
                  <a:pt x="12499" y="53455"/>
                </a:moveTo>
                <a:lnTo>
                  <a:pt x="13095" y="57404"/>
                </a:lnTo>
                <a:lnTo>
                  <a:pt x="16071" y="55885"/>
                </a:lnTo>
                <a:lnTo>
                  <a:pt x="17261" y="53151"/>
                </a:lnTo>
                <a:lnTo>
                  <a:pt x="17559" y="49810"/>
                </a:lnTo>
                <a:lnTo>
                  <a:pt x="17559" y="46166"/>
                </a:lnTo>
                <a:lnTo>
                  <a:pt x="17261" y="41306"/>
                </a:lnTo>
                <a:lnTo>
                  <a:pt x="16666" y="36447"/>
                </a:lnTo>
                <a:lnTo>
                  <a:pt x="15773" y="31283"/>
                </a:lnTo>
                <a:lnTo>
                  <a:pt x="14583" y="25816"/>
                </a:lnTo>
                <a:lnTo>
                  <a:pt x="13392" y="20653"/>
                </a:lnTo>
                <a:lnTo>
                  <a:pt x="11904" y="15793"/>
                </a:lnTo>
                <a:lnTo>
                  <a:pt x="10714" y="11541"/>
                </a:lnTo>
                <a:lnTo>
                  <a:pt x="8928" y="7289"/>
                </a:lnTo>
                <a:lnTo>
                  <a:pt x="7440" y="3948"/>
                </a:lnTo>
                <a:lnTo>
                  <a:pt x="5654" y="1518"/>
                </a:lnTo>
                <a:lnTo>
                  <a:pt x="2976" y="0"/>
                </a:lnTo>
                <a:lnTo>
                  <a:pt x="0" y="1214"/>
                </a:lnTo>
                <a:lnTo>
                  <a:pt x="2976" y="4252"/>
                </a:lnTo>
                <a:lnTo>
                  <a:pt x="2380" y="4252"/>
                </a:lnTo>
                <a:lnTo>
                  <a:pt x="2678" y="4555"/>
                </a:lnTo>
                <a:lnTo>
                  <a:pt x="3869" y="6378"/>
                </a:lnTo>
                <a:lnTo>
                  <a:pt x="5357" y="9111"/>
                </a:lnTo>
                <a:lnTo>
                  <a:pt x="6547" y="12756"/>
                </a:lnTo>
                <a:lnTo>
                  <a:pt x="7738" y="17008"/>
                </a:lnTo>
                <a:lnTo>
                  <a:pt x="9226" y="21868"/>
                </a:lnTo>
                <a:lnTo>
                  <a:pt x="10416" y="27031"/>
                </a:lnTo>
                <a:lnTo>
                  <a:pt x="11607" y="31891"/>
                </a:lnTo>
                <a:lnTo>
                  <a:pt x="12499" y="37054"/>
                </a:lnTo>
                <a:lnTo>
                  <a:pt x="13095" y="41914"/>
                </a:lnTo>
                <a:lnTo>
                  <a:pt x="13392" y="46166"/>
                </a:lnTo>
                <a:lnTo>
                  <a:pt x="13392" y="49810"/>
                </a:lnTo>
                <a:lnTo>
                  <a:pt x="13095" y="51937"/>
                </a:lnTo>
                <a:lnTo>
                  <a:pt x="13095" y="53151"/>
                </a:lnTo>
                <a:lnTo>
                  <a:pt x="12499" y="53455"/>
                </a:lnTo>
                <a:close/>
              </a:path>
            </a:pathLst>
          </a:custGeom>
          <a:solidFill>
            <a:srgbClr val="000000"/>
          </a:solidFill>
        </p:spPr>
        <p:txBody>
          <a:bodyPr wrap="square" lIns="0" tIns="0" rIns="0" bIns="0" rtlCol="0">
            <a:noAutofit/>
          </a:bodyPr>
          <a:lstStyle/>
          <a:p>
            <a:endParaRPr/>
          </a:p>
        </p:txBody>
      </p:sp>
      <p:sp>
        <p:nvSpPr>
          <p:cNvPr id="1138" name="object 1138"/>
          <p:cNvSpPr/>
          <p:nvPr/>
        </p:nvSpPr>
        <p:spPr>
          <a:xfrm>
            <a:off x="8727189" y="1405812"/>
            <a:ext cx="56249" cy="8504"/>
          </a:xfrm>
          <a:custGeom>
            <a:avLst/>
            <a:gdLst/>
            <a:ahLst/>
            <a:cxnLst/>
            <a:rect l="l" t="t" r="r" b="b"/>
            <a:pathLst>
              <a:path w="56249" h="8504">
                <a:moveTo>
                  <a:pt x="1785" y="5770"/>
                </a:moveTo>
                <a:lnTo>
                  <a:pt x="0" y="8504"/>
                </a:lnTo>
                <a:lnTo>
                  <a:pt x="56249" y="0"/>
                </a:lnTo>
                <a:lnTo>
                  <a:pt x="1785" y="5770"/>
                </a:lnTo>
                <a:close/>
              </a:path>
            </a:pathLst>
          </a:custGeom>
          <a:solidFill>
            <a:srgbClr val="000000"/>
          </a:solidFill>
        </p:spPr>
        <p:txBody>
          <a:bodyPr wrap="square" lIns="0" tIns="0" rIns="0" bIns="0" rtlCol="0">
            <a:noAutofit/>
          </a:bodyPr>
          <a:lstStyle/>
          <a:p>
            <a:endParaRPr/>
          </a:p>
        </p:txBody>
      </p:sp>
      <p:sp>
        <p:nvSpPr>
          <p:cNvPr id="1139" name="object 1139"/>
          <p:cNvSpPr/>
          <p:nvPr/>
        </p:nvSpPr>
        <p:spPr>
          <a:xfrm>
            <a:off x="8724807" y="1401560"/>
            <a:ext cx="58630" cy="12756"/>
          </a:xfrm>
          <a:custGeom>
            <a:avLst/>
            <a:gdLst/>
            <a:ahLst/>
            <a:cxnLst/>
            <a:rect l="l" t="t" r="r" b="b"/>
            <a:pathLst>
              <a:path w="58630" h="12756">
                <a:moveTo>
                  <a:pt x="58630" y="4252"/>
                </a:moveTo>
                <a:lnTo>
                  <a:pt x="58035" y="0"/>
                </a:lnTo>
                <a:lnTo>
                  <a:pt x="1785" y="8504"/>
                </a:lnTo>
                <a:lnTo>
                  <a:pt x="297" y="9415"/>
                </a:lnTo>
                <a:lnTo>
                  <a:pt x="0" y="10934"/>
                </a:lnTo>
                <a:lnTo>
                  <a:pt x="420" y="11505"/>
                </a:lnTo>
                <a:lnTo>
                  <a:pt x="892" y="12149"/>
                </a:lnTo>
                <a:lnTo>
                  <a:pt x="2380" y="12756"/>
                </a:lnTo>
                <a:lnTo>
                  <a:pt x="4166" y="10022"/>
                </a:lnTo>
                <a:lnTo>
                  <a:pt x="58630" y="4252"/>
                </a:lnTo>
                <a:close/>
              </a:path>
            </a:pathLst>
          </a:custGeom>
          <a:solidFill>
            <a:srgbClr val="000000"/>
          </a:solidFill>
        </p:spPr>
        <p:txBody>
          <a:bodyPr wrap="square" lIns="0" tIns="0" rIns="0" bIns="0" rtlCol="0">
            <a:noAutofit/>
          </a:bodyPr>
          <a:lstStyle/>
          <a:p>
            <a:endParaRPr/>
          </a:p>
        </p:txBody>
      </p:sp>
      <p:sp>
        <p:nvSpPr>
          <p:cNvPr id="1140" name="object 1140"/>
          <p:cNvSpPr/>
          <p:nvPr/>
        </p:nvSpPr>
        <p:spPr>
          <a:xfrm>
            <a:off x="8720343" y="1390627"/>
            <a:ext cx="4464" cy="22171"/>
          </a:xfrm>
          <a:custGeom>
            <a:avLst/>
            <a:gdLst/>
            <a:ahLst/>
            <a:cxnLst/>
            <a:rect l="l" t="t" r="r" b="b"/>
            <a:pathLst>
              <a:path w="4464" h="22171">
                <a:moveTo>
                  <a:pt x="892" y="0"/>
                </a:moveTo>
                <a:lnTo>
                  <a:pt x="297" y="303"/>
                </a:lnTo>
                <a:lnTo>
                  <a:pt x="0" y="2126"/>
                </a:lnTo>
                <a:lnTo>
                  <a:pt x="4464" y="22171"/>
                </a:lnTo>
                <a:lnTo>
                  <a:pt x="892" y="0"/>
                </a:lnTo>
                <a:close/>
              </a:path>
            </a:pathLst>
          </a:custGeom>
          <a:solidFill>
            <a:srgbClr val="000000"/>
          </a:solidFill>
        </p:spPr>
        <p:txBody>
          <a:bodyPr wrap="square" lIns="0" tIns="0" rIns="0" bIns="0" rtlCol="0">
            <a:noAutofit/>
          </a:bodyPr>
          <a:lstStyle/>
          <a:p>
            <a:endParaRPr/>
          </a:p>
        </p:txBody>
      </p:sp>
      <p:sp>
        <p:nvSpPr>
          <p:cNvPr id="1141" name="object 1141"/>
          <p:cNvSpPr/>
          <p:nvPr/>
        </p:nvSpPr>
        <p:spPr>
          <a:xfrm>
            <a:off x="8722128" y="1390018"/>
            <a:ext cx="1488" cy="3644"/>
          </a:xfrm>
          <a:custGeom>
            <a:avLst/>
            <a:gdLst/>
            <a:ahLst/>
            <a:cxnLst/>
            <a:rect l="l" t="t" r="r" b="b"/>
            <a:pathLst>
              <a:path w="1488" h="3644">
                <a:moveTo>
                  <a:pt x="1488" y="3644"/>
                </a:moveTo>
                <a:lnTo>
                  <a:pt x="1488" y="303"/>
                </a:lnTo>
                <a:lnTo>
                  <a:pt x="0" y="0"/>
                </a:lnTo>
                <a:lnTo>
                  <a:pt x="1488" y="3644"/>
                </a:lnTo>
                <a:close/>
              </a:path>
            </a:pathLst>
          </a:custGeom>
          <a:solidFill>
            <a:srgbClr val="000000"/>
          </a:solidFill>
        </p:spPr>
        <p:txBody>
          <a:bodyPr wrap="square" lIns="0" tIns="0" rIns="0" bIns="0" rtlCol="0">
            <a:noAutofit/>
          </a:bodyPr>
          <a:lstStyle/>
          <a:p>
            <a:endParaRPr/>
          </a:p>
        </p:txBody>
      </p:sp>
      <p:sp>
        <p:nvSpPr>
          <p:cNvPr id="1142" name="object 1142"/>
          <p:cNvSpPr/>
          <p:nvPr/>
        </p:nvSpPr>
        <p:spPr>
          <a:xfrm>
            <a:off x="8720641" y="1390019"/>
            <a:ext cx="8333" cy="22779"/>
          </a:xfrm>
          <a:custGeom>
            <a:avLst/>
            <a:gdLst/>
            <a:ahLst/>
            <a:cxnLst/>
            <a:rect l="l" t="t" r="r" b="b"/>
            <a:pathLst>
              <a:path w="8333" h="22779">
                <a:moveTo>
                  <a:pt x="0" y="911"/>
                </a:moveTo>
                <a:lnTo>
                  <a:pt x="595" y="607"/>
                </a:lnTo>
                <a:lnTo>
                  <a:pt x="4166" y="22779"/>
                </a:lnTo>
                <a:lnTo>
                  <a:pt x="8333" y="21564"/>
                </a:lnTo>
                <a:lnTo>
                  <a:pt x="3869" y="1518"/>
                </a:lnTo>
                <a:lnTo>
                  <a:pt x="2976" y="303"/>
                </a:lnTo>
                <a:lnTo>
                  <a:pt x="2976" y="3644"/>
                </a:lnTo>
                <a:lnTo>
                  <a:pt x="1488" y="0"/>
                </a:lnTo>
                <a:lnTo>
                  <a:pt x="0" y="911"/>
                </a:lnTo>
                <a:close/>
              </a:path>
            </a:pathLst>
          </a:custGeom>
          <a:solidFill>
            <a:srgbClr val="000000"/>
          </a:solidFill>
        </p:spPr>
        <p:txBody>
          <a:bodyPr wrap="square" lIns="0" tIns="0" rIns="0" bIns="0" rtlCol="0">
            <a:noAutofit/>
          </a:bodyPr>
          <a:lstStyle/>
          <a:p>
            <a:endParaRPr/>
          </a:p>
        </p:txBody>
      </p:sp>
      <p:sp>
        <p:nvSpPr>
          <p:cNvPr id="1143" name="object 1143"/>
          <p:cNvSpPr/>
          <p:nvPr/>
        </p:nvSpPr>
        <p:spPr>
          <a:xfrm>
            <a:off x="8704570" y="1320770"/>
            <a:ext cx="16071" cy="82613"/>
          </a:xfrm>
          <a:custGeom>
            <a:avLst/>
            <a:gdLst/>
            <a:ahLst/>
            <a:cxnLst/>
            <a:rect l="l" t="t" r="r" b="b"/>
            <a:pathLst>
              <a:path w="16071" h="82613">
                <a:moveTo>
                  <a:pt x="0" y="2429"/>
                </a:moveTo>
                <a:lnTo>
                  <a:pt x="11904" y="82613"/>
                </a:lnTo>
                <a:lnTo>
                  <a:pt x="16071" y="82005"/>
                </a:lnTo>
                <a:lnTo>
                  <a:pt x="4166" y="1822"/>
                </a:lnTo>
                <a:lnTo>
                  <a:pt x="3273" y="303"/>
                </a:lnTo>
                <a:lnTo>
                  <a:pt x="1785" y="0"/>
                </a:lnTo>
                <a:lnTo>
                  <a:pt x="595" y="911"/>
                </a:lnTo>
                <a:lnTo>
                  <a:pt x="0" y="2429"/>
                </a:lnTo>
                <a:close/>
              </a:path>
            </a:pathLst>
          </a:custGeom>
          <a:solidFill>
            <a:srgbClr val="000000"/>
          </a:solidFill>
        </p:spPr>
        <p:txBody>
          <a:bodyPr wrap="square" lIns="0" tIns="0" rIns="0" bIns="0" rtlCol="0">
            <a:noAutofit/>
          </a:bodyPr>
          <a:lstStyle/>
          <a:p>
            <a:endParaRPr/>
          </a:p>
        </p:txBody>
      </p:sp>
      <p:sp>
        <p:nvSpPr>
          <p:cNvPr id="1144" name="object 1144"/>
          <p:cNvSpPr/>
          <p:nvPr/>
        </p:nvSpPr>
        <p:spPr>
          <a:xfrm>
            <a:off x="8704570" y="1312873"/>
            <a:ext cx="42559" cy="12149"/>
          </a:xfrm>
          <a:custGeom>
            <a:avLst/>
            <a:gdLst/>
            <a:ahLst/>
            <a:cxnLst/>
            <a:rect l="l" t="t" r="r" b="b"/>
            <a:pathLst>
              <a:path w="42559" h="12149">
                <a:moveTo>
                  <a:pt x="4166" y="9719"/>
                </a:moveTo>
                <a:lnTo>
                  <a:pt x="4761" y="8200"/>
                </a:lnTo>
                <a:lnTo>
                  <a:pt x="8333" y="6074"/>
                </a:lnTo>
                <a:lnTo>
                  <a:pt x="14285" y="4555"/>
                </a:lnTo>
                <a:lnTo>
                  <a:pt x="21428" y="4252"/>
                </a:lnTo>
                <a:lnTo>
                  <a:pt x="28273" y="4555"/>
                </a:lnTo>
                <a:lnTo>
                  <a:pt x="34226" y="6074"/>
                </a:lnTo>
                <a:lnTo>
                  <a:pt x="37797" y="8200"/>
                </a:lnTo>
                <a:lnTo>
                  <a:pt x="38392" y="9719"/>
                </a:lnTo>
                <a:lnTo>
                  <a:pt x="38987" y="11237"/>
                </a:lnTo>
                <a:lnTo>
                  <a:pt x="40178" y="12149"/>
                </a:lnTo>
                <a:lnTo>
                  <a:pt x="41666" y="11845"/>
                </a:lnTo>
                <a:lnTo>
                  <a:pt x="42559" y="10326"/>
                </a:lnTo>
                <a:lnTo>
                  <a:pt x="40773" y="5163"/>
                </a:lnTo>
                <a:lnTo>
                  <a:pt x="36011" y="1822"/>
                </a:lnTo>
                <a:lnTo>
                  <a:pt x="28868" y="303"/>
                </a:lnTo>
                <a:lnTo>
                  <a:pt x="21428" y="0"/>
                </a:lnTo>
                <a:lnTo>
                  <a:pt x="13690" y="303"/>
                </a:lnTo>
                <a:lnTo>
                  <a:pt x="6547" y="1822"/>
                </a:lnTo>
                <a:lnTo>
                  <a:pt x="1785" y="5163"/>
                </a:lnTo>
                <a:lnTo>
                  <a:pt x="0" y="10326"/>
                </a:lnTo>
                <a:lnTo>
                  <a:pt x="4166" y="9719"/>
                </a:lnTo>
                <a:close/>
              </a:path>
            </a:pathLst>
          </a:custGeom>
          <a:solidFill>
            <a:srgbClr val="000000"/>
          </a:solidFill>
        </p:spPr>
        <p:txBody>
          <a:bodyPr wrap="square" lIns="0" tIns="0" rIns="0" bIns="0" rtlCol="0">
            <a:noAutofit/>
          </a:bodyPr>
          <a:lstStyle/>
          <a:p>
            <a:endParaRPr/>
          </a:p>
        </p:txBody>
      </p:sp>
      <p:sp>
        <p:nvSpPr>
          <p:cNvPr id="1145" name="object 1145"/>
          <p:cNvSpPr/>
          <p:nvPr/>
        </p:nvSpPr>
        <p:spPr>
          <a:xfrm>
            <a:off x="8731057" y="1322591"/>
            <a:ext cx="11904" cy="81702"/>
          </a:xfrm>
          <a:custGeom>
            <a:avLst/>
            <a:gdLst/>
            <a:ahLst/>
            <a:cxnLst/>
            <a:rect l="l" t="t" r="r" b="b"/>
            <a:pathLst>
              <a:path w="11904" h="81702">
                <a:moveTo>
                  <a:pt x="2083" y="78361"/>
                </a:moveTo>
                <a:lnTo>
                  <a:pt x="11904" y="0"/>
                </a:lnTo>
                <a:lnTo>
                  <a:pt x="0" y="80183"/>
                </a:lnTo>
                <a:lnTo>
                  <a:pt x="595" y="81702"/>
                </a:lnTo>
                <a:lnTo>
                  <a:pt x="2083" y="78361"/>
                </a:lnTo>
                <a:close/>
              </a:path>
            </a:pathLst>
          </a:custGeom>
          <a:solidFill>
            <a:srgbClr val="000000"/>
          </a:solidFill>
        </p:spPr>
        <p:txBody>
          <a:bodyPr wrap="square" lIns="0" tIns="0" rIns="0" bIns="0" rtlCol="0">
            <a:noAutofit/>
          </a:bodyPr>
          <a:lstStyle/>
          <a:p>
            <a:endParaRPr/>
          </a:p>
        </p:txBody>
      </p:sp>
      <p:sp>
        <p:nvSpPr>
          <p:cNvPr id="1146" name="object 1146"/>
          <p:cNvSpPr/>
          <p:nvPr/>
        </p:nvSpPr>
        <p:spPr>
          <a:xfrm>
            <a:off x="8731652" y="1322592"/>
            <a:ext cx="15476" cy="82613"/>
          </a:xfrm>
          <a:custGeom>
            <a:avLst/>
            <a:gdLst/>
            <a:ahLst/>
            <a:cxnLst/>
            <a:rect l="l" t="t" r="r" b="b"/>
            <a:pathLst>
              <a:path w="15476" h="82613">
                <a:moveTo>
                  <a:pt x="0" y="81702"/>
                </a:moveTo>
                <a:lnTo>
                  <a:pt x="1190" y="82613"/>
                </a:lnTo>
                <a:lnTo>
                  <a:pt x="1578" y="82534"/>
                </a:lnTo>
                <a:lnTo>
                  <a:pt x="2678" y="82309"/>
                </a:lnTo>
                <a:lnTo>
                  <a:pt x="3571" y="80791"/>
                </a:lnTo>
                <a:lnTo>
                  <a:pt x="15476" y="607"/>
                </a:lnTo>
                <a:lnTo>
                  <a:pt x="11309" y="0"/>
                </a:lnTo>
                <a:lnTo>
                  <a:pt x="1488" y="78361"/>
                </a:lnTo>
                <a:lnTo>
                  <a:pt x="0" y="81702"/>
                </a:lnTo>
                <a:close/>
              </a:path>
            </a:pathLst>
          </a:custGeom>
          <a:solidFill>
            <a:srgbClr val="000000"/>
          </a:solidFill>
        </p:spPr>
        <p:txBody>
          <a:bodyPr wrap="square" lIns="0" tIns="0" rIns="0" bIns="0" rtlCol="0">
            <a:noAutofit/>
          </a:bodyPr>
          <a:lstStyle/>
          <a:p>
            <a:endParaRPr/>
          </a:p>
        </p:txBody>
      </p:sp>
      <p:sp>
        <p:nvSpPr>
          <p:cNvPr id="1147" name="object 1147"/>
          <p:cNvSpPr/>
          <p:nvPr/>
        </p:nvSpPr>
        <p:spPr>
          <a:xfrm>
            <a:off x="8718558" y="1402776"/>
            <a:ext cx="14583" cy="2429"/>
          </a:xfrm>
          <a:custGeom>
            <a:avLst/>
            <a:gdLst/>
            <a:ahLst/>
            <a:cxnLst/>
            <a:rect l="l" t="t" r="r" b="b"/>
            <a:pathLst>
              <a:path w="14583" h="2429">
                <a:moveTo>
                  <a:pt x="2083" y="0"/>
                </a:moveTo>
                <a:lnTo>
                  <a:pt x="0" y="2429"/>
                </a:lnTo>
                <a:lnTo>
                  <a:pt x="14583" y="2429"/>
                </a:lnTo>
                <a:lnTo>
                  <a:pt x="2083" y="0"/>
                </a:lnTo>
                <a:close/>
              </a:path>
            </a:pathLst>
          </a:custGeom>
          <a:solidFill>
            <a:srgbClr val="000000"/>
          </a:solidFill>
        </p:spPr>
        <p:txBody>
          <a:bodyPr wrap="square" lIns="0" tIns="0" rIns="0" bIns="0" rtlCol="0">
            <a:noAutofit/>
          </a:bodyPr>
          <a:lstStyle/>
          <a:p>
            <a:endParaRPr/>
          </a:p>
        </p:txBody>
      </p:sp>
      <p:sp>
        <p:nvSpPr>
          <p:cNvPr id="1148" name="object 1148"/>
          <p:cNvSpPr/>
          <p:nvPr/>
        </p:nvSpPr>
        <p:spPr>
          <a:xfrm>
            <a:off x="8716474" y="1400952"/>
            <a:ext cx="16666" cy="4252"/>
          </a:xfrm>
          <a:custGeom>
            <a:avLst/>
            <a:gdLst/>
            <a:ahLst/>
            <a:cxnLst/>
            <a:rect l="l" t="t" r="r" b="b"/>
            <a:pathLst>
              <a:path w="16666" h="4252">
                <a:moveTo>
                  <a:pt x="0" y="2126"/>
                </a:moveTo>
                <a:lnTo>
                  <a:pt x="181" y="2588"/>
                </a:lnTo>
                <a:lnTo>
                  <a:pt x="595" y="3644"/>
                </a:lnTo>
                <a:lnTo>
                  <a:pt x="2083" y="4252"/>
                </a:lnTo>
                <a:lnTo>
                  <a:pt x="4166" y="1822"/>
                </a:lnTo>
                <a:lnTo>
                  <a:pt x="16666" y="4252"/>
                </a:lnTo>
                <a:lnTo>
                  <a:pt x="16666" y="0"/>
                </a:lnTo>
                <a:lnTo>
                  <a:pt x="2083" y="0"/>
                </a:lnTo>
                <a:lnTo>
                  <a:pt x="595" y="607"/>
                </a:lnTo>
                <a:lnTo>
                  <a:pt x="0" y="2126"/>
                </a:lnTo>
                <a:close/>
              </a:path>
            </a:pathLst>
          </a:custGeom>
          <a:solidFill>
            <a:srgbClr val="000000"/>
          </a:solidFill>
        </p:spPr>
        <p:txBody>
          <a:bodyPr wrap="square" lIns="0" tIns="0" rIns="0" bIns="0" rtlCol="0">
            <a:noAutofit/>
          </a:bodyPr>
          <a:lstStyle/>
          <a:p>
            <a:endParaRPr/>
          </a:p>
        </p:txBody>
      </p:sp>
      <p:sp>
        <p:nvSpPr>
          <p:cNvPr id="1149" name="object 1149"/>
          <p:cNvSpPr/>
          <p:nvPr/>
        </p:nvSpPr>
        <p:spPr>
          <a:xfrm>
            <a:off x="8665878" y="1400952"/>
            <a:ext cx="58928" cy="12756"/>
          </a:xfrm>
          <a:custGeom>
            <a:avLst/>
            <a:gdLst/>
            <a:ahLst/>
            <a:cxnLst/>
            <a:rect l="l" t="t" r="r" b="b"/>
            <a:pathLst>
              <a:path w="58928" h="12756">
                <a:moveTo>
                  <a:pt x="0" y="1822"/>
                </a:moveTo>
                <a:lnTo>
                  <a:pt x="297" y="3340"/>
                </a:lnTo>
                <a:lnTo>
                  <a:pt x="1785" y="4252"/>
                </a:lnTo>
                <a:lnTo>
                  <a:pt x="2083" y="4252"/>
                </a:lnTo>
                <a:lnTo>
                  <a:pt x="1785" y="4252"/>
                </a:lnTo>
                <a:lnTo>
                  <a:pt x="58333" y="12756"/>
                </a:lnTo>
                <a:lnTo>
                  <a:pt x="58928" y="8504"/>
                </a:lnTo>
                <a:lnTo>
                  <a:pt x="2380" y="0"/>
                </a:lnTo>
                <a:lnTo>
                  <a:pt x="892" y="607"/>
                </a:lnTo>
                <a:lnTo>
                  <a:pt x="0" y="1822"/>
                </a:lnTo>
                <a:close/>
              </a:path>
            </a:pathLst>
          </a:custGeom>
          <a:solidFill>
            <a:srgbClr val="000000"/>
          </a:solidFill>
        </p:spPr>
        <p:txBody>
          <a:bodyPr wrap="square" lIns="0" tIns="0" rIns="0" bIns="0" rtlCol="0">
            <a:noAutofit/>
          </a:bodyPr>
          <a:lstStyle/>
          <a:p>
            <a:endParaRPr/>
          </a:p>
        </p:txBody>
      </p:sp>
      <p:sp>
        <p:nvSpPr>
          <p:cNvPr id="1150" name="object 1150"/>
          <p:cNvSpPr/>
          <p:nvPr/>
        </p:nvSpPr>
        <p:spPr>
          <a:xfrm>
            <a:off x="8678378" y="1347800"/>
            <a:ext cx="2976" cy="4252"/>
          </a:xfrm>
          <a:custGeom>
            <a:avLst/>
            <a:gdLst/>
            <a:ahLst/>
            <a:cxnLst/>
            <a:rect l="l" t="t" r="r" b="b"/>
            <a:pathLst>
              <a:path w="2976" h="4252">
                <a:moveTo>
                  <a:pt x="2678" y="1214"/>
                </a:moveTo>
                <a:lnTo>
                  <a:pt x="2976" y="1214"/>
                </a:lnTo>
                <a:lnTo>
                  <a:pt x="0" y="0"/>
                </a:lnTo>
                <a:lnTo>
                  <a:pt x="297" y="4252"/>
                </a:lnTo>
                <a:lnTo>
                  <a:pt x="595" y="4252"/>
                </a:lnTo>
                <a:lnTo>
                  <a:pt x="2678" y="1214"/>
                </a:lnTo>
                <a:close/>
              </a:path>
            </a:pathLst>
          </a:custGeom>
          <a:solidFill>
            <a:srgbClr val="000000"/>
          </a:solidFill>
        </p:spPr>
        <p:txBody>
          <a:bodyPr wrap="square" lIns="0" tIns="0" rIns="0" bIns="0" rtlCol="0">
            <a:noAutofit/>
          </a:bodyPr>
          <a:lstStyle/>
          <a:p>
            <a:endParaRPr/>
          </a:p>
        </p:txBody>
      </p:sp>
      <p:sp>
        <p:nvSpPr>
          <p:cNvPr id="1151" name="object 1151"/>
          <p:cNvSpPr/>
          <p:nvPr/>
        </p:nvSpPr>
        <p:spPr>
          <a:xfrm>
            <a:off x="8663795" y="1347800"/>
            <a:ext cx="15008" cy="57404"/>
          </a:xfrm>
          <a:custGeom>
            <a:avLst/>
            <a:gdLst/>
            <a:ahLst/>
            <a:cxnLst/>
            <a:rect l="l" t="t" r="r" b="b"/>
            <a:pathLst>
              <a:path w="15008" h="57404">
                <a:moveTo>
                  <a:pt x="297" y="41306"/>
                </a:moveTo>
                <a:lnTo>
                  <a:pt x="0" y="46166"/>
                </a:lnTo>
                <a:lnTo>
                  <a:pt x="0" y="49810"/>
                </a:lnTo>
                <a:lnTo>
                  <a:pt x="297" y="52848"/>
                </a:lnTo>
                <a:lnTo>
                  <a:pt x="1190" y="55885"/>
                </a:lnTo>
                <a:lnTo>
                  <a:pt x="4166" y="57404"/>
                </a:lnTo>
                <a:lnTo>
                  <a:pt x="4166" y="53151"/>
                </a:lnTo>
                <a:lnTo>
                  <a:pt x="4761" y="53455"/>
                </a:lnTo>
                <a:lnTo>
                  <a:pt x="4464" y="52240"/>
                </a:lnTo>
                <a:lnTo>
                  <a:pt x="4166" y="49810"/>
                </a:lnTo>
                <a:lnTo>
                  <a:pt x="4166" y="46166"/>
                </a:lnTo>
                <a:lnTo>
                  <a:pt x="4464" y="41914"/>
                </a:lnTo>
                <a:lnTo>
                  <a:pt x="5059" y="37054"/>
                </a:lnTo>
                <a:lnTo>
                  <a:pt x="5952" y="31891"/>
                </a:lnTo>
                <a:lnTo>
                  <a:pt x="7142" y="27031"/>
                </a:lnTo>
                <a:lnTo>
                  <a:pt x="8333" y="21868"/>
                </a:lnTo>
                <a:lnTo>
                  <a:pt x="9821" y="17008"/>
                </a:lnTo>
                <a:lnTo>
                  <a:pt x="11011" y="12756"/>
                </a:lnTo>
                <a:lnTo>
                  <a:pt x="12202" y="9111"/>
                </a:lnTo>
                <a:lnTo>
                  <a:pt x="13690" y="6378"/>
                </a:lnTo>
                <a:lnTo>
                  <a:pt x="14880" y="4555"/>
                </a:lnTo>
                <a:lnTo>
                  <a:pt x="15008" y="4425"/>
                </a:lnTo>
                <a:lnTo>
                  <a:pt x="14583" y="4252"/>
                </a:lnTo>
                <a:lnTo>
                  <a:pt x="14583" y="0"/>
                </a:lnTo>
                <a:lnTo>
                  <a:pt x="11904" y="1518"/>
                </a:lnTo>
                <a:lnTo>
                  <a:pt x="10119" y="3948"/>
                </a:lnTo>
                <a:lnTo>
                  <a:pt x="8630" y="7289"/>
                </a:lnTo>
                <a:lnTo>
                  <a:pt x="6845" y="11541"/>
                </a:lnTo>
                <a:lnTo>
                  <a:pt x="5654" y="15793"/>
                </a:lnTo>
                <a:lnTo>
                  <a:pt x="4166" y="20653"/>
                </a:lnTo>
                <a:lnTo>
                  <a:pt x="2976" y="25816"/>
                </a:lnTo>
                <a:lnTo>
                  <a:pt x="1785" y="31283"/>
                </a:lnTo>
                <a:lnTo>
                  <a:pt x="892" y="36447"/>
                </a:lnTo>
                <a:lnTo>
                  <a:pt x="297" y="41306"/>
                </a:lnTo>
                <a:close/>
              </a:path>
            </a:pathLst>
          </a:custGeom>
          <a:solidFill>
            <a:srgbClr val="000000"/>
          </a:solidFill>
        </p:spPr>
        <p:txBody>
          <a:bodyPr wrap="square" lIns="0" tIns="0" rIns="0" bIns="0" rtlCol="0">
            <a:noAutofit/>
          </a:bodyPr>
          <a:lstStyle/>
          <a:p>
            <a:endParaRPr/>
          </a:p>
        </p:txBody>
      </p:sp>
      <p:sp>
        <p:nvSpPr>
          <p:cNvPr id="1152" name="object 1152"/>
          <p:cNvSpPr/>
          <p:nvPr/>
        </p:nvSpPr>
        <p:spPr>
          <a:xfrm>
            <a:off x="8678379" y="1347801"/>
            <a:ext cx="3571" cy="4859"/>
          </a:xfrm>
          <a:custGeom>
            <a:avLst/>
            <a:gdLst/>
            <a:ahLst/>
            <a:cxnLst/>
            <a:rect l="l" t="t" r="r" b="b"/>
            <a:pathLst>
              <a:path w="3571" h="4859">
                <a:moveTo>
                  <a:pt x="3571" y="2733"/>
                </a:moveTo>
                <a:lnTo>
                  <a:pt x="2976" y="1214"/>
                </a:lnTo>
                <a:lnTo>
                  <a:pt x="2678" y="1214"/>
                </a:lnTo>
                <a:lnTo>
                  <a:pt x="595" y="4252"/>
                </a:lnTo>
                <a:lnTo>
                  <a:pt x="297" y="4252"/>
                </a:lnTo>
                <a:lnTo>
                  <a:pt x="0" y="0"/>
                </a:lnTo>
                <a:lnTo>
                  <a:pt x="0" y="4252"/>
                </a:lnTo>
                <a:lnTo>
                  <a:pt x="425" y="4425"/>
                </a:lnTo>
                <a:lnTo>
                  <a:pt x="1488" y="4859"/>
                </a:lnTo>
                <a:lnTo>
                  <a:pt x="2976" y="3948"/>
                </a:lnTo>
                <a:lnTo>
                  <a:pt x="3571" y="2733"/>
                </a:lnTo>
                <a:close/>
              </a:path>
            </a:pathLst>
          </a:custGeom>
          <a:solidFill>
            <a:srgbClr val="000000"/>
          </a:solidFill>
        </p:spPr>
        <p:txBody>
          <a:bodyPr wrap="square" lIns="0" tIns="0" rIns="0" bIns="0" rtlCol="0">
            <a:noAutofit/>
          </a:bodyPr>
          <a:lstStyle/>
          <a:p>
            <a:endParaRPr/>
          </a:p>
        </p:txBody>
      </p:sp>
      <p:sp>
        <p:nvSpPr>
          <p:cNvPr id="1153" name="object 1153"/>
          <p:cNvSpPr/>
          <p:nvPr/>
        </p:nvSpPr>
        <p:spPr>
          <a:xfrm>
            <a:off x="8678677" y="1349016"/>
            <a:ext cx="52083" cy="44343"/>
          </a:xfrm>
          <a:custGeom>
            <a:avLst/>
            <a:gdLst/>
            <a:ahLst/>
            <a:cxnLst/>
            <a:rect l="l" t="t" r="r" b="b"/>
            <a:pathLst>
              <a:path w="52083" h="44343">
                <a:moveTo>
                  <a:pt x="51487" y="41002"/>
                </a:moveTo>
                <a:lnTo>
                  <a:pt x="2380" y="0"/>
                </a:lnTo>
                <a:lnTo>
                  <a:pt x="0" y="3037"/>
                </a:lnTo>
                <a:lnTo>
                  <a:pt x="49106" y="44040"/>
                </a:lnTo>
                <a:lnTo>
                  <a:pt x="50595" y="44343"/>
                </a:lnTo>
                <a:lnTo>
                  <a:pt x="51785" y="43736"/>
                </a:lnTo>
                <a:lnTo>
                  <a:pt x="52056" y="42355"/>
                </a:lnTo>
                <a:lnTo>
                  <a:pt x="52083" y="42217"/>
                </a:lnTo>
                <a:lnTo>
                  <a:pt x="51487" y="41002"/>
                </a:lnTo>
                <a:lnTo>
                  <a:pt x="48214" y="41914"/>
                </a:lnTo>
                <a:lnTo>
                  <a:pt x="51487" y="41002"/>
                </a:lnTo>
                <a:close/>
              </a:path>
            </a:pathLst>
          </a:custGeom>
          <a:solidFill>
            <a:srgbClr val="000000"/>
          </a:solidFill>
        </p:spPr>
        <p:txBody>
          <a:bodyPr wrap="square" lIns="0" tIns="0" rIns="0" bIns="0" rtlCol="0">
            <a:noAutofit/>
          </a:bodyPr>
          <a:lstStyle/>
          <a:p>
            <a:endParaRPr/>
          </a:p>
        </p:txBody>
      </p:sp>
      <p:sp>
        <p:nvSpPr>
          <p:cNvPr id="1154" name="object 1154"/>
          <p:cNvSpPr/>
          <p:nvPr/>
        </p:nvSpPr>
        <p:spPr>
          <a:xfrm>
            <a:off x="8724213" y="1390931"/>
            <a:ext cx="6845" cy="22779"/>
          </a:xfrm>
          <a:custGeom>
            <a:avLst/>
            <a:gdLst/>
            <a:ahLst/>
            <a:cxnLst/>
            <a:rect l="l" t="t" r="r" b="b"/>
            <a:pathLst>
              <a:path w="6845" h="22779">
                <a:moveTo>
                  <a:pt x="2380" y="21260"/>
                </a:moveTo>
                <a:lnTo>
                  <a:pt x="6845" y="1214"/>
                </a:lnTo>
                <a:lnTo>
                  <a:pt x="2678" y="0"/>
                </a:lnTo>
                <a:lnTo>
                  <a:pt x="595" y="18527"/>
                </a:lnTo>
                <a:lnTo>
                  <a:pt x="0" y="22779"/>
                </a:lnTo>
                <a:lnTo>
                  <a:pt x="1488" y="22475"/>
                </a:lnTo>
                <a:lnTo>
                  <a:pt x="2380" y="21260"/>
                </a:lnTo>
                <a:close/>
              </a:path>
            </a:pathLst>
          </a:custGeom>
          <a:solidFill>
            <a:srgbClr val="000000"/>
          </a:solidFill>
        </p:spPr>
        <p:txBody>
          <a:bodyPr wrap="square" lIns="0" tIns="0" rIns="0" bIns="0" rtlCol="0">
            <a:noAutofit/>
          </a:bodyPr>
          <a:lstStyle/>
          <a:p>
            <a:endParaRPr/>
          </a:p>
        </p:txBody>
      </p:sp>
      <p:sp>
        <p:nvSpPr>
          <p:cNvPr id="1155" name="object 1155"/>
          <p:cNvSpPr/>
          <p:nvPr/>
        </p:nvSpPr>
        <p:spPr>
          <a:xfrm>
            <a:off x="8722426" y="1390931"/>
            <a:ext cx="4464" cy="22779"/>
          </a:xfrm>
          <a:custGeom>
            <a:avLst/>
            <a:gdLst/>
            <a:ahLst/>
            <a:cxnLst/>
            <a:rect l="l" t="t" r="r" b="b"/>
            <a:pathLst>
              <a:path w="4464" h="22779">
                <a:moveTo>
                  <a:pt x="2380" y="18527"/>
                </a:moveTo>
                <a:lnTo>
                  <a:pt x="4464" y="0"/>
                </a:lnTo>
                <a:lnTo>
                  <a:pt x="0" y="20045"/>
                </a:lnTo>
                <a:lnTo>
                  <a:pt x="297" y="21868"/>
                </a:lnTo>
                <a:lnTo>
                  <a:pt x="1785" y="22779"/>
                </a:lnTo>
                <a:lnTo>
                  <a:pt x="2380" y="18527"/>
                </a:lnTo>
                <a:close/>
              </a:path>
            </a:pathLst>
          </a:custGeom>
          <a:solidFill>
            <a:srgbClr val="000000"/>
          </a:solidFill>
        </p:spPr>
        <p:txBody>
          <a:bodyPr wrap="square" lIns="0" tIns="0" rIns="0" bIns="0" rtlCol="0">
            <a:noAutofit/>
          </a:bodyPr>
          <a:lstStyle/>
          <a:p>
            <a:endParaRPr/>
          </a:p>
        </p:txBody>
      </p:sp>
      <p:sp>
        <p:nvSpPr>
          <p:cNvPr id="1156" name="object 1156"/>
          <p:cNvSpPr/>
          <p:nvPr/>
        </p:nvSpPr>
        <p:spPr>
          <a:xfrm>
            <a:off x="8702188" y="1478707"/>
            <a:ext cx="8630" cy="11237"/>
          </a:xfrm>
          <a:custGeom>
            <a:avLst/>
            <a:gdLst/>
            <a:ahLst/>
            <a:cxnLst/>
            <a:rect l="l" t="t" r="r" b="b"/>
            <a:pathLst>
              <a:path w="8630" h="11237">
                <a:moveTo>
                  <a:pt x="0" y="10326"/>
                </a:moveTo>
                <a:lnTo>
                  <a:pt x="2380" y="11237"/>
                </a:lnTo>
                <a:lnTo>
                  <a:pt x="4761" y="10934"/>
                </a:lnTo>
                <a:lnTo>
                  <a:pt x="6547" y="9719"/>
                </a:lnTo>
                <a:lnTo>
                  <a:pt x="8035" y="8200"/>
                </a:lnTo>
                <a:lnTo>
                  <a:pt x="8630" y="6074"/>
                </a:lnTo>
                <a:lnTo>
                  <a:pt x="8630" y="3948"/>
                </a:lnTo>
                <a:lnTo>
                  <a:pt x="7738" y="1822"/>
                </a:lnTo>
                <a:lnTo>
                  <a:pt x="5952" y="0"/>
                </a:lnTo>
                <a:lnTo>
                  <a:pt x="0" y="10326"/>
                </a:lnTo>
                <a:close/>
              </a:path>
            </a:pathLst>
          </a:custGeom>
          <a:solidFill>
            <a:srgbClr val="FFFFFF"/>
          </a:solidFill>
        </p:spPr>
        <p:txBody>
          <a:bodyPr wrap="square" lIns="0" tIns="0" rIns="0" bIns="0" rtlCol="0">
            <a:noAutofit/>
          </a:bodyPr>
          <a:lstStyle/>
          <a:p>
            <a:endParaRPr/>
          </a:p>
        </p:txBody>
      </p:sp>
      <p:sp>
        <p:nvSpPr>
          <p:cNvPr id="1157" name="object 1157"/>
          <p:cNvSpPr/>
          <p:nvPr/>
        </p:nvSpPr>
        <p:spPr>
          <a:xfrm>
            <a:off x="8674212" y="1451372"/>
            <a:ext cx="33928" cy="37661"/>
          </a:xfrm>
          <a:custGeom>
            <a:avLst/>
            <a:gdLst/>
            <a:ahLst/>
            <a:cxnLst/>
            <a:rect l="l" t="t" r="r" b="b"/>
            <a:pathLst>
              <a:path w="33928" h="37661">
                <a:moveTo>
                  <a:pt x="892" y="9415"/>
                </a:moveTo>
                <a:lnTo>
                  <a:pt x="3869" y="13667"/>
                </a:lnTo>
                <a:lnTo>
                  <a:pt x="6547" y="17312"/>
                </a:lnTo>
                <a:lnTo>
                  <a:pt x="9821" y="21260"/>
                </a:lnTo>
                <a:lnTo>
                  <a:pt x="12797" y="24905"/>
                </a:lnTo>
                <a:lnTo>
                  <a:pt x="16368" y="28550"/>
                </a:lnTo>
                <a:lnTo>
                  <a:pt x="19940" y="31891"/>
                </a:lnTo>
                <a:lnTo>
                  <a:pt x="24107" y="34928"/>
                </a:lnTo>
                <a:lnTo>
                  <a:pt x="27976" y="37661"/>
                </a:lnTo>
                <a:lnTo>
                  <a:pt x="33928" y="27335"/>
                </a:lnTo>
                <a:lnTo>
                  <a:pt x="30654" y="25209"/>
                </a:lnTo>
                <a:lnTo>
                  <a:pt x="27678" y="22779"/>
                </a:lnTo>
                <a:lnTo>
                  <a:pt x="24702" y="20045"/>
                </a:lnTo>
                <a:lnTo>
                  <a:pt x="21726" y="17008"/>
                </a:lnTo>
                <a:lnTo>
                  <a:pt x="18749" y="13363"/>
                </a:lnTo>
                <a:lnTo>
                  <a:pt x="16071" y="10022"/>
                </a:lnTo>
                <a:lnTo>
                  <a:pt x="13392" y="6378"/>
                </a:lnTo>
                <a:lnTo>
                  <a:pt x="11309" y="3340"/>
                </a:lnTo>
                <a:lnTo>
                  <a:pt x="13392" y="6378"/>
                </a:lnTo>
                <a:lnTo>
                  <a:pt x="11011" y="2733"/>
                </a:lnTo>
                <a:lnTo>
                  <a:pt x="9226" y="911"/>
                </a:lnTo>
                <a:lnTo>
                  <a:pt x="7142" y="0"/>
                </a:lnTo>
                <a:lnTo>
                  <a:pt x="4761" y="0"/>
                </a:lnTo>
                <a:lnTo>
                  <a:pt x="2976" y="911"/>
                </a:lnTo>
                <a:lnTo>
                  <a:pt x="1190" y="2733"/>
                </a:lnTo>
                <a:lnTo>
                  <a:pt x="0" y="4555"/>
                </a:lnTo>
                <a:lnTo>
                  <a:pt x="0" y="6985"/>
                </a:lnTo>
                <a:lnTo>
                  <a:pt x="892" y="9415"/>
                </a:lnTo>
                <a:close/>
              </a:path>
            </a:pathLst>
          </a:custGeom>
          <a:solidFill>
            <a:srgbClr val="FFFFFF"/>
          </a:solidFill>
        </p:spPr>
        <p:txBody>
          <a:bodyPr wrap="square" lIns="0" tIns="0" rIns="0" bIns="0" rtlCol="0">
            <a:noAutofit/>
          </a:bodyPr>
          <a:lstStyle/>
          <a:p>
            <a:endParaRPr/>
          </a:p>
        </p:txBody>
      </p:sp>
      <p:sp>
        <p:nvSpPr>
          <p:cNvPr id="1158" name="object 1158"/>
          <p:cNvSpPr/>
          <p:nvPr/>
        </p:nvSpPr>
        <p:spPr>
          <a:xfrm>
            <a:off x="8673022" y="1445905"/>
            <a:ext cx="12499" cy="14275"/>
          </a:xfrm>
          <a:custGeom>
            <a:avLst/>
            <a:gdLst/>
            <a:ahLst/>
            <a:cxnLst/>
            <a:rect l="l" t="t" r="r" b="b"/>
            <a:pathLst>
              <a:path w="12499" h="14275">
                <a:moveTo>
                  <a:pt x="1488" y="2429"/>
                </a:moveTo>
                <a:lnTo>
                  <a:pt x="0" y="6681"/>
                </a:lnTo>
                <a:lnTo>
                  <a:pt x="297" y="9719"/>
                </a:lnTo>
                <a:lnTo>
                  <a:pt x="892" y="12149"/>
                </a:lnTo>
                <a:lnTo>
                  <a:pt x="1785" y="14275"/>
                </a:lnTo>
                <a:lnTo>
                  <a:pt x="11111" y="9516"/>
                </a:lnTo>
                <a:lnTo>
                  <a:pt x="12499" y="8808"/>
                </a:lnTo>
                <a:lnTo>
                  <a:pt x="11904" y="7896"/>
                </a:lnTo>
                <a:lnTo>
                  <a:pt x="11607" y="7289"/>
                </a:lnTo>
                <a:lnTo>
                  <a:pt x="12202" y="4859"/>
                </a:lnTo>
                <a:lnTo>
                  <a:pt x="11309" y="3037"/>
                </a:lnTo>
                <a:lnTo>
                  <a:pt x="9821" y="1214"/>
                </a:lnTo>
                <a:lnTo>
                  <a:pt x="7738" y="303"/>
                </a:lnTo>
                <a:lnTo>
                  <a:pt x="5654" y="0"/>
                </a:lnTo>
                <a:lnTo>
                  <a:pt x="3571" y="607"/>
                </a:lnTo>
                <a:lnTo>
                  <a:pt x="1488" y="2429"/>
                </a:lnTo>
                <a:close/>
              </a:path>
            </a:pathLst>
          </a:custGeom>
          <a:solidFill>
            <a:srgbClr val="FFFFFF"/>
          </a:solidFill>
        </p:spPr>
        <p:txBody>
          <a:bodyPr wrap="square" lIns="0" tIns="0" rIns="0" bIns="0" rtlCol="0">
            <a:noAutofit/>
          </a:bodyPr>
          <a:lstStyle/>
          <a:p>
            <a:endParaRPr/>
          </a:p>
        </p:txBody>
      </p:sp>
      <p:sp>
        <p:nvSpPr>
          <p:cNvPr id="1159" name="object 1159"/>
          <p:cNvSpPr/>
          <p:nvPr/>
        </p:nvSpPr>
        <p:spPr>
          <a:xfrm>
            <a:off x="8684628" y="1450763"/>
            <a:ext cx="892" cy="3948"/>
          </a:xfrm>
          <a:custGeom>
            <a:avLst/>
            <a:gdLst/>
            <a:ahLst/>
            <a:cxnLst/>
            <a:rect l="l" t="t" r="r" b="b"/>
            <a:pathLst>
              <a:path w="892" h="3948">
                <a:moveTo>
                  <a:pt x="396" y="2834"/>
                </a:moveTo>
                <a:lnTo>
                  <a:pt x="595" y="2429"/>
                </a:lnTo>
                <a:lnTo>
                  <a:pt x="595" y="0"/>
                </a:lnTo>
                <a:lnTo>
                  <a:pt x="0" y="2429"/>
                </a:lnTo>
                <a:lnTo>
                  <a:pt x="297" y="3037"/>
                </a:lnTo>
                <a:lnTo>
                  <a:pt x="892" y="3948"/>
                </a:lnTo>
                <a:lnTo>
                  <a:pt x="595" y="3037"/>
                </a:lnTo>
                <a:lnTo>
                  <a:pt x="396" y="2834"/>
                </a:lnTo>
                <a:close/>
              </a:path>
            </a:pathLst>
          </a:custGeom>
          <a:solidFill>
            <a:srgbClr val="FFFFFF"/>
          </a:solidFill>
        </p:spPr>
        <p:txBody>
          <a:bodyPr wrap="square" lIns="0" tIns="0" rIns="0" bIns="0" rtlCol="0">
            <a:noAutofit/>
          </a:bodyPr>
          <a:lstStyle/>
          <a:p>
            <a:endParaRPr/>
          </a:p>
        </p:txBody>
      </p:sp>
      <p:sp>
        <p:nvSpPr>
          <p:cNvPr id="1160" name="object 1160"/>
          <p:cNvSpPr/>
          <p:nvPr/>
        </p:nvSpPr>
        <p:spPr>
          <a:xfrm>
            <a:off x="8674510" y="1395486"/>
            <a:ext cx="50297" cy="60137"/>
          </a:xfrm>
          <a:custGeom>
            <a:avLst/>
            <a:gdLst/>
            <a:ahLst/>
            <a:cxnLst/>
            <a:rect l="l" t="t" r="r" b="b"/>
            <a:pathLst>
              <a:path w="50297" h="60137">
                <a:moveTo>
                  <a:pt x="45535" y="3644"/>
                </a:moveTo>
                <a:lnTo>
                  <a:pt x="40773" y="0"/>
                </a:lnTo>
                <a:lnTo>
                  <a:pt x="0" y="52848"/>
                </a:lnTo>
                <a:lnTo>
                  <a:pt x="9523" y="60137"/>
                </a:lnTo>
                <a:lnTo>
                  <a:pt x="50297" y="7289"/>
                </a:lnTo>
                <a:lnTo>
                  <a:pt x="45535" y="3644"/>
                </a:lnTo>
                <a:close/>
              </a:path>
            </a:pathLst>
          </a:custGeom>
          <a:solidFill>
            <a:srgbClr val="FFFFFF"/>
          </a:solidFill>
        </p:spPr>
        <p:txBody>
          <a:bodyPr wrap="square" lIns="0" tIns="0" rIns="0" bIns="0" rtlCol="0">
            <a:noAutofit/>
          </a:bodyPr>
          <a:lstStyle/>
          <a:p>
            <a:endParaRPr/>
          </a:p>
        </p:txBody>
      </p:sp>
      <p:sp>
        <p:nvSpPr>
          <p:cNvPr id="1161" name="object 1161"/>
          <p:cNvSpPr/>
          <p:nvPr/>
        </p:nvSpPr>
        <p:spPr>
          <a:xfrm>
            <a:off x="8715283" y="1393057"/>
            <a:ext cx="10714" cy="9719"/>
          </a:xfrm>
          <a:custGeom>
            <a:avLst/>
            <a:gdLst/>
            <a:ahLst/>
            <a:cxnLst/>
            <a:rect l="l" t="t" r="r" b="b"/>
            <a:pathLst>
              <a:path w="10714" h="9719">
                <a:moveTo>
                  <a:pt x="9523" y="9719"/>
                </a:moveTo>
                <a:lnTo>
                  <a:pt x="10714" y="7289"/>
                </a:lnTo>
                <a:lnTo>
                  <a:pt x="10714" y="4859"/>
                </a:lnTo>
                <a:lnTo>
                  <a:pt x="9821" y="3037"/>
                </a:lnTo>
                <a:lnTo>
                  <a:pt x="8333" y="1214"/>
                </a:lnTo>
                <a:lnTo>
                  <a:pt x="6249" y="303"/>
                </a:lnTo>
                <a:lnTo>
                  <a:pt x="4166" y="0"/>
                </a:lnTo>
                <a:lnTo>
                  <a:pt x="2083" y="607"/>
                </a:lnTo>
                <a:lnTo>
                  <a:pt x="0" y="2429"/>
                </a:lnTo>
                <a:lnTo>
                  <a:pt x="9523" y="9719"/>
                </a:lnTo>
                <a:close/>
              </a:path>
            </a:pathLst>
          </a:custGeom>
          <a:solidFill>
            <a:srgbClr val="FFFFFF"/>
          </a:solidFill>
        </p:spPr>
        <p:txBody>
          <a:bodyPr wrap="square" lIns="0" tIns="0" rIns="0" bIns="0" rtlCol="0">
            <a:noAutofit/>
          </a:bodyPr>
          <a:lstStyle/>
          <a:p>
            <a:endParaRPr/>
          </a:p>
        </p:txBody>
      </p:sp>
      <p:sp>
        <p:nvSpPr>
          <p:cNvPr id="1162" name="object 1162"/>
          <p:cNvSpPr/>
          <p:nvPr/>
        </p:nvSpPr>
        <p:spPr>
          <a:xfrm>
            <a:off x="8766772" y="1451371"/>
            <a:ext cx="11011" cy="8808"/>
          </a:xfrm>
          <a:custGeom>
            <a:avLst/>
            <a:gdLst/>
            <a:ahLst/>
            <a:cxnLst/>
            <a:rect l="l" t="t" r="r" b="b"/>
            <a:pathLst>
              <a:path w="11011" h="8808">
                <a:moveTo>
                  <a:pt x="10119" y="8808"/>
                </a:moveTo>
                <a:lnTo>
                  <a:pt x="11011" y="6378"/>
                </a:lnTo>
                <a:lnTo>
                  <a:pt x="10714" y="3948"/>
                </a:lnTo>
                <a:lnTo>
                  <a:pt x="9523" y="2126"/>
                </a:lnTo>
                <a:lnTo>
                  <a:pt x="8035" y="607"/>
                </a:lnTo>
                <a:lnTo>
                  <a:pt x="5952" y="0"/>
                </a:lnTo>
                <a:lnTo>
                  <a:pt x="3869" y="0"/>
                </a:lnTo>
                <a:lnTo>
                  <a:pt x="1785" y="911"/>
                </a:lnTo>
                <a:lnTo>
                  <a:pt x="0" y="2733"/>
                </a:lnTo>
                <a:lnTo>
                  <a:pt x="10119" y="8808"/>
                </a:lnTo>
                <a:close/>
              </a:path>
            </a:pathLst>
          </a:custGeom>
          <a:solidFill>
            <a:srgbClr val="FFFFFF"/>
          </a:solidFill>
        </p:spPr>
        <p:txBody>
          <a:bodyPr wrap="square" lIns="0" tIns="0" rIns="0" bIns="0" rtlCol="0">
            <a:noAutofit/>
          </a:bodyPr>
          <a:lstStyle/>
          <a:p>
            <a:endParaRPr/>
          </a:p>
        </p:txBody>
      </p:sp>
      <p:sp>
        <p:nvSpPr>
          <p:cNvPr id="1163" name="object 1163"/>
          <p:cNvSpPr/>
          <p:nvPr/>
        </p:nvSpPr>
        <p:spPr>
          <a:xfrm>
            <a:off x="8740582" y="1454105"/>
            <a:ext cx="36309" cy="35535"/>
          </a:xfrm>
          <a:custGeom>
            <a:avLst/>
            <a:gdLst/>
            <a:ahLst/>
            <a:cxnLst/>
            <a:rect l="l" t="t" r="r" b="b"/>
            <a:pathLst>
              <a:path w="36309" h="35535">
                <a:moveTo>
                  <a:pt x="0" y="28246"/>
                </a:moveTo>
                <a:lnTo>
                  <a:pt x="0" y="30676"/>
                </a:lnTo>
                <a:lnTo>
                  <a:pt x="1190" y="32498"/>
                </a:lnTo>
                <a:lnTo>
                  <a:pt x="2678" y="34320"/>
                </a:lnTo>
                <a:lnTo>
                  <a:pt x="4464" y="35535"/>
                </a:lnTo>
                <a:lnTo>
                  <a:pt x="6845" y="35535"/>
                </a:lnTo>
                <a:lnTo>
                  <a:pt x="9226" y="34624"/>
                </a:lnTo>
                <a:lnTo>
                  <a:pt x="12797" y="31891"/>
                </a:lnTo>
                <a:lnTo>
                  <a:pt x="16368" y="29157"/>
                </a:lnTo>
                <a:lnTo>
                  <a:pt x="19940" y="26120"/>
                </a:lnTo>
                <a:lnTo>
                  <a:pt x="23511" y="22475"/>
                </a:lnTo>
                <a:lnTo>
                  <a:pt x="27083" y="18830"/>
                </a:lnTo>
                <a:lnTo>
                  <a:pt x="30357" y="15186"/>
                </a:lnTo>
                <a:lnTo>
                  <a:pt x="33333" y="10630"/>
                </a:lnTo>
                <a:lnTo>
                  <a:pt x="36309" y="6074"/>
                </a:lnTo>
                <a:lnTo>
                  <a:pt x="26190" y="0"/>
                </a:lnTo>
                <a:lnTo>
                  <a:pt x="23809" y="3948"/>
                </a:lnTo>
                <a:lnTo>
                  <a:pt x="20833" y="7289"/>
                </a:lnTo>
                <a:lnTo>
                  <a:pt x="18154" y="10934"/>
                </a:lnTo>
                <a:lnTo>
                  <a:pt x="15178" y="13971"/>
                </a:lnTo>
                <a:lnTo>
                  <a:pt x="12202" y="17008"/>
                </a:lnTo>
                <a:lnTo>
                  <a:pt x="9226" y="19438"/>
                </a:lnTo>
                <a:lnTo>
                  <a:pt x="5654" y="22171"/>
                </a:lnTo>
                <a:lnTo>
                  <a:pt x="3273" y="23994"/>
                </a:lnTo>
                <a:lnTo>
                  <a:pt x="5654" y="22171"/>
                </a:lnTo>
                <a:lnTo>
                  <a:pt x="2678" y="24298"/>
                </a:lnTo>
                <a:lnTo>
                  <a:pt x="892" y="26120"/>
                </a:lnTo>
                <a:lnTo>
                  <a:pt x="0" y="28246"/>
                </a:lnTo>
                <a:close/>
              </a:path>
            </a:pathLst>
          </a:custGeom>
          <a:solidFill>
            <a:srgbClr val="FFFFFF"/>
          </a:solidFill>
        </p:spPr>
        <p:txBody>
          <a:bodyPr wrap="square" lIns="0" tIns="0" rIns="0" bIns="0" rtlCol="0">
            <a:noAutofit/>
          </a:bodyPr>
          <a:lstStyle/>
          <a:p>
            <a:endParaRPr/>
          </a:p>
        </p:txBody>
      </p:sp>
      <p:sp>
        <p:nvSpPr>
          <p:cNvPr id="1164" name="object 1164"/>
          <p:cNvSpPr/>
          <p:nvPr/>
        </p:nvSpPr>
        <p:spPr>
          <a:xfrm>
            <a:off x="8736713" y="1485084"/>
            <a:ext cx="3869" cy="12452"/>
          </a:xfrm>
          <a:custGeom>
            <a:avLst/>
            <a:gdLst/>
            <a:ahLst/>
            <a:cxnLst/>
            <a:rect l="l" t="t" r="r" b="b"/>
            <a:pathLst>
              <a:path w="3869" h="12452">
                <a:moveTo>
                  <a:pt x="3869" y="4555"/>
                </a:moveTo>
                <a:lnTo>
                  <a:pt x="297" y="0"/>
                </a:lnTo>
                <a:lnTo>
                  <a:pt x="297" y="303"/>
                </a:lnTo>
                <a:lnTo>
                  <a:pt x="3869" y="4555"/>
                </a:lnTo>
                <a:close/>
              </a:path>
              <a:path w="3869" h="12452">
                <a:moveTo>
                  <a:pt x="12499" y="3948"/>
                </a:moveTo>
                <a:lnTo>
                  <a:pt x="7142" y="-6985"/>
                </a:lnTo>
                <a:lnTo>
                  <a:pt x="7440" y="-6985"/>
                </a:lnTo>
                <a:lnTo>
                  <a:pt x="7142" y="-6985"/>
                </a:lnTo>
                <a:lnTo>
                  <a:pt x="9226" y="-6378"/>
                </a:lnTo>
                <a:lnTo>
                  <a:pt x="11607" y="-3948"/>
                </a:lnTo>
                <a:lnTo>
                  <a:pt x="10119" y="-6378"/>
                </a:lnTo>
                <a:lnTo>
                  <a:pt x="8333" y="-7593"/>
                </a:lnTo>
                <a:lnTo>
                  <a:pt x="6249" y="-7896"/>
                </a:lnTo>
                <a:lnTo>
                  <a:pt x="3869" y="-7593"/>
                </a:lnTo>
                <a:lnTo>
                  <a:pt x="2083" y="-6378"/>
                </a:lnTo>
                <a:lnTo>
                  <a:pt x="595" y="-4555"/>
                </a:lnTo>
                <a:lnTo>
                  <a:pt x="0" y="-2429"/>
                </a:lnTo>
                <a:lnTo>
                  <a:pt x="297" y="303"/>
                </a:lnTo>
                <a:lnTo>
                  <a:pt x="297" y="0"/>
                </a:lnTo>
                <a:lnTo>
                  <a:pt x="3869" y="4555"/>
                </a:lnTo>
                <a:lnTo>
                  <a:pt x="8333" y="5163"/>
                </a:lnTo>
                <a:lnTo>
                  <a:pt x="10416" y="4555"/>
                </a:lnTo>
                <a:lnTo>
                  <a:pt x="12499" y="3948"/>
                </a:lnTo>
                <a:close/>
              </a:path>
            </a:pathLst>
          </a:custGeom>
          <a:solidFill>
            <a:srgbClr val="FFFFFF"/>
          </a:solidFill>
        </p:spPr>
        <p:txBody>
          <a:bodyPr wrap="square" lIns="0" tIns="0" rIns="0" bIns="0" rtlCol="0">
            <a:noAutofit/>
          </a:bodyPr>
          <a:lstStyle/>
          <a:p>
            <a:endParaRPr/>
          </a:p>
        </p:txBody>
      </p:sp>
      <p:sp>
        <p:nvSpPr>
          <p:cNvPr id="1165" name="object 1165"/>
          <p:cNvSpPr/>
          <p:nvPr/>
        </p:nvSpPr>
        <p:spPr>
          <a:xfrm>
            <a:off x="8714986" y="1408850"/>
            <a:ext cx="33333" cy="76235"/>
          </a:xfrm>
          <a:custGeom>
            <a:avLst/>
            <a:gdLst/>
            <a:ahLst/>
            <a:cxnLst/>
            <a:rect l="l" t="t" r="r" b="b"/>
            <a:pathLst>
              <a:path w="33333" h="76235">
                <a:moveTo>
                  <a:pt x="5654" y="1822"/>
                </a:moveTo>
                <a:lnTo>
                  <a:pt x="0" y="3644"/>
                </a:lnTo>
                <a:lnTo>
                  <a:pt x="22023" y="76235"/>
                </a:lnTo>
                <a:lnTo>
                  <a:pt x="33333" y="72590"/>
                </a:lnTo>
                <a:lnTo>
                  <a:pt x="11309" y="0"/>
                </a:lnTo>
                <a:lnTo>
                  <a:pt x="5654" y="1822"/>
                </a:lnTo>
                <a:close/>
              </a:path>
            </a:pathLst>
          </a:custGeom>
          <a:solidFill>
            <a:srgbClr val="FFFFFF"/>
          </a:solidFill>
        </p:spPr>
        <p:txBody>
          <a:bodyPr wrap="square" lIns="0" tIns="0" rIns="0" bIns="0" rtlCol="0">
            <a:noAutofit/>
          </a:bodyPr>
          <a:lstStyle/>
          <a:p>
            <a:endParaRPr/>
          </a:p>
        </p:txBody>
      </p:sp>
      <p:sp>
        <p:nvSpPr>
          <p:cNvPr id="1166" name="object 1166"/>
          <p:cNvSpPr/>
          <p:nvPr/>
        </p:nvSpPr>
        <p:spPr>
          <a:xfrm>
            <a:off x="8714689" y="1404597"/>
            <a:ext cx="11607" cy="7896"/>
          </a:xfrm>
          <a:custGeom>
            <a:avLst/>
            <a:gdLst/>
            <a:ahLst/>
            <a:cxnLst/>
            <a:rect l="l" t="t" r="r" b="b"/>
            <a:pathLst>
              <a:path w="11607" h="7896">
                <a:moveTo>
                  <a:pt x="11607" y="4252"/>
                </a:moveTo>
                <a:lnTo>
                  <a:pt x="10416" y="1822"/>
                </a:lnTo>
                <a:lnTo>
                  <a:pt x="8630" y="607"/>
                </a:lnTo>
                <a:lnTo>
                  <a:pt x="6249" y="0"/>
                </a:lnTo>
                <a:lnTo>
                  <a:pt x="4166" y="303"/>
                </a:lnTo>
                <a:lnTo>
                  <a:pt x="2083" y="1518"/>
                </a:lnTo>
                <a:lnTo>
                  <a:pt x="595" y="3037"/>
                </a:lnTo>
                <a:lnTo>
                  <a:pt x="0" y="5163"/>
                </a:lnTo>
                <a:lnTo>
                  <a:pt x="297" y="7896"/>
                </a:lnTo>
                <a:lnTo>
                  <a:pt x="11607" y="4252"/>
                </a:lnTo>
                <a:close/>
              </a:path>
            </a:pathLst>
          </a:custGeom>
          <a:solidFill>
            <a:srgbClr val="FFFFFF"/>
          </a:solidFill>
        </p:spPr>
        <p:txBody>
          <a:bodyPr wrap="square" lIns="0" tIns="0" rIns="0" bIns="0" rtlCol="0">
            <a:noAutofit/>
          </a:bodyPr>
          <a:lstStyle/>
          <a:p>
            <a:endParaRPr/>
          </a:p>
        </p:txBody>
      </p:sp>
      <p:sp>
        <p:nvSpPr>
          <p:cNvPr id="1167" name="object 1167"/>
          <p:cNvSpPr/>
          <p:nvPr/>
        </p:nvSpPr>
        <p:spPr>
          <a:xfrm>
            <a:off x="8768855" y="1351749"/>
            <a:ext cx="11309" cy="8504"/>
          </a:xfrm>
          <a:custGeom>
            <a:avLst/>
            <a:gdLst/>
            <a:ahLst/>
            <a:cxnLst/>
            <a:rect l="l" t="t" r="r" b="b"/>
            <a:pathLst>
              <a:path w="11309" h="8504">
                <a:moveTo>
                  <a:pt x="11309" y="3644"/>
                </a:moveTo>
                <a:lnTo>
                  <a:pt x="9821" y="1518"/>
                </a:lnTo>
                <a:lnTo>
                  <a:pt x="8035" y="303"/>
                </a:lnTo>
                <a:lnTo>
                  <a:pt x="5952" y="0"/>
                </a:lnTo>
                <a:lnTo>
                  <a:pt x="3869" y="607"/>
                </a:lnTo>
                <a:lnTo>
                  <a:pt x="1785" y="1822"/>
                </a:lnTo>
                <a:lnTo>
                  <a:pt x="595" y="3644"/>
                </a:lnTo>
                <a:lnTo>
                  <a:pt x="0" y="5770"/>
                </a:lnTo>
                <a:lnTo>
                  <a:pt x="595" y="8504"/>
                </a:lnTo>
                <a:lnTo>
                  <a:pt x="11309" y="3644"/>
                </a:lnTo>
                <a:close/>
              </a:path>
            </a:pathLst>
          </a:custGeom>
          <a:solidFill>
            <a:srgbClr val="FFFFFF"/>
          </a:solidFill>
        </p:spPr>
        <p:txBody>
          <a:bodyPr wrap="square" lIns="0" tIns="0" rIns="0" bIns="0" rtlCol="0">
            <a:noAutofit/>
          </a:bodyPr>
          <a:lstStyle/>
          <a:p>
            <a:endParaRPr/>
          </a:p>
        </p:txBody>
      </p:sp>
      <p:sp>
        <p:nvSpPr>
          <p:cNvPr id="1168" name="object 1168"/>
          <p:cNvSpPr/>
          <p:nvPr/>
        </p:nvSpPr>
        <p:spPr>
          <a:xfrm>
            <a:off x="8769450" y="1355395"/>
            <a:ext cx="10714" cy="44951"/>
          </a:xfrm>
          <a:custGeom>
            <a:avLst/>
            <a:gdLst/>
            <a:ahLst/>
            <a:cxnLst/>
            <a:rect l="l" t="t" r="r" b="b"/>
            <a:pathLst>
              <a:path w="10714" h="44951">
                <a:moveTo>
                  <a:pt x="10714" y="0"/>
                </a:moveTo>
                <a:lnTo>
                  <a:pt x="0" y="4859"/>
                </a:lnTo>
                <a:lnTo>
                  <a:pt x="1488" y="9415"/>
                </a:lnTo>
                <a:lnTo>
                  <a:pt x="3273" y="14275"/>
                </a:lnTo>
                <a:lnTo>
                  <a:pt x="4761" y="19134"/>
                </a:lnTo>
                <a:lnTo>
                  <a:pt x="5952" y="24298"/>
                </a:lnTo>
                <a:lnTo>
                  <a:pt x="6845" y="29765"/>
                </a:lnTo>
                <a:lnTo>
                  <a:pt x="7738" y="34928"/>
                </a:lnTo>
                <a:lnTo>
                  <a:pt x="8333" y="40091"/>
                </a:lnTo>
                <a:lnTo>
                  <a:pt x="8928" y="44951"/>
                </a:lnTo>
                <a:lnTo>
                  <a:pt x="10714" y="0"/>
                </a:lnTo>
                <a:close/>
              </a:path>
            </a:pathLst>
          </a:custGeom>
          <a:solidFill>
            <a:srgbClr val="FFFFFF"/>
          </a:solidFill>
        </p:spPr>
        <p:txBody>
          <a:bodyPr wrap="square" lIns="0" tIns="0" rIns="0" bIns="0" rtlCol="0">
            <a:noAutofit/>
          </a:bodyPr>
          <a:lstStyle/>
          <a:p>
            <a:endParaRPr/>
          </a:p>
        </p:txBody>
      </p:sp>
      <p:sp>
        <p:nvSpPr>
          <p:cNvPr id="1169" name="object 1169"/>
          <p:cNvSpPr/>
          <p:nvPr/>
        </p:nvSpPr>
        <p:spPr>
          <a:xfrm>
            <a:off x="8777784" y="1355394"/>
            <a:ext cx="12499" cy="50722"/>
          </a:xfrm>
          <a:custGeom>
            <a:avLst/>
            <a:gdLst/>
            <a:ahLst/>
            <a:cxnLst/>
            <a:rect l="l" t="t" r="r" b="b"/>
            <a:pathLst>
              <a:path w="12499" h="50722">
                <a:moveTo>
                  <a:pt x="12499" y="44343"/>
                </a:moveTo>
                <a:lnTo>
                  <a:pt x="11904" y="38876"/>
                </a:lnTo>
                <a:lnTo>
                  <a:pt x="11309" y="33106"/>
                </a:lnTo>
                <a:lnTo>
                  <a:pt x="10416" y="27335"/>
                </a:lnTo>
                <a:lnTo>
                  <a:pt x="8928" y="21868"/>
                </a:lnTo>
                <a:lnTo>
                  <a:pt x="7738" y="16097"/>
                </a:lnTo>
                <a:lnTo>
                  <a:pt x="6249" y="10630"/>
                </a:lnTo>
                <a:lnTo>
                  <a:pt x="4464" y="5163"/>
                </a:lnTo>
                <a:lnTo>
                  <a:pt x="2380" y="0"/>
                </a:lnTo>
                <a:lnTo>
                  <a:pt x="595" y="44951"/>
                </a:lnTo>
                <a:lnTo>
                  <a:pt x="0" y="40091"/>
                </a:lnTo>
                <a:lnTo>
                  <a:pt x="595" y="45558"/>
                </a:lnTo>
                <a:lnTo>
                  <a:pt x="1190" y="47988"/>
                </a:lnTo>
                <a:lnTo>
                  <a:pt x="2678" y="49810"/>
                </a:lnTo>
                <a:lnTo>
                  <a:pt x="4761" y="50722"/>
                </a:lnTo>
                <a:lnTo>
                  <a:pt x="7142" y="50722"/>
                </a:lnTo>
                <a:lnTo>
                  <a:pt x="9226" y="50418"/>
                </a:lnTo>
                <a:lnTo>
                  <a:pt x="11011" y="48899"/>
                </a:lnTo>
                <a:lnTo>
                  <a:pt x="12202" y="47077"/>
                </a:lnTo>
                <a:lnTo>
                  <a:pt x="12499" y="44343"/>
                </a:lnTo>
                <a:close/>
              </a:path>
            </a:pathLst>
          </a:custGeom>
          <a:solidFill>
            <a:srgbClr val="FFFFFF"/>
          </a:solidFill>
        </p:spPr>
        <p:txBody>
          <a:bodyPr wrap="square" lIns="0" tIns="0" rIns="0" bIns="0" rtlCol="0">
            <a:noAutofit/>
          </a:bodyPr>
          <a:lstStyle/>
          <a:p>
            <a:endParaRPr/>
          </a:p>
        </p:txBody>
      </p:sp>
      <p:sp>
        <p:nvSpPr>
          <p:cNvPr id="1170" name="object 1170"/>
          <p:cNvSpPr/>
          <p:nvPr/>
        </p:nvSpPr>
        <p:spPr>
          <a:xfrm>
            <a:off x="8778379" y="1400345"/>
            <a:ext cx="1785" cy="1214"/>
          </a:xfrm>
          <a:custGeom>
            <a:avLst/>
            <a:gdLst/>
            <a:ahLst/>
            <a:cxnLst/>
            <a:rect l="l" t="t" r="r" b="b"/>
            <a:pathLst>
              <a:path w="1785" h="1214">
                <a:moveTo>
                  <a:pt x="0" y="0"/>
                </a:moveTo>
                <a:lnTo>
                  <a:pt x="0" y="1214"/>
                </a:lnTo>
                <a:lnTo>
                  <a:pt x="228" y="1074"/>
                </a:lnTo>
                <a:lnTo>
                  <a:pt x="595" y="607"/>
                </a:lnTo>
                <a:lnTo>
                  <a:pt x="1785" y="0"/>
                </a:lnTo>
                <a:lnTo>
                  <a:pt x="0" y="0"/>
                </a:lnTo>
                <a:close/>
              </a:path>
            </a:pathLst>
          </a:custGeom>
          <a:solidFill>
            <a:srgbClr val="FFFFFF"/>
          </a:solidFill>
        </p:spPr>
        <p:txBody>
          <a:bodyPr wrap="square" lIns="0" tIns="0" rIns="0" bIns="0" rtlCol="0">
            <a:noAutofit/>
          </a:bodyPr>
          <a:lstStyle/>
          <a:p>
            <a:endParaRPr/>
          </a:p>
        </p:txBody>
      </p:sp>
      <p:sp>
        <p:nvSpPr>
          <p:cNvPr id="1171" name="object 1171"/>
          <p:cNvSpPr/>
          <p:nvPr/>
        </p:nvSpPr>
        <p:spPr>
          <a:xfrm>
            <a:off x="8777189" y="1399739"/>
            <a:ext cx="13095" cy="11541"/>
          </a:xfrm>
          <a:custGeom>
            <a:avLst/>
            <a:gdLst/>
            <a:ahLst/>
            <a:cxnLst/>
            <a:rect l="l" t="t" r="r" b="b"/>
            <a:pathLst>
              <a:path w="13095" h="11541">
                <a:moveTo>
                  <a:pt x="13095" y="607"/>
                </a:moveTo>
                <a:lnTo>
                  <a:pt x="3174" y="607"/>
                </a:lnTo>
                <a:lnTo>
                  <a:pt x="4166" y="0"/>
                </a:lnTo>
                <a:lnTo>
                  <a:pt x="2976" y="607"/>
                </a:lnTo>
                <a:lnTo>
                  <a:pt x="1785" y="1214"/>
                </a:lnTo>
                <a:lnTo>
                  <a:pt x="1419" y="1682"/>
                </a:lnTo>
                <a:lnTo>
                  <a:pt x="1190" y="1974"/>
                </a:lnTo>
                <a:lnTo>
                  <a:pt x="595" y="2733"/>
                </a:lnTo>
                <a:lnTo>
                  <a:pt x="0" y="4859"/>
                </a:lnTo>
                <a:lnTo>
                  <a:pt x="0" y="6985"/>
                </a:lnTo>
                <a:lnTo>
                  <a:pt x="892" y="9111"/>
                </a:lnTo>
                <a:lnTo>
                  <a:pt x="2380" y="10630"/>
                </a:lnTo>
                <a:lnTo>
                  <a:pt x="1190" y="2126"/>
                </a:lnTo>
                <a:lnTo>
                  <a:pt x="2380" y="10630"/>
                </a:lnTo>
                <a:lnTo>
                  <a:pt x="4464" y="11541"/>
                </a:lnTo>
                <a:lnTo>
                  <a:pt x="7142" y="11541"/>
                </a:lnTo>
                <a:lnTo>
                  <a:pt x="11309" y="8504"/>
                </a:lnTo>
                <a:lnTo>
                  <a:pt x="12499" y="5770"/>
                </a:lnTo>
                <a:lnTo>
                  <a:pt x="13095" y="2733"/>
                </a:lnTo>
                <a:lnTo>
                  <a:pt x="13095" y="607"/>
                </a:lnTo>
                <a:close/>
              </a:path>
            </a:pathLst>
          </a:custGeom>
          <a:solidFill>
            <a:srgbClr val="FFFFFF"/>
          </a:solidFill>
        </p:spPr>
        <p:txBody>
          <a:bodyPr wrap="square" lIns="0" tIns="0" rIns="0" bIns="0" rtlCol="0">
            <a:noAutofit/>
          </a:bodyPr>
          <a:lstStyle/>
          <a:p>
            <a:endParaRPr/>
          </a:p>
        </p:txBody>
      </p:sp>
      <p:sp>
        <p:nvSpPr>
          <p:cNvPr id="1172" name="object 1172"/>
          <p:cNvSpPr/>
          <p:nvPr/>
        </p:nvSpPr>
        <p:spPr>
          <a:xfrm>
            <a:off x="8727486" y="1399435"/>
            <a:ext cx="56249" cy="20349"/>
          </a:xfrm>
          <a:custGeom>
            <a:avLst/>
            <a:gdLst/>
            <a:ahLst/>
            <a:cxnLst/>
            <a:rect l="l" t="t" r="r" b="b"/>
            <a:pathLst>
              <a:path w="56249" h="20349">
                <a:moveTo>
                  <a:pt x="892" y="14275"/>
                </a:moveTo>
                <a:lnTo>
                  <a:pt x="1785" y="20349"/>
                </a:lnTo>
                <a:lnTo>
                  <a:pt x="56249" y="12149"/>
                </a:lnTo>
                <a:lnTo>
                  <a:pt x="54464" y="0"/>
                </a:lnTo>
                <a:lnTo>
                  <a:pt x="0" y="8200"/>
                </a:lnTo>
                <a:lnTo>
                  <a:pt x="892" y="14275"/>
                </a:lnTo>
                <a:close/>
              </a:path>
            </a:pathLst>
          </a:custGeom>
          <a:solidFill>
            <a:srgbClr val="FFFFFF"/>
          </a:solidFill>
        </p:spPr>
        <p:txBody>
          <a:bodyPr wrap="square" lIns="0" tIns="0" rIns="0" bIns="0" rtlCol="0">
            <a:noAutofit/>
          </a:bodyPr>
          <a:lstStyle/>
          <a:p>
            <a:endParaRPr/>
          </a:p>
        </p:txBody>
      </p:sp>
      <p:sp>
        <p:nvSpPr>
          <p:cNvPr id="1173" name="object 1173"/>
          <p:cNvSpPr/>
          <p:nvPr/>
        </p:nvSpPr>
        <p:spPr>
          <a:xfrm>
            <a:off x="8722725" y="1407635"/>
            <a:ext cx="6547" cy="12149"/>
          </a:xfrm>
          <a:custGeom>
            <a:avLst/>
            <a:gdLst/>
            <a:ahLst/>
            <a:cxnLst/>
            <a:rect l="l" t="t" r="r" b="b"/>
            <a:pathLst>
              <a:path w="6547" h="12149">
                <a:moveTo>
                  <a:pt x="4761" y="0"/>
                </a:moveTo>
                <a:lnTo>
                  <a:pt x="2380" y="911"/>
                </a:lnTo>
                <a:lnTo>
                  <a:pt x="595" y="2429"/>
                </a:lnTo>
                <a:lnTo>
                  <a:pt x="0" y="4555"/>
                </a:lnTo>
                <a:lnTo>
                  <a:pt x="0" y="6985"/>
                </a:lnTo>
                <a:lnTo>
                  <a:pt x="595" y="9111"/>
                </a:lnTo>
                <a:lnTo>
                  <a:pt x="1785" y="10934"/>
                </a:lnTo>
                <a:lnTo>
                  <a:pt x="3869" y="12149"/>
                </a:lnTo>
                <a:lnTo>
                  <a:pt x="6547" y="12149"/>
                </a:lnTo>
                <a:lnTo>
                  <a:pt x="4761" y="0"/>
                </a:lnTo>
                <a:close/>
              </a:path>
            </a:pathLst>
          </a:custGeom>
          <a:solidFill>
            <a:srgbClr val="FFFFFF"/>
          </a:solidFill>
        </p:spPr>
        <p:txBody>
          <a:bodyPr wrap="square" lIns="0" tIns="0" rIns="0" bIns="0" rtlCol="0">
            <a:noAutofit/>
          </a:bodyPr>
          <a:lstStyle/>
          <a:p>
            <a:endParaRPr/>
          </a:p>
        </p:txBody>
      </p:sp>
      <p:sp>
        <p:nvSpPr>
          <p:cNvPr id="1174" name="object 1174"/>
          <p:cNvSpPr/>
          <p:nvPr/>
        </p:nvSpPr>
        <p:spPr>
          <a:xfrm>
            <a:off x="8704271" y="1316821"/>
            <a:ext cx="7738" cy="11845"/>
          </a:xfrm>
          <a:custGeom>
            <a:avLst/>
            <a:gdLst/>
            <a:ahLst/>
            <a:cxnLst/>
            <a:rect l="l" t="t" r="r" b="b"/>
            <a:pathLst>
              <a:path w="7738" h="11845">
                <a:moveTo>
                  <a:pt x="4166" y="0"/>
                </a:moveTo>
                <a:lnTo>
                  <a:pt x="1785" y="1214"/>
                </a:lnTo>
                <a:lnTo>
                  <a:pt x="595" y="3037"/>
                </a:lnTo>
                <a:lnTo>
                  <a:pt x="0" y="5467"/>
                </a:lnTo>
                <a:lnTo>
                  <a:pt x="297" y="7593"/>
                </a:lnTo>
                <a:lnTo>
                  <a:pt x="1488" y="9719"/>
                </a:lnTo>
                <a:lnTo>
                  <a:pt x="2976" y="11237"/>
                </a:lnTo>
                <a:lnTo>
                  <a:pt x="5059" y="11845"/>
                </a:lnTo>
                <a:lnTo>
                  <a:pt x="7738" y="11541"/>
                </a:lnTo>
                <a:lnTo>
                  <a:pt x="4166" y="0"/>
                </a:lnTo>
                <a:close/>
              </a:path>
            </a:pathLst>
          </a:custGeom>
          <a:solidFill>
            <a:srgbClr val="FFFFFF"/>
          </a:solidFill>
        </p:spPr>
        <p:txBody>
          <a:bodyPr wrap="square" lIns="0" tIns="0" rIns="0" bIns="0" rtlCol="0">
            <a:noAutofit/>
          </a:bodyPr>
          <a:lstStyle/>
          <a:p>
            <a:endParaRPr/>
          </a:p>
        </p:txBody>
      </p:sp>
      <p:sp>
        <p:nvSpPr>
          <p:cNvPr id="1175" name="object 1175"/>
          <p:cNvSpPr/>
          <p:nvPr/>
        </p:nvSpPr>
        <p:spPr>
          <a:xfrm>
            <a:off x="8708438" y="1314392"/>
            <a:ext cx="38690" cy="13971"/>
          </a:xfrm>
          <a:custGeom>
            <a:avLst/>
            <a:gdLst/>
            <a:ahLst/>
            <a:cxnLst/>
            <a:rect l="l" t="t" r="r" b="b"/>
            <a:pathLst>
              <a:path w="38690" h="13971">
                <a:moveTo>
                  <a:pt x="13690" y="12149"/>
                </a:moveTo>
                <a:lnTo>
                  <a:pt x="17261" y="12149"/>
                </a:lnTo>
                <a:lnTo>
                  <a:pt x="21130" y="12452"/>
                </a:lnTo>
                <a:lnTo>
                  <a:pt x="24702" y="12756"/>
                </a:lnTo>
                <a:lnTo>
                  <a:pt x="27976" y="13363"/>
                </a:lnTo>
                <a:lnTo>
                  <a:pt x="31547" y="13971"/>
                </a:lnTo>
                <a:lnTo>
                  <a:pt x="34226" y="13971"/>
                </a:lnTo>
                <a:lnTo>
                  <a:pt x="36309" y="13060"/>
                </a:lnTo>
                <a:lnTo>
                  <a:pt x="37797" y="11541"/>
                </a:lnTo>
                <a:lnTo>
                  <a:pt x="38690" y="9415"/>
                </a:lnTo>
                <a:lnTo>
                  <a:pt x="38690" y="7289"/>
                </a:lnTo>
                <a:lnTo>
                  <a:pt x="38392" y="5163"/>
                </a:lnTo>
                <a:lnTo>
                  <a:pt x="36904" y="3644"/>
                </a:lnTo>
                <a:lnTo>
                  <a:pt x="34523" y="2429"/>
                </a:lnTo>
                <a:lnTo>
                  <a:pt x="30357" y="1214"/>
                </a:lnTo>
                <a:lnTo>
                  <a:pt x="30357" y="13667"/>
                </a:lnTo>
                <a:lnTo>
                  <a:pt x="30357" y="1214"/>
                </a:lnTo>
                <a:lnTo>
                  <a:pt x="25892" y="607"/>
                </a:lnTo>
                <a:lnTo>
                  <a:pt x="21726" y="303"/>
                </a:lnTo>
                <a:lnTo>
                  <a:pt x="17857" y="0"/>
                </a:lnTo>
                <a:lnTo>
                  <a:pt x="13095" y="0"/>
                </a:lnTo>
                <a:lnTo>
                  <a:pt x="8630" y="303"/>
                </a:lnTo>
                <a:lnTo>
                  <a:pt x="4464" y="1518"/>
                </a:lnTo>
                <a:lnTo>
                  <a:pt x="0" y="2429"/>
                </a:lnTo>
                <a:lnTo>
                  <a:pt x="3571" y="13971"/>
                </a:lnTo>
                <a:lnTo>
                  <a:pt x="6845" y="13060"/>
                </a:lnTo>
                <a:lnTo>
                  <a:pt x="10416" y="12452"/>
                </a:lnTo>
                <a:lnTo>
                  <a:pt x="13690" y="12149"/>
                </a:lnTo>
                <a:close/>
              </a:path>
            </a:pathLst>
          </a:custGeom>
          <a:solidFill>
            <a:srgbClr val="FFFFFF"/>
          </a:solidFill>
        </p:spPr>
        <p:txBody>
          <a:bodyPr wrap="square" lIns="0" tIns="0" rIns="0" bIns="0" rtlCol="0">
            <a:noAutofit/>
          </a:bodyPr>
          <a:lstStyle/>
          <a:p>
            <a:endParaRPr/>
          </a:p>
        </p:txBody>
      </p:sp>
      <p:sp>
        <p:nvSpPr>
          <p:cNvPr id="1176" name="object 1176"/>
          <p:cNvSpPr/>
          <p:nvPr/>
        </p:nvSpPr>
        <p:spPr>
          <a:xfrm>
            <a:off x="8738915" y="1317124"/>
            <a:ext cx="11157" cy="14882"/>
          </a:xfrm>
          <a:custGeom>
            <a:avLst/>
            <a:gdLst/>
            <a:ahLst/>
            <a:cxnLst/>
            <a:rect l="l" t="t" r="r" b="b"/>
            <a:pathLst>
              <a:path w="11157" h="14882">
                <a:moveTo>
                  <a:pt x="2261" y="13971"/>
                </a:moveTo>
                <a:lnTo>
                  <a:pt x="4047" y="14882"/>
                </a:lnTo>
                <a:lnTo>
                  <a:pt x="6130" y="14882"/>
                </a:lnTo>
                <a:lnTo>
                  <a:pt x="8214" y="14275"/>
                </a:lnTo>
                <a:lnTo>
                  <a:pt x="9999" y="12756"/>
                </a:lnTo>
                <a:lnTo>
                  <a:pt x="10892" y="10326"/>
                </a:lnTo>
                <a:lnTo>
                  <a:pt x="11157" y="10056"/>
                </a:lnTo>
                <a:lnTo>
                  <a:pt x="10595" y="5467"/>
                </a:lnTo>
                <a:lnTo>
                  <a:pt x="8511" y="2733"/>
                </a:lnTo>
                <a:lnTo>
                  <a:pt x="7321" y="1518"/>
                </a:lnTo>
                <a:lnTo>
                  <a:pt x="5238" y="0"/>
                </a:lnTo>
                <a:lnTo>
                  <a:pt x="0" y="10691"/>
                </a:lnTo>
                <a:lnTo>
                  <a:pt x="178" y="11237"/>
                </a:lnTo>
                <a:lnTo>
                  <a:pt x="476" y="12452"/>
                </a:lnTo>
                <a:lnTo>
                  <a:pt x="2261" y="13971"/>
                </a:lnTo>
                <a:close/>
              </a:path>
            </a:pathLst>
          </a:custGeom>
          <a:solidFill>
            <a:srgbClr val="FFFFFF"/>
          </a:solidFill>
        </p:spPr>
        <p:txBody>
          <a:bodyPr wrap="square" lIns="0" tIns="0" rIns="0" bIns="0" rtlCol="0">
            <a:noAutofit/>
          </a:bodyPr>
          <a:lstStyle/>
          <a:p>
            <a:endParaRPr/>
          </a:p>
        </p:txBody>
      </p:sp>
      <p:sp>
        <p:nvSpPr>
          <p:cNvPr id="1177" name="object 1177"/>
          <p:cNvSpPr/>
          <p:nvPr/>
        </p:nvSpPr>
        <p:spPr>
          <a:xfrm>
            <a:off x="8738201" y="1325022"/>
            <a:ext cx="59" cy="303"/>
          </a:xfrm>
          <a:custGeom>
            <a:avLst/>
            <a:gdLst/>
            <a:ahLst/>
            <a:cxnLst/>
            <a:rect l="l" t="t" r="r" b="b"/>
            <a:pathLst>
              <a:path w="59" h="303">
                <a:moveTo>
                  <a:pt x="59" y="242"/>
                </a:moveTo>
                <a:lnTo>
                  <a:pt x="0" y="0"/>
                </a:lnTo>
                <a:lnTo>
                  <a:pt x="0" y="303"/>
                </a:lnTo>
                <a:close/>
              </a:path>
            </a:pathLst>
          </a:custGeom>
          <a:solidFill>
            <a:srgbClr val="FFFFFF"/>
          </a:solidFill>
        </p:spPr>
        <p:txBody>
          <a:bodyPr wrap="square" lIns="0" tIns="0" rIns="0" bIns="0" rtlCol="0">
            <a:noAutofit/>
          </a:bodyPr>
          <a:lstStyle/>
          <a:p>
            <a:endParaRPr/>
          </a:p>
        </p:txBody>
      </p:sp>
      <p:sp>
        <p:nvSpPr>
          <p:cNvPr id="1178" name="object 1178"/>
          <p:cNvSpPr/>
          <p:nvPr/>
        </p:nvSpPr>
        <p:spPr>
          <a:xfrm>
            <a:off x="8750072" y="1327148"/>
            <a:ext cx="33" cy="303"/>
          </a:xfrm>
          <a:custGeom>
            <a:avLst/>
            <a:gdLst/>
            <a:ahLst/>
            <a:cxnLst/>
            <a:rect l="l" t="t" r="r" b="b"/>
            <a:pathLst>
              <a:path w="33" h="303">
                <a:moveTo>
                  <a:pt x="33" y="0"/>
                </a:moveTo>
                <a:lnTo>
                  <a:pt x="33" y="303"/>
                </a:lnTo>
                <a:lnTo>
                  <a:pt x="33" y="0"/>
                </a:lnTo>
                <a:close/>
              </a:path>
            </a:pathLst>
          </a:custGeom>
          <a:solidFill>
            <a:srgbClr val="FFFFFF"/>
          </a:solidFill>
        </p:spPr>
        <p:txBody>
          <a:bodyPr wrap="square" lIns="0" tIns="0" rIns="0" bIns="0" rtlCol="0">
            <a:noAutofit/>
          </a:bodyPr>
          <a:lstStyle/>
          <a:p>
            <a:endParaRPr/>
          </a:p>
        </p:txBody>
      </p:sp>
      <p:sp>
        <p:nvSpPr>
          <p:cNvPr id="1179" name="object 1179"/>
          <p:cNvSpPr/>
          <p:nvPr/>
        </p:nvSpPr>
        <p:spPr>
          <a:xfrm>
            <a:off x="8738259" y="1325021"/>
            <a:ext cx="238" cy="1214"/>
          </a:xfrm>
          <a:custGeom>
            <a:avLst/>
            <a:gdLst/>
            <a:ahLst/>
            <a:cxnLst/>
            <a:rect l="l" t="t" r="r" b="b"/>
            <a:pathLst>
              <a:path w="238" h="1214">
                <a:moveTo>
                  <a:pt x="238" y="0"/>
                </a:moveTo>
                <a:lnTo>
                  <a:pt x="0" y="242"/>
                </a:lnTo>
                <a:lnTo>
                  <a:pt x="238" y="1214"/>
                </a:lnTo>
                <a:lnTo>
                  <a:pt x="238" y="0"/>
                </a:lnTo>
                <a:close/>
              </a:path>
            </a:pathLst>
          </a:custGeom>
          <a:solidFill>
            <a:srgbClr val="FFFFFF"/>
          </a:solidFill>
        </p:spPr>
        <p:txBody>
          <a:bodyPr wrap="square" lIns="0" tIns="0" rIns="0" bIns="0" rtlCol="0">
            <a:noAutofit/>
          </a:bodyPr>
          <a:lstStyle/>
          <a:p>
            <a:endParaRPr/>
          </a:p>
        </p:txBody>
      </p:sp>
      <p:sp>
        <p:nvSpPr>
          <p:cNvPr id="1180" name="object 1180"/>
          <p:cNvSpPr/>
          <p:nvPr/>
        </p:nvSpPr>
        <p:spPr>
          <a:xfrm>
            <a:off x="8738497" y="1326236"/>
            <a:ext cx="892" cy="3340"/>
          </a:xfrm>
          <a:custGeom>
            <a:avLst/>
            <a:gdLst/>
            <a:ahLst/>
            <a:cxnLst/>
            <a:rect l="l" t="t" r="r" b="b"/>
            <a:pathLst>
              <a:path w="892" h="3340">
                <a:moveTo>
                  <a:pt x="297" y="1822"/>
                </a:moveTo>
                <a:lnTo>
                  <a:pt x="416" y="1579"/>
                </a:lnTo>
                <a:lnTo>
                  <a:pt x="297" y="1214"/>
                </a:lnTo>
                <a:lnTo>
                  <a:pt x="0" y="0"/>
                </a:lnTo>
                <a:lnTo>
                  <a:pt x="0" y="1518"/>
                </a:lnTo>
                <a:lnTo>
                  <a:pt x="892" y="3340"/>
                </a:lnTo>
                <a:lnTo>
                  <a:pt x="595" y="2126"/>
                </a:lnTo>
                <a:lnTo>
                  <a:pt x="416" y="1579"/>
                </a:lnTo>
                <a:lnTo>
                  <a:pt x="297" y="1822"/>
                </a:lnTo>
                <a:close/>
              </a:path>
            </a:pathLst>
          </a:custGeom>
          <a:solidFill>
            <a:srgbClr val="FFFFFF"/>
          </a:solidFill>
        </p:spPr>
        <p:txBody>
          <a:bodyPr wrap="square" lIns="0" tIns="0" rIns="0" bIns="0" rtlCol="0">
            <a:noAutofit/>
          </a:bodyPr>
          <a:lstStyle/>
          <a:p>
            <a:endParaRPr/>
          </a:p>
        </p:txBody>
      </p:sp>
      <p:sp>
        <p:nvSpPr>
          <p:cNvPr id="1181" name="object 1181"/>
          <p:cNvSpPr/>
          <p:nvPr/>
        </p:nvSpPr>
        <p:spPr>
          <a:xfrm>
            <a:off x="8726890" y="1325325"/>
            <a:ext cx="23214" cy="79272"/>
          </a:xfrm>
          <a:custGeom>
            <a:avLst/>
            <a:gdLst/>
            <a:ahLst/>
            <a:cxnLst/>
            <a:rect l="l" t="t" r="r" b="b"/>
            <a:pathLst>
              <a:path w="23214" h="79272">
                <a:moveTo>
                  <a:pt x="5952" y="78361"/>
                </a:moveTo>
                <a:lnTo>
                  <a:pt x="11904" y="79272"/>
                </a:lnTo>
                <a:lnTo>
                  <a:pt x="23214" y="1822"/>
                </a:lnTo>
                <a:lnTo>
                  <a:pt x="11309" y="0"/>
                </a:lnTo>
                <a:lnTo>
                  <a:pt x="0" y="77450"/>
                </a:lnTo>
                <a:lnTo>
                  <a:pt x="5952" y="78361"/>
                </a:lnTo>
                <a:close/>
              </a:path>
            </a:pathLst>
          </a:custGeom>
          <a:solidFill>
            <a:srgbClr val="FFFFFF"/>
          </a:solidFill>
        </p:spPr>
        <p:txBody>
          <a:bodyPr wrap="square" lIns="0" tIns="0" rIns="0" bIns="0" rtlCol="0">
            <a:noAutofit/>
          </a:bodyPr>
          <a:lstStyle/>
          <a:p>
            <a:endParaRPr/>
          </a:p>
        </p:txBody>
      </p:sp>
      <p:sp>
        <p:nvSpPr>
          <p:cNvPr id="1182" name="object 1182"/>
          <p:cNvSpPr/>
          <p:nvPr/>
        </p:nvSpPr>
        <p:spPr>
          <a:xfrm>
            <a:off x="8726890" y="1402776"/>
            <a:ext cx="11904" cy="6681"/>
          </a:xfrm>
          <a:custGeom>
            <a:avLst/>
            <a:gdLst/>
            <a:ahLst/>
            <a:cxnLst/>
            <a:rect l="l" t="t" r="r" b="b"/>
            <a:pathLst>
              <a:path w="11904" h="6681">
                <a:moveTo>
                  <a:pt x="0" y="0"/>
                </a:moveTo>
                <a:lnTo>
                  <a:pt x="0" y="2733"/>
                </a:lnTo>
                <a:lnTo>
                  <a:pt x="1190" y="4859"/>
                </a:lnTo>
                <a:lnTo>
                  <a:pt x="2976" y="6074"/>
                </a:lnTo>
                <a:lnTo>
                  <a:pt x="5059" y="6681"/>
                </a:lnTo>
                <a:lnTo>
                  <a:pt x="7440" y="6681"/>
                </a:lnTo>
                <a:lnTo>
                  <a:pt x="9523" y="6074"/>
                </a:lnTo>
                <a:lnTo>
                  <a:pt x="11011" y="4252"/>
                </a:lnTo>
                <a:lnTo>
                  <a:pt x="11904" y="1822"/>
                </a:lnTo>
                <a:lnTo>
                  <a:pt x="0" y="0"/>
                </a:lnTo>
                <a:close/>
              </a:path>
            </a:pathLst>
          </a:custGeom>
          <a:solidFill>
            <a:srgbClr val="FFFFFF"/>
          </a:solidFill>
        </p:spPr>
        <p:txBody>
          <a:bodyPr wrap="square" lIns="0" tIns="0" rIns="0" bIns="0" rtlCol="0">
            <a:noAutofit/>
          </a:bodyPr>
          <a:lstStyle/>
          <a:p>
            <a:endParaRPr/>
          </a:p>
        </p:txBody>
      </p:sp>
      <p:sp>
        <p:nvSpPr>
          <p:cNvPr id="1183" name="object 1183"/>
          <p:cNvSpPr/>
          <p:nvPr/>
        </p:nvSpPr>
        <p:spPr>
          <a:xfrm>
            <a:off x="8661414" y="1400345"/>
            <a:ext cx="11904" cy="6074"/>
          </a:xfrm>
          <a:custGeom>
            <a:avLst/>
            <a:gdLst/>
            <a:ahLst/>
            <a:cxnLst/>
            <a:rect l="l" t="t" r="r" b="b"/>
            <a:pathLst>
              <a:path w="11904" h="6074">
                <a:moveTo>
                  <a:pt x="0" y="0"/>
                </a:moveTo>
                <a:lnTo>
                  <a:pt x="297" y="2733"/>
                </a:lnTo>
                <a:lnTo>
                  <a:pt x="1785" y="4555"/>
                </a:lnTo>
                <a:lnTo>
                  <a:pt x="3571" y="5770"/>
                </a:lnTo>
                <a:lnTo>
                  <a:pt x="5654" y="6074"/>
                </a:lnTo>
                <a:lnTo>
                  <a:pt x="8035" y="6074"/>
                </a:lnTo>
                <a:lnTo>
                  <a:pt x="9821" y="4859"/>
                </a:lnTo>
                <a:lnTo>
                  <a:pt x="11309" y="3037"/>
                </a:lnTo>
                <a:lnTo>
                  <a:pt x="11904" y="607"/>
                </a:lnTo>
                <a:lnTo>
                  <a:pt x="0" y="0"/>
                </a:lnTo>
                <a:close/>
              </a:path>
            </a:pathLst>
          </a:custGeom>
          <a:solidFill>
            <a:srgbClr val="FFFFFF"/>
          </a:solidFill>
        </p:spPr>
        <p:txBody>
          <a:bodyPr wrap="square" lIns="0" tIns="0" rIns="0" bIns="0" rtlCol="0">
            <a:noAutofit/>
          </a:bodyPr>
          <a:lstStyle/>
          <a:p>
            <a:endParaRPr/>
          </a:p>
        </p:txBody>
      </p:sp>
      <p:sp>
        <p:nvSpPr>
          <p:cNvPr id="1184" name="object 1184"/>
          <p:cNvSpPr/>
          <p:nvPr/>
        </p:nvSpPr>
        <p:spPr>
          <a:xfrm>
            <a:off x="8661414" y="1351750"/>
            <a:ext cx="21428" cy="49203"/>
          </a:xfrm>
          <a:custGeom>
            <a:avLst/>
            <a:gdLst/>
            <a:ahLst/>
            <a:cxnLst/>
            <a:rect l="l" t="t" r="r" b="b"/>
            <a:pathLst>
              <a:path w="21428" h="49203">
                <a:moveTo>
                  <a:pt x="13988" y="33409"/>
                </a:moveTo>
                <a:lnTo>
                  <a:pt x="14880" y="27639"/>
                </a:lnTo>
                <a:lnTo>
                  <a:pt x="16071" y="22779"/>
                </a:lnTo>
                <a:lnTo>
                  <a:pt x="17857" y="17616"/>
                </a:lnTo>
                <a:lnTo>
                  <a:pt x="19345" y="12756"/>
                </a:lnTo>
                <a:lnTo>
                  <a:pt x="21130" y="8200"/>
                </a:lnTo>
                <a:lnTo>
                  <a:pt x="21428" y="5467"/>
                </a:lnTo>
                <a:lnTo>
                  <a:pt x="20833" y="3340"/>
                </a:lnTo>
                <a:lnTo>
                  <a:pt x="20535" y="9111"/>
                </a:lnTo>
                <a:lnTo>
                  <a:pt x="19345" y="1518"/>
                </a:lnTo>
                <a:lnTo>
                  <a:pt x="17559" y="303"/>
                </a:lnTo>
                <a:lnTo>
                  <a:pt x="15178" y="0"/>
                </a:lnTo>
                <a:lnTo>
                  <a:pt x="13095" y="303"/>
                </a:lnTo>
                <a:lnTo>
                  <a:pt x="11309" y="1518"/>
                </a:lnTo>
                <a:lnTo>
                  <a:pt x="9821" y="3948"/>
                </a:lnTo>
                <a:lnTo>
                  <a:pt x="8035" y="9111"/>
                </a:lnTo>
                <a:lnTo>
                  <a:pt x="6547" y="13971"/>
                </a:lnTo>
                <a:lnTo>
                  <a:pt x="4761" y="19742"/>
                </a:lnTo>
                <a:lnTo>
                  <a:pt x="3571" y="25209"/>
                </a:lnTo>
                <a:lnTo>
                  <a:pt x="2083" y="30980"/>
                </a:lnTo>
                <a:lnTo>
                  <a:pt x="1190" y="36750"/>
                </a:lnTo>
                <a:lnTo>
                  <a:pt x="297" y="42825"/>
                </a:lnTo>
                <a:lnTo>
                  <a:pt x="0" y="48596"/>
                </a:lnTo>
                <a:lnTo>
                  <a:pt x="11904" y="49203"/>
                </a:lnTo>
                <a:lnTo>
                  <a:pt x="10416" y="3037"/>
                </a:lnTo>
                <a:lnTo>
                  <a:pt x="11904" y="49203"/>
                </a:lnTo>
                <a:lnTo>
                  <a:pt x="12202" y="44040"/>
                </a:lnTo>
                <a:lnTo>
                  <a:pt x="13095" y="38573"/>
                </a:lnTo>
                <a:lnTo>
                  <a:pt x="13988" y="33409"/>
                </a:lnTo>
                <a:close/>
              </a:path>
            </a:pathLst>
          </a:custGeom>
          <a:solidFill>
            <a:srgbClr val="FFFFFF"/>
          </a:solidFill>
        </p:spPr>
        <p:txBody>
          <a:bodyPr wrap="square" lIns="0" tIns="0" rIns="0" bIns="0" rtlCol="0">
            <a:noAutofit/>
          </a:bodyPr>
          <a:lstStyle/>
          <a:p>
            <a:endParaRPr/>
          </a:p>
        </p:txBody>
      </p:sp>
      <p:sp>
        <p:nvSpPr>
          <p:cNvPr id="1185" name="object 1185"/>
          <p:cNvSpPr/>
          <p:nvPr/>
        </p:nvSpPr>
        <p:spPr>
          <a:xfrm>
            <a:off x="8680759" y="1353269"/>
            <a:ext cx="1488" cy="7593"/>
          </a:xfrm>
          <a:custGeom>
            <a:avLst/>
            <a:gdLst/>
            <a:ahLst/>
            <a:cxnLst/>
            <a:rect l="l" t="t" r="r" b="b"/>
            <a:pathLst>
              <a:path w="1488" h="7593">
                <a:moveTo>
                  <a:pt x="1190" y="7593"/>
                </a:moveTo>
                <a:lnTo>
                  <a:pt x="1488" y="1822"/>
                </a:lnTo>
                <a:lnTo>
                  <a:pt x="0" y="0"/>
                </a:lnTo>
                <a:lnTo>
                  <a:pt x="1190" y="7593"/>
                </a:lnTo>
                <a:close/>
              </a:path>
            </a:pathLst>
          </a:custGeom>
          <a:solidFill>
            <a:srgbClr val="FFFFFF"/>
          </a:solidFill>
        </p:spPr>
        <p:txBody>
          <a:bodyPr wrap="square" lIns="0" tIns="0" rIns="0" bIns="0" rtlCol="0">
            <a:noAutofit/>
          </a:bodyPr>
          <a:lstStyle/>
          <a:p>
            <a:endParaRPr/>
          </a:p>
        </p:txBody>
      </p:sp>
      <p:sp>
        <p:nvSpPr>
          <p:cNvPr id="1186" name="object 1186"/>
          <p:cNvSpPr/>
          <p:nvPr/>
        </p:nvSpPr>
        <p:spPr>
          <a:xfrm>
            <a:off x="8671831" y="1348712"/>
            <a:ext cx="11904" cy="12452"/>
          </a:xfrm>
          <a:custGeom>
            <a:avLst/>
            <a:gdLst/>
            <a:ahLst/>
            <a:cxnLst/>
            <a:rect l="l" t="t" r="r" b="b"/>
            <a:pathLst>
              <a:path w="11904" h="12452">
                <a:moveTo>
                  <a:pt x="9298" y="11656"/>
                </a:moveTo>
                <a:lnTo>
                  <a:pt x="8333" y="12149"/>
                </a:lnTo>
                <a:lnTo>
                  <a:pt x="4761" y="11237"/>
                </a:lnTo>
                <a:lnTo>
                  <a:pt x="7142" y="12452"/>
                </a:lnTo>
                <a:lnTo>
                  <a:pt x="9523" y="12452"/>
                </a:lnTo>
                <a:lnTo>
                  <a:pt x="10119" y="12149"/>
                </a:lnTo>
                <a:lnTo>
                  <a:pt x="10714" y="10934"/>
                </a:lnTo>
                <a:lnTo>
                  <a:pt x="11904" y="1518"/>
                </a:lnTo>
                <a:lnTo>
                  <a:pt x="6547" y="0"/>
                </a:lnTo>
                <a:lnTo>
                  <a:pt x="2380" y="2429"/>
                </a:lnTo>
                <a:lnTo>
                  <a:pt x="595" y="4555"/>
                </a:lnTo>
                <a:lnTo>
                  <a:pt x="0" y="6074"/>
                </a:lnTo>
                <a:lnTo>
                  <a:pt x="9298" y="11656"/>
                </a:lnTo>
                <a:close/>
              </a:path>
            </a:pathLst>
          </a:custGeom>
          <a:solidFill>
            <a:srgbClr val="FFFFFF"/>
          </a:solidFill>
        </p:spPr>
        <p:txBody>
          <a:bodyPr wrap="square" lIns="0" tIns="0" rIns="0" bIns="0" rtlCol="0">
            <a:noAutofit/>
          </a:bodyPr>
          <a:lstStyle/>
          <a:p>
            <a:endParaRPr/>
          </a:p>
        </p:txBody>
      </p:sp>
      <p:sp>
        <p:nvSpPr>
          <p:cNvPr id="1187" name="object 1187"/>
          <p:cNvSpPr/>
          <p:nvPr/>
        </p:nvSpPr>
        <p:spPr>
          <a:xfrm>
            <a:off x="8681950" y="1359951"/>
            <a:ext cx="1190" cy="911"/>
          </a:xfrm>
          <a:custGeom>
            <a:avLst/>
            <a:gdLst/>
            <a:ahLst/>
            <a:cxnLst/>
            <a:rect l="l" t="t" r="r" b="b"/>
            <a:pathLst>
              <a:path w="1190" h="911">
                <a:moveTo>
                  <a:pt x="1190" y="303"/>
                </a:moveTo>
                <a:lnTo>
                  <a:pt x="595" y="0"/>
                </a:lnTo>
                <a:lnTo>
                  <a:pt x="0" y="911"/>
                </a:lnTo>
                <a:lnTo>
                  <a:pt x="1190" y="303"/>
                </a:lnTo>
                <a:close/>
              </a:path>
            </a:pathLst>
          </a:custGeom>
          <a:solidFill>
            <a:srgbClr val="FFFFFF"/>
          </a:solidFill>
        </p:spPr>
        <p:txBody>
          <a:bodyPr wrap="square" lIns="0" tIns="0" rIns="0" bIns="0" rtlCol="0">
            <a:noAutofit/>
          </a:bodyPr>
          <a:lstStyle/>
          <a:p>
            <a:endParaRPr/>
          </a:p>
        </p:txBody>
      </p:sp>
      <p:sp>
        <p:nvSpPr>
          <p:cNvPr id="1188" name="object 1188"/>
          <p:cNvSpPr/>
          <p:nvPr/>
        </p:nvSpPr>
        <p:spPr>
          <a:xfrm>
            <a:off x="8681950" y="1350230"/>
            <a:ext cx="4166" cy="10630"/>
          </a:xfrm>
          <a:custGeom>
            <a:avLst/>
            <a:gdLst/>
            <a:ahLst/>
            <a:cxnLst/>
            <a:rect l="l" t="t" r="r" b="b"/>
            <a:pathLst>
              <a:path w="4166" h="10630">
                <a:moveTo>
                  <a:pt x="0" y="10630"/>
                </a:moveTo>
                <a:lnTo>
                  <a:pt x="595" y="9719"/>
                </a:lnTo>
                <a:lnTo>
                  <a:pt x="1190" y="10022"/>
                </a:lnTo>
                <a:lnTo>
                  <a:pt x="2976" y="8504"/>
                </a:lnTo>
                <a:lnTo>
                  <a:pt x="3869" y="6378"/>
                </a:lnTo>
                <a:lnTo>
                  <a:pt x="4166" y="4252"/>
                </a:lnTo>
                <a:lnTo>
                  <a:pt x="3571" y="2126"/>
                </a:lnTo>
                <a:lnTo>
                  <a:pt x="1785" y="0"/>
                </a:lnTo>
                <a:lnTo>
                  <a:pt x="595" y="9415"/>
                </a:lnTo>
                <a:lnTo>
                  <a:pt x="0" y="10630"/>
                </a:lnTo>
                <a:close/>
              </a:path>
            </a:pathLst>
          </a:custGeom>
          <a:solidFill>
            <a:srgbClr val="FFFFFF"/>
          </a:solidFill>
        </p:spPr>
        <p:txBody>
          <a:bodyPr wrap="square" lIns="0" tIns="0" rIns="0" bIns="0" rtlCol="0">
            <a:noAutofit/>
          </a:bodyPr>
          <a:lstStyle/>
          <a:p>
            <a:endParaRPr/>
          </a:p>
        </p:txBody>
      </p:sp>
      <p:sp>
        <p:nvSpPr>
          <p:cNvPr id="1189" name="object 1189"/>
          <p:cNvSpPr/>
          <p:nvPr/>
        </p:nvSpPr>
        <p:spPr>
          <a:xfrm>
            <a:off x="8676296" y="1350535"/>
            <a:ext cx="55059" cy="48899"/>
          </a:xfrm>
          <a:custGeom>
            <a:avLst/>
            <a:gdLst/>
            <a:ahLst/>
            <a:cxnLst/>
            <a:rect l="l" t="t" r="r" b="b"/>
            <a:pathLst>
              <a:path w="55059" h="48899">
                <a:moveTo>
                  <a:pt x="51190" y="44343"/>
                </a:moveTo>
                <a:lnTo>
                  <a:pt x="55059" y="39788"/>
                </a:lnTo>
                <a:lnTo>
                  <a:pt x="7738" y="0"/>
                </a:lnTo>
                <a:lnTo>
                  <a:pt x="0" y="9111"/>
                </a:lnTo>
                <a:lnTo>
                  <a:pt x="47321" y="48899"/>
                </a:lnTo>
                <a:lnTo>
                  <a:pt x="51190" y="44343"/>
                </a:lnTo>
                <a:close/>
              </a:path>
            </a:pathLst>
          </a:custGeom>
          <a:solidFill>
            <a:srgbClr val="FFFFFF"/>
          </a:solidFill>
        </p:spPr>
        <p:txBody>
          <a:bodyPr wrap="square" lIns="0" tIns="0" rIns="0" bIns="0" rtlCol="0">
            <a:noAutofit/>
          </a:bodyPr>
          <a:lstStyle/>
          <a:p>
            <a:endParaRPr/>
          </a:p>
        </p:txBody>
      </p:sp>
      <p:sp>
        <p:nvSpPr>
          <p:cNvPr id="1190" name="object 1190"/>
          <p:cNvSpPr/>
          <p:nvPr/>
        </p:nvSpPr>
        <p:spPr>
          <a:xfrm>
            <a:off x="8723617" y="1390322"/>
            <a:ext cx="9821" cy="10630"/>
          </a:xfrm>
          <a:custGeom>
            <a:avLst/>
            <a:gdLst/>
            <a:ahLst/>
            <a:cxnLst/>
            <a:rect l="l" t="t" r="r" b="b"/>
            <a:pathLst>
              <a:path w="9821" h="10630">
                <a:moveTo>
                  <a:pt x="0" y="9111"/>
                </a:moveTo>
                <a:lnTo>
                  <a:pt x="2380" y="10326"/>
                </a:lnTo>
                <a:lnTo>
                  <a:pt x="4464" y="10630"/>
                </a:lnTo>
                <a:lnTo>
                  <a:pt x="6547" y="9719"/>
                </a:lnTo>
                <a:lnTo>
                  <a:pt x="8333" y="8504"/>
                </a:lnTo>
                <a:lnTo>
                  <a:pt x="9523" y="6378"/>
                </a:lnTo>
                <a:lnTo>
                  <a:pt x="9821" y="4252"/>
                </a:lnTo>
                <a:lnTo>
                  <a:pt x="9226" y="2126"/>
                </a:lnTo>
                <a:lnTo>
                  <a:pt x="7738" y="0"/>
                </a:lnTo>
                <a:lnTo>
                  <a:pt x="0" y="9111"/>
                </a:lnTo>
                <a:close/>
              </a:path>
            </a:pathLst>
          </a:custGeom>
          <a:solidFill>
            <a:srgbClr val="FFFFFF"/>
          </a:solidFill>
        </p:spPr>
        <p:txBody>
          <a:bodyPr wrap="square" lIns="0" tIns="0" rIns="0" bIns="0" rtlCol="0">
            <a:noAutofit/>
          </a:bodyPr>
          <a:lstStyle/>
          <a:p>
            <a:endParaRPr/>
          </a:p>
        </p:txBody>
      </p:sp>
      <p:sp>
        <p:nvSpPr>
          <p:cNvPr id="1191" name="object 1191"/>
          <p:cNvSpPr/>
          <p:nvPr/>
        </p:nvSpPr>
        <p:spPr>
          <a:xfrm>
            <a:off x="8667368" y="1358128"/>
            <a:ext cx="9523" cy="42825"/>
          </a:xfrm>
          <a:custGeom>
            <a:avLst/>
            <a:gdLst/>
            <a:ahLst/>
            <a:cxnLst/>
            <a:rect l="l" t="t" r="r" b="b"/>
            <a:pathLst>
              <a:path w="9523" h="42825">
                <a:moveTo>
                  <a:pt x="297" y="37965"/>
                </a:moveTo>
                <a:lnTo>
                  <a:pt x="0" y="42825"/>
                </a:lnTo>
                <a:lnTo>
                  <a:pt x="1190" y="37358"/>
                </a:lnTo>
                <a:lnTo>
                  <a:pt x="2083" y="32194"/>
                </a:lnTo>
                <a:lnTo>
                  <a:pt x="3273" y="26727"/>
                </a:lnTo>
                <a:lnTo>
                  <a:pt x="4166" y="21260"/>
                </a:lnTo>
                <a:lnTo>
                  <a:pt x="5357" y="15793"/>
                </a:lnTo>
                <a:lnTo>
                  <a:pt x="6547" y="10630"/>
                </a:lnTo>
                <a:lnTo>
                  <a:pt x="7738" y="5163"/>
                </a:lnTo>
                <a:lnTo>
                  <a:pt x="9523" y="0"/>
                </a:lnTo>
                <a:lnTo>
                  <a:pt x="7738" y="4859"/>
                </a:lnTo>
                <a:lnTo>
                  <a:pt x="5952" y="10022"/>
                </a:lnTo>
                <a:lnTo>
                  <a:pt x="4464" y="15793"/>
                </a:lnTo>
                <a:lnTo>
                  <a:pt x="2976" y="21260"/>
                </a:lnTo>
                <a:lnTo>
                  <a:pt x="1785" y="27031"/>
                </a:lnTo>
                <a:lnTo>
                  <a:pt x="892" y="32802"/>
                </a:lnTo>
                <a:lnTo>
                  <a:pt x="297" y="37965"/>
                </a:lnTo>
                <a:close/>
              </a:path>
            </a:pathLst>
          </a:custGeom>
          <a:solidFill>
            <a:srgbClr val="FFFFFF"/>
          </a:solidFill>
        </p:spPr>
        <p:txBody>
          <a:bodyPr wrap="square" lIns="0" tIns="0" rIns="0" bIns="0" rtlCol="0">
            <a:noAutofit/>
          </a:bodyPr>
          <a:lstStyle/>
          <a:p>
            <a:endParaRPr/>
          </a:p>
        </p:txBody>
      </p:sp>
      <p:sp>
        <p:nvSpPr>
          <p:cNvPr id="1192" name="object 1192"/>
          <p:cNvSpPr/>
          <p:nvPr/>
        </p:nvSpPr>
        <p:spPr>
          <a:xfrm>
            <a:off x="8710225" y="1320466"/>
            <a:ext cx="31249" cy="2429"/>
          </a:xfrm>
          <a:custGeom>
            <a:avLst/>
            <a:gdLst/>
            <a:ahLst/>
            <a:cxnLst/>
            <a:rect l="l" t="t" r="r" b="b"/>
            <a:pathLst>
              <a:path w="31249" h="2429">
                <a:moveTo>
                  <a:pt x="3869" y="2429"/>
                </a:moveTo>
                <a:lnTo>
                  <a:pt x="7738" y="2126"/>
                </a:lnTo>
                <a:lnTo>
                  <a:pt x="11607" y="1822"/>
                </a:lnTo>
                <a:lnTo>
                  <a:pt x="15476" y="1518"/>
                </a:lnTo>
                <a:lnTo>
                  <a:pt x="23214" y="1518"/>
                </a:lnTo>
                <a:lnTo>
                  <a:pt x="27380" y="1822"/>
                </a:lnTo>
                <a:lnTo>
                  <a:pt x="31249" y="2429"/>
                </a:lnTo>
                <a:lnTo>
                  <a:pt x="27380" y="1518"/>
                </a:lnTo>
                <a:lnTo>
                  <a:pt x="23511" y="607"/>
                </a:lnTo>
                <a:lnTo>
                  <a:pt x="19345" y="303"/>
                </a:lnTo>
                <a:lnTo>
                  <a:pt x="15178" y="0"/>
                </a:lnTo>
                <a:lnTo>
                  <a:pt x="11011" y="303"/>
                </a:lnTo>
                <a:lnTo>
                  <a:pt x="6845" y="607"/>
                </a:lnTo>
                <a:lnTo>
                  <a:pt x="3273" y="1518"/>
                </a:lnTo>
                <a:lnTo>
                  <a:pt x="0" y="2429"/>
                </a:lnTo>
                <a:lnTo>
                  <a:pt x="3869" y="2429"/>
                </a:lnTo>
                <a:close/>
              </a:path>
            </a:pathLst>
          </a:custGeom>
          <a:solidFill>
            <a:srgbClr val="FFFFFF"/>
          </a:solidFill>
        </p:spPr>
        <p:txBody>
          <a:bodyPr wrap="square" lIns="0" tIns="0" rIns="0" bIns="0" rtlCol="0">
            <a:noAutofit/>
          </a:bodyPr>
          <a:lstStyle/>
          <a:p>
            <a:endParaRPr/>
          </a:p>
        </p:txBody>
      </p:sp>
      <p:sp>
        <p:nvSpPr>
          <p:cNvPr id="1193" name="object 1193"/>
          <p:cNvSpPr/>
          <p:nvPr/>
        </p:nvSpPr>
        <p:spPr>
          <a:xfrm>
            <a:off x="8680165" y="1457445"/>
            <a:ext cx="24999" cy="26424"/>
          </a:xfrm>
          <a:custGeom>
            <a:avLst/>
            <a:gdLst/>
            <a:ahLst/>
            <a:cxnLst/>
            <a:rect l="l" t="t" r="r" b="b"/>
            <a:pathLst>
              <a:path w="24999" h="26424">
                <a:moveTo>
                  <a:pt x="0" y="0"/>
                </a:moveTo>
                <a:lnTo>
                  <a:pt x="2678" y="3948"/>
                </a:lnTo>
                <a:lnTo>
                  <a:pt x="5654" y="8200"/>
                </a:lnTo>
                <a:lnTo>
                  <a:pt x="8630" y="11845"/>
                </a:lnTo>
                <a:lnTo>
                  <a:pt x="12202" y="15793"/>
                </a:lnTo>
                <a:lnTo>
                  <a:pt x="15476" y="19134"/>
                </a:lnTo>
                <a:lnTo>
                  <a:pt x="18749" y="22171"/>
                </a:lnTo>
                <a:lnTo>
                  <a:pt x="22023" y="24601"/>
                </a:lnTo>
                <a:lnTo>
                  <a:pt x="24999" y="26424"/>
                </a:lnTo>
                <a:lnTo>
                  <a:pt x="21726" y="23083"/>
                </a:lnTo>
                <a:lnTo>
                  <a:pt x="18749" y="20045"/>
                </a:lnTo>
                <a:lnTo>
                  <a:pt x="15476" y="17008"/>
                </a:lnTo>
                <a:lnTo>
                  <a:pt x="12202" y="13971"/>
                </a:lnTo>
                <a:lnTo>
                  <a:pt x="9226" y="10934"/>
                </a:lnTo>
                <a:lnTo>
                  <a:pt x="5952" y="7593"/>
                </a:lnTo>
                <a:lnTo>
                  <a:pt x="2976" y="3948"/>
                </a:lnTo>
                <a:lnTo>
                  <a:pt x="0" y="0"/>
                </a:lnTo>
                <a:close/>
              </a:path>
            </a:pathLst>
          </a:custGeom>
          <a:solidFill>
            <a:srgbClr val="FFFFFF"/>
          </a:solidFill>
        </p:spPr>
        <p:txBody>
          <a:bodyPr wrap="square" lIns="0" tIns="0" rIns="0" bIns="0" rtlCol="0">
            <a:noAutofit/>
          </a:bodyPr>
          <a:lstStyle/>
          <a:p>
            <a:endParaRPr/>
          </a:p>
        </p:txBody>
      </p:sp>
      <p:sp>
        <p:nvSpPr>
          <p:cNvPr id="1194" name="object 1194"/>
          <p:cNvSpPr/>
          <p:nvPr/>
        </p:nvSpPr>
        <p:spPr>
          <a:xfrm>
            <a:off x="8774808" y="1358128"/>
            <a:ext cx="9523" cy="42521"/>
          </a:xfrm>
          <a:custGeom>
            <a:avLst/>
            <a:gdLst/>
            <a:ahLst/>
            <a:cxnLst/>
            <a:rect l="l" t="t" r="r" b="b"/>
            <a:pathLst>
              <a:path w="9523" h="42521">
                <a:moveTo>
                  <a:pt x="0" y="0"/>
                </a:moveTo>
                <a:lnTo>
                  <a:pt x="1190" y="5163"/>
                </a:lnTo>
                <a:lnTo>
                  <a:pt x="2678" y="10630"/>
                </a:lnTo>
                <a:lnTo>
                  <a:pt x="3869" y="15793"/>
                </a:lnTo>
                <a:lnTo>
                  <a:pt x="5357" y="20957"/>
                </a:lnTo>
                <a:lnTo>
                  <a:pt x="6547" y="26120"/>
                </a:lnTo>
                <a:lnTo>
                  <a:pt x="7738" y="31587"/>
                </a:lnTo>
                <a:lnTo>
                  <a:pt x="8630" y="37054"/>
                </a:lnTo>
                <a:lnTo>
                  <a:pt x="9523" y="42521"/>
                </a:lnTo>
                <a:lnTo>
                  <a:pt x="8928" y="37054"/>
                </a:lnTo>
                <a:lnTo>
                  <a:pt x="8333" y="31283"/>
                </a:lnTo>
                <a:lnTo>
                  <a:pt x="7440" y="25512"/>
                </a:lnTo>
                <a:lnTo>
                  <a:pt x="6249" y="19742"/>
                </a:lnTo>
                <a:lnTo>
                  <a:pt x="4761" y="14275"/>
                </a:lnTo>
                <a:lnTo>
                  <a:pt x="3273" y="8808"/>
                </a:lnTo>
                <a:lnTo>
                  <a:pt x="1785" y="4252"/>
                </a:lnTo>
                <a:lnTo>
                  <a:pt x="0" y="0"/>
                </a:lnTo>
                <a:close/>
              </a:path>
            </a:pathLst>
          </a:custGeom>
          <a:solidFill>
            <a:srgbClr val="FFFFFF"/>
          </a:solidFill>
        </p:spPr>
        <p:txBody>
          <a:bodyPr wrap="square" lIns="0" tIns="0" rIns="0" bIns="0" rtlCol="0">
            <a:noAutofit/>
          </a:bodyPr>
          <a:lstStyle/>
          <a:p>
            <a:endParaRPr/>
          </a:p>
        </p:txBody>
      </p:sp>
      <p:sp>
        <p:nvSpPr>
          <p:cNvPr id="1195" name="object 1195"/>
          <p:cNvSpPr/>
          <p:nvPr/>
        </p:nvSpPr>
        <p:spPr>
          <a:xfrm>
            <a:off x="8746534" y="1457445"/>
            <a:ext cx="24999" cy="26424"/>
          </a:xfrm>
          <a:custGeom>
            <a:avLst/>
            <a:gdLst/>
            <a:ahLst/>
            <a:cxnLst/>
            <a:rect l="l" t="t" r="r" b="b"/>
            <a:pathLst>
              <a:path w="24999" h="26424">
                <a:moveTo>
                  <a:pt x="9821" y="17312"/>
                </a:moveTo>
                <a:lnTo>
                  <a:pt x="6845" y="20349"/>
                </a:lnTo>
                <a:lnTo>
                  <a:pt x="3571" y="23690"/>
                </a:lnTo>
                <a:lnTo>
                  <a:pt x="0" y="26424"/>
                </a:lnTo>
                <a:lnTo>
                  <a:pt x="3571" y="23994"/>
                </a:lnTo>
                <a:lnTo>
                  <a:pt x="6845" y="21260"/>
                </a:lnTo>
                <a:lnTo>
                  <a:pt x="10416" y="18223"/>
                </a:lnTo>
                <a:lnTo>
                  <a:pt x="13988" y="14578"/>
                </a:lnTo>
                <a:lnTo>
                  <a:pt x="17261" y="11237"/>
                </a:lnTo>
                <a:lnTo>
                  <a:pt x="20238" y="7289"/>
                </a:lnTo>
                <a:lnTo>
                  <a:pt x="22916" y="3644"/>
                </a:lnTo>
                <a:lnTo>
                  <a:pt x="24999" y="0"/>
                </a:lnTo>
                <a:lnTo>
                  <a:pt x="22023" y="3340"/>
                </a:lnTo>
                <a:lnTo>
                  <a:pt x="19047" y="6681"/>
                </a:lnTo>
                <a:lnTo>
                  <a:pt x="16071" y="10326"/>
                </a:lnTo>
                <a:lnTo>
                  <a:pt x="13095" y="13667"/>
                </a:lnTo>
                <a:lnTo>
                  <a:pt x="9821" y="17312"/>
                </a:lnTo>
                <a:close/>
              </a:path>
            </a:pathLst>
          </a:custGeom>
          <a:solidFill>
            <a:srgbClr val="FFFFFF"/>
          </a:solidFill>
        </p:spPr>
        <p:txBody>
          <a:bodyPr wrap="square" lIns="0" tIns="0" rIns="0" bIns="0" rtlCol="0">
            <a:noAutofit/>
          </a:bodyPr>
          <a:lstStyle/>
          <a:p>
            <a:endParaRPr/>
          </a:p>
        </p:txBody>
      </p:sp>
      <p:sp>
        <p:nvSpPr>
          <p:cNvPr id="1196" name="object 1196"/>
          <p:cNvSpPr/>
          <p:nvPr/>
        </p:nvSpPr>
        <p:spPr>
          <a:xfrm>
            <a:off x="8678081" y="1455319"/>
            <a:ext cx="27976" cy="30372"/>
          </a:xfrm>
          <a:custGeom>
            <a:avLst/>
            <a:gdLst/>
            <a:ahLst/>
            <a:cxnLst/>
            <a:rect l="l" t="t" r="r" b="b"/>
            <a:pathLst>
              <a:path w="27976" h="30372">
                <a:moveTo>
                  <a:pt x="892" y="303"/>
                </a:moveTo>
                <a:lnTo>
                  <a:pt x="0" y="1518"/>
                </a:lnTo>
                <a:lnTo>
                  <a:pt x="297" y="3340"/>
                </a:lnTo>
                <a:lnTo>
                  <a:pt x="2976" y="7289"/>
                </a:lnTo>
                <a:lnTo>
                  <a:pt x="5952" y="11541"/>
                </a:lnTo>
                <a:lnTo>
                  <a:pt x="9226" y="15490"/>
                </a:lnTo>
                <a:lnTo>
                  <a:pt x="12797" y="19438"/>
                </a:lnTo>
                <a:lnTo>
                  <a:pt x="16071" y="22779"/>
                </a:lnTo>
                <a:lnTo>
                  <a:pt x="19642" y="25816"/>
                </a:lnTo>
                <a:lnTo>
                  <a:pt x="22916" y="28550"/>
                </a:lnTo>
                <a:lnTo>
                  <a:pt x="26190" y="30372"/>
                </a:lnTo>
                <a:lnTo>
                  <a:pt x="27976" y="26727"/>
                </a:lnTo>
                <a:lnTo>
                  <a:pt x="25297" y="24905"/>
                </a:lnTo>
                <a:lnTo>
                  <a:pt x="22023" y="22779"/>
                </a:lnTo>
                <a:lnTo>
                  <a:pt x="19047" y="19742"/>
                </a:lnTo>
                <a:lnTo>
                  <a:pt x="15773" y="16401"/>
                </a:lnTo>
                <a:lnTo>
                  <a:pt x="12202" y="12452"/>
                </a:lnTo>
                <a:lnTo>
                  <a:pt x="9523" y="9111"/>
                </a:lnTo>
                <a:lnTo>
                  <a:pt x="6547" y="4859"/>
                </a:lnTo>
                <a:lnTo>
                  <a:pt x="3869" y="911"/>
                </a:lnTo>
                <a:lnTo>
                  <a:pt x="2380" y="0"/>
                </a:lnTo>
                <a:lnTo>
                  <a:pt x="892" y="303"/>
                </a:lnTo>
                <a:close/>
              </a:path>
            </a:pathLst>
          </a:custGeom>
          <a:solidFill>
            <a:srgbClr val="FFFFFF"/>
          </a:solidFill>
        </p:spPr>
        <p:txBody>
          <a:bodyPr wrap="square" lIns="0" tIns="0" rIns="0" bIns="0" rtlCol="0">
            <a:noAutofit/>
          </a:bodyPr>
          <a:lstStyle/>
          <a:p>
            <a:endParaRPr/>
          </a:p>
        </p:txBody>
      </p:sp>
      <p:sp>
        <p:nvSpPr>
          <p:cNvPr id="1197" name="object 1197"/>
          <p:cNvSpPr/>
          <p:nvPr/>
        </p:nvSpPr>
        <p:spPr>
          <a:xfrm>
            <a:off x="8703676" y="1482048"/>
            <a:ext cx="2380" cy="3597"/>
          </a:xfrm>
          <a:custGeom>
            <a:avLst/>
            <a:gdLst/>
            <a:ahLst/>
            <a:cxnLst/>
            <a:rect l="l" t="t" r="r" b="b"/>
            <a:pathLst>
              <a:path w="2380" h="3597">
                <a:moveTo>
                  <a:pt x="628" y="3597"/>
                </a:moveTo>
                <a:lnTo>
                  <a:pt x="2380" y="0"/>
                </a:lnTo>
                <a:lnTo>
                  <a:pt x="0" y="3340"/>
                </a:lnTo>
                <a:lnTo>
                  <a:pt x="628" y="3597"/>
                </a:lnTo>
                <a:close/>
              </a:path>
            </a:pathLst>
          </a:custGeom>
          <a:solidFill>
            <a:srgbClr val="FFFFFF"/>
          </a:solidFill>
        </p:spPr>
        <p:txBody>
          <a:bodyPr wrap="square" lIns="0" tIns="0" rIns="0" bIns="0" rtlCol="0">
            <a:noAutofit/>
          </a:bodyPr>
          <a:lstStyle/>
          <a:p>
            <a:endParaRPr/>
          </a:p>
        </p:txBody>
      </p:sp>
      <p:sp>
        <p:nvSpPr>
          <p:cNvPr id="1198" name="object 1198"/>
          <p:cNvSpPr/>
          <p:nvPr/>
        </p:nvSpPr>
        <p:spPr>
          <a:xfrm>
            <a:off x="8678378" y="1456232"/>
            <a:ext cx="28868" cy="29765"/>
          </a:xfrm>
          <a:custGeom>
            <a:avLst/>
            <a:gdLst/>
            <a:ahLst/>
            <a:cxnLst/>
            <a:rect l="l" t="t" r="r" b="b"/>
            <a:pathLst>
              <a:path w="28868" h="29765">
                <a:moveTo>
                  <a:pt x="12499" y="10630"/>
                </a:moveTo>
                <a:lnTo>
                  <a:pt x="9226" y="7289"/>
                </a:lnTo>
                <a:lnTo>
                  <a:pt x="6249" y="3948"/>
                </a:lnTo>
                <a:lnTo>
                  <a:pt x="3571" y="0"/>
                </a:lnTo>
                <a:lnTo>
                  <a:pt x="0" y="2429"/>
                </a:lnTo>
                <a:lnTo>
                  <a:pt x="3273" y="6378"/>
                </a:lnTo>
                <a:lnTo>
                  <a:pt x="6249" y="10326"/>
                </a:lnTo>
                <a:lnTo>
                  <a:pt x="9523" y="13667"/>
                </a:lnTo>
                <a:lnTo>
                  <a:pt x="12499" y="16704"/>
                </a:lnTo>
                <a:lnTo>
                  <a:pt x="15773" y="19742"/>
                </a:lnTo>
                <a:lnTo>
                  <a:pt x="19047" y="22779"/>
                </a:lnTo>
                <a:lnTo>
                  <a:pt x="22023" y="25816"/>
                </a:lnTo>
                <a:lnTo>
                  <a:pt x="25297" y="29157"/>
                </a:lnTo>
                <a:lnTo>
                  <a:pt x="27678" y="25816"/>
                </a:lnTo>
                <a:lnTo>
                  <a:pt x="25926" y="29414"/>
                </a:lnTo>
                <a:lnTo>
                  <a:pt x="26785" y="29765"/>
                </a:lnTo>
                <a:lnTo>
                  <a:pt x="28273" y="28853"/>
                </a:lnTo>
                <a:lnTo>
                  <a:pt x="28868" y="27639"/>
                </a:lnTo>
                <a:lnTo>
                  <a:pt x="28273" y="26120"/>
                </a:lnTo>
                <a:lnTo>
                  <a:pt x="24999" y="22779"/>
                </a:lnTo>
                <a:lnTo>
                  <a:pt x="22023" y="19742"/>
                </a:lnTo>
                <a:lnTo>
                  <a:pt x="18749" y="16704"/>
                </a:lnTo>
                <a:lnTo>
                  <a:pt x="15476" y="13667"/>
                </a:lnTo>
                <a:lnTo>
                  <a:pt x="12499" y="10630"/>
                </a:lnTo>
                <a:close/>
              </a:path>
            </a:pathLst>
          </a:custGeom>
          <a:solidFill>
            <a:srgbClr val="FFFFFF"/>
          </a:solidFill>
        </p:spPr>
        <p:txBody>
          <a:bodyPr wrap="square" lIns="0" tIns="0" rIns="0" bIns="0" rtlCol="0">
            <a:noAutofit/>
          </a:bodyPr>
          <a:lstStyle/>
          <a:p>
            <a:endParaRPr/>
          </a:p>
        </p:txBody>
      </p:sp>
      <p:sp>
        <p:nvSpPr>
          <p:cNvPr id="1199" name="object 1199"/>
          <p:cNvSpPr/>
          <p:nvPr/>
        </p:nvSpPr>
        <p:spPr>
          <a:xfrm>
            <a:off x="8744450" y="1456535"/>
            <a:ext cx="28868" cy="29461"/>
          </a:xfrm>
          <a:custGeom>
            <a:avLst/>
            <a:gdLst/>
            <a:ahLst/>
            <a:cxnLst/>
            <a:rect l="l" t="t" r="r" b="b"/>
            <a:pathLst>
              <a:path w="28868" h="29461">
                <a:moveTo>
                  <a:pt x="25297" y="0"/>
                </a:moveTo>
                <a:lnTo>
                  <a:pt x="23214" y="3340"/>
                </a:lnTo>
                <a:lnTo>
                  <a:pt x="20535" y="6985"/>
                </a:lnTo>
                <a:lnTo>
                  <a:pt x="17857" y="10630"/>
                </a:lnTo>
                <a:lnTo>
                  <a:pt x="14583" y="13971"/>
                </a:lnTo>
                <a:lnTo>
                  <a:pt x="11011" y="17616"/>
                </a:lnTo>
                <a:lnTo>
                  <a:pt x="7738" y="20653"/>
                </a:lnTo>
                <a:lnTo>
                  <a:pt x="4464" y="23083"/>
                </a:lnTo>
                <a:lnTo>
                  <a:pt x="892" y="25512"/>
                </a:lnTo>
                <a:lnTo>
                  <a:pt x="0" y="27031"/>
                </a:lnTo>
                <a:lnTo>
                  <a:pt x="297" y="28550"/>
                </a:lnTo>
                <a:lnTo>
                  <a:pt x="1488" y="29461"/>
                </a:lnTo>
                <a:lnTo>
                  <a:pt x="3273" y="29157"/>
                </a:lnTo>
                <a:lnTo>
                  <a:pt x="6845" y="26727"/>
                </a:lnTo>
                <a:lnTo>
                  <a:pt x="10119" y="23690"/>
                </a:lnTo>
                <a:lnTo>
                  <a:pt x="13988" y="20653"/>
                </a:lnTo>
                <a:lnTo>
                  <a:pt x="17559" y="17008"/>
                </a:lnTo>
                <a:lnTo>
                  <a:pt x="20833" y="13667"/>
                </a:lnTo>
                <a:lnTo>
                  <a:pt x="24107" y="9415"/>
                </a:lnTo>
                <a:lnTo>
                  <a:pt x="26785" y="5770"/>
                </a:lnTo>
                <a:lnTo>
                  <a:pt x="28868" y="1822"/>
                </a:lnTo>
                <a:lnTo>
                  <a:pt x="25297" y="0"/>
                </a:lnTo>
                <a:close/>
              </a:path>
            </a:pathLst>
          </a:custGeom>
          <a:solidFill>
            <a:srgbClr val="FFFFFF"/>
          </a:solidFill>
        </p:spPr>
        <p:txBody>
          <a:bodyPr wrap="square" lIns="0" tIns="0" rIns="0" bIns="0" rtlCol="0">
            <a:noAutofit/>
          </a:bodyPr>
          <a:lstStyle/>
          <a:p>
            <a:endParaRPr/>
          </a:p>
        </p:txBody>
      </p:sp>
      <p:sp>
        <p:nvSpPr>
          <p:cNvPr id="1200" name="object 1200"/>
          <p:cNvSpPr/>
          <p:nvPr/>
        </p:nvSpPr>
        <p:spPr>
          <a:xfrm>
            <a:off x="8767069" y="1455927"/>
            <a:ext cx="2976" cy="3340"/>
          </a:xfrm>
          <a:custGeom>
            <a:avLst/>
            <a:gdLst/>
            <a:ahLst/>
            <a:cxnLst/>
            <a:rect l="l" t="t" r="r" b="b"/>
            <a:pathLst>
              <a:path w="2976" h="3340">
                <a:moveTo>
                  <a:pt x="2678" y="607"/>
                </a:moveTo>
                <a:lnTo>
                  <a:pt x="2976" y="0"/>
                </a:lnTo>
                <a:lnTo>
                  <a:pt x="0" y="3340"/>
                </a:lnTo>
                <a:lnTo>
                  <a:pt x="2678" y="607"/>
                </a:lnTo>
                <a:close/>
              </a:path>
            </a:pathLst>
          </a:custGeom>
          <a:solidFill>
            <a:srgbClr val="FFFFFF"/>
          </a:solidFill>
        </p:spPr>
        <p:txBody>
          <a:bodyPr wrap="square" lIns="0" tIns="0" rIns="0" bIns="0" rtlCol="0">
            <a:noAutofit/>
          </a:bodyPr>
          <a:lstStyle/>
          <a:p>
            <a:endParaRPr/>
          </a:p>
        </p:txBody>
      </p:sp>
      <p:sp>
        <p:nvSpPr>
          <p:cNvPr id="1201" name="object 1201"/>
          <p:cNvSpPr/>
          <p:nvPr/>
        </p:nvSpPr>
        <p:spPr>
          <a:xfrm>
            <a:off x="8745343" y="1455319"/>
            <a:ext cx="28273" cy="30372"/>
          </a:xfrm>
          <a:custGeom>
            <a:avLst/>
            <a:gdLst/>
            <a:ahLst/>
            <a:cxnLst/>
            <a:rect l="l" t="t" r="r" b="b"/>
            <a:pathLst>
              <a:path w="28273" h="30372">
                <a:moveTo>
                  <a:pt x="27929" y="3003"/>
                </a:moveTo>
                <a:lnTo>
                  <a:pt x="28273" y="2126"/>
                </a:lnTo>
                <a:lnTo>
                  <a:pt x="27678" y="607"/>
                </a:lnTo>
                <a:lnTo>
                  <a:pt x="26190" y="0"/>
                </a:lnTo>
                <a:lnTo>
                  <a:pt x="24702" y="607"/>
                </a:lnTo>
                <a:lnTo>
                  <a:pt x="24404" y="1214"/>
                </a:lnTo>
                <a:lnTo>
                  <a:pt x="21726" y="3948"/>
                </a:lnTo>
                <a:lnTo>
                  <a:pt x="18749" y="7289"/>
                </a:lnTo>
                <a:lnTo>
                  <a:pt x="15773" y="10934"/>
                </a:lnTo>
                <a:lnTo>
                  <a:pt x="12797" y="14275"/>
                </a:lnTo>
                <a:lnTo>
                  <a:pt x="9523" y="17919"/>
                </a:lnTo>
                <a:lnTo>
                  <a:pt x="6547" y="20957"/>
                </a:lnTo>
                <a:lnTo>
                  <a:pt x="3273" y="24298"/>
                </a:lnTo>
                <a:lnTo>
                  <a:pt x="0" y="26727"/>
                </a:lnTo>
                <a:lnTo>
                  <a:pt x="2380" y="30372"/>
                </a:lnTo>
                <a:lnTo>
                  <a:pt x="6249" y="27335"/>
                </a:lnTo>
                <a:lnTo>
                  <a:pt x="9523" y="23994"/>
                </a:lnTo>
                <a:lnTo>
                  <a:pt x="12499" y="20957"/>
                </a:lnTo>
                <a:lnTo>
                  <a:pt x="15773" y="17312"/>
                </a:lnTo>
                <a:lnTo>
                  <a:pt x="18749" y="13971"/>
                </a:lnTo>
                <a:lnTo>
                  <a:pt x="21726" y="10326"/>
                </a:lnTo>
                <a:lnTo>
                  <a:pt x="24702" y="6985"/>
                </a:lnTo>
                <a:lnTo>
                  <a:pt x="27678" y="3644"/>
                </a:lnTo>
                <a:lnTo>
                  <a:pt x="27929" y="3003"/>
                </a:lnTo>
                <a:close/>
              </a:path>
            </a:pathLst>
          </a:custGeom>
          <a:solidFill>
            <a:srgbClr val="FFFFFF"/>
          </a:solidFill>
        </p:spPr>
        <p:txBody>
          <a:bodyPr wrap="square" lIns="0" tIns="0" rIns="0" bIns="0" rtlCol="0">
            <a:noAutofit/>
          </a:bodyPr>
          <a:lstStyle/>
          <a:p>
            <a:endParaRPr/>
          </a:p>
        </p:txBody>
      </p:sp>
      <p:sp>
        <p:nvSpPr>
          <p:cNvPr id="1202" name="object 1202"/>
          <p:cNvSpPr/>
          <p:nvPr/>
        </p:nvSpPr>
        <p:spPr>
          <a:xfrm>
            <a:off x="8773021" y="1357216"/>
            <a:ext cx="13392" cy="45558"/>
          </a:xfrm>
          <a:custGeom>
            <a:avLst/>
            <a:gdLst/>
            <a:ahLst/>
            <a:cxnLst/>
            <a:rect l="l" t="t" r="r" b="b"/>
            <a:pathLst>
              <a:path w="13392" h="45558">
                <a:moveTo>
                  <a:pt x="13392" y="43432"/>
                </a:moveTo>
                <a:lnTo>
                  <a:pt x="13361" y="43131"/>
                </a:lnTo>
                <a:lnTo>
                  <a:pt x="12797" y="37661"/>
                </a:lnTo>
                <a:lnTo>
                  <a:pt x="12202" y="31891"/>
                </a:lnTo>
                <a:lnTo>
                  <a:pt x="11309" y="26120"/>
                </a:lnTo>
                <a:lnTo>
                  <a:pt x="10119" y="20045"/>
                </a:lnTo>
                <a:lnTo>
                  <a:pt x="8630" y="14578"/>
                </a:lnTo>
                <a:lnTo>
                  <a:pt x="7142" y="9111"/>
                </a:lnTo>
                <a:lnTo>
                  <a:pt x="5654" y="4555"/>
                </a:lnTo>
                <a:lnTo>
                  <a:pt x="3571" y="0"/>
                </a:lnTo>
                <a:lnTo>
                  <a:pt x="0" y="1822"/>
                </a:lnTo>
                <a:lnTo>
                  <a:pt x="1488" y="5770"/>
                </a:lnTo>
                <a:lnTo>
                  <a:pt x="2976" y="10326"/>
                </a:lnTo>
                <a:lnTo>
                  <a:pt x="4464" y="15793"/>
                </a:lnTo>
                <a:lnTo>
                  <a:pt x="5952" y="21260"/>
                </a:lnTo>
                <a:lnTo>
                  <a:pt x="7142" y="26727"/>
                </a:lnTo>
                <a:lnTo>
                  <a:pt x="8035" y="32498"/>
                </a:lnTo>
                <a:lnTo>
                  <a:pt x="8630" y="38269"/>
                </a:lnTo>
                <a:lnTo>
                  <a:pt x="9226" y="43432"/>
                </a:lnTo>
                <a:lnTo>
                  <a:pt x="9341" y="43728"/>
                </a:lnTo>
                <a:lnTo>
                  <a:pt x="9821" y="44951"/>
                </a:lnTo>
                <a:lnTo>
                  <a:pt x="11309" y="45558"/>
                </a:lnTo>
                <a:lnTo>
                  <a:pt x="12797" y="44951"/>
                </a:lnTo>
                <a:lnTo>
                  <a:pt x="13392" y="43432"/>
                </a:lnTo>
                <a:close/>
              </a:path>
            </a:pathLst>
          </a:custGeom>
          <a:solidFill>
            <a:srgbClr val="FFFFFF"/>
          </a:solidFill>
        </p:spPr>
        <p:txBody>
          <a:bodyPr wrap="square" lIns="0" tIns="0" rIns="0" bIns="0" rtlCol="0">
            <a:noAutofit/>
          </a:bodyPr>
          <a:lstStyle/>
          <a:p>
            <a:endParaRPr/>
          </a:p>
        </p:txBody>
      </p:sp>
      <p:sp>
        <p:nvSpPr>
          <p:cNvPr id="1203" name="object 1203"/>
          <p:cNvSpPr/>
          <p:nvPr/>
        </p:nvSpPr>
        <p:spPr>
          <a:xfrm>
            <a:off x="8773022" y="1356002"/>
            <a:ext cx="3869" cy="3037"/>
          </a:xfrm>
          <a:custGeom>
            <a:avLst/>
            <a:gdLst/>
            <a:ahLst/>
            <a:cxnLst/>
            <a:rect l="l" t="t" r="r" b="b"/>
            <a:pathLst>
              <a:path w="3869" h="3037">
                <a:moveTo>
                  <a:pt x="3571" y="1214"/>
                </a:moveTo>
                <a:lnTo>
                  <a:pt x="0" y="3037"/>
                </a:lnTo>
                <a:lnTo>
                  <a:pt x="3869" y="1518"/>
                </a:lnTo>
                <a:lnTo>
                  <a:pt x="2976" y="303"/>
                </a:lnTo>
                <a:lnTo>
                  <a:pt x="1488" y="0"/>
                </a:lnTo>
                <a:lnTo>
                  <a:pt x="3571" y="1214"/>
                </a:lnTo>
                <a:close/>
              </a:path>
            </a:pathLst>
          </a:custGeom>
          <a:solidFill>
            <a:srgbClr val="FFFFFF"/>
          </a:solidFill>
        </p:spPr>
        <p:txBody>
          <a:bodyPr wrap="square" lIns="0" tIns="0" rIns="0" bIns="0" rtlCol="0">
            <a:noAutofit/>
          </a:bodyPr>
          <a:lstStyle/>
          <a:p>
            <a:endParaRPr/>
          </a:p>
        </p:txBody>
      </p:sp>
      <p:sp>
        <p:nvSpPr>
          <p:cNvPr id="1204" name="object 1204"/>
          <p:cNvSpPr/>
          <p:nvPr/>
        </p:nvSpPr>
        <p:spPr>
          <a:xfrm>
            <a:off x="8772723" y="1356002"/>
            <a:ext cx="13690" cy="44951"/>
          </a:xfrm>
          <a:custGeom>
            <a:avLst/>
            <a:gdLst/>
            <a:ahLst/>
            <a:cxnLst/>
            <a:rect l="l" t="t" r="r" b="b"/>
            <a:pathLst>
              <a:path w="13690" h="44951">
                <a:moveTo>
                  <a:pt x="1785" y="0"/>
                </a:moveTo>
                <a:lnTo>
                  <a:pt x="297" y="911"/>
                </a:lnTo>
                <a:lnTo>
                  <a:pt x="0" y="2733"/>
                </a:lnTo>
                <a:lnTo>
                  <a:pt x="1190" y="7896"/>
                </a:lnTo>
                <a:lnTo>
                  <a:pt x="2678" y="13363"/>
                </a:lnTo>
                <a:lnTo>
                  <a:pt x="3869" y="18527"/>
                </a:lnTo>
                <a:lnTo>
                  <a:pt x="5357" y="23690"/>
                </a:lnTo>
                <a:lnTo>
                  <a:pt x="6547" y="28853"/>
                </a:lnTo>
                <a:lnTo>
                  <a:pt x="7738" y="34017"/>
                </a:lnTo>
                <a:lnTo>
                  <a:pt x="8630" y="39484"/>
                </a:lnTo>
                <a:lnTo>
                  <a:pt x="9523" y="44951"/>
                </a:lnTo>
                <a:lnTo>
                  <a:pt x="13690" y="44343"/>
                </a:lnTo>
                <a:lnTo>
                  <a:pt x="12797" y="38876"/>
                </a:lnTo>
                <a:lnTo>
                  <a:pt x="11904" y="33409"/>
                </a:lnTo>
                <a:lnTo>
                  <a:pt x="10714" y="27639"/>
                </a:lnTo>
                <a:lnTo>
                  <a:pt x="9523" y="22475"/>
                </a:lnTo>
                <a:lnTo>
                  <a:pt x="8035" y="17312"/>
                </a:lnTo>
                <a:lnTo>
                  <a:pt x="6845" y="12149"/>
                </a:lnTo>
                <a:lnTo>
                  <a:pt x="5357" y="6681"/>
                </a:lnTo>
                <a:lnTo>
                  <a:pt x="4166" y="1518"/>
                </a:lnTo>
                <a:lnTo>
                  <a:pt x="297" y="3037"/>
                </a:lnTo>
                <a:lnTo>
                  <a:pt x="3869" y="1214"/>
                </a:lnTo>
                <a:lnTo>
                  <a:pt x="1785" y="0"/>
                </a:lnTo>
                <a:close/>
              </a:path>
            </a:pathLst>
          </a:custGeom>
          <a:solidFill>
            <a:srgbClr val="FFFFFF"/>
          </a:solidFill>
        </p:spPr>
        <p:txBody>
          <a:bodyPr wrap="square" lIns="0" tIns="0" rIns="0" bIns="0" rtlCol="0">
            <a:noAutofit/>
          </a:bodyPr>
          <a:lstStyle/>
          <a:p>
            <a:endParaRPr/>
          </a:p>
        </p:txBody>
      </p:sp>
      <p:sp>
        <p:nvSpPr>
          <p:cNvPr id="1205" name="object 1205"/>
          <p:cNvSpPr/>
          <p:nvPr/>
        </p:nvSpPr>
        <p:spPr>
          <a:xfrm>
            <a:off x="8709628" y="1318340"/>
            <a:ext cx="33928" cy="6681"/>
          </a:xfrm>
          <a:custGeom>
            <a:avLst/>
            <a:gdLst/>
            <a:ahLst/>
            <a:cxnLst/>
            <a:rect l="l" t="t" r="r" b="b"/>
            <a:pathLst>
              <a:path w="33928" h="6681">
                <a:moveTo>
                  <a:pt x="0" y="2429"/>
                </a:moveTo>
                <a:lnTo>
                  <a:pt x="1190" y="6681"/>
                </a:lnTo>
                <a:lnTo>
                  <a:pt x="4464" y="5770"/>
                </a:lnTo>
                <a:lnTo>
                  <a:pt x="7738" y="4859"/>
                </a:lnTo>
                <a:lnTo>
                  <a:pt x="11607" y="4555"/>
                </a:lnTo>
                <a:lnTo>
                  <a:pt x="15773" y="4252"/>
                </a:lnTo>
                <a:lnTo>
                  <a:pt x="19940" y="4555"/>
                </a:lnTo>
                <a:lnTo>
                  <a:pt x="23809" y="4859"/>
                </a:lnTo>
                <a:lnTo>
                  <a:pt x="27380" y="5770"/>
                </a:lnTo>
                <a:lnTo>
                  <a:pt x="31249" y="6681"/>
                </a:lnTo>
                <a:lnTo>
                  <a:pt x="32142" y="2429"/>
                </a:lnTo>
                <a:lnTo>
                  <a:pt x="31558" y="6629"/>
                </a:lnTo>
                <a:lnTo>
                  <a:pt x="33035" y="6378"/>
                </a:lnTo>
                <a:lnTo>
                  <a:pt x="33928" y="4859"/>
                </a:lnTo>
                <a:lnTo>
                  <a:pt x="33630" y="3340"/>
                </a:lnTo>
                <a:lnTo>
                  <a:pt x="32440" y="2429"/>
                </a:lnTo>
                <a:lnTo>
                  <a:pt x="28571" y="1518"/>
                </a:lnTo>
                <a:lnTo>
                  <a:pt x="24404" y="607"/>
                </a:lnTo>
                <a:lnTo>
                  <a:pt x="19940" y="303"/>
                </a:lnTo>
                <a:lnTo>
                  <a:pt x="15773" y="0"/>
                </a:lnTo>
                <a:lnTo>
                  <a:pt x="11607" y="303"/>
                </a:lnTo>
                <a:lnTo>
                  <a:pt x="7142" y="607"/>
                </a:lnTo>
                <a:lnTo>
                  <a:pt x="3273" y="1518"/>
                </a:lnTo>
                <a:lnTo>
                  <a:pt x="0" y="2429"/>
                </a:lnTo>
                <a:close/>
              </a:path>
            </a:pathLst>
          </a:custGeom>
          <a:solidFill>
            <a:srgbClr val="FFFFFF"/>
          </a:solidFill>
        </p:spPr>
        <p:txBody>
          <a:bodyPr wrap="square" lIns="0" tIns="0" rIns="0" bIns="0" rtlCol="0">
            <a:noAutofit/>
          </a:bodyPr>
          <a:lstStyle/>
          <a:p>
            <a:endParaRPr/>
          </a:p>
        </p:txBody>
      </p:sp>
      <p:sp>
        <p:nvSpPr>
          <p:cNvPr id="1206" name="object 1206"/>
          <p:cNvSpPr/>
          <p:nvPr/>
        </p:nvSpPr>
        <p:spPr>
          <a:xfrm>
            <a:off x="8740878" y="1320769"/>
            <a:ext cx="892" cy="4252"/>
          </a:xfrm>
          <a:custGeom>
            <a:avLst/>
            <a:gdLst/>
            <a:ahLst/>
            <a:cxnLst/>
            <a:rect l="l" t="t" r="r" b="b"/>
            <a:pathLst>
              <a:path w="892" h="4252">
                <a:moveTo>
                  <a:pt x="308" y="4199"/>
                </a:moveTo>
                <a:lnTo>
                  <a:pt x="892" y="0"/>
                </a:lnTo>
                <a:lnTo>
                  <a:pt x="0" y="4252"/>
                </a:lnTo>
                <a:lnTo>
                  <a:pt x="308" y="4199"/>
                </a:lnTo>
                <a:close/>
              </a:path>
            </a:pathLst>
          </a:custGeom>
          <a:solidFill>
            <a:srgbClr val="FFFFFF"/>
          </a:solidFill>
        </p:spPr>
        <p:txBody>
          <a:bodyPr wrap="square" lIns="0" tIns="0" rIns="0" bIns="0" rtlCol="0">
            <a:noAutofit/>
          </a:bodyPr>
          <a:lstStyle/>
          <a:p>
            <a:endParaRPr/>
          </a:p>
        </p:txBody>
      </p:sp>
      <p:sp>
        <p:nvSpPr>
          <p:cNvPr id="1207" name="object 1207"/>
          <p:cNvSpPr/>
          <p:nvPr/>
        </p:nvSpPr>
        <p:spPr>
          <a:xfrm>
            <a:off x="8708140" y="1319859"/>
            <a:ext cx="33630" cy="5163"/>
          </a:xfrm>
          <a:custGeom>
            <a:avLst/>
            <a:gdLst/>
            <a:ahLst/>
            <a:cxnLst/>
            <a:rect l="l" t="t" r="r" b="b"/>
            <a:pathLst>
              <a:path w="33630" h="5163">
                <a:moveTo>
                  <a:pt x="595" y="4555"/>
                </a:moveTo>
                <a:lnTo>
                  <a:pt x="2083" y="5163"/>
                </a:lnTo>
                <a:lnTo>
                  <a:pt x="5952" y="5163"/>
                </a:lnTo>
                <a:lnTo>
                  <a:pt x="10119" y="4859"/>
                </a:lnTo>
                <a:lnTo>
                  <a:pt x="13988" y="4555"/>
                </a:lnTo>
                <a:lnTo>
                  <a:pt x="17559" y="4252"/>
                </a:lnTo>
                <a:lnTo>
                  <a:pt x="25297" y="4252"/>
                </a:lnTo>
                <a:lnTo>
                  <a:pt x="29166" y="4555"/>
                </a:lnTo>
                <a:lnTo>
                  <a:pt x="33035" y="5163"/>
                </a:lnTo>
                <a:lnTo>
                  <a:pt x="33630" y="911"/>
                </a:lnTo>
                <a:lnTo>
                  <a:pt x="29761" y="303"/>
                </a:lnTo>
                <a:lnTo>
                  <a:pt x="25297" y="0"/>
                </a:lnTo>
                <a:lnTo>
                  <a:pt x="17559" y="0"/>
                </a:lnTo>
                <a:lnTo>
                  <a:pt x="13392" y="303"/>
                </a:lnTo>
                <a:lnTo>
                  <a:pt x="9523" y="607"/>
                </a:lnTo>
                <a:lnTo>
                  <a:pt x="5952" y="911"/>
                </a:lnTo>
                <a:lnTo>
                  <a:pt x="2083" y="911"/>
                </a:lnTo>
                <a:lnTo>
                  <a:pt x="1520" y="1141"/>
                </a:lnTo>
                <a:lnTo>
                  <a:pt x="595" y="1518"/>
                </a:lnTo>
                <a:lnTo>
                  <a:pt x="0" y="3037"/>
                </a:lnTo>
                <a:lnTo>
                  <a:pt x="595" y="4555"/>
                </a:lnTo>
                <a:close/>
              </a:path>
            </a:pathLst>
          </a:custGeom>
          <a:solidFill>
            <a:srgbClr val="FFFFFF"/>
          </a:solidFill>
        </p:spPr>
        <p:txBody>
          <a:bodyPr wrap="square" lIns="0" tIns="0" rIns="0" bIns="0" rtlCol="0">
            <a:noAutofit/>
          </a:bodyPr>
          <a:lstStyle/>
          <a:p>
            <a:endParaRPr/>
          </a:p>
        </p:txBody>
      </p:sp>
      <p:sp>
        <p:nvSpPr>
          <p:cNvPr id="1208" name="object 1208"/>
          <p:cNvSpPr/>
          <p:nvPr/>
        </p:nvSpPr>
        <p:spPr>
          <a:xfrm>
            <a:off x="8665283" y="1356002"/>
            <a:ext cx="13392" cy="44951"/>
          </a:xfrm>
          <a:custGeom>
            <a:avLst/>
            <a:gdLst/>
            <a:ahLst/>
            <a:cxnLst/>
            <a:rect l="l" t="t" r="r" b="b"/>
            <a:pathLst>
              <a:path w="13392" h="44951">
                <a:moveTo>
                  <a:pt x="4166" y="44951"/>
                </a:moveTo>
                <a:lnTo>
                  <a:pt x="4464" y="40395"/>
                </a:lnTo>
                <a:lnTo>
                  <a:pt x="5059" y="35232"/>
                </a:lnTo>
                <a:lnTo>
                  <a:pt x="5952" y="29461"/>
                </a:lnTo>
                <a:lnTo>
                  <a:pt x="7142" y="23994"/>
                </a:lnTo>
                <a:lnTo>
                  <a:pt x="8630" y="18527"/>
                </a:lnTo>
                <a:lnTo>
                  <a:pt x="10119" y="12756"/>
                </a:lnTo>
                <a:lnTo>
                  <a:pt x="11904" y="7593"/>
                </a:lnTo>
                <a:lnTo>
                  <a:pt x="13392" y="3037"/>
                </a:lnTo>
                <a:lnTo>
                  <a:pt x="13392" y="1518"/>
                </a:lnTo>
                <a:lnTo>
                  <a:pt x="12499" y="303"/>
                </a:lnTo>
                <a:lnTo>
                  <a:pt x="11011" y="0"/>
                </a:lnTo>
                <a:lnTo>
                  <a:pt x="9821" y="1214"/>
                </a:lnTo>
                <a:lnTo>
                  <a:pt x="9674" y="1577"/>
                </a:lnTo>
                <a:lnTo>
                  <a:pt x="7738" y="6378"/>
                </a:lnTo>
                <a:lnTo>
                  <a:pt x="5952" y="11541"/>
                </a:lnTo>
                <a:lnTo>
                  <a:pt x="4464" y="17312"/>
                </a:lnTo>
                <a:lnTo>
                  <a:pt x="2976" y="22779"/>
                </a:lnTo>
                <a:lnTo>
                  <a:pt x="1785" y="28853"/>
                </a:lnTo>
                <a:lnTo>
                  <a:pt x="892" y="34624"/>
                </a:lnTo>
                <a:lnTo>
                  <a:pt x="297" y="39788"/>
                </a:lnTo>
                <a:lnTo>
                  <a:pt x="0" y="44951"/>
                </a:lnTo>
                <a:lnTo>
                  <a:pt x="4166" y="44951"/>
                </a:lnTo>
                <a:close/>
              </a:path>
            </a:pathLst>
          </a:custGeom>
          <a:solidFill>
            <a:srgbClr val="FFFFFF"/>
          </a:solidFill>
        </p:spPr>
        <p:txBody>
          <a:bodyPr wrap="square" lIns="0" tIns="0" rIns="0" bIns="0" rtlCol="0">
            <a:noAutofit/>
          </a:bodyPr>
          <a:lstStyle/>
          <a:p>
            <a:endParaRPr/>
          </a:p>
        </p:txBody>
      </p:sp>
      <p:sp>
        <p:nvSpPr>
          <p:cNvPr id="1209" name="object 1209"/>
          <p:cNvSpPr/>
          <p:nvPr/>
        </p:nvSpPr>
        <p:spPr>
          <a:xfrm>
            <a:off x="8668557" y="1357520"/>
            <a:ext cx="10416" cy="43432"/>
          </a:xfrm>
          <a:custGeom>
            <a:avLst/>
            <a:gdLst/>
            <a:ahLst/>
            <a:cxnLst/>
            <a:rect l="l" t="t" r="r" b="b"/>
            <a:pathLst>
              <a:path w="10416" h="43432">
                <a:moveTo>
                  <a:pt x="0" y="27031"/>
                </a:moveTo>
                <a:lnTo>
                  <a:pt x="892" y="43432"/>
                </a:lnTo>
                <a:lnTo>
                  <a:pt x="2083" y="38269"/>
                </a:lnTo>
                <a:lnTo>
                  <a:pt x="2976" y="33106"/>
                </a:lnTo>
                <a:lnTo>
                  <a:pt x="4166" y="27639"/>
                </a:lnTo>
                <a:lnTo>
                  <a:pt x="5059" y="22171"/>
                </a:lnTo>
                <a:lnTo>
                  <a:pt x="6249" y="17008"/>
                </a:lnTo>
                <a:lnTo>
                  <a:pt x="7440" y="11845"/>
                </a:lnTo>
                <a:lnTo>
                  <a:pt x="8630" y="6378"/>
                </a:lnTo>
                <a:lnTo>
                  <a:pt x="10416" y="1214"/>
                </a:lnTo>
                <a:lnTo>
                  <a:pt x="6249" y="0"/>
                </a:lnTo>
                <a:lnTo>
                  <a:pt x="4464" y="5163"/>
                </a:lnTo>
                <a:lnTo>
                  <a:pt x="3273" y="10630"/>
                </a:lnTo>
                <a:lnTo>
                  <a:pt x="2083" y="15793"/>
                </a:lnTo>
                <a:lnTo>
                  <a:pt x="892" y="21564"/>
                </a:lnTo>
                <a:lnTo>
                  <a:pt x="0" y="27031"/>
                </a:lnTo>
                <a:close/>
              </a:path>
            </a:pathLst>
          </a:custGeom>
          <a:solidFill>
            <a:srgbClr val="FFFFFF"/>
          </a:solidFill>
        </p:spPr>
        <p:txBody>
          <a:bodyPr wrap="square" lIns="0" tIns="0" rIns="0" bIns="0" rtlCol="0">
            <a:noAutofit/>
          </a:bodyPr>
          <a:lstStyle/>
          <a:p>
            <a:endParaRPr/>
          </a:p>
        </p:txBody>
      </p:sp>
      <p:sp>
        <p:nvSpPr>
          <p:cNvPr id="1210" name="object 1210"/>
          <p:cNvSpPr/>
          <p:nvPr/>
        </p:nvSpPr>
        <p:spPr>
          <a:xfrm>
            <a:off x="8665284" y="1384552"/>
            <a:ext cx="5357" cy="18527"/>
          </a:xfrm>
          <a:custGeom>
            <a:avLst/>
            <a:gdLst/>
            <a:ahLst/>
            <a:cxnLst/>
            <a:rect l="l" t="t" r="r" b="b"/>
            <a:pathLst>
              <a:path w="5357" h="18527">
                <a:moveTo>
                  <a:pt x="4166" y="16401"/>
                </a:moveTo>
                <a:lnTo>
                  <a:pt x="3273" y="0"/>
                </a:lnTo>
                <a:lnTo>
                  <a:pt x="2083" y="5467"/>
                </a:lnTo>
                <a:lnTo>
                  <a:pt x="1190" y="10630"/>
                </a:lnTo>
                <a:lnTo>
                  <a:pt x="0" y="15793"/>
                </a:lnTo>
                <a:lnTo>
                  <a:pt x="101" y="16415"/>
                </a:lnTo>
                <a:lnTo>
                  <a:pt x="297" y="17616"/>
                </a:lnTo>
                <a:lnTo>
                  <a:pt x="1785" y="18527"/>
                </a:lnTo>
                <a:lnTo>
                  <a:pt x="3273" y="18223"/>
                </a:lnTo>
                <a:lnTo>
                  <a:pt x="4166" y="17008"/>
                </a:lnTo>
                <a:lnTo>
                  <a:pt x="5357" y="11237"/>
                </a:lnTo>
                <a:lnTo>
                  <a:pt x="4166" y="16401"/>
                </a:lnTo>
                <a:close/>
              </a:path>
            </a:pathLst>
          </a:custGeom>
          <a:solidFill>
            <a:srgbClr val="FFFFFF"/>
          </a:solidFill>
        </p:spPr>
        <p:txBody>
          <a:bodyPr wrap="square" lIns="0" tIns="0" rIns="0" bIns="0" rtlCol="0">
            <a:noAutofit/>
          </a:bodyPr>
          <a:lstStyle/>
          <a:p>
            <a:endParaRPr/>
          </a:p>
        </p:txBody>
      </p:sp>
      <p:sp>
        <p:nvSpPr>
          <p:cNvPr id="1211" name="object 1211"/>
          <p:cNvSpPr/>
          <p:nvPr/>
        </p:nvSpPr>
        <p:spPr>
          <a:xfrm>
            <a:off x="8709629" y="1377262"/>
            <a:ext cx="33035" cy="47684"/>
          </a:xfrm>
          <a:custGeom>
            <a:avLst/>
            <a:gdLst/>
            <a:ahLst/>
            <a:cxnLst/>
            <a:rect l="l" t="t" r="r" b="b"/>
            <a:pathLst>
              <a:path w="33035" h="47684">
                <a:moveTo>
                  <a:pt x="16368" y="0"/>
                </a:moveTo>
                <a:lnTo>
                  <a:pt x="13095" y="607"/>
                </a:lnTo>
                <a:lnTo>
                  <a:pt x="10119" y="1822"/>
                </a:lnTo>
                <a:lnTo>
                  <a:pt x="7142" y="3948"/>
                </a:lnTo>
                <a:lnTo>
                  <a:pt x="4761" y="6985"/>
                </a:lnTo>
                <a:lnTo>
                  <a:pt x="2678" y="10326"/>
                </a:lnTo>
                <a:lnTo>
                  <a:pt x="1190" y="14578"/>
                </a:lnTo>
                <a:lnTo>
                  <a:pt x="297" y="18830"/>
                </a:lnTo>
                <a:lnTo>
                  <a:pt x="0" y="23690"/>
                </a:lnTo>
                <a:lnTo>
                  <a:pt x="297" y="28550"/>
                </a:lnTo>
                <a:lnTo>
                  <a:pt x="1190" y="33106"/>
                </a:lnTo>
                <a:lnTo>
                  <a:pt x="2678" y="37054"/>
                </a:lnTo>
                <a:lnTo>
                  <a:pt x="4761" y="40699"/>
                </a:lnTo>
                <a:lnTo>
                  <a:pt x="7142" y="43736"/>
                </a:lnTo>
                <a:lnTo>
                  <a:pt x="10119" y="45862"/>
                </a:lnTo>
                <a:lnTo>
                  <a:pt x="13095" y="47077"/>
                </a:lnTo>
                <a:lnTo>
                  <a:pt x="16368" y="47684"/>
                </a:lnTo>
                <a:lnTo>
                  <a:pt x="19642" y="47077"/>
                </a:lnTo>
                <a:lnTo>
                  <a:pt x="22916" y="45862"/>
                </a:lnTo>
                <a:lnTo>
                  <a:pt x="25595" y="43736"/>
                </a:lnTo>
                <a:lnTo>
                  <a:pt x="28273" y="40699"/>
                </a:lnTo>
                <a:lnTo>
                  <a:pt x="30059" y="37054"/>
                </a:lnTo>
                <a:lnTo>
                  <a:pt x="31845" y="33106"/>
                </a:lnTo>
                <a:lnTo>
                  <a:pt x="32737" y="28550"/>
                </a:lnTo>
                <a:lnTo>
                  <a:pt x="33035" y="23690"/>
                </a:lnTo>
                <a:lnTo>
                  <a:pt x="32737" y="18830"/>
                </a:lnTo>
                <a:lnTo>
                  <a:pt x="31845" y="14578"/>
                </a:lnTo>
                <a:lnTo>
                  <a:pt x="30059" y="10326"/>
                </a:lnTo>
                <a:lnTo>
                  <a:pt x="28273" y="6985"/>
                </a:lnTo>
                <a:lnTo>
                  <a:pt x="25595" y="3948"/>
                </a:lnTo>
                <a:lnTo>
                  <a:pt x="22916" y="1822"/>
                </a:lnTo>
                <a:lnTo>
                  <a:pt x="19642" y="607"/>
                </a:lnTo>
                <a:lnTo>
                  <a:pt x="16368" y="0"/>
                </a:lnTo>
                <a:close/>
              </a:path>
            </a:pathLst>
          </a:custGeom>
          <a:solidFill>
            <a:srgbClr val="000000"/>
          </a:solidFill>
        </p:spPr>
        <p:txBody>
          <a:bodyPr wrap="square" lIns="0" tIns="0" rIns="0" bIns="0" rtlCol="0">
            <a:noAutofit/>
          </a:bodyPr>
          <a:lstStyle/>
          <a:p>
            <a:endParaRPr/>
          </a:p>
        </p:txBody>
      </p:sp>
      <p:sp>
        <p:nvSpPr>
          <p:cNvPr id="1212" name="object 1212"/>
          <p:cNvSpPr/>
          <p:nvPr/>
        </p:nvSpPr>
        <p:spPr>
          <a:xfrm>
            <a:off x="8725998" y="1375136"/>
            <a:ext cx="18749" cy="25816"/>
          </a:xfrm>
          <a:custGeom>
            <a:avLst/>
            <a:gdLst/>
            <a:ahLst/>
            <a:cxnLst/>
            <a:rect l="l" t="t" r="r" b="b"/>
            <a:pathLst>
              <a:path w="18749" h="25816">
                <a:moveTo>
                  <a:pt x="0" y="0"/>
                </a:moveTo>
                <a:lnTo>
                  <a:pt x="0" y="4252"/>
                </a:lnTo>
                <a:lnTo>
                  <a:pt x="2678" y="4859"/>
                </a:lnTo>
                <a:lnTo>
                  <a:pt x="5654" y="5770"/>
                </a:lnTo>
                <a:lnTo>
                  <a:pt x="7738" y="7593"/>
                </a:lnTo>
                <a:lnTo>
                  <a:pt x="10119" y="10326"/>
                </a:lnTo>
                <a:lnTo>
                  <a:pt x="11904" y="13363"/>
                </a:lnTo>
                <a:lnTo>
                  <a:pt x="13392" y="17312"/>
                </a:lnTo>
                <a:lnTo>
                  <a:pt x="14285" y="21260"/>
                </a:lnTo>
                <a:lnTo>
                  <a:pt x="14583" y="25816"/>
                </a:lnTo>
                <a:lnTo>
                  <a:pt x="18749" y="25816"/>
                </a:lnTo>
                <a:lnTo>
                  <a:pt x="18452" y="20653"/>
                </a:lnTo>
                <a:lnTo>
                  <a:pt x="17559" y="16097"/>
                </a:lnTo>
                <a:lnTo>
                  <a:pt x="15476" y="11541"/>
                </a:lnTo>
                <a:lnTo>
                  <a:pt x="13690" y="7896"/>
                </a:lnTo>
                <a:lnTo>
                  <a:pt x="10714" y="4555"/>
                </a:lnTo>
                <a:lnTo>
                  <a:pt x="7440" y="2126"/>
                </a:lnTo>
                <a:lnTo>
                  <a:pt x="3869" y="607"/>
                </a:lnTo>
                <a:lnTo>
                  <a:pt x="0" y="0"/>
                </a:lnTo>
                <a:close/>
              </a:path>
            </a:pathLst>
          </a:custGeom>
          <a:solidFill>
            <a:srgbClr val="000000"/>
          </a:solidFill>
        </p:spPr>
        <p:txBody>
          <a:bodyPr wrap="square" lIns="0" tIns="0" rIns="0" bIns="0" rtlCol="0">
            <a:noAutofit/>
          </a:bodyPr>
          <a:lstStyle/>
          <a:p>
            <a:endParaRPr/>
          </a:p>
        </p:txBody>
      </p:sp>
      <p:sp>
        <p:nvSpPr>
          <p:cNvPr id="1213" name="object 1213"/>
          <p:cNvSpPr/>
          <p:nvPr/>
        </p:nvSpPr>
        <p:spPr>
          <a:xfrm>
            <a:off x="8725998" y="1400952"/>
            <a:ext cx="18749" cy="26120"/>
          </a:xfrm>
          <a:custGeom>
            <a:avLst/>
            <a:gdLst/>
            <a:ahLst/>
            <a:cxnLst/>
            <a:rect l="l" t="t" r="r" b="b"/>
            <a:pathLst>
              <a:path w="18749" h="26120">
                <a:moveTo>
                  <a:pt x="0" y="21868"/>
                </a:moveTo>
                <a:lnTo>
                  <a:pt x="0" y="26120"/>
                </a:lnTo>
                <a:lnTo>
                  <a:pt x="3869" y="25512"/>
                </a:lnTo>
                <a:lnTo>
                  <a:pt x="7440" y="23994"/>
                </a:lnTo>
                <a:lnTo>
                  <a:pt x="10714" y="21564"/>
                </a:lnTo>
                <a:lnTo>
                  <a:pt x="13690" y="18223"/>
                </a:lnTo>
                <a:lnTo>
                  <a:pt x="15476" y="14275"/>
                </a:lnTo>
                <a:lnTo>
                  <a:pt x="17559" y="10022"/>
                </a:lnTo>
                <a:lnTo>
                  <a:pt x="18452" y="5163"/>
                </a:lnTo>
                <a:lnTo>
                  <a:pt x="18749" y="0"/>
                </a:lnTo>
                <a:lnTo>
                  <a:pt x="14583" y="0"/>
                </a:lnTo>
                <a:lnTo>
                  <a:pt x="14285" y="4555"/>
                </a:lnTo>
                <a:lnTo>
                  <a:pt x="13392" y="8808"/>
                </a:lnTo>
                <a:lnTo>
                  <a:pt x="11904" y="12452"/>
                </a:lnTo>
                <a:lnTo>
                  <a:pt x="10119" y="15793"/>
                </a:lnTo>
                <a:lnTo>
                  <a:pt x="7738" y="18527"/>
                </a:lnTo>
                <a:lnTo>
                  <a:pt x="5654" y="20349"/>
                </a:lnTo>
                <a:lnTo>
                  <a:pt x="2678" y="21260"/>
                </a:lnTo>
                <a:lnTo>
                  <a:pt x="0" y="21868"/>
                </a:lnTo>
                <a:close/>
              </a:path>
            </a:pathLst>
          </a:custGeom>
          <a:solidFill>
            <a:srgbClr val="000000"/>
          </a:solidFill>
        </p:spPr>
        <p:txBody>
          <a:bodyPr wrap="square" lIns="0" tIns="0" rIns="0" bIns="0" rtlCol="0">
            <a:noAutofit/>
          </a:bodyPr>
          <a:lstStyle/>
          <a:p>
            <a:endParaRPr/>
          </a:p>
        </p:txBody>
      </p:sp>
      <p:sp>
        <p:nvSpPr>
          <p:cNvPr id="1214" name="object 1214"/>
          <p:cNvSpPr/>
          <p:nvPr/>
        </p:nvSpPr>
        <p:spPr>
          <a:xfrm>
            <a:off x="8707545" y="1400952"/>
            <a:ext cx="18452" cy="26120"/>
          </a:xfrm>
          <a:custGeom>
            <a:avLst/>
            <a:gdLst/>
            <a:ahLst/>
            <a:cxnLst/>
            <a:rect l="l" t="t" r="r" b="b"/>
            <a:pathLst>
              <a:path w="18452" h="26120">
                <a:moveTo>
                  <a:pt x="5357" y="8808"/>
                </a:moveTo>
                <a:lnTo>
                  <a:pt x="4464" y="4555"/>
                </a:lnTo>
                <a:lnTo>
                  <a:pt x="4166" y="0"/>
                </a:lnTo>
                <a:lnTo>
                  <a:pt x="0" y="0"/>
                </a:lnTo>
                <a:lnTo>
                  <a:pt x="297" y="5163"/>
                </a:lnTo>
                <a:lnTo>
                  <a:pt x="1190" y="10022"/>
                </a:lnTo>
                <a:lnTo>
                  <a:pt x="2976" y="14275"/>
                </a:lnTo>
                <a:lnTo>
                  <a:pt x="5059" y="18223"/>
                </a:lnTo>
                <a:lnTo>
                  <a:pt x="7738" y="21564"/>
                </a:lnTo>
                <a:lnTo>
                  <a:pt x="11309" y="23994"/>
                </a:lnTo>
                <a:lnTo>
                  <a:pt x="14583" y="25512"/>
                </a:lnTo>
                <a:lnTo>
                  <a:pt x="18452" y="26120"/>
                </a:lnTo>
                <a:lnTo>
                  <a:pt x="18452" y="21868"/>
                </a:lnTo>
                <a:lnTo>
                  <a:pt x="15773" y="21260"/>
                </a:lnTo>
                <a:lnTo>
                  <a:pt x="13095" y="20349"/>
                </a:lnTo>
                <a:lnTo>
                  <a:pt x="10714" y="18527"/>
                </a:lnTo>
                <a:lnTo>
                  <a:pt x="8630" y="15793"/>
                </a:lnTo>
                <a:lnTo>
                  <a:pt x="6547" y="12452"/>
                </a:lnTo>
                <a:lnTo>
                  <a:pt x="5357" y="8808"/>
                </a:lnTo>
                <a:close/>
              </a:path>
            </a:pathLst>
          </a:custGeom>
          <a:solidFill>
            <a:srgbClr val="000000"/>
          </a:solidFill>
        </p:spPr>
        <p:txBody>
          <a:bodyPr wrap="square" lIns="0" tIns="0" rIns="0" bIns="0" rtlCol="0">
            <a:noAutofit/>
          </a:bodyPr>
          <a:lstStyle/>
          <a:p>
            <a:endParaRPr/>
          </a:p>
        </p:txBody>
      </p:sp>
      <p:sp>
        <p:nvSpPr>
          <p:cNvPr id="1215" name="object 1215"/>
          <p:cNvSpPr/>
          <p:nvPr/>
        </p:nvSpPr>
        <p:spPr>
          <a:xfrm>
            <a:off x="8707545" y="1375136"/>
            <a:ext cx="18452" cy="25816"/>
          </a:xfrm>
          <a:custGeom>
            <a:avLst/>
            <a:gdLst/>
            <a:ahLst/>
            <a:cxnLst/>
            <a:rect l="l" t="t" r="r" b="b"/>
            <a:pathLst>
              <a:path w="18452" h="25816">
                <a:moveTo>
                  <a:pt x="5059" y="7896"/>
                </a:moveTo>
                <a:lnTo>
                  <a:pt x="2976" y="11541"/>
                </a:lnTo>
                <a:lnTo>
                  <a:pt x="1190" y="16097"/>
                </a:lnTo>
                <a:lnTo>
                  <a:pt x="297" y="20653"/>
                </a:lnTo>
                <a:lnTo>
                  <a:pt x="0" y="25816"/>
                </a:lnTo>
                <a:lnTo>
                  <a:pt x="4166" y="25816"/>
                </a:lnTo>
                <a:lnTo>
                  <a:pt x="4464" y="21260"/>
                </a:lnTo>
                <a:lnTo>
                  <a:pt x="5357" y="17312"/>
                </a:lnTo>
                <a:lnTo>
                  <a:pt x="6547" y="13363"/>
                </a:lnTo>
                <a:lnTo>
                  <a:pt x="8630" y="10326"/>
                </a:lnTo>
                <a:lnTo>
                  <a:pt x="10714" y="7593"/>
                </a:lnTo>
                <a:lnTo>
                  <a:pt x="13095" y="5770"/>
                </a:lnTo>
                <a:lnTo>
                  <a:pt x="15773" y="4859"/>
                </a:lnTo>
                <a:lnTo>
                  <a:pt x="18452" y="4252"/>
                </a:lnTo>
                <a:lnTo>
                  <a:pt x="18452" y="0"/>
                </a:lnTo>
                <a:lnTo>
                  <a:pt x="14583" y="607"/>
                </a:lnTo>
                <a:lnTo>
                  <a:pt x="11309" y="2126"/>
                </a:lnTo>
                <a:lnTo>
                  <a:pt x="7738" y="4555"/>
                </a:lnTo>
                <a:lnTo>
                  <a:pt x="5059" y="7896"/>
                </a:lnTo>
                <a:close/>
              </a:path>
            </a:pathLst>
          </a:custGeom>
          <a:solidFill>
            <a:srgbClr val="000000"/>
          </a:solidFill>
        </p:spPr>
        <p:txBody>
          <a:bodyPr wrap="square" lIns="0" tIns="0" rIns="0" bIns="0" rtlCol="0">
            <a:noAutofit/>
          </a:bodyPr>
          <a:lstStyle/>
          <a:p>
            <a:endParaRPr/>
          </a:p>
        </p:txBody>
      </p:sp>
      <p:sp>
        <p:nvSpPr>
          <p:cNvPr id="1216" name="object 1216"/>
          <p:cNvSpPr/>
          <p:nvPr/>
        </p:nvSpPr>
        <p:spPr>
          <a:xfrm>
            <a:off x="8710819" y="1379084"/>
            <a:ext cx="30654" cy="17008"/>
          </a:xfrm>
          <a:custGeom>
            <a:avLst/>
            <a:gdLst/>
            <a:ahLst/>
            <a:cxnLst/>
            <a:rect l="l" t="t" r="r" b="b"/>
            <a:pathLst>
              <a:path w="30654" h="17008">
                <a:moveTo>
                  <a:pt x="2678" y="10326"/>
                </a:moveTo>
                <a:lnTo>
                  <a:pt x="0" y="17008"/>
                </a:lnTo>
                <a:lnTo>
                  <a:pt x="3571" y="10630"/>
                </a:lnTo>
                <a:lnTo>
                  <a:pt x="7440" y="6378"/>
                </a:lnTo>
                <a:lnTo>
                  <a:pt x="11607" y="4252"/>
                </a:lnTo>
                <a:lnTo>
                  <a:pt x="15773" y="3644"/>
                </a:lnTo>
                <a:lnTo>
                  <a:pt x="19940" y="4555"/>
                </a:lnTo>
                <a:lnTo>
                  <a:pt x="23809" y="7289"/>
                </a:lnTo>
                <a:lnTo>
                  <a:pt x="27678" y="11541"/>
                </a:lnTo>
                <a:lnTo>
                  <a:pt x="30654" y="17008"/>
                </a:lnTo>
                <a:lnTo>
                  <a:pt x="27380" y="9111"/>
                </a:lnTo>
                <a:lnTo>
                  <a:pt x="23511" y="3644"/>
                </a:lnTo>
                <a:lnTo>
                  <a:pt x="19047" y="607"/>
                </a:lnTo>
                <a:lnTo>
                  <a:pt x="14583" y="0"/>
                </a:lnTo>
                <a:lnTo>
                  <a:pt x="10119" y="1822"/>
                </a:lnTo>
                <a:lnTo>
                  <a:pt x="5952" y="5163"/>
                </a:lnTo>
                <a:lnTo>
                  <a:pt x="2678" y="10326"/>
                </a:lnTo>
                <a:close/>
              </a:path>
            </a:pathLst>
          </a:custGeom>
          <a:solidFill>
            <a:srgbClr val="FFFFFF"/>
          </a:solidFill>
        </p:spPr>
        <p:txBody>
          <a:bodyPr wrap="square" lIns="0" tIns="0" rIns="0" bIns="0" rtlCol="0">
            <a:noAutofit/>
          </a:bodyPr>
          <a:lstStyle/>
          <a:p>
            <a:endParaRPr/>
          </a:p>
        </p:txBody>
      </p:sp>
      <p:sp>
        <p:nvSpPr>
          <p:cNvPr id="1217" name="object 1217"/>
          <p:cNvSpPr/>
          <p:nvPr/>
        </p:nvSpPr>
        <p:spPr>
          <a:xfrm>
            <a:off x="8708736" y="1376958"/>
            <a:ext cx="34821" cy="21260"/>
          </a:xfrm>
          <a:custGeom>
            <a:avLst/>
            <a:gdLst/>
            <a:ahLst/>
            <a:cxnLst/>
            <a:rect l="l" t="t" r="r" b="b"/>
            <a:pathLst>
              <a:path w="34821" h="21260">
                <a:moveTo>
                  <a:pt x="4166" y="19742"/>
                </a:moveTo>
                <a:lnTo>
                  <a:pt x="6547" y="13363"/>
                </a:lnTo>
                <a:lnTo>
                  <a:pt x="9523" y="8808"/>
                </a:lnTo>
                <a:lnTo>
                  <a:pt x="13392" y="5770"/>
                </a:lnTo>
                <a:lnTo>
                  <a:pt x="16964" y="4252"/>
                </a:lnTo>
                <a:lnTo>
                  <a:pt x="20238" y="4555"/>
                </a:lnTo>
                <a:lnTo>
                  <a:pt x="24107" y="7289"/>
                </a:lnTo>
                <a:lnTo>
                  <a:pt x="27678" y="12149"/>
                </a:lnTo>
                <a:lnTo>
                  <a:pt x="30654" y="19742"/>
                </a:lnTo>
                <a:lnTo>
                  <a:pt x="31547" y="20957"/>
                </a:lnTo>
                <a:lnTo>
                  <a:pt x="33333" y="21260"/>
                </a:lnTo>
                <a:lnTo>
                  <a:pt x="34523" y="20349"/>
                </a:lnTo>
                <a:lnTo>
                  <a:pt x="34821" y="18527"/>
                </a:lnTo>
                <a:lnTo>
                  <a:pt x="30952" y="20045"/>
                </a:lnTo>
                <a:lnTo>
                  <a:pt x="34523" y="18223"/>
                </a:lnTo>
                <a:lnTo>
                  <a:pt x="34821" y="18527"/>
                </a:lnTo>
                <a:lnTo>
                  <a:pt x="31249" y="10326"/>
                </a:lnTo>
                <a:lnTo>
                  <a:pt x="27083" y="4252"/>
                </a:lnTo>
                <a:lnTo>
                  <a:pt x="22023" y="911"/>
                </a:lnTo>
                <a:lnTo>
                  <a:pt x="16368" y="0"/>
                </a:lnTo>
                <a:lnTo>
                  <a:pt x="11011" y="2126"/>
                </a:lnTo>
                <a:lnTo>
                  <a:pt x="6547" y="5770"/>
                </a:lnTo>
                <a:lnTo>
                  <a:pt x="2976" y="11541"/>
                </a:lnTo>
                <a:lnTo>
                  <a:pt x="0" y="18527"/>
                </a:lnTo>
                <a:lnTo>
                  <a:pt x="4166" y="19742"/>
                </a:lnTo>
                <a:close/>
              </a:path>
            </a:pathLst>
          </a:custGeom>
          <a:solidFill>
            <a:srgbClr val="FFFFFF"/>
          </a:solidFill>
        </p:spPr>
        <p:txBody>
          <a:bodyPr wrap="square" lIns="0" tIns="0" rIns="0" bIns="0" rtlCol="0">
            <a:noAutofit/>
          </a:bodyPr>
          <a:lstStyle/>
          <a:p>
            <a:endParaRPr/>
          </a:p>
        </p:txBody>
      </p:sp>
      <p:sp>
        <p:nvSpPr>
          <p:cNvPr id="1218" name="object 1218"/>
          <p:cNvSpPr/>
          <p:nvPr/>
        </p:nvSpPr>
        <p:spPr>
          <a:xfrm>
            <a:off x="8739689" y="1395182"/>
            <a:ext cx="3869" cy="1822"/>
          </a:xfrm>
          <a:custGeom>
            <a:avLst/>
            <a:gdLst/>
            <a:ahLst/>
            <a:cxnLst/>
            <a:rect l="l" t="t" r="r" b="b"/>
            <a:pathLst>
              <a:path w="3869" h="1822">
                <a:moveTo>
                  <a:pt x="3571" y="0"/>
                </a:moveTo>
                <a:lnTo>
                  <a:pt x="0" y="1822"/>
                </a:lnTo>
                <a:lnTo>
                  <a:pt x="3869" y="303"/>
                </a:lnTo>
                <a:lnTo>
                  <a:pt x="3571" y="0"/>
                </a:lnTo>
                <a:close/>
              </a:path>
            </a:pathLst>
          </a:custGeom>
          <a:solidFill>
            <a:srgbClr val="FFFFFF"/>
          </a:solidFill>
        </p:spPr>
        <p:txBody>
          <a:bodyPr wrap="square" lIns="0" tIns="0" rIns="0" bIns="0" rtlCol="0">
            <a:noAutofit/>
          </a:bodyPr>
          <a:lstStyle/>
          <a:p>
            <a:endParaRPr/>
          </a:p>
        </p:txBody>
      </p:sp>
      <p:sp>
        <p:nvSpPr>
          <p:cNvPr id="1219" name="object 1219"/>
          <p:cNvSpPr/>
          <p:nvPr/>
        </p:nvSpPr>
        <p:spPr>
          <a:xfrm>
            <a:off x="8709033" y="1380603"/>
            <a:ext cx="34226" cy="17616"/>
          </a:xfrm>
          <a:custGeom>
            <a:avLst/>
            <a:gdLst/>
            <a:ahLst/>
            <a:cxnLst/>
            <a:rect l="l" t="t" r="r" b="b"/>
            <a:pathLst>
              <a:path w="34226" h="17616">
                <a:moveTo>
                  <a:pt x="0" y="16097"/>
                </a:moveTo>
                <a:lnTo>
                  <a:pt x="892" y="17312"/>
                </a:lnTo>
                <a:lnTo>
                  <a:pt x="2380" y="17616"/>
                </a:lnTo>
                <a:lnTo>
                  <a:pt x="3571" y="16401"/>
                </a:lnTo>
                <a:lnTo>
                  <a:pt x="3772" y="16059"/>
                </a:lnTo>
                <a:lnTo>
                  <a:pt x="7142" y="10326"/>
                </a:lnTo>
                <a:lnTo>
                  <a:pt x="10416" y="6681"/>
                </a:lnTo>
                <a:lnTo>
                  <a:pt x="13988" y="4859"/>
                </a:lnTo>
                <a:lnTo>
                  <a:pt x="17559" y="4252"/>
                </a:lnTo>
                <a:lnTo>
                  <a:pt x="20833" y="4859"/>
                </a:lnTo>
                <a:lnTo>
                  <a:pt x="24107" y="7289"/>
                </a:lnTo>
                <a:lnTo>
                  <a:pt x="27678" y="11237"/>
                </a:lnTo>
                <a:lnTo>
                  <a:pt x="30654" y="16401"/>
                </a:lnTo>
                <a:lnTo>
                  <a:pt x="34226" y="14578"/>
                </a:lnTo>
                <a:lnTo>
                  <a:pt x="31249" y="8808"/>
                </a:lnTo>
                <a:lnTo>
                  <a:pt x="27083" y="4252"/>
                </a:lnTo>
                <a:lnTo>
                  <a:pt x="22618" y="1214"/>
                </a:lnTo>
                <a:lnTo>
                  <a:pt x="17559" y="0"/>
                </a:lnTo>
                <a:lnTo>
                  <a:pt x="12797" y="607"/>
                </a:lnTo>
                <a:lnTo>
                  <a:pt x="8035" y="3037"/>
                </a:lnTo>
                <a:lnTo>
                  <a:pt x="3571" y="7896"/>
                </a:lnTo>
                <a:lnTo>
                  <a:pt x="0" y="14578"/>
                </a:lnTo>
                <a:lnTo>
                  <a:pt x="0" y="16097"/>
                </a:lnTo>
                <a:close/>
              </a:path>
            </a:pathLst>
          </a:custGeom>
          <a:solidFill>
            <a:srgbClr val="FFFFFF"/>
          </a:solidFill>
        </p:spPr>
        <p:txBody>
          <a:bodyPr wrap="square" lIns="0" tIns="0" rIns="0" bIns="0" rtlCol="0">
            <a:noAutofit/>
          </a:bodyPr>
          <a:lstStyle/>
          <a:p>
            <a:endParaRPr/>
          </a:p>
        </p:txBody>
      </p:sp>
      <p:sp>
        <p:nvSpPr>
          <p:cNvPr id="1220" name="object 1220"/>
          <p:cNvSpPr/>
          <p:nvPr/>
        </p:nvSpPr>
        <p:spPr>
          <a:xfrm>
            <a:off x="8687606" y="1409458"/>
            <a:ext cx="10119" cy="14275"/>
          </a:xfrm>
          <a:custGeom>
            <a:avLst/>
            <a:gdLst/>
            <a:ahLst/>
            <a:cxnLst/>
            <a:rect l="l" t="t" r="r" b="b"/>
            <a:pathLst>
              <a:path w="10119" h="14275">
                <a:moveTo>
                  <a:pt x="0" y="6985"/>
                </a:moveTo>
                <a:lnTo>
                  <a:pt x="297" y="9719"/>
                </a:lnTo>
                <a:lnTo>
                  <a:pt x="1488" y="12149"/>
                </a:lnTo>
                <a:lnTo>
                  <a:pt x="3273" y="13667"/>
                </a:lnTo>
                <a:lnTo>
                  <a:pt x="5059" y="14275"/>
                </a:lnTo>
                <a:lnTo>
                  <a:pt x="6845" y="13667"/>
                </a:lnTo>
                <a:lnTo>
                  <a:pt x="8630" y="12149"/>
                </a:lnTo>
                <a:lnTo>
                  <a:pt x="9821" y="9719"/>
                </a:lnTo>
                <a:lnTo>
                  <a:pt x="10119" y="6985"/>
                </a:lnTo>
                <a:lnTo>
                  <a:pt x="9821" y="4252"/>
                </a:lnTo>
                <a:lnTo>
                  <a:pt x="8630" y="2126"/>
                </a:lnTo>
                <a:lnTo>
                  <a:pt x="6845" y="607"/>
                </a:lnTo>
                <a:lnTo>
                  <a:pt x="5059" y="0"/>
                </a:lnTo>
                <a:lnTo>
                  <a:pt x="3273" y="607"/>
                </a:lnTo>
                <a:lnTo>
                  <a:pt x="1488" y="2126"/>
                </a:lnTo>
                <a:lnTo>
                  <a:pt x="297" y="4252"/>
                </a:lnTo>
                <a:lnTo>
                  <a:pt x="0" y="6985"/>
                </a:lnTo>
                <a:close/>
              </a:path>
            </a:pathLst>
          </a:custGeom>
          <a:solidFill>
            <a:srgbClr val="404040"/>
          </a:solidFill>
        </p:spPr>
        <p:txBody>
          <a:bodyPr wrap="square" lIns="0" tIns="0" rIns="0" bIns="0" rtlCol="0">
            <a:noAutofit/>
          </a:bodyPr>
          <a:lstStyle/>
          <a:p>
            <a:endParaRPr/>
          </a:p>
        </p:txBody>
      </p:sp>
      <p:sp>
        <p:nvSpPr>
          <p:cNvPr id="1221" name="object 1221"/>
          <p:cNvSpPr/>
          <p:nvPr/>
        </p:nvSpPr>
        <p:spPr>
          <a:xfrm>
            <a:off x="8720641" y="1443475"/>
            <a:ext cx="9821" cy="14275"/>
          </a:xfrm>
          <a:custGeom>
            <a:avLst/>
            <a:gdLst/>
            <a:ahLst/>
            <a:cxnLst/>
            <a:rect l="l" t="t" r="r" b="b"/>
            <a:pathLst>
              <a:path w="9821" h="14275">
                <a:moveTo>
                  <a:pt x="0" y="6985"/>
                </a:moveTo>
                <a:lnTo>
                  <a:pt x="297" y="9719"/>
                </a:lnTo>
                <a:lnTo>
                  <a:pt x="1488" y="12149"/>
                </a:lnTo>
                <a:lnTo>
                  <a:pt x="2976" y="13667"/>
                </a:lnTo>
                <a:lnTo>
                  <a:pt x="4761" y="14275"/>
                </a:lnTo>
                <a:lnTo>
                  <a:pt x="6547" y="13667"/>
                </a:lnTo>
                <a:lnTo>
                  <a:pt x="8333" y="12149"/>
                </a:lnTo>
                <a:lnTo>
                  <a:pt x="9523" y="9719"/>
                </a:lnTo>
                <a:lnTo>
                  <a:pt x="9821" y="6985"/>
                </a:lnTo>
                <a:lnTo>
                  <a:pt x="9523" y="4252"/>
                </a:lnTo>
                <a:lnTo>
                  <a:pt x="8333" y="2126"/>
                </a:lnTo>
                <a:lnTo>
                  <a:pt x="6547" y="607"/>
                </a:lnTo>
                <a:lnTo>
                  <a:pt x="4761" y="0"/>
                </a:lnTo>
                <a:lnTo>
                  <a:pt x="2976" y="607"/>
                </a:lnTo>
                <a:lnTo>
                  <a:pt x="1488" y="2126"/>
                </a:lnTo>
                <a:lnTo>
                  <a:pt x="297" y="4252"/>
                </a:lnTo>
                <a:lnTo>
                  <a:pt x="0" y="6985"/>
                </a:lnTo>
                <a:close/>
              </a:path>
            </a:pathLst>
          </a:custGeom>
          <a:solidFill>
            <a:srgbClr val="404040"/>
          </a:solidFill>
        </p:spPr>
        <p:txBody>
          <a:bodyPr wrap="square" lIns="0" tIns="0" rIns="0" bIns="0" rtlCol="0">
            <a:noAutofit/>
          </a:bodyPr>
          <a:lstStyle/>
          <a:p>
            <a:endParaRPr/>
          </a:p>
        </p:txBody>
      </p:sp>
      <p:sp>
        <p:nvSpPr>
          <p:cNvPr id="1222" name="object 1222"/>
          <p:cNvSpPr/>
          <p:nvPr/>
        </p:nvSpPr>
        <p:spPr>
          <a:xfrm>
            <a:off x="8754272" y="1411280"/>
            <a:ext cx="9821" cy="14275"/>
          </a:xfrm>
          <a:custGeom>
            <a:avLst/>
            <a:gdLst/>
            <a:ahLst/>
            <a:cxnLst/>
            <a:rect l="l" t="t" r="r" b="b"/>
            <a:pathLst>
              <a:path w="9821" h="14275">
                <a:moveTo>
                  <a:pt x="0" y="6985"/>
                </a:moveTo>
                <a:lnTo>
                  <a:pt x="297" y="9719"/>
                </a:lnTo>
                <a:lnTo>
                  <a:pt x="1488" y="12149"/>
                </a:lnTo>
                <a:lnTo>
                  <a:pt x="2976" y="13667"/>
                </a:lnTo>
                <a:lnTo>
                  <a:pt x="4761" y="14275"/>
                </a:lnTo>
                <a:lnTo>
                  <a:pt x="6547" y="13667"/>
                </a:lnTo>
                <a:lnTo>
                  <a:pt x="8333" y="12149"/>
                </a:lnTo>
                <a:lnTo>
                  <a:pt x="9523" y="9719"/>
                </a:lnTo>
                <a:lnTo>
                  <a:pt x="9821" y="6985"/>
                </a:lnTo>
                <a:lnTo>
                  <a:pt x="9523" y="4252"/>
                </a:lnTo>
                <a:lnTo>
                  <a:pt x="8333" y="2126"/>
                </a:lnTo>
                <a:lnTo>
                  <a:pt x="6547" y="607"/>
                </a:lnTo>
                <a:lnTo>
                  <a:pt x="4761" y="0"/>
                </a:lnTo>
                <a:lnTo>
                  <a:pt x="2976" y="607"/>
                </a:lnTo>
                <a:lnTo>
                  <a:pt x="1488" y="2126"/>
                </a:lnTo>
                <a:lnTo>
                  <a:pt x="297" y="4252"/>
                </a:lnTo>
                <a:lnTo>
                  <a:pt x="0" y="6985"/>
                </a:lnTo>
                <a:close/>
              </a:path>
            </a:pathLst>
          </a:custGeom>
          <a:solidFill>
            <a:srgbClr val="404040"/>
          </a:solidFill>
        </p:spPr>
        <p:txBody>
          <a:bodyPr wrap="square" lIns="0" tIns="0" rIns="0" bIns="0" rtlCol="0">
            <a:noAutofit/>
          </a:bodyPr>
          <a:lstStyle/>
          <a:p>
            <a:endParaRPr/>
          </a:p>
        </p:txBody>
      </p:sp>
      <p:sp>
        <p:nvSpPr>
          <p:cNvPr id="1223" name="object 1223"/>
          <p:cNvSpPr/>
          <p:nvPr/>
        </p:nvSpPr>
        <p:spPr>
          <a:xfrm>
            <a:off x="8741772" y="1353876"/>
            <a:ext cx="9821" cy="14275"/>
          </a:xfrm>
          <a:custGeom>
            <a:avLst/>
            <a:gdLst/>
            <a:ahLst/>
            <a:cxnLst/>
            <a:rect l="l" t="t" r="r" b="b"/>
            <a:pathLst>
              <a:path w="9821" h="14275">
                <a:moveTo>
                  <a:pt x="0" y="6985"/>
                </a:moveTo>
                <a:lnTo>
                  <a:pt x="297" y="9719"/>
                </a:lnTo>
                <a:lnTo>
                  <a:pt x="1488" y="12149"/>
                </a:lnTo>
                <a:lnTo>
                  <a:pt x="3273" y="13667"/>
                </a:lnTo>
                <a:lnTo>
                  <a:pt x="5059" y="14275"/>
                </a:lnTo>
                <a:lnTo>
                  <a:pt x="6845" y="13667"/>
                </a:lnTo>
                <a:lnTo>
                  <a:pt x="8333" y="12149"/>
                </a:lnTo>
                <a:lnTo>
                  <a:pt x="9523" y="9719"/>
                </a:lnTo>
                <a:lnTo>
                  <a:pt x="9821" y="6985"/>
                </a:lnTo>
                <a:lnTo>
                  <a:pt x="9523" y="4252"/>
                </a:lnTo>
                <a:lnTo>
                  <a:pt x="8333" y="2126"/>
                </a:lnTo>
                <a:lnTo>
                  <a:pt x="6845" y="607"/>
                </a:lnTo>
                <a:lnTo>
                  <a:pt x="5059" y="0"/>
                </a:lnTo>
                <a:lnTo>
                  <a:pt x="3273" y="607"/>
                </a:lnTo>
                <a:lnTo>
                  <a:pt x="1488" y="2126"/>
                </a:lnTo>
                <a:lnTo>
                  <a:pt x="297" y="4252"/>
                </a:lnTo>
                <a:lnTo>
                  <a:pt x="0" y="6985"/>
                </a:lnTo>
                <a:close/>
              </a:path>
            </a:pathLst>
          </a:custGeom>
          <a:solidFill>
            <a:srgbClr val="404040"/>
          </a:solidFill>
        </p:spPr>
        <p:txBody>
          <a:bodyPr wrap="square" lIns="0" tIns="0" rIns="0" bIns="0" rtlCol="0">
            <a:noAutofit/>
          </a:bodyPr>
          <a:lstStyle/>
          <a:p>
            <a:endParaRPr/>
          </a:p>
        </p:txBody>
      </p:sp>
      <p:sp>
        <p:nvSpPr>
          <p:cNvPr id="1224" name="object 1224"/>
          <p:cNvSpPr/>
          <p:nvPr/>
        </p:nvSpPr>
        <p:spPr>
          <a:xfrm>
            <a:off x="8700998" y="1353571"/>
            <a:ext cx="9821" cy="14578"/>
          </a:xfrm>
          <a:custGeom>
            <a:avLst/>
            <a:gdLst/>
            <a:ahLst/>
            <a:cxnLst/>
            <a:rect l="l" t="t" r="r" b="b"/>
            <a:pathLst>
              <a:path w="9821" h="14578">
                <a:moveTo>
                  <a:pt x="0" y="7289"/>
                </a:moveTo>
                <a:lnTo>
                  <a:pt x="297" y="10022"/>
                </a:lnTo>
                <a:lnTo>
                  <a:pt x="1488" y="12452"/>
                </a:lnTo>
                <a:lnTo>
                  <a:pt x="2976" y="13971"/>
                </a:lnTo>
                <a:lnTo>
                  <a:pt x="4761" y="14578"/>
                </a:lnTo>
                <a:lnTo>
                  <a:pt x="6547" y="13971"/>
                </a:lnTo>
                <a:lnTo>
                  <a:pt x="8333" y="12452"/>
                </a:lnTo>
                <a:lnTo>
                  <a:pt x="9523" y="10022"/>
                </a:lnTo>
                <a:lnTo>
                  <a:pt x="9821" y="7289"/>
                </a:lnTo>
                <a:lnTo>
                  <a:pt x="9523" y="4555"/>
                </a:lnTo>
                <a:lnTo>
                  <a:pt x="8333" y="2126"/>
                </a:lnTo>
                <a:lnTo>
                  <a:pt x="6547" y="607"/>
                </a:lnTo>
                <a:lnTo>
                  <a:pt x="4761" y="0"/>
                </a:lnTo>
                <a:lnTo>
                  <a:pt x="2976" y="607"/>
                </a:lnTo>
                <a:lnTo>
                  <a:pt x="1488" y="2126"/>
                </a:lnTo>
                <a:lnTo>
                  <a:pt x="297" y="4555"/>
                </a:lnTo>
                <a:lnTo>
                  <a:pt x="0" y="7289"/>
                </a:lnTo>
                <a:close/>
              </a:path>
            </a:pathLst>
          </a:custGeom>
          <a:solidFill>
            <a:srgbClr val="404040"/>
          </a:solidFill>
        </p:spPr>
        <p:txBody>
          <a:bodyPr wrap="square" lIns="0" tIns="0" rIns="0" bIns="0" rtlCol="0">
            <a:noAutofit/>
          </a:bodyPr>
          <a:lstStyle/>
          <a:p>
            <a:endParaRPr/>
          </a:p>
        </p:txBody>
      </p:sp>
      <p:sp>
        <p:nvSpPr>
          <p:cNvPr id="1225" name="object 1225"/>
          <p:cNvSpPr/>
          <p:nvPr/>
        </p:nvSpPr>
        <p:spPr>
          <a:xfrm>
            <a:off x="8692664" y="1407332"/>
            <a:ext cx="7142" cy="9111"/>
          </a:xfrm>
          <a:custGeom>
            <a:avLst/>
            <a:gdLst/>
            <a:ahLst/>
            <a:cxnLst/>
            <a:rect l="l" t="t" r="r" b="b"/>
            <a:pathLst>
              <a:path w="7142" h="9111">
                <a:moveTo>
                  <a:pt x="595" y="4555"/>
                </a:moveTo>
                <a:lnTo>
                  <a:pt x="2083" y="5467"/>
                </a:lnTo>
                <a:lnTo>
                  <a:pt x="2678" y="6985"/>
                </a:lnTo>
                <a:lnTo>
                  <a:pt x="2976" y="9111"/>
                </a:lnTo>
                <a:lnTo>
                  <a:pt x="7142" y="9111"/>
                </a:lnTo>
                <a:lnTo>
                  <a:pt x="6845" y="5770"/>
                </a:lnTo>
                <a:lnTo>
                  <a:pt x="5059" y="3037"/>
                </a:lnTo>
                <a:lnTo>
                  <a:pt x="2976" y="911"/>
                </a:lnTo>
                <a:lnTo>
                  <a:pt x="0" y="0"/>
                </a:lnTo>
                <a:lnTo>
                  <a:pt x="0" y="4252"/>
                </a:lnTo>
                <a:lnTo>
                  <a:pt x="595" y="4555"/>
                </a:lnTo>
                <a:close/>
              </a:path>
            </a:pathLst>
          </a:custGeom>
          <a:solidFill>
            <a:srgbClr val="000000"/>
          </a:solidFill>
        </p:spPr>
        <p:txBody>
          <a:bodyPr wrap="square" lIns="0" tIns="0" rIns="0" bIns="0" rtlCol="0">
            <a:noAutofit/>
          </a:bodyPr>
          <a:lstStyle/>
          <a:p>
            <a:endParaRPr/>
          </a:p>
        </p:txBody>
      </p:sp>
      <p:sp>
        <p:nvSpPr>
          <p:cNvPr id="1226" name="object 1226"/>
          <p:cNvSpPr/>
          <p:nvPr/>
        </p:nvSpPr>
        <p:spPr>
          <a:xfrm>
            <a:off x="8692664" y="1416443"/>
            <a:ext cx="7142" cy="9415"/>
          </a:xfrm>
          <a:custGeom>
            <a:avLst/>
            <a:gdLst/>
            <a:ahLst/>
            <a:cxnLst/>
            <a:rect l="l" t="t" r="r" b="b"/>
            <a:pathLst>
              <a:path w="7142" h="9415">
                <a:moveTo>
                  <a:pt x="6845" y="3340"/>
                </a:moveTo>
                <a:lnTo>
                  <a:pt x="7142" y="0"/>
                </a:lnTo>
                <a:lnTo>
                  <a:pt x="2976" y="0"/>
                </a:lnTo>
                <a:lnTo>
                  <a:pt x="2678" y="2126"/>
                </a:lnTo>
                <a:lnTo>
                  <a:pt x="1785" y="3948"/>
                </a:lnTo>
                <a:lnTo>
                  <a:pt x="595" y="4859"/>
                </a:lnTo>
                <a:lnTo>
                  <a:pt x="0" y="5163"/>
                </a:lnTo>
                <a:lnTo>
                  <a:pt x="0" y="9415"/>
                </a:lnTo>
                <a:lnTo>
                  <a:pt x="2976" y="8504"/>
                </a:lnTo>
                <a:lnTo>
                  <a:pt x="5357" y="6378"/>
                </a:lnTo>
                <a:lnTo>
                  <a:pt x="6845" y="3340"/>
                </a:lnTo>
                <a:close/>
              </a:path>
            </a:pathLst>
          </a:custGeom>
          <a:solidFill>
            <a:srgbClr val="000000"/>
          </a:solidFill>
        </p:spPr>
        <p:txBody>
          <a:bodyPr wrap="square" lIns="0" tIns="0" rIns="0" bIns="0" rtlCol="0">
            <a:noAutofit/>
          </a:bodyPr>
          <a:lstStyle/>
          <a:p>
            <a:endParaRPr/>
          </a:p>
        </p:txBody>
      </p:sp>
      <p:sp>
        <p:nvSpPr>
          <p:cNvPr id="1227" name="object 1227"/>
          <p:cNvSpPr/>
          <p:nvPr/>
        </p:nvSpPr>
        <p:spPr>
          <a:xfrm>
            <a:off x="8685521" y="1416443"/>
            <a:ext cx="7142" cy="9415"/>
          </a:xfrm>
          <a:custGeom>
            <a:avLst/>
            <a:gdLst/>
            <a:ahLst/>
            <a:cxnLst/>
            <a:rect l="l" t="t" r="r" b="b"/>
            <a:pathLst>
              <a:path w="7142" h="9415">
                <a:moveTo>
                  <a:pt x="7142" y="9415"/>
                </a:moveTo>
                <a:lnTo>
                  <a:pt x="7142" y="5163"/>
                </a:lnTo>
                <a:lnTo>
                  <a:pt x="6547" y="4859"/>
                </a:lnTo>
                <a:lnTo>
                  <a:pt x="5357" y="3948"/>
                </a:lnTo>
                <a:lnTo>
                  <a:pt x="4464" y="2126"/>
                </a:lnTo>
                <a:lnTo>
                  <a:pt x="4166" y="0"/>
                </a:lnTo>
                <a:lnTo>
                  <a:pt x="0" y="0"/>
                </a:lnTo>
                <a:lnTo>
                  <a:pt x="297" y="3340"/>
                </a:lnTo>
                <a:lnTo>
                  <a:pt x="1785" y="6378"/>
                </a:lnTo>
                <a:lnTo>
                  <a:pt x="4166" y="8504"/>
                </a:lnTo>
                <a:lnTo>
                  <a:pt x="7142" y="9415"/>
                </a:lnTo>
                <a:close/>
              </a:path>
            </a:pathLst>
          </a:custGeom>
          <a:solidFill>
            <a:srgbClr val="000000"/>
          </a:solidFill>
        </p:spPr>
        <p:txBody>
          <a:bodyPr wrap="square" lIns="0" tIns="0" rIns="0" bIns="0" rtlCol="0">
            <a:noAutofit/>
          </a:bodyPr>
          <a:lstStyle/>
          <a:p>
            <a:endParaRPr/>
          </a:p>
        </p:txBody>
      </p:sp>
      <p:sp>
        <p:nvSpPr>
          <p:cNvPr id="1228" name="object 1228"/>
          <p:cNvSpPr/>
          <p:nvPr/>
        </p:nvSpPr>
        <p:spPr>
          <a:xfrm>
            <a:off x="8685521" y="1407332"/>
            <a:ext cx="7142" cy="9111"/>
          </a:xfrm>
          <a:custGeom>
            <a:avLst/>
            <a:gdLst/>
            <a:ahLst/>
            <a:cxnLst/>
            <a:rect l="l" t="t" r="r" b="b"/>
            <a:pathLst>
              <a:path w="7142" h="9111">
                <a:moveTo>
                  <a:pt x="7142" y="0"/>
                </a:moveTo>
                <a:lnTo>
                  <a:pt x="4166" y="911"/>
                </a:lnTo>
                <a:lnTo>
                  <a:pt x="2083" y="3037"/>
                </a:lnTo>
                <a:lnTo>
                  <a:pt x="297" y="5770"/>
                </a:lnTo>
                <a:lnTo>
                  <a:pt x="0" y="9111"/>
                </a:lnTo>
                <a:lnTo>
                  <a:pt x="4166" y="9111"/>
                </a:lnTo>
                <a:lnTo>
                  <a:pt x="4464" y="6985"/>
                </a:lnTo>
                <a:lnTo>
                  <a:pt x="5059" y="5467"/>
                </a:lnTo>
                <a:lnTo>
                  <a:pt x="6547" y="4555"/>
                </a:lnTo>
                <a:lnTo>
                  <a:pt x="7142" y="4252"/>
                </a:lnTo>
                <a:lnTo>
                  <a:pt x="7142" y="0"/>
                </a:lnTo>
                <a:close/>
              </a:path>
            </a:pathLst>
          </a:custGeom>
          <a:solidFill>
            <a:srgbClr val="000000"/>
          </a:solidFill>
        </p:spPr>
        <p:txBody>
          <a:bodyPr wrap="square" lIns="0" tIns="0" rIns="0" bIns="0" rtlCol="0">
            <a:noAutofit/>
          </a:bodyPr>
          <a:lstStyle/>
          <a:p>
            <a:endParaRPr/>
          </a:p>
        </p:txBody>
      </p:sp>
      <p:sp>
        <p:nvSpPr>
          <p:cNvPr id="1229" name="object 1229"/>
          <p:cNvSpPr/>
          <p:nvPr/>
        </p:nvSpPr>
        <p:spPr>
          <a:xfrm>
            <a:off x="8725402" y="1441349"/>
            <a:ext cx="7142" cy="9111"/>
          </a:xfrm>
          <a:custGeom>
            <a:avLst/>
            <a:gdLst/>
            <a:ahLst/>
            <a:cxnLst/>
            <a:rect l="l" t="t" r="r" b="b"/>
            <a:pathLst>
              <a:path w="7142" h="9111">
                <a:moveTo>
                  <a:pt x="595" y="4555"/>
                </a:moveTo>
                <a:lnTo>
                  <a:pt x="2083" y="5467"/>
                </a:lnTo>
                <a:lnTo>
                  <a:pt x="2678" y="6985"/>
                </a:lnTo>
                <a:lnTo>
                  <a:pt x="2976" y="9111"/>
                </a:lnTo>
                <a:lnTo>
                  <a:pt x="7142" y="9111"/>
                </a:lnTo>
                <a:lnTo>
                  <a:pt x="6845" y="5770"/>
                </a:lnTo>
                <a:lnTo>
                  <a:pt x="5059" y="3037"/>
                </a:lnTo>
                <a:lnTo>
                  <a:pt x="2976" y="911"/>
                </a:lnTo>
                <a:lnTo>
                  <a:pt x="0" y="0"/>
                </a:lnTo>
                <a:lnTo>
                  <a:pt x="0" y="4252"/>
                </a:lnTo>
                <a:lnTo>
                  <a:pt x="595" y="4555"/>
                </a:lnTo>
                <a:close/>
              </a:path>
            </a:pathLst>
          </a:custGeom>
          <a:solidFill>
            <a:srgbClr val="000000"/>
          </a:solidFill>
        </p:spPr>
        <p:txBody>
          <a:bodyPr wrap="square" lIns="0" tIns="0" rIns="0" bIns="0" rtlCol="0">
            <a:noAutofit/>
          </a:bodyPr>
          <a:lstStyle/>
          <a:p>
            <a:endParaRPr/>
          </a:p>
        </p:txBody>
      </p:sp>
      <p:sp>
        <p:nvSpPr>
          <p:cNvPr id="1230" name="object 1230"/>
          <p:cNvSpPr/>
          <p:nvPr/>
        </p:nvSpPr>
        <p:spPr>
          <a:xfrm>
            <a:off x="8725402" y="1450461"/>
            <a:ext cx="7142" cy="9415"/>
          </a:xfrm>
          <a:custGeom>
            <a:avLst/>
            <a:gdLst/>
            <a:ahLst/>
            <a:cxnLst/>
            <a:rect l="l" t="t" r="r" b="b"/>
            <a:pathLst>
              <a:path w="7142" h="9415">
                <a:moveTo>
                  <a:pt x="6845" y="3340"/>
                </a:moveTo>
                <a:lnTo>
                  <a:pt x="7142" y="0"/>
                </a:lnTo>
                <a:lnTo>
                  <a:pt x="2976" y="0"/>
                </a:lnTo>
                <a:lnTo>
                  <a:pt x="2678" y="2126"/>
                </a:lnTo>
                <a:lnTo>
                  <a:pt x="1785" y="3948"/>
                </a:lnTo>
                <a:lnTo>
                  <a:pt x="595" y="4859"/>
                </a:lnTo>
                <a:lnTo>
                  <a:pt x="0" y="5163"/>
                </a:lnTo>
                <a:lnTo>
                  <a:pt x="0" y="9415"/>
                </a:lnTo>
                <a:lnTo>
                  <a:pt x="2976" y="8504"/>
                </a:lnTo>
                <a:lnTo>
                  <a:pt x="5357" y="6378"/>
                </a:lnTo>
                <a:lnTo>
                  <a:pt x="6845" y="3340"/>
                </a:lnTo>
                <a:close/>
              </a:path>
            </a:pathLst>
          </a:custGeom>
          <a:solidFill>
            <a:srgbClr val="000000"/>
          </a:solidFill>
        </p:spPr>
        <p:txBody>
          <a:bodyPr wrap="square" lIns="0" tIns="0" rIns="0" bIns="0" rtlCol="0">
            <a:noAutofit/>
          </a:bodyPr>
          <a:lstStyle/>
          <a:p>
            <a:endParaRPr/>
          </a:p>
        </p:txBody>
      </p:sp>
      <p:sp>
        <p:nvSpPr>
          <p:cNvPr id="1231" name="object 1231"/>
          <p:cNvSpPr/>
          <p:nvPr/>
        </p:nvSpPr>
        <p:spPr>
          <a:xfrm>
            <a:off x="8718558" y="1450461"/>
            <a:ext cx="6845" cy="9415"/>
          </a:xfrm>
          <a:custGeom>
            <a:avLst/>
            <a:gdLst/>
            <a:ahLst/>
            <a:cxnLst/>
            <a:rect l="l" t="t" r="r" b="b"/>
            <a:pathLst>
              <a:path w="6845" h="9415">
                <a:moveTo>
                  <a:pt x="6845" y="9415"/>
                </a:moveTo>
                <a:lnTo>
                  <a:pt x="6845" y="5163"/>
                </a:lnTo>
                <a:lnTo>
                  <a:pt x="6249" y="4859"/>
                </a:lnTo>
                <a:lnTo>
                  <a:pt x="5357" y="3948"/>
                </a:lnTo>
                <a:lnTo>
                  <a:pt x="4464" y="2126"/>
                </a:lnTo>
                <a:lnTo>
                  <a:pt x="4166" y="0"/>
                </a:lnTo>
                <a:lnTo>
                  <a:pt x="0" y="0"/>
                </a:lnTo>
                <a:lnTo>
                  <a:pt x="297" y="3340"/>
                </a:lnTo>
                <a:lnTo>
                  <a:pt x="1785" y="6378"/>
                </a:lnTo>
                <a:lnTo>
                  <a:pt x="3869" y="8504"/>
                </a:lnTo>
                <a:lnTo>
                  <a:pt x="6845" y="9415"/>
                </a:lnTo>
                <a:close/>
              </a:path>
            </a:pathLst>
          </a:custGeom>
          <a:solidFill>
            <a:srgbClr val="000000"/>
          </a:solidFill>
        </p:spPr>
        <p:txBody>
          <a:bodyPr wrap="square" lIns="0" tIns="0" rIns="0" bIns="0" rtlCol="0">
            <a:noAutofit/>
          </a:bodyPr>
          <a:lstStyle/>
          <a:p>
            <a:endParaRPr/>
          </a:p>
        </p:txBody>
      </p:sp>
      <p:sp>
        <p:nvSpPr>
          <p:cNvPr id="1232" name="object 1232"/>
          <p:cNvSpPr/>
          <p:nvPr/>
        </p:nvSpPr>
        <p:spPr>
          <a:xfrm>
            <a:off x="8718558" y="1441349"/>
            <a:ext cx="6845" cy="9111"/>
          </a:xfrm>
          <a:custGeom>
            <a:avLst/>
            <a:gdLst/>
            <a:ahLst/>
            <a:cxnLst/>
            <a:rect l="l" t="t" r="r" b="b"/>
            <a:pathLst>
              <a:path w="6845" h="9111">
                <a:moveTo>
                  <a:pt x="6845" y="0"/>
                </a:moveTo>
                <a:lnTo>
                  <a:pt x="3869" y="911"/>
                </a:lnTo>
                <a:lnTo>
                  <a:pt x="1785" y="3037"/>
                </a:lnTo>
                <a:lnTo>
                  <a:pt x="297" y="5770"/>
                </a:lnTo>
                <a:lnTo>
                  <a:pt x="0" y="9111"/>
                </a:lnTo>
                <a:lnTo>
                  <a:pt x="4166" y="9111"/>
                </a:lnTo>
                <a:lnTo>
                  <a:pt x="4464" y="6985"/>
                </a:lnTo>
                <a:lnTo>
                  <a:pt x="5357" y="5467"/>
                </a:lnTo>
                <a:lnTo>
                  <a:pt x="6249" y="4555"/>
                </a:lnTo>
                <a:lnTo>
                  <a:pt x="6845" y="4252"/>
                </a:lnTo>
                <a:lnTo>
                  <a:pt x="6845" y="0"/>
                </a:lnTo>
                <a:close/>
              </a:path>
            </a:pathLst>
          </a:custGeom>
          <a:solidFill>
            <a:srgbClr val="000000"/>
          </a:solidFill>
        </p:spPr>
        <p:txBody>
          <a:bodyPr wrap="square" lIns="0" tIns="0" rIns="0" bIns="0" rtlCol="0">
            <a:noAutofit/>
          </a:bodyPr>
          <a:lstStyle/>
          <a:p>
            <a:endParaRPr/>
          </a:p>
        </p:txBody>
      </p:sp>
      <p:sp>
        <p:nvSpPr>
          <p:cNvPr id="1233" name="object 1233"/>
          <p:cNvSpPr/>
          <p:nvPr/>
        </p:nvSpPr>
        <p:spPr>
          <a:xfrm>
            <a:off x="8759033" y="1409154"/>
            <a:ext cx="7142" cy="9111"/>
          </a:xfrm>
          <a:custGeom>
            <a:avLst/>
            <a:gdLst/>
            <a:ahLst/>
            <a:cxnLst/>
            <a:rect l="l" t="t" r="r" b="b"/>
            <a:pathLst>
              <a:path w="7142" h="9111">
                <a:moveTo>
                  <a:pt x="595" y="4555"/>
                </a:moveTo>
                <a:lnTo>
                  <a:pt x="2083" y="5467"/>
                </a:lnTo>
                <a:lnTo>
                  <a:pt x="2678" y="6985"/>
                </a:lnTo>
                <a:lnTo>
                  <a:pt x="2976" y="9111"/>
                </a:lnTo>
                <a:lnTo>
                  <a:pt x="7142" y="9111"/>
                </a:lnTo>
                <a:lnTo>
                  <a:pt x="6845" y="5770"/>
                </a:lnTo>
                <a:lnTo>
                  <a:pt x="5059" y="3037"/>
                </a:lnTo>
                <a:lnTo>
                  <a:pt x="2976" y="911"/>
                </a:lnTo>
                <a:lnTo>
                  <a:pt x="0" y="0"/>
                </a:lnTo>
                <a:lnTo>
                  <a:pt x="0" y="4252"/>
                </a:lnTo>
                <a:lnTo>
                  <a:pt x="595" y="4555"/>
                </a:lnTo>
                <a:close/>
              </a:path>
            </a:pathLst>
          </a:custGeom>
          <a:solidFill>
            <a:srgbClr val="000000"/>
          </a:solidFill>
        </p:spPr>
        <p:txBody>
          <a:bodyPr wrap="square" lIns="0" tIns="0" rIns="0" bIns="0" rtlCol="0">
            <a:noAutofit/>
          </a:bodyPr>
          <a:lstStyle/>
          <a:p>
            <a:endParaRPr/>
          </a:p>
        </p:txBody>
      </p:sp>
      <p:sp>
        <p:nvSpPr>
          <p:cNvPr id="1234" name="object 1234"/>
          <p:cNvSpPr/>
          <p:nvPr/>
        </p:nvSpPr>
        <p:spPr>
          <a:xfrm>
            <a:off x="8759033" y="1418266"/>
            <a:ext cx="7142" cy="9415"/>
          </a:xfrm>
          <a:custGeom>
            <a:avLst/>
            <a:gdLst/>
            <a:ahLst/>
            <a:cxnLst/>
            <a:rect l="l" t="t" r="r" b="b"/>
            <a:pathLst>
              <a:path w="7142" h="9415">
                <a:moveTo>
                  <a:pt x="6845" y="3340"/>
                </a:moveTo>
                <a:lnTo>
                  <a:pt x="7142" y="0"/>
                </a:lnTo>
                <a:lnTo>
                  <a:pt x="2976" y="0"/>
                </a:lnTo>
                <a:lnTo>
                  <a:pt x="2678" y="2126"/>
                </a:lnTo>
                <a:lnTo>
                  <a:pt x="1785" y="3948"/>
                </a:lnTo>
                <a:lnTo>
                  <a:pt x="595" y="4859"/>
                </a:lnTo>
                <a:lnTo>
                  <a:pt x="0" y="5163"/>
                </a:lnTo>
                <a:lnTo>
                  <a:pt x="0" y="9415"/>
                </a:lnTo>
                <a:lnTo>
                  <a:pt x="2976" y="8504"/>
                </a:lnTo>
                <a:lnTo>
                  <a:pt x="5357" y="6378"/>
                </a:lnTo>
                <a:lnTo>
                  <a:pt x="6845" y="3340"/>
                </a:lnTo>
                <a:close/>
              </a:path>
            </a:pathLst>
          </a:custGeom>
          <a:solidFill>
            <a:srgbClr val="000000"/>
          </a:solidFill>
        </p:spPr>
        <p:txBody>
          <a:bodyPr wrap="square" lIns="0" tIns="0" rIns="0" bIns="0" rtlCol="0">
            <a:noAutofit/>
          </a:bodyPr>
          <a:lstStyle/>
          <a:p>
            <a:endParaRPr/>
          </a:p>
        </p:txBody>
      </p:sp>
      <p:sp>
        <p:nvSpPr>
          <p:cNvPr id="1235" name="object 1235"/>
          <p:cNvSpPr/>
          <p:nvPr/>
        </p:nvSpPr>
        <p:spPr>
          <a:xfrm>
            <a:off x="8752189" y="1418266"/>
            <a:ext cx="6845" cy="9415"/>
          </a:xfrm>
          <a:custGeom>
            <a:avLst/>
            <a:gdLst/>
            <a:ahLst/>
            <a:cxnLst/>
            <a:rect l="l" t="t" r="r" b="b"/>
            <a:pathLst>
              <a:path w="6845" h="9415">
                <a:moveTo>
                  <a:pt x="6845" y="9415"/>
                </a:moveTo>
                <a:lnTo>
                  <a:pt x="6845" y="5163"/>
                </a:lnTo>
                <a:lnTo>
                  <a:pt x="6249" y="4859"/>
                </a:lnTo>
                <a:lnTo>
                  <a:pt x="5357" y="3948"/>
                </a:lnTo>
                <a:lnTo>
                  <a:pt x="4464" y="2126"/>
                </a:lnTo>
                <a:lnTo>
                  <a:pt x="4166" y="0"/>
                </a:lnTo>
                <a:lnTo>
                  <a:pt x="0" y="0"/>
                </a:lnTo>
                <a:lnTo>
                  <a:pt x="297" y="3340"/>
                </a:lnTo>
                <a:lnTo>
                  <a:pt x="1785" y="6378"/>
                </a:lnTo>
                <a:lnTo>
                  <a:pt x="3869" y="8504"/>
                </a:lnTo>
                <a:lnTo>
                  <a:pt x="6845" y="9415"/>
                </a:lnTo>
                <a:close/>
              </a:path>
            </a:pathLst>
          </a:custGeom>
          <a:solidFill>
            <a:srgbClr val="000000"/>
          </a:solidFill>
        </p:spPr>
        <p:txBody>
          <a:bodyPr wrap="square" lIns="0" tIns="0" rIns="0" bIns="0" rtlCol="0">
            <a:noAutofit/>
          </a:bodyPr>
          <a:lstStyle/>
          <a:p>
            <a:endParaRPr/>
          </a:p>
        </p:txBody>
      </p:sp>
      <p:sp>
        <p:nvSpPr>
          <p:cNvPr id="1236" name="object 1236"/>
          <p:cNvSpPr/>
          <p:nvPr/>
        </p:nvSpPr>
        <p:spPr>
          <a:xfrm>
            <a:off x="8752189" y="1409154"/>
            <a:ext cx="6845" cy="9111"/>
          </a:xfrm>
          <a:custGeom>
            <a:avLst/>
            <a:gdLst/>
            <a:ahLst/>
            <a:cxnLst/>
            <a:rect l="l" t="t" r="r" b="b"/>
            <a:pathLst>
              <a:path w="6845" h="9111">
                <a:moveTo>
                  <a:pt x="6845" y="0"/>
                </a:moveTo>
                <a:lnTo>
                  <a:pt x="3869" y="911"/>
                </a:lnTo>
                <a:lnTo>
                  <a:pt x="1785" y="3037"/>
                </a:lnTo>
                <a:lnTo>
                  <a:pt x="297" y="5770"/>
                </a:lnTo>
                <a:lnTo>
                  <a:pt x="0" y="9111"/>
                </a:lnTo>
                <a:lnTo>
                  <a:pt x="4166" y="9111"/>
                </a:lnTo>
                <a:lnTo>
                  <a:pt x="4464" y="6985"/>
                </a:lnTo>
                <a:lnTo>
                  <a:pt x="5357" y="5467"/>
                </a:lnTo>
                <a:lnTo>
                  <a:pt x="6249" y="4555"/>
                </a:lnTo>
                <a:lnTo>
                  <a:pt x="6845" y="4252"/>
                </a:lnTo>
                <a:lnTo>
                  <a:pt x="6845" y="0"/>
                </a:lnTo>
                <a:close/>
              </a:path>
            </a:pathLst>
          </a:custGeom>
          <a:solidFill>
            <a:srgbClr val="000000"/>
          </a:solidFill>
        </p:spPr>
        <p:txBody>
          <a:bodyPr wrap="square" lIns="0" tIns="0" rIns="0" bIns="0" rtlCol="0">
            <a:noAutofit/>
          </a:bodyPr>
          <a:lstStyle/>
          <a:p>
            <a:endParaRPr/>
          </a:p>
        </p:txBody>
      </p:sp>
      <p:sp>
        <p:nvSpPr>
          <p:cNvPr id="1237" name="object 1237"/>
          <p:cNvSpPr/>
          <p:nvPr/>
        </p:nvSpPr>
        <p:spPr>
          <a:xfrm>
            <a:off x="8746832" y="1351750"/>
            <a:ext cx="6845" cy="9111"/>
          </a:xfrm>
          <a:custGeom>
            <a:avLst/>
            <a:gdLst/>
            <a:ahLst/>
            <a:cxnLst/>
            <a:rect l="l" t="t" r="r" b="b"/>
            <a:pathLst>
              <a:path w="6845" h="9111">
                <a:moveTo>
                  <a:pt x="595" y="4555"/>
                </a:moveTo>
                <a:lnTo>
                  <a:pt x="1488" y="5467"/>
                </a:lnTo>
                <a:lnTo>
                  <a:pt x="2380" y="6985"/>
                </a:lnTo>
                <a:lnTo>
                  <a:pt x="2678" y="9111"/>
                </a:lnTo>
                <a:lnTo>
                  <a:pt x="6845" y="9111"/>
                </a:lnTo>
                <a:lnTo>
                  <a:pt x="6547" y="5770"/>
                </a:lnTo>
                <a:lnTo>
                  <a:pt x="5059" y="3037"/>
                </a:lnTo>
                <a:lnTo>
                  <a:pt x="2976" y="911"/>
                </a:lnTo>
                <a:lnTo>
                  <a:pt x="0" y="0"/>
                </a:lnTo>
                <a:lnTo>
                  <a:pt x="0" y="4252"/>
                </a:lnTo>
                <a:lnTo>
                  <a:pt x="595" y="4555"/>
                </a:lnTo>
                <a:close/>
              </a:path>
            </a:pathLst>
          </a:custGeom>
          <a:solidFill>
            <a:srgbClr val="000000"/>
          </a:solidFill>
        </p:spPr>
        <p:txBody>
          <a:bodyPr wrap="square" lIns="0" tIns="0" rIns="0" bIns="0" rtlCol="0">
            <a:noAutofit/>
          </a:bodyPr>
          <a:lstStyle/>
          <a:p>
            <a:endParaRPr/>
          </a:p>
        </p:txBody>
      </p:sp>
      <p:sp>
        <p:nvSpPr>
          <p:cNvPr id="1238" name="object 1238"/>
          <p:cNvSpPr/>
          <p:nvPr/>
        </p:nvSpPr>
        <p:spPr>
          <a:xfrm>
            <a:off x="8746832" y="1360862"/>
            <a:ext cx="6845" cy="9415"/>
          </a:xfrm>
          <a:custGeom>
            <a:avLst/>
            <a:gdLst/>
            <a:ahLst/>
            <a:cxnLst/>
            <a:rect l="l" t="t" r="r" b="b"/>
            <a:pathLst>
              <a:path w="6845" h="9415">
                <a:moveTo>
                  <a:pt x="6845" y="0"/>
                </a:moveTo>
                <a:lnTo>
                  <a:pt x="2678" y="0"/>
                </a:lnTo>
                <a:lnTo>
                  <a:pt x="2380" y="2126"/>
                </a:lnTo>
                <a:lnTo>
                  <a:pt x="1488" y="3948"/>
                </a:lnTo>
                <a:lnTo>
                  <a:pt x="595" y="4859"/>
                </a:lnTo>
                <a:lnTo>
                  <a:pt x="0" y="5163"/>
                </a:lnTo>
                <a:lnTo>
                  <a:pt x="0" y="9415"/>
                </a:lnTo>
                <a:lnTo>
                  <a:pt x="2976" y="8504"/>
                </a:lnTo>
                <a:lnTo>
                  <a:pt x="5059" y="6378"/>
                </a:lnTo>
                <a:lnTo>
                  <a:pt x="6547" y="3340"/>
                </a:lnTo>
                <a:lnTo>
                  <a:pt x="6845" y="0"/>
                </a:lnTo>
                <a:close/>
              </a:path>
            </a:pathLst>
          </a:custGeom>
          <a:solidFill>
            <a:srgbClr val="000000"/>
          </a:solidFill>
        </p:spPr>
        <p:txBody>
          <a:bodyPr wrap="square" lIns="0" tIns="0" rIns="0" bIns="0" rtlCol="0">
            <a:noAutofit/>
          </a:bodyPr>
          <a:lstStyle/>
          <a:p>
            <a:endParaRPr/>
          </a:p>
        </p:txBody>
      </p:sp>
      <p:sp>
        <p:nvSpPr>
          <p:cNvPr id="1239" name="object 1239"/>
          <p:cNvSpPr/>
          <p:nvPr/>
        </p:nvSpPr>
        <p:spPr>
          <a:xfrm>
            <a:off x="8739688" y="1360862"/>
            <a:ext cx="7142" cy="9415"/>
          </a:xfrm>
          <a:custGeom>
            <a:avLst/>
            <a:gdLst/>
            <a:ahLst/>
            <a:cxnLst/>
            <a:rect l="l" t="t" r="r" b="b"/>
            <a:pathLst>
              <a:path w="7142" h="9415">
                <a:moveTo>
                  <a:pt x="7142" y="9415"/>
                </a:moveTo>
                <a:lnTo>
                  <a:pt x="7142" y="5163"/>
                </a:lnTo>
                <a:lnTo>
                  <a:pt x="6547" y="4859"/>
                </a:lnTo>
                <a:lnTo>
                  <a:pt x="5357" y="3948"/>
                </a:lnTo>
                <a:lnTo>
                  <a:pt x="4464" y="2126"/>
                </a:lnTo>
                <a:lnTo>
                  <a:pt x="4166" y="0"/>
                </a:lnTo>
                <a:lnTo>
                  <a:pt x="0" y="0"/>
                </a:lnTo>
                <a:lnTo>
                  <a:pt x="297" y="3340"/>
                </a:lnTo>
                <a:lnTo>
                  <a:pt x="1785" y="6378"/>
                </a:lnTo>
                <a:lnTo>
                  <a:pt x="4166" y="8504"/>
                </a:lnTo>
                <a:lnTo>
                  <a:pt x="7142" y="9415"/>
                </a:lnTo>
                <a:close/>
              </a:path>
            </a:pathLst>
          </a:custGeom>
          <a:solidFill>
            <a:srgbClr val="000000"/>
          </a:solidFill>
        </p:spPr>
        <p:txBody>
          <a:bodyPr wrap="square" lIns="0" tIns="0" rIns="0" bIns="0" rtlCol="0">
            <a:noAutofit/>
          </a:bodyPr>
          <a:lstStyle/>
          <a:p>
            <a:endParaRPr/>
          </a:p>
        </p:txBody>
      </p:sp>
      <p:sp>
        <p:nvSpPr>
          <p:cNvPr id="1240" name="object 1240"/>
          <p:cNvSpPr/>
          <p:nvPr/>
        </p:nvSpPr>
        <p:spPr>
          <a:xfrm>
            <a:off x="8739688" y="1351750"/>
            <a:ext cx="7142" cy="9111"/>
          </a:xfrm>
          <a:custGeom>
            <a:avLst/>
            <a:gdLst/>
            <a:ahLst/>
            <a:cxnLst/>
            <a:rect l="l" t="t" r="r" b="b"/>
            <a:pathLst>
              <a:path w="7142" h="9111">
                <a:moveTo>
                  <a:pt x="7142" y="0"/>
                </a:moveTo>
                <a:lnTo>
                  <a:pt x="4166" y="911"/>
                </a:lnTo>
                <a:lnTo>
                  <a:pt x="2083" y="3037"/>
                </a:lnTo>
                <a:lnTo>
                  <a:pt x="297" y="5770"/>
                </a:lnTo>
                <a:lnTo>
                  <a:pt x="0" y="9111"/>
                </a:lnTo>
                <a:lnTo>
                  <a:pt x="4166" y="9111"/>
                </a:lnTo>
                <a:lnTo>
                  <a:pt x="4464" y="6985"/>
                </a:lnTo>
                <a:lnTo>
                  <a:pt x="5059" y="5467"/>
                </a:lnTo>
                <a:lnTo>
                  <a:pt x="6547" y="4555"/>
                </a:lnTo>
                <a:lnTo>
                  <a:pt x="7142" y="4252"/>
                </a:lnTo>
                <a:lnTo>
                  <a:pt x="7142" y="0"/>
                </a:lnTo>
                <a:close/>
              </a:path>
            </a:pathLst>
          </a:custGeom>
          <a:solidFill>
            <a:srgbClr val="000000"/>
          </a:solidFill>
        </p:spPr>
        <p:txBody>
          <a:bodyPr wrap="square" lIns="0" tIns="0" rIns="0" bIns="0" rtlCol="0">
            <a:noAutofit/>
          </a:bodyPr>
          <a:lstStyle/>
          <a:p>
            <a:endParaRPr/>
          </a:p>
        </p:txBody>
      </p:sp>
      <p:sp>
        <p:nvSpPr>
          <p:cNvPr id="1241" name="object 1241"/>
          <p:cNvSpPr/>
          <p:nvPr/>
        </p:nvSpPr>
        <p:spPr>
          <a:xfrm>
            <a:off x="8705759" y="1351446"/>
            <a:ext cx="7142" cy="9415"/>
          </a:xfrm>
          <a:custGeom>
            <a:avLst/>
            <a:gdLst/>
            <a:ahLst/>
            <a:cxnLst/>
            <a:rect l="l" t="t" r="r" b="b"/>
            <a:pathLst>
              <a:path w="7142" h="9415">
                <a:moveTo>
                  <a:pt x="595" y="4555"/>
                </a:moveTo>
                <a:lnTo>
                  <a:pt x="1785" y="5467"/>
                </a:lnTo>
                <a:lnTo>
                  <a:pt x="2678" y="7289"/>
                </a:lnTo>
                <a:lnTo>
                  <a:pt x="2976" y="9415"/>
                </a:lnTo>
                <a:lnTo>
                  <a:pt x="7142" y="9415"/>
                </a:lnTo>
                <a:lnTo>
                  <a:pt x="6845" y="6074"/>
                </a:lnTo>
                <a:lnTo>
                  <a:pt x="5357" y="3037"/>
                </a:lnTo>
                <a:lnTo>
                  <a:pt x="2976" y="911"/>
                </a:lnTo>
                <a:lnTo>
                  <a:pt x="0" y="0"/>
                </a:lnTo>
                <a:lnTo>
                  <a:pt x="0" y="4252"/>
                </a:lnTo>
                <a:lnTo>
                  <a:pt x="595" y="4555"/>
                </a:lnTo>
                <a:close/>
              </a:path>
            </a:pathLst>
          </a:custGeom>
          <a:solidFill>
            <a:srgbClr val="000000"/>
          </a:solidFill>
        </p:spPr>
        <p:txBody>
          <a:bodyPr wrap="square" lIns="0" tIns="0" rIns="0" bIns="0" rtlCol="0">
            <a:noAutofit/>
          </a:bodyPr>
          <a:lstStyle/>
          <a:p>
            <a:endParaRPr/>
          </a:p>
        </p:txBody>
      </p:sp>
      <p:sp>
        <p:nvSpPr>
          <p:cNvPr id="1242" name="object 1242"/>
          <p:cNvSpPr/>
          <p:nvPr/>
        </p:nvSpPr>
        <p:spPr>
          <a:xfrm>
            <a:off x="8705759" y="1360862"/>
            <a:ext cx="7142" cy="9415"/>
          </a:xfrm>
          <a:custGeom>
            <a:avLst/>
            <a:gdLst/>
            <a:ahLst/>
            <a:cxnLst/>
            <a:rect l="l" t="t" r="r" b="b"/>
            <a:pathLst>
              <a:path w="7142" h="9415">
                <a:moveTo>
                  <a:pt x="6845" y="3340"/>
                </a:moveTo>
                <a:lnTo>
                  <a:pt x="7142" y="0"/>
                </a:lnTo>
                <a:lnTo>
                  <a:pt x="2976" y="0"/>
                </a:lnTo>
                <a:lnTo>
                  <a:pt x="2678" y="2126"/>
                </a:lnTo>
                <a:lnTo>
                  <a:pt x="1785" y="3948"/>
                </a:lnTo>
                <a:lnTo>
                  <a:pt x="595" y="4859"/>
                </a:lnTo>
                <a:lnTo>
                  <a:pt x="0" y="5163"/>
                </a:lnTo>
                <a:lnTo>
                  <a:pt x="0" y="9415"/>
                </a:lnTo>
                <a:lnTo>
                  <a:pt x="2976" y="8504"/>
                </a:lnTo>
                <a:lnTo>
                  <a:pt x="5357" y="6378"/>
                </a:lnTo>
                <a:lnTo>
                  <a:pt x="6845" y="3340"/>
                </a:lnTo>
                <a:close/>
              </a:path>
            </a:pathLst>
          </a:custGeom>
          <a:solidFill>
            <a:srgbClr val="000000"/>
          </a:solidFill>
        </p:spPr>
        <p:txBody>
          <a:bodyPr wrap="square" lIns="0" tIns="0" rIns="0" bIns="0" rtlCol="0">
            <a:noAutofit/>
          </a:bodyPr>
          <a:lstStyle/>
          <a:p>
            <a:endParaRPr/>
          </a:p>
        </p:txBody>
      </p:sp>
      <p:sp>
        <p:nvSpPr>
          <p:cNvPr id="1243" name="object 1243"/>
          <p:cNvSpPr/>
          <p:nvPr/>
        </p:nvSpPr>
        <p:spPr>
          <a:xfrm>
            <a:off x="8698915" y="1360862"/>
            <a:ext cx="6845" cy="9415"/>
          </a:xfrm>
          <a:custGeom>
            <a:avLst/>
            <a:gdLst/>
            <a:ahLst/>
            <a:cxnLst/>
            <a:rect l="l" t="t" r="r" b="b"/>
            <a:pathLst>
              <a:path w="6845" h="9415">
                <a:moveTo>
                  <a:pt x="6845" y="9415"/>
                </a:moveTo>
                <a:lnTo>
                  <a:pt x="6845" y="5163"/>
                </a:lnTo>
                <a:lnTo>
                  <a:pt x="6249" y="4859"/>
                </a:lnTo>
                <a:lnTo>
                  <a:pt x="5357" y="3948"/>
                </a:lnTo>
                <a:lnTo>
                  <a:pt x="4464" y="2126"/>
                </a:lnTo>
                <a:lnTo>
                  <a:pt x="4166" y="0"/>
                </a:lnTo>
                <a:lnTo>
                  <a:pt x="0" y="0"/>
                </a:lnTo>
                <a:lnTo>
                  <a:pt x="297" y="3340"/>
                </a:lnTo>
                <a:lnTo>
                  <a:pt x="1785" y="6378"/>
                </a:lnTo>
                <a:lnTo>
                  <a:pt x="3869" y="8504"/>
                </a:lnTo>
                <a:lnTo>
                  <a:pt x="6845" y="9415"/>
                </a:lnTo>
                <a:close/>
              </a:path>
            </a:pathLst>
          </a:custGeom>
          <a:solidFill>
            <a:srgbClr val="000000"/>
          </a:solidFill>
        </p:spPr>
        <p:txBody>
          <a:bodyPr wrap="square" lIns="0" tIns="0" rIns="0" bIns="0" rtlCol="0">
            <a:noAutofit/>
          </a:bodyPr>
          <a:lstStyle/>
          <a:p>
            <a:endParaRPr/>
          </a:p>
        </p:txBody>
      </p:sp>
      <p:sp>
        <p:nvSpPr>
          <p:cNvPr id="1244" name="object 1244"/>
          <p:cNvSpPr/>
          <p:nvPr/>
        </p:nvSpPr>
        <p:spPr>
          <a:xfrm>
            <a:off x="8698915" y="1351446"/>
            <a:ext cx="6845" cy="9415"/>
          </a:xfrm>
          <a:custGeom>
            <a:avLst/>
            <a:gdLst/>
            <a:ahLst/>
            <a:cxnLst/>
            <a:rect l="l" t="t" r="r" b="b"/>
            <a:pathLst>
              <a:path w="6845" h="9415">
                <a:moveTo>
                  <a:pt x="6845" y="0"/>
                </a:moveTo>
                <a:lnTo>
                  <a:pt x="3869" y="911"/>
                </a:lnTo>
                <a:lnTo>
                  <a:pt x="1785" y="3037"/>
                </a:lnTo>
                <a:lnTo>
                  <a:pt x="297" y="6074"/>
                </a:lnTo>
                <a:lnTo>
                  <a:pt x="0" y="9415"/>
                </a:lnTo>
                <a:lnTo>
                  <a:pt x="4166" y="9415"/>
                </a:lnTo>
                <a:lnTo>
                  <a:pt x="4464" y="7289"/>
                </a:lnTo>
                <a:lnTo>
                  <a:pt x="5357" y="5467"/>
                </a:lnTo>
                <a:lnTo>
                  <a:pt x="6249" y="4555"/>
                </a:lnTo>
                <a:lnTo>
                  <a:pt x="6845" y="4252"/>
                </a:lnTo>
                <a:lnTo>
                  <a:pt x="6845" y="0"/>
                </a:lnTo>
                <a:close/>
              </a:path>
            </a:pathLst>
          </a:custGeom>
          <a:solidFill>
            <a:srgbClr val="000000"/>
          </a:solidFill>
        </p:spPr>
        <p:txBody>
          <a:bodyPr wrap="square" lIns="0" tIns="0" rIns="0" bIns="0" rtlCol="0">
            <a:noAutofit/>
          </a:bodyPr>
          <a:lstStyle/>
          <a:p>
            <a:endParaRPr/>
          </a:p>
        </p:txBody>
      </p:sp>
      <p:sp>
        <p:nvSpPr>
          <p:cNvPr id="1245" name="object 1245"/>
          <p:cNvSpPr/>
          <p:nvPr/>
        </p:nvSpPr>
        <p:spPr>
          <a:xfrm>
            <a:off x="8688795" y="1409761"/>
            <a:ext cx="7440" cy="10630"/>
          </a:xfrm>
          <a:custGeom>
            <a:avLst/>
            <a:gdLst/>
            <a:ahLst/>
            <a:cxnLst/>
            <a:rect l="l" t="t" r="r" b="b"/>
            <a:pathLst>
              <a:path w="7440" h="10630">
                <a:moveTo>
                  <a:pt x="0" y="5163"/>
                </a:moveTo>
                <a:lnTo>
                  <a:pt x="297" y="7289"/>
                </a:lnTo>
                <a:lnTo>
                  <a:pt x="1190" y="9111"/>
                </a:lnTo>
                <a:lnTo>
                  <a:pt x="2380" y="10326"/>
                </a:lnTo>
                <a:lnTo>
                  <a:pt x="3869" y="10630"/>
                </a:lnTo>
                <a:lnTo>
                  <a:pt x="5059" y="10326"/>
                </a:lnTo>
                <a:lnTo>
                  <a:pt x="6249" y="9111"/>
                </a:lnTo>
                <a:lnTo>
                  <a:pt x="7142" y="7289"/>
                </a:lnTo>
                <a:lnTo>
                  <a:pt x="7440" y="5163"/>
                </a:lnTo>
                <a:lnTo>
                  <a:pt x="7142" y="3340"/>
                </a:lnTo>
                <a:lnTo>
                  <a:pt x="6249" y="1518"/>
                </a:lnTo>
                <a:lnTo>
                  <a:pt x="5059" y="303"/>
                </a:lnTo>
                <a:lnTo>
                  <a:pt x="3869" y="0"/>
                </a:lnTo>
                <a:lnTo>
                  <a:pt x="2380" y="303"/>
                </a:lnTo>
                <a:lnTo>
                  <a:pt x="1190" y="1518"/>
                </a:lnTo>
                <a:lnTo>
                  <a:pt x="297" y="3340"/>
                </a:lnTo>
                <a:lnTo>
                  <a:pt x="0" y="5163"/>
                </a:lnTo>
                <a:close/>
              </a:path>
            </a:pathLst>
          </a:custGeom>
          <a:solidFill>
            <a:srgbClr val="FFFFFF"/>
          </a:solidFill>
        </p:spPr>
        <p:txBody>
          <a:bodyPr wrap="square" lIns="0" tIns="0" rIns="0" bIns="0" rtlCol="0">
            <a:noAutofit/>
          </a:bodyPr>
          <a:lstStyle/>
          <a:p>
            <a:endParaRPr/>
          </a:p>
        </p:txBody>
      </p:sp>
      <p:sp>
        <p:nvSpPr>
          <p:cNvPr id="1246" name="object 1246"/>
          <p:cNvSpPr/>
          <p:nvPr/>
        </p:nvSpPr>
        <p:spPr>
          <a:xfrm>
            <a:off x="8721831" y="1443778"/>
            <a:ext cx="7142" cy="10630"/>
          </a:xfrm>
          <a:custGeom>
            <a:avLst/>
            <a:gdLst/>
            <a:ahLst/>
            <a:cxnLst/>
            <a:rect l="l" t="t" r="r" b="b"/>
            <a:pathLst>
              <a:path w="7142" h="10630">
                <a:moveTo>
                  <a:pt x="0" y="5163"/>
                </a:moveTo>
                <a:lnTo>
                  <a:pt x="297" y="7289"/>
                </a:lnTo>
                <a:lnTo>
                  <a:pt x="892" y="9111"/>
                </a:lnTo>
                <a:lnTo>
                  <a:pt x="2083" y="10326"/>
                </a:lnTo>
                <a:lnTo>
                  <a:pt x="3571" y="10630"/>
                </a:lnTo>
                <a:lnTo>
                  <a:pt x="5059" y="10326"/>
                </a:lnTo>
                <a:lnTo>
                  <a:pt x="6249" y="9111"/>
                </a:lnTo>
                <a:lnTo>
                  <a:pt x="6845" y="7289"/>
                </a:lnTo>
                <a:lnTo>
                  <a:pt x="7142" y="5163"/>
                </a:lnTo>
                <a:lnTo>
                  <a:pt x="6845" y="3340"/>
                </a:lnTo>
                <a:lnTo>
                  <a:pt x="6249" y="1518"/>
                </a:lnTo>
                <a:lnTo>
                  <a:pt x="5059" y="303"/>
                </a:lnTo>
                <a:lnTo>
                  <a:pt x="3571" y="0"/>
                </a:lnTo>
                <a:lnTo>
                  <a:pt x="2083" y="303"/>
                </a:lnTo>
                <a:lnTo>
                  <a:pt x="892" y="1518"/>
                </a:lnTo>
                <a:lnTo>
                  <a:pt x="297" y="3340"/>
                </a:lnTo>
                <a:lnTo>
                  <a:pt x="0" y="5163"/>
                </a:lnTo>
                <a:close/>
              </a:path>
            </a:pathLst>
          </a:custGeom>
          <a:solidFill>
            <a:srgbClr val="FFFFFF"/>
          </a:solidFill>
        </p:spPr>
        <p:txBody>
          <a:bodyPr wrap="square" lIns="0" tIns="0" rIns="0" bIns="0" rtlCol="0">
            <a:noAutofit/>
          </a:bodyPr>
          <a:lstStyle/>
          <a:p>
            <a:endParaRPr/>
          </a:p>
        </p:txBody>
      </p:sp>
      <p:sp>
        <p:nvSpPr>
          <p:cNvPr id="1247" name="object 1247"/>
          <p:cNvSpPr/>
          <p:nvPr/>
        </p:nvSpPr>
        <p:spPr>
          <a:xfrm>
            <a:off x="8755462" y="1411583"/>
            <a:ext cx="7142" cy="10630"/>
          </a:xfrm>
          <a:custGeom>
            <a:avLst/>
            <a:gdLst/>
            <a:ahLst/>
            <a:cxnLst/>
            <a:rect l="l" t="t" r="r" b="b"/>
            <a:pathLst>
              <a:path w="7142" h="10630">
                <a:moveTo>
                  <a:pt x="0" y="5163"/>
                </a:moveTo>
                <a:lnTo>
                  <a:pt x="297" y="7289"/>
                </a:lnTo>
                <a:lnTo>
                  <a:pt x="892" y="9111"/>
                </a:lnTo>
                <a:lnTo>
                  <a:pt x="2083" y="10326"/>
                </a:lnTo>
                <a:lnTo>
                  <a:pt x="3571" y="10630"/>
                </a:lnTo>
                <a:lnTo>
                  <a:pt x="5059" y="10326"/>
                </a:lnTo>
                <a:lnTo>
                  <a:pt x="6249" y="9111"/>
                </a:lnTo>
                <a:lnTo>
                  <a:pt x="6845" y="7289"/>
                </a:lnTo>
                <a:lnTo>
                  <a:pt x="7142" y="5163"/>
                </a:lnTo>
                <a:lnTo>
                  <a:pt x="6845" y="3340"/>
                </a:lnTo>
                <a:lnTo>
                  <a:pt x="6249" y="1518"/>
                </a:lnTo>
                <a:lnTo>
                  <a:pt x="5059" y="303"/>
                </a:lnTo>
                <a:lnTo>
                  <a:pt x="3571" y="0"/>
                </a:lnTo>
                <a:lnTo>
                  <a:pt x="2083" y="303"/>
                </a:lnTo>
                <a:lnTo>
                  <a:pt x="892" y="1518"/>
                </a:lnTo>
                <a:lnTo>
                  <a:pt x="297" y="3340"/>
                </a:lnTo>
                <a:lnTo>
                  <a:pt x="0" y="5163"/>
                </a:lnTo>
                <a:close/>
              </a:path>
            </a:pathLst>
          </a:custGeom>
          <a:solidFill>
            <a:srgbClr val="FFFFFF"/>
          </a:solidFill>
        </p:spPr>
        <p:txBody>
          <a:bodyPr wrap="square" lIns="0" tIns="0" rIns="0" bIns="0" rtlCol="0">
            <a:noAutofit/>
          </a:bodyPr>
          <a:lstStyle/>
          <a:p>
            <a:endParaRPr/>
          </a:p>
        </p:txBody>
      </p:sp>
      <p:sp>
        <p:nvSpPr>
          <p:cNvPr id="1248" name="object 1248"/>
          <p:cNvSpPr/>
          <p:nvPr/>
        </p:nvSpPr>
        <p:spPr>
          <a:xfrm>
            <a:off x="8742962" y="1354179"/>
            <a:ext cx="7440" cy="10630"/>
          </a:xfrm>
          <a:custGeom>
            <a:avLst/>
            <a:gdLst/>
            <a:ahLst/>
            <a:cxnLst/>
            <a:rect l="l" t="t" r="r" b="b"/>
            <a:pathLst>
              <a:path w="7440" h="10630">
                <a:moveTo>
                  <a:pt x="0" y="5163"/>
                </a:moveTo>
                <a:lnTo>
                  <a:pt x="297" y="7289"/>
                </a:lnTo>
                <a:lnTo>
                  <a:pt x="1190" y="9111"/>
                </a:lnTo>
                <a:lnTo>
                  <a:pt x="2380" y="10326"/>
                </a:lnTo>
                <a:lnTo>
                  <a:pt x="3571" y="10630"/>
                </a:lnTo>
                <a:lnTo>
                  <a:pt x="5059" y="10326"/>
                </a:lnTo>
                <a:lnTo>
                  <a:pt x="6249" y="9111"/>
                </a:lnTo>
                <a:lnTo>
                  <a:pt x="7142" y="7289"/>
                </a:lnTo>
                <a:lnTo>
                  <a:pt x="7440" y="5163"/>
                </a:lnTo>
                <a:lnTo>
                  <a:pt x="7142" y="3037"/>
                </a:lnTo>
                <a:lnTo>
                  <a:pt x="6249" y="1518"/>
                </a:lnTo>
                <a:lnTo>
                  <a:pt x="5059" y="303"/>
                </a:lnTo>
                <a:lnTo>
                  <a:pt x="3571" y="0"/>
                </a:lnTo>
                <a:lnTo>
                  <a:pt x="2380" y="303"/>
                </a:lnTo>
                <a:lnTo>
                  <a:pt x="1190" y="1518"/>
                </a:lnTo>
                <a:lnTo>
                  <a:pt x="297" y="3037"/>
                </a:lnTo>
                <a:lnTo>
                  <a:pt x="0" y="5163"/>
                </a:lnTo>
                <a:close/>
              </a:path>
            </a:pathLst>
          </a:custGeom>
          <a:solidFill>
            <a:srgbClr val="FFFFFF"/>
          </a:solidFill>
        </p:spPr>
        <p:txBody>
          <a:bodyPr wrap="square" lIns="0" tIns="0" rIns="0" bIns="0" rtlCol="0">
            <a:noAutofit/>
          </a:bodyPr>
          <a:lstStyle/>
          <a:p>
            <a:endParaRPr/>
          </a:p>
        </p:txBody>
      </p:sp>
      <p:sp>
        <p:nvSpPr>
          <p:cNvPr id="1249" name="object 1249"/>
          <p:cNvSpPr/>
          <p:nvPr/>
        </p:nvSpPr>
        <p:spPr>
          <a:xfrm>
            <a:off x="8702188" y="1353875"/>
            <a:ext cx="7142" cy="10630"/>
          </a:xfrm>
          <a:custGeom>
            <a:avLst/>
            <a:gdLst/>
            <a:ahLst/>
            <a:cxnLst/>
            <a:rect l="l" t="t" r="r" b="b"/>
            <a:pathLst>
              <a:path w="7142" h="10630">
                <a:moveTo>
                  <a:pt x="0" y="5467"/>
                </a:moveTo>
                <a:lnTo>
                  <a:pt x="297" y="7593"/>
                </a:lnTo>
                <a:lnTo>
                  <a:pt x="892" y="9111"/>
                </a:lnTo>
                <a:lnTo>
                  <a:pt x="2083" y="10326"/>
                </a:lnTo>
                <a:lnTo>
                  <a:pt x="3571" y="10630"/>
                </a:lnTo>
                <a:lnTo>
                  <a:pt x="5059" y="10326"/>
                </a:lnTo>
                <a:lnTo>
                  <a:pt x="6249" y="9111"/>
                </a:lnTo>
                <a:lnTo>
                  <a:pt x="6845" y="7593"/>
                </a:lnTo>
                <a:lnTo>
                  <a:pt x="7142" y="5467"/>
                </a:lnTo>
                <a:lnTo>
                  <a:pt x="6845" y="3340"/>
                </a:lnTo>
                <a:lnTo>
                  <a:pt x="6249" y="1518"/>
                </a:lnTo>
                <a:lnTo>
                  <a:pt x="5059" y="303"/>
                </a:lnTo>
                <a:lnTo>
                  <a:pt x="3571" y="0"/>
                </a:lnTo>
                <a:lnTo>
                  <a:pt x="2083" y="303"/>
                </a:lnTo>
                <a:lnTo>
                  <a:pt x="892" y="1518"/>
                </a:lnTo>
                <a:lnTo>
                  <a:pt x="297" y="3340"/>
                </a:lnTo>
                <a:lnTo>
                  <a:pt x="0" y="5467"/>
                </a:lnTo>
                <a:close/>
              </a:path>
            </a:pathLst>
          </a:custGeom>
          <a:solidFill>
            <a:srgbClr val="FFFFFF"/>
          </a:solidFill>
        </p:spPr>
        <p:txBody>
          <a:bodyPr wrap="square" lIns="0" tIns="0" rIns="0" bIns="0" rtlCol="0">
            <a:noAutofit/>
          </a:bodyPr>
          <a:lstStyle/>
          <a:p>
            <a:endParaRPr/>
          </a:p>
        </p:txBody>
      </p:sp>
      <p:sp>
        <p:nvSpPr>
          <p:cNvPr id="1250" name="object 1250"/>
          <p:cNvSpPr/>
          <p:nvPr/>
        </p:nvSpPr>
        <p:spPr>
          <a:xfrm>
            <a:off x="8692664" y="1407635"/>
            <a:ext cx="5654" cy="7289"/>
          </a:xfrm>
          <a:custGeom>
            <a:avLst/>
            <a:gdLst/>
            <a:ahLst/>
            <a:cxnLst/>
            <a:rect l="l" t="t" r="r" b="b"/>
            <a:pathLst>
              <a:path w="5654" h="7289">
                <a:moveTo>
                  <a:pt x="5654" y="7289"/>
                </a:moveTo>
                <a:lnTo>
                  <a:pt x="5357" y="4859"/>
                </a:lnTo>
                <a:lnTo>
                  <a:pt x="4166" y="2429"/>
                </a:lnTo>
                <a:lnTo>
                  <a:pt x="2380" y="607"/>
                </a:lnTo>
                <a:lnTo>
                  <a:pt x="0" y="0"/>
                </a:lnTo>
                <a:lnTo>
                  <a:pt x="0" y="4252"/>
                </a:lnTo>
                <a:lnTo>
                  <a:pt x="595" y="4859"/>
                </a:lnTo>
                <a:lnTo>
                  <a:pt x="1190" y="6074"/>
                </a:lnTo>
                <a:lnTo>
                  <a:pt x="1488" y="7289"/>
                </a:lnTo>
                <a:lnTo>
                  <a:pt x="5654" y="7289"/>
                </a:lnTo>
                <a:close/>
              </a:path>
            </a:pathLst>
          </a:custGeom>
          <a:solidFill>
            <a:srgbClr val="FFFFFF"/>
          </a:solidFill>
        </p:spPr>
        <p:txBody>
          <a:bodyPr wrap="square" lIns="0" tIns="0" rIns="0" bIns="0" rtlCol="0">
            <a:noAutofit/>
          </a:bodyPr>
          <a:lstStyle/>
          <a:p>
            <a:endParaRPr/>
          </a:p>
        </p:txBody>
      </p:sp>
      <p:sp>
        <p:nvSpPr>
          <p:cNvPr id="1251" name="object 1251"/>
          <p:cNvSpPr/>
          <p:nvPr/>
        </p:nvSpPr>
        <p:spPr>
          <a:xfrm>
            <a:off x="8692664" y="1414925"/>
            <a:ext cx="5654" cy="7593"/>
          </a:xfrm>
          <a:custGeom>
            <a:avLst/>
            <a:gdLst/>
            <a:ahLst/>
            <a:cxnLst/>
            <a:rect l="l" t="t" r="r" b="b"/>
            <a:pathLst>
              <a:path w="5654" h="7593">
                <a:moveTo>
                  <a:pt x="0" y="7593"/>
                </a:moveTo>
                <a:lnTo>
                  <a:pt x="2380" y="6985"/>
                </a:lnTo>
                <a:lnTo>
                  <a:pt x="4166" y="5163"/>
                </a:lnTo>
                <a:lnTo>
                  <a:pt x="5357" y="2733"/>
                </a:lnTo>
                <a:lnTo>
                  <a:pt x="5654" y="0"/>
                </a:lnTo>
                <a:lnTo>
                  <a:pt x="1488" y="0"/>
                </a:lnTo>
                <a:lnTo>
                  <a:pt x="1190" y="1518"/>
                </a:lnTo>
                <a:lnTo>
                  <a:pt x="595" y="2733"/>
                </a:lnTo>
                <a:lnTo>
                  <a:pt x="0" y="3340"/>
                </a:lnTo>
                <a:lnTo>
                  <a:pt x="0" y="7593"/>
                </a:lnTo>
                <a:close/>
              </a:path>
            </a:pathLst>
          </a:custGeom>
          <a:solidFill>
            <a:srgbClr val="FFFFFF"/>
          </a:solidFill>
        </p:spPr>
        <p:txBody>
          <a:bodyPr wrap="square" lIns="0" tIns="0" rIns="0" bIns="0" rtlCol="0">
            <a:noAutofit/>
          </a:bodyPr>
          <a:lstStyle/>
          <a:p>
            <a:endParaRPr/>
          </a:p>
        </p:txBody>
      </p:sp>
      <p:sp>
        <p:nvSpPr>
          <p:cNvPr id="1252" name="object 1252"/>
          <p:cNvSpPr/>
          <p:nvPr/>
        </p:nvSpPr>
        <p:spPr>
          <a:xfrm>
            <a:off x="8686712" y="1414925"/>
            <a:ext cx="5952" cy="7593"/>
          </a:xfrm>
          <a:custGeom>
            <a:avLst/>
            <a:gdLst/>
            <a:ahLst/>
            <a:cxnLst/>
            <a:rect l="l" t="t" r="r" b="b"/>
            <a:pathLst>
              <a:path w="5952" h="7593">
                <a:moveTo>
                  <a:pt x="5952" y="7593"/>
                </a:moveTo>
                <a:lnTo>
                  <a:pt x="5952" y="3340"/>
                </a:lnTo>
                <a:lnTo>
                  <a:pt x="5357" y="3340"/>
                </a:lnTo>
                <a:lnTo>
                  <a:pt x="5059" y="2733"/>
                </a:lnTo>
                <a:lnTo>
                  <a:pt x="4464" y="1518"/>
                </a:lnTo>
                <a:lnTo>
                  <a:pt x="4166" y="0"/>
                </a:lnTo>
                <a:lnTo>
                  <a:pt x="0" y="0"/>
                </a:lnTo>
                <a:lnTo>
                  <a:pt x="297" y="2733"/>
                </a:lnTo>
                <a:lnTo>
                  <a:pt x="1488" y="5163"/>
                </a:lnTo>
                <a:lnTo>
                  <a:pt x="3571" y="6985"/>
                </a:lnTo>
                <a:lnTo>
                  <a:pt x="5952" y="7593"/>
                </a:lnTo>
                <a:close/>
              </a:path>
            </a:pathLst>
          </a:custGeom>
          <a:solidFill>
            <a:srgbClr val="FFFFFF"/>
          </a:solidFill>
        </p:spPr>
        <p:txBody>
          <a:bodyPr wrap="square" lIns="0" tIns="0" rIns="0" bIns="0" rtlCol="0">
            <a:noAutofit/>
          </a:bodyPr>
          <a:lstStyle/>
          <a:p>
            <a:endParaRPr/>
          </a:p>
        </p:txBody>
      </p:sp>
      <p:sp>
        <p:nvSpPr>
          <p:cNvPr id="1253" name="object 1253"/>
          <p:cNvSpPr/>
          <p:nvPr/>
        </p:nvSpPr>
        <p:spPr>
          <a:xfrm>
            <a:off x="8686712" y="1407635"/>
            <a:ext cx="5952" cy="7289"/>
          </a:xfrm>
          <a:custGeom>
            <a:avLst/>
            <a:gdLst/>
            <a:ahLst/>
            <a:cxnLst/>
            <a:rect l="l" t="t" r="r" b="b"/>
            <a:pathLst>
              <a:path w="5952" h="7289">
                <a:moveTo>
                  <a:pt x="5952" y="0"/>
                </a:moveTo>
                <a:lnTo>
                  <a:pt x="3571" y="607"/>
                </a:lnTo>
                <a:lnTo>
                  <a:pt x="1488" y="2429"/>
                </a:lnTo>
                <a:lnTo>
                  <a:pt x="297" y="4859"/>
                </a:lnTo>
                <a:lnTo>
                  <a:pt x="0" y="7289"/>
                </a:lnTo>
                <a:lnTo>
                  <a:pt x="4166" y="7289"/>
                </a:lnTo>
                <a:lnTo>
                  <a:pt x="4464" y="6074"/>
                </a:lnTo>
                <a:lnTo>
                  <a:pt x="5059" y="4859"/>
                </a:lnTo>
                <a:lnTo>
                  <a:pt x="5357" y="4252"/>
                </a:lnTo>
                <a:lnTo>
                  <a:pt x="5952" y="4252"/>
                </a:lnTo>
                <a:lnTo>
                  <a:pt x="5952" y="0"/>
                </a:lnTo>
                <a:close/>
              </a:path>
            </a:pathLst>
          </a:custGeom>
          <a:solidFill>
            <a:srgbClr val="FFFFFF"/>
          </a:solidFill>
        </p:spPr>
        <p:txBody>
          <a:bodyPr wrap="square" lIns="0" tIns="0" rIns="0" bIns="0" rtlCol="0">
            <a:noAutofit/>
          </a:bodyPr>
          <a:lstStyle/>
          <a:p>
            <a:endParaRPr/>
          </a:p>
        </p:txBody>
      </p:sp>
      <p:sp>
        <p:nvSpPr>
          <p:cNvPr id="1254" name="object 1254"/>
          <p:cNvSpPr/>
          <p:nvPr/>
        </p:nvSpPr>
        <p:spPr>
          <a:xfrm>
            <a:off x="8725402" y="1441653"/>
            <a:ext cx="5654" cy="7289"/>
          </a:xfrm>
          <a:custGeom>
            <a:avLst/>
            <a:gdLst/>
            <a:ahLst/>
            <a:cxnLst/>
            <a:rect l="l" t="t" r="r" b="b"/>
            <a:pathLst>
              <a:path w="5654" h="7289">
                <a:moveTo>
                  <a:pt x="595" y="4252"/>
                </a:moveTo>
                <a:lnTo>
                  <a:pt x="892" y="4859"/>
                </a:lnTo>
                <a:lnTo>
                  <a:pt x="1190" y="6074"/>
                </a:lnTo>
                <a:lnTo>
                  <a:pt x="1488" y="7289"/>
                </a:lnTo>
                <a:lnTo>
                  <a:pt x="5654" y="7289"/>
                </a:lnTo>
                <a:lnTo>
                  <a:pt x="5357" y="4859"/>
                </a:lnTo>
                <a:lnTo>
                  <a:pt x="4464" y="2429"/>
                </a:lnTo>
                <a:lnTo>
                  <a:pt x="2380" y="607"/>
                </a:lnTo>
                <a:lnTo>
                  <a:pt x="0" y="0"/>
                </a:lnTo>
                <a:lnTo>
                  <a:pt x="0" y="4252"/>
                </a:lnTo>
                <a:lnTo>
                  <a:pt x="595" y="4252"/>
                </a:lnTo>
                <a:close/>
              </a:path>
            </a:pathLst>
          </a:custGeom>
          <a:solidFill>
            <a:srgbClr val="FFFFFF"/>
          </a:solidFill>
        </p:spPr>
        <p:txBody>
          <a:bodyPr wrap="square" lIns="0" tIns="0" rIns="0" bIns="0" rtlCol="0">
            <a:noAutofit/>
          </a:bodyPr>
          <a:lstStyle/>
          <a:p>
            <a:endParaRPr/>
          </a:p>
        </p:txBody>
      </p:sp>
      <p:sp>
        <p:nvSpPr>
          <p:cNvPr id="1255" name="object 1255"/>
          <p:cNvSpPr/>
          <p:nvPr/>
        </p:nvSpPr>
        <p:spPr>
          <a:xfrm>
            <a:off x="8725402" y="1448942"/>
            <a:ext cx="5654" cy="7593"/>
          </a:xfrm>
          <a:custGeom>
            <a:avLst/>
            <a:gdLst/>
            <a:ahLst/>
            <a:cxnLst/>
            <a:rect l="l" t="t" r="r" b="b"/>
            <a:pathLst>
              <a:path w="5654" h="7593">
                <a:moveTo>
                  <a:pt x="0" y="7593"/>
                </a:moveTo>
                <a:lnTo>
                  <a:pt x="2380" y="6985"/>
                </a:lnTo>
                <a:lnTo>
                  <a:pt x="4464" y="5163"/>
                </a:lnTo>
                <a:lnTo>
                  <a:pt x="5357" y="2733"/>
                </a:lnTo>
                <a:lnTo>
                  <a:pt x="5654" y="0"/>
                </a:lnTo>
                <a:lnTo>
                  <a:pt x="1488" y="0"/>
                </a:lnTo>
                <a:lnTo>
                  <a:pt x="1190" y="1518"/>
                </a:lnTo>
                <a:lnTo>
                  <a:pt x="892" y="2733"/>
                </a:lnTo>
                <a:lnTo>
                  <a:pt x="595" y="3340"/>
                </a:lnTo>
                <a:lnTo>
                  <a:pt x="0" y="3340"/>
                </a:lnTo>
                <a:lnTo>
                  <a:pt x="0" y="7593"/>
                </a:lnTo>
                <a:close/>
              </a:path>
            </a:pathLst>
          </a:custGeom>
          <a:solidFill>
            <a:srgbClr val="FFFFFF"/>
          </a:solidFill>
        </p:spPr>
        <p:txBody>
          <a:bodyPr wrap="square" lIns="0" tIns="0" rIns="0" bIns="0" rtlCol="0">
            <a:noAutofit/>
          </a:bodyPr>
          <a:lstStyle/>
          <a:p>
            <a:endParaRPr/>
          </a:p>
        </p:txBody>
      </p:sp>
      <p:sp>
        <p:nvSpPr>
          <p:cNvPr id="1256" name="object 1256"/>
          <p:cNvSpPr/>
          <p:nvPr/>
        </p:nvSpPr>
        <p:spPr>
          <a:xfrm>
            <a:off x="8719747" y="1448942"/>
            <a:ext cx="5654" cy="7593"/>
          </a:xfrm>
          <a:custGeom>
            <a:avLst/>
            <a:gdLst/>
            <a:ahLst/>
            <a:cxnLst/>
            <a:rect l="l" t="t" r="r" b="b"/>
            <a:pathLst>
              <a:path w="5654" h="7593">
                <a:moveTo>
                  <a:pt x="5654" y="7593"/>
                </a:moveTo>
                <a:lnTo>
                  <a:pt x="5654" y="3340"/>
                </a:lnTo>
                <a:lnTo>
                  <a:pt x="5059" y="3340"/>
                </a:lnTo>
                <a:lnTo>
                  <a:pt x="4761" y="2733"/>
                </a:lnTo>
                <a:lnTo>
                  <a:pt x="4464" y="1518"/>
                </a:lnTo>
                <a:lnTo>
                  <a:pt x="4166" y="0"/>
                </a:lnTo>
                <a:lnTo>
                  <a:pt x="0" y="0"/>
                </a:lnTo>
                <a:lnTo>
                  <a:pt x="297" y="2733"/>
                </a:lnTo>
                <a:lnTo>
                  <a:pt x="1190" y="5163"/>
                </a:lnTo>
                <a:lnTo>
                  <a:pt x="3273" y="6985"/>
                </a:lnTo>
                <a:lnTo>
                  <a:pt x="5654" y="7593"/>
                </a:lnTo>
                <a:close/>
              </a:path>
            </a:pathLst>
          </a:custGeom>
          <a:solidFill>
            <a:srgbClr val="FFFFFF"/>
          </a:solidFill>
        </p:spPr>
        <p:txBody>
          <a:bodyPr wrap="square" lIns="0" tIns="0" rIns="0" bIns="0" rtlCol="0">
            <a:noAutofit/>
          </a:bodyPr>
          <a:lstStyle/>
          <a:p>
            <a:endParaRPr/>
          </a:p>
        </p:txBody>
      </p:sp>
      <p:sp>
        <p:nvSpPr>
          <p:cNvPr id="1257" name="object 1257"/>
          <p:cNvSpPr/>
          <p:nvPr/>
        </p:nvSpPr>
        <p:spPr>
          <a:xfrm>
            <a:off x="8719747" y="1441653"/>
            <a:ext cx="5654" cy="7289"/>
          </a:xfrm>
          <a:custGeom>
            <a:avLst/>
            <a:gdLst/>
            <a:ahLst/>
            <a:cxnLst/>
            <a:rect l="l" t="t" r="r" b="b"/>
            <a:pathLst>
              <a:path w="5654" h="7289">
                <a:moveTo>
                  <a:pt x="5654" y="0"/>
                </a:moveTo>
                <a:lnTo>
                  <a:pt x="3273" y="607"/>
                </a:lnTo>
                <a:lnTo>
                  <a:pt x="1190" y="2429"/>
                </a:lnTo>
                <a:lnTo>
                  <a:pt x="297" y="4859"/>
                </a:lnTo>
                <a:lnTo>
                  <a:pt x="0" y="7289"/>
                </a:lnTo>
                <a:lnTo>
                  <a:pt x="4166" y="7289"/>
                </a:lnTo>
                <a:lnTo>
                  <a:pt x="4464" y="6074"/>
                </a:lnTo>
                <a:lnTo>
                  <a:pt x="4761" y="4859"/>
                </a:lnTo>
                <a:lnTo>
                  <a:pt x="5059" y="4252"/>
                </a:lnTo>
                <a:lnTo>
                  <a:pt x="5654" y="4252"/>
                </a:lnTo>
                <a:lnTo>
                  <a:pt x="5654" y="0"/>
                </a:lnTo>
                <a:close/>
              </a:path>
            </a:pathLst>
          </a:custGeom>
          <a:solidFill>
            <a:srgbClr val="FFFFFF"/>
          </a:solidFill>
        </p:spPr>
        <p:txBody>
          <a:bodyPr wrap="square" lIns="0" tIns="0" rIns="0" bIns="0" rtlCol="0">
            <a:noAutofit/>
          </a:bodyPr>
          <a:lstStyle/>
          <a:p>
            <a:endParaRPr/>
          </a:p>
        </p:txBody>
      </p:sp>
      <p:sp>
        <p:nvSpPr>
          <p:cNvPr id="1258" name="object 1258"/>
          <p:cNvSpPr/>
          <p:nvPr/>
        </p:nvSpPr>
        <p:spPr>
          <a:xfrm>
            <a:off x="8759033" y="1409458"/>
            <a:ext cx="5654" cy="7289"/>
          </a:xfrm>
          <a:custGeom>
            <a:avLst/>
            <a:gdLst/>
            <a:ahLst/>
            <a:cxnLst/>
            <a:rect l="l" t="t" r="r" b="b"/>
            <a:pathLst>
              <a:path w="5654" h="7289">
                <a:moveTo>
                  <a:pt x="595" y="4252"/>
                </a:moveTo>
                <a:lnTo>
                  <a:pt x="892" y="4859"/>
                </a:lnTo>
                <a:lnTo>
                  <a:pt x="1190" y="6074"/>
                </a:lnTo>
                <a:lnTo>
                  <a:pt x="1488" y="7289"/>
                </a:lnTo>
                <a:lnTo>
                  <a:pt x="5654" y="7289"/>
                </a:lnTo>
                <a:lnTo>
                  <a:pt x="5357" y="4859"/>
                </a:lnTo>
                <a:lnTo>
                  <a:pt x="4464" y="2429"/>
                </a:lnTo>
                <a:lnTo>
                  <a:pt x="2380" y="607"/>
                </a:lnTo>
                <a:lnTo>
                  <a:pt x="0" y="0"/>
                </a:lnTo>
                <a:lnTo>
                  <a:pt x="0" y="4252"/>
                </a:lnTo>
                <a:lnTo>
                  <a:pt x="595" y="4252"/>
                </a:lnTo>
                <a:close/>
              </a:path>
            </a:pathLst>
          </a:custGeom>
          <a:solidFill>
            <a:srgbClr val="FFFFFF"/>
          </a:solidFill>
        </p:spPr>
        <p:txBody>
          <a:bodyPr wrap="square" lIns="0" tIns="0" rIns="0" bIns="0" rtlCol="0">
            <a:noAutofit/>
          </a:bodyPr>
          <a:lstStyle/>
          <a:p>
            <a:endParaRPr/>
          </a:p>
        </p:txBody>
      </p:sp>
      <p:sp>
        <p:nvSpPr>
          <p:cNvPr id="1259" name="object 1259"/>
          <p:cNvSpPr/>
          <p:nvPr/>
        </p:nvSpPr>
        <p:spPr>
          <a:xfrm>
            <a:off x="8759033" y="1416747"/>
            <a:ext cx="5654" cy="7593"/>
          </a:xfrm>
          <a:custGeom>
            <a:avLst/>
            <a:gdLst/>
            <a:ahLst/>
            <a:cxnLst/>
            <a:rect l="l" t="t" r="r" b="b"/>
            <a:pathLst>
              <a:path w="5654" h="7593">
                <a:moveTo>
                  <a:pt x="0" y="7593"/>
                </a:moveTo>
                <a:lnTo>
                  <a:pt x="2380" y="6985"/>
                </a:lnTo>
                <a:lnTo>
                  <a:pt x="4464" y="5163"/>
                </a:lnTo>
                <a:lnTo>
                  <a:pt x="5357" y="2733"/>
                </a:lnTo>
                <a:lnTo>
                  <a:pt x="5654" y="0"/>
                </a:lnTo>
                <a:lnTo>
                  <a:pt x="1488" y="0"/>
                </a:lnTo>
                <a:lnTo>
                  <a:pt x="1190" y="1518"/>
                </a:lnTo>
                <a:lnTo>
                  <a:pt x="892" y="2733"/>
                </a:lnTo>
                <a:lnTo>
                  <a:pt x="595" y="3340"/>
                </a:lnTo>
                <a:lnTo>
                  <a:pt x="0" y="3340"/>
                </a:lnTo>
                <a:lnTo>
                  <a:pt x="0" y="7593"/>
                </a:lnTo>
                <a:close/>
              </a:path>
            </a:pathLst>
          </a:custGeom>
          <a:solidFill>
            <a:srgbClr val="FFFFFF"/>
          </a:solidFill>
        </p:spPr>
        <p:txBody>
          <a:bodyPr wrap="square" lIns="0" tIns="0" rIns="0" bIns="0" rtlCol="0">
            <a:noAutofit/>
          </a:bodyPr>
          <a:lstStyle/>
          <a:p>
            <a:endParaRPr/>
          </a:p>
        </p:txBody>
      </p:sp>
      <p:sp>
        <p:nvSpPr>
          <p:cNvPr id="1260" name="object 1260"/>
          <p:cNvSpPr/>
          <p:nvPr/>
        </p:nvSpPr>
        <p:spPr>
          <a:xfrm>
            <a:off x="8753378" y="1416747"/>
            <a:ext cx="5654" cy="7593"/>
          </a:xfrm>
          <a:custGeom>
            <a:avLst/>
            <a:gdLst/>
            <a:ahLst/>
            <a:cxnLst/>
            <a:rect l="l" t="t" r="r" b="b"/>
            <a:pathLst>
              <a:path w="5654" h="7593">
                <a:moveTo>
                  <a:pt x="5654" y="7593"/>
                </a:moveTo>
                <a:lnTo>
                  <a:pt x="5654" y="3340"/>
                </a:lnTo>
                <a:lnTo>
                  <a:pt x="5059" y="3340"/>
                </a:lnTo>
                <a:lnTo>
                  <a:pt x="4761" y="2733"/>
                </a:lnTo>
                <a:lnTo>
                  <a:pt x="4464" y="1518"/>
                </a:lnTo>
                <a:lnTo>
                  <a:pt x="4166" y="0"/>
                </a:lnTo>
                <a:lnTo>
                  <a:pt x="0" y="0"/>
                </a:lnTo>
                <a:lnTo>
                  <a:pt x="297" y="2733"/>
                </a:lnTo>
                <a:lnTo>
                  <a:pt x="1190" y="5163"/>
                </a:lnTo>
                <a:lnTo>
                  <a:pt x="3273" y="6985"/>
                </a:lnTo>
                <a:lnTo>
                  <a:pt x="5654" y="7593"/>
                </a:lnTo>
                <a:close/>
              </a:path>
            </a:pathLst>
          </a:custGeom>
          <a:solidFill>
            <a:srgbClr val="FFFFFF"/>
          </a:solidFill>
        </p:spPr>
        <p:txBody>
          <a:bodyPr wrap="square" lIns="0" tIns="0" rIns="0" bIns="0" rtlCol="0">
            <a:noAutofit/>
          </a:bodyPr>
          <a:lstStyle/>
          <a:p>
            <a:endParaRPr/>
          </a:p>
        </p:txBody>
      </p:sp>
      <p:sp>
        <p:nvSpPr>
          <p:cNvPr id="1261" name="object 1261"/>
          <p:cNvSpPr/>
          <p:nvPr/>
        </p:nvSpPr>
        <p:spPr>
          <a:xfrm>
            <a:off x="8753378" y="1409458"/>
            <a:ext cx="5654" cy="7289"/>
          </a:xfrm>
          <a:custGeom>
            <a:avLst/>
            <a:gdLst/>
            <a:ahLst/>
            <a:cxnLst/>
            <a:rect l="l" t="t" r="r" b="b"/>
            <a:pathLst>
              <a:path w="5654" h="7289">
                <a:moveTo>
                  <a:pt x="5654" y="0"/>
                </a:moveTo>
                <a:lnTo>
                  <a:pt x="3273" y="607"/>
                </a:lnTo>
                <a:lnTo>
                  <a:pt x="1190" y="2429"/>
                </a:lnTo>
                <a:lnTo>
                  <a:pt x="297" y="4859"/>
                </a:lnTo>
                <a:lnTo>
                  <a:pt x="0" y="7289"/>
                </a:lnTo>
                <a:lnTo>
                  <a:pt x="4166" y="7289"/>
                </a:lnTo>
                <a:lnTo>
                  <a:pt x="4464" y="6074"/>
                </a:lnTo>
                <a:lnTo>
                  <a:pt x="4761" y="4859"/>
                </a:lnTo>
                <a:lnTo>
                  <a:pt x="5059" y="4252"/>
                </a:lnTo>
                <a:lnTo>
                  <a:pt x="5654" y="4252"/>
                </a:lnTo>
                <a:lnTo>
                  <a:pt x="5654" y="0"/>
                </a:lnTo>
                <a:close/>
              </a:path>
            </a:pathLst>
          </a:custGeom>
          <a:solidFill>
            <a:srgbClr val="FFFFFF"/>
          </a:solidFill>
        </p:spPr>
        <p:txBody>
          <a:bodyPr wrap="square" lIns="0" tIns="0" rIns="0" bIns="0" rtlCol="0">
            <a:noAutofit/>
          </a:bodyPr>
          <a:lstStyle/>
          <a:p>
            <a:endParaRPr/>
          </a:p>
        </p:txBody>
      </p:sp>
      <p:sp>
        <p:nvSpPr>
          <p:cNvPr id="1262" name="object 1262"/>
          <p:cNvSpPr/>
          <p:nvPr/>
        </p:nvSpPr>
        <p:spPr>
          <a:xfrm>
            <a:off x="8746533" y="1352054"/>
            <a:ext cx="5952" cy="7289"/>
          </a:xfrm>
          <a:custGeom>
            <a:avLst/>
            <a:gdLst/>
            <a:ahLst/>
            <a:cxnLst/>
            <a:rect l="l" t="t" r="r" b="b"/>
            <a:pathLst>
              <a:path w="5952" h="7289">
                <a:moveTo>
                  <a:pt x="595" y="4252"/>
                </a:moveTo>
                <a:lnTo>
                  <a:pt x="892" y="4859"/>
                </a:lnTo>
                <a:lnTo>
                  <a:pt x="1488" y="5770"/>
                </a:lnTo>
                <a:lnTo>
                  <a:pt x="1785" y="7289"/>
                </a:lnTo>
                <a:lnTo>
                  <a:pt x="5952" y="7289"/>
                </a:lnTo>
                <a:lnTo>
                  <a:pt x="5654" y="4555"/>
                </a:lnTo>
                <a:lnTo>
                  <a:pt x="4464" y="2429"/>
                </a:lnTo>
                <a:lnTo>
                  <a:pt x="2380" y="607"/>
                </a:lnTo>
                <a:lnTo>
                  <a:pt x="0" y="0"/>
                </a:lnTo>
                <a:lnTo>
                  <a:pt x="0" y="4252"/>
                </a:lnTo>
                <a:lnTo>
                  <a:pt x="595" y="4252"/>
                </a:lnTo>
                <a:close/>
              </a:path>
            </a:pathLst>
          </a:custGeom>
          <a:solidFill>
            <a:srgbClr val="FFFFFF"/>
          </a:solidFill>
        </p:spPr>
        <p:txBody>
          <a:bodyPr wrap="square" lIns="0" tIns="0" rIns="0" bIns="0" rtlCol="0">
            <a:noAutofit/>
          </a:bodyPr>
          <a:lstStyle/>
          <a:p>
            <a:endParaRPr/>
          </a:p>
        </p:txBody>
      </p:sp>
      <p:sp>
        <p:nvSpPr>
          <p:cNvPr id="1263" name="object 1263"/>
          <p:cNvSpPr/>
          <p:nvPr/>
        </p:nvSpPr>
        <p:spPr>
          <a:xfrm>
            <a:off x="8746533" y="1359343"/>
            <a:ext cx="5952" cy="7593"/>
          </a:xfrm>
          <a:custGeom>
            <a:avLst/>
            <a:gdLst/>
            <a:ahLst/>
            <a:cxnLst/>
            <a:rect l="l" t="t" r="r" b="b"/>
            <a:pathLst>
              <a:path w="5952" h="7593">
                <a:moveTo>
                  <a:pt x="5952" y="0"/>
                </a:moveTo>
                <a:lnTo>
                  <a:pt x="1785" y="0"/>
                </a:lnTo>
                <a:lnTo>
                  <a:pt x="1488" y="1518"/>
                </a:lnTo>
                <a:lnTo>
                  <a:pt x="892" y="2733"/>
                </a:lnTo>
                <a:lnTo>
                  <a:pt x="595" y="3340"/>
                </a:lnTo>
                <a:lnTo>
                  <a:pt x="0" y="3340"/>
                </a:lnTo>
                <a:lnTo>
                  <a:pt x="0" y="7593"/>
                </a:lnTo>
                <a:lnTo>
                  <a:pt x="2380" y="6985"/>
                </a:lnTo>
                <a:lnTo>
                  <a:pt x="4464" y="5163"/>
                </a:lnTo>
                <a:lnTo>
                  <a:pt x="5654" y="2733"/>
                </a:lnTo>
                <a:lnTo>
                  <a:pt x="5952" y="0"/>
                </a:lnTo>
                <a:close/>
              </a:path>
            </a:pathLst>
          </a:custGeom>
          <a:solidFill>
            <a:srgbClr val="FFFFFF"/>
          </a:solidFill>
        </p:spPr>
        <p:txBody>
          <a:bodyPr wrap="square" lIns="0" tIns="0" rIns="0" bIns="0" rtlCol="0">
            <a:noAutofit/>
          </a:bodyPr>
          <a:lstStyle/>
          <a:p>
            <a:endParaRPr/>
          </a:p>
        </p:txBody>
      </p:sp>
      <p:sp>
        <p:nvSpPr>
          <p:cNvPr id="1264" name="object 1264"/>
          <p:cNvSpPr/>
          <p:nvPr/>
        </p:nvSpPr>
        <p:spPr>
          <a:xfrm>
            <a:off x="8740878" y="1359343"/>
            <a:ext cx="5654" cy="7593"/>
          </a:xfrm>
          <a:custGeom>
            <a:avLst/>
            <a:gdLst/>
            <a:ahLst/>
            <a:cxnLst/>
            <a:rect l="l" t="t" r="r" b="b"/>
            <a:pathLst>
              <a:path w="5654" h="7593">
                <a:moveTo>
                  <a:pt x="0" y="0"/>
                </a:moveTo>
                <a:lnTo>
                  <a:pt x="297" y="2733"/>
                </a:lnTo>
                <a:lnTo>
                  <a:pt x="1488" y="5163"/>
                </a:lnTo>
                <a:lnTo>
                  <a:pt x="3273" y="6985"/>
                </a:lnTo>
                <a:lnTo>
                  <a:pt x="5654" y="7593"/>
                </a:lnTo>
                <a:lnTo>
                  <a:pt x="5654" y="3340"/>
                </a:lnTo>
                <a:lnTo>
                  <a:pt x="5059" y="2733"/>
                </a:lnTo>
                <a:lnTo>
                  <a:pt x="4464" y="1518"/>
                </a:lnTo>
                <a:lnTo>
                  <a:pt x="4166" y="0"/>
                </a:lnTo>
                <a:lnTo>
                  <a:pt x="0" y="0"/>
                </a:lnTo>
                <a:close/>
              </a:path>
            </a:pathLst>
          </a:custGeom>
          <a:solidFill>
            <a:srgbClr val="FFFFFF"/>
          </a:solidFill>
        </p:spPr>
        <p:txBody>
          <a:bodyPr wrap="square" lIns="0" tIns="0" rIns="0" bIns="0" rtlCol="0">
            <a:noAutofit/>
          </a:bodyPr>
          <a:lstStyle/>
          <a:p>
            <a:endParaRPr/>
          </a:p>
        </p:txBody>
      </p:sp>
      <p:sp>
        <p:nvSpPr>
          <p:cNvPr id="1265" name="object 1265"/>
          <p:cNvSpPr/>
          <p:nvPr/>
        </p:nvSpPr>
        <p:spPr>
          <a:xfrm>
            <a:off x="8740878" y="1352054"/>
            <a:ext cx="5654" cy="7289"/>
          </a:xfrm>
          <a:custGeom>
            <a:avLst/>
            <a:gdLst/>
            <a:ahLst/>
            <a:cxnLst/>
            <a:rect l="l" t="t" r="r" b="b"/>
            <a:pathLst>
              <a:path w="5654" h="7289">
                <a:moveTo>
                  <a:pt x="1488" y="2429"/>
                </a:moveTo>
                <a:lnTo>
                  <a:pt x="297" y="4555"/>
                </a:lnTo>
                <a:lnTo>
                  <a:pt x="0" y="7289"/>
                </a:lnTo>
                <a:lnTo>
                  <a:pt x="4166" y="7289"/>
                </a:lnTo>
                <a:lnTo>
                  <a:pt x="4464" y="5770"/>
                </a:lnTo>
                <a:lnTo>
                  <a:pt x="5059" y="4859"/>
                </a:lnTo>
                <a:lnTo>
                  <a:pt x="5654" y="4252"/>
                </a:lnTo>
                <a:lnTo>
                  <a:pt x="5654" y="0"/>
                </a:lnTo>
                <a:lnTo>
                  <a:pt x="3273" y="607"/>
                </a:lnTo>
                <a:lnTo>
                  <a:pt x="1488" y="2429"/>
                </a:lnTo>
                <a:close/>
              </a:path>
            </a:pathLst>
          </a:custGeom>
          <a:solidFill>
            <a:srgbClr val="FFFFFF"/>
          </a:solidFill>
        </p:spPr>
        <p:txBody>
          <a:bodyPr wrap="square" lIns="0" tIns="0" rIns="0" bIns="0" rtlCol="0">
            <a:noAutofit/>
          </a:bodyPr>
          <a:lstStyle/>
          <a:p>
            <a:endParaRPr/>
          </a:p>
        </p:txBody>
      </p:sp>
      <p:sp>
        <p:nvSpPr>
          <p:cNvPr id="1266" name="object 1266"/>
          <p:cNvSpPr/>
          <p:nvPr/>
        </p:nvSpPr>
        <p:spPr>
          <a:xfrm>
            <a:off x="8705759" y="1351750"/>
            <a:ext cx="5654" cy="7593"/>
          </a:xfrm>
          <a:custGeom>
            <a:avLst/>
            <a:gdLst/>
            <a:ahLst/>
            <a:cxnLst/>
            <a:rect l="l" t="t" r="r" b="b"/>
            <a:pathLst>
              <a:path w="5654" h="7593">
                <a:moveTo>
                  <a:pt x="595" y="4252"/>
                </a:moveTo>
                <a:lnTo>
                  <a:pt x="892" y="4859"/>
                </a:lnTo>
                <a:lnTo>
                  <a:pt x="1190" y="6074"/>
                </a:lnTo>
                <a:lnTo>
                  <a:pt x="1488" y="7593"/>
                </a:lnTo>
                <a:lnTo>
                  <a:pt x="5654" y="7593"/>
                </a:lnTo>
                <a:lnTo>
                  <a:pt x="5357" y="4859"/>
                </a:lnTo>
                <a:lnTo>
                  <a:pt x="4464" y="2429"/>
                </a:lnTo>
                <a:lnTo>
                  <a:pt x="2380" y="607"/>
                </a:lnTo>
                <a:lnTo>
                  <a:pt x="0" y="0"/>
                </a:lnTo>
                <a:lnTo>
                  <a:pt x="0" y="4252"/>
                </a:lnTo>
                <a:lnTo>
                  <a:pt x="595" y="4252"/>
                </a:lnTo>
                <a:close/>
              </a:path>
            </a:pathLst>
          </a:custGeom>
          <a:solidFill>
            <a:srgbClr val="FFFFFF"/>
          </a:solidFill>
        </p:spPr>
        <p:txBody>
          <a:bodyPr wrap="square" lIns="0" tIns="0" rIns="0" bIns="0" rtlCol="0">
            <a:noAutofit/>
          </a:bodyPr>
          <a:lstStyle/>
          <a:p>
            <a:endParaRPr/>
          </a:p>
        </p:txBody>
      </p:sp>
      <p:sp>
        <p:nvSpPr>
          <p:cNvPr id="1267" name="object 1267"/>
          <p:cNvSpPr/>
          <p:nvPr/>
        </p:nvSpPr>
        <p:spPr>
          <a:xfrm>
            <a:off x="8705759" y="1359343"/>
            <a:ext cx="5654" cy="7289"/>
          </a:xfrm>
          <a:custGeom>
            <a:avLst/>
            <a:gdLst/>
            <a:ahLst/>
            <a:cxnLst/>
            <a:rect l="l" t="t" r="r" b="b"/>
            <a:pathLst>
              <a:path w="5654" h="7289">
                <a:moveTo>
                  <a:pt x="5654" y="0"/>
                </a:moveTo>
                <a:lnTo>
                  <a:pt x="1488" y="0"/>
                </a:lnTo>
                <a:lnTo>
                  <a:pt x="1190" y="1518"/>
                </a:lnTo>
                <a:lnTo>
                  <a:pt x="892" y="2429"/>
                </a:lnTo>
                <a:lnTo>
                  <a:pt x="595" y="3037"/>
                </a:lnTo>
                <a:lnTo>
                  <a:pt x="0" y="3037"/>
                </a:lnTo>
                <a:lnTo>
                  <a:pt x="0" y="7289"/>
                </a:lnTo>
                <a:lnTo>
                  <a:pt x="2380" y="6681"/>
                </a:lnTo>
                <a:lnTo>
                  <a:pt x="4464" y="4859"/>
                </a:lnTo>
                <a:lnTo>
                  <a:pt x="5357" y="2733"/>
                </a:lnTo>
                <a:lnTo>
                  <a:pt x="5654" y="0"/>
                </a:lnTo>
                <a:close/>
              </a:path>
            </a:pathLst>
          </a:custGeom>
          <a:solidFill>
            <a:srgbClr val="FFFFFF"/>
          </a:solidFill>
        </p:spPr>
        <p:txBody>
          <a:bodyPr wrap="square" lIns="0" tIns="0" rIns="0" bIns="0" rtlCol="0">
            <a:noAutofit/>
          </a:bodyPr>
          <a:lstStyle/>
          <a:p>
            <a:endParaRPr/>
          </a:p>
        </p:txBody>
      </p:sp>
      <p:sp>
        <p:nvSpPr>
          <p:cNvPr id="1268" name="object 1268"/>
          <p:cNvSpPr/>
          <p:nvPr/>
        </p:nvSpPr>
        <p:spPr>
          <a:xfrm>
            <a:off x="8700105" y="1359343"/>
            <a:ext cx="5654" cy="7289"/>
          </a:xfrm>
          <a:custGeom>
            <a:avLst/>
            <a:gdLst/>
            <a:ahLst/>
            <a:cxnLst/>
            <a:rect l="l" t="t" r="r" b="b"/>
            <a:pathLst>
              <a:path w="5654" h="7289">
                <a:moveTo>
                  <a:pt x="5654" y="7289"/>
                </a:moveTo>
                <a:lnTo>
                  <a:pt x="5654" y="3037"/>
                </a:lnTo>
                <a:lnTo>
                  <a:pt x="5059" y="3037"/>
                </a:lnTo>
                <a:lnTo>
                  <a:pt x="4761" y="2429"/>
                </a:lnTo>
                <a:lnTo>
                  <a:pt x="4464" y="1518"/>
                </a:lnTo>
                <a:lnTo>
                  <a:pt x="4166" y="0"/>
                </a:lnTo>
                <a:lnTo>
                  <a:pt x="0" y="0"/>
                </a:lnTo>
                <a:lnTo>
                  <a:pt x="297" y="2733"/>
                </a:lnTo>
                <a:lnTo>
                  <a:pt x="1190" y="4859"/>
                </a:lnTo>
                <a:lnTo>
                  <a:pt x="3273" y="6681"/>
                </a:lnTo>
                <a:lnTo>
                  <a:pt x="5654" y="7289"/>
                </a:lnTo>
                <a:close/>
              </a:path>
            </a:pathLst>
          </a:custGeom>
          <a:solidFill>
            <a:srgbClr val="FFFFFF"/>
          </a:solidFill>
        </p:spPr>
        <p:txBody>
          <a:bodyPr wrap="square" lIns="0" tIns="0" rIns="0" bIns="0" rtlCol="0">
            <a:noAutofit/>
          </a:bodyPr>
          <a:lstStyle/>
          <a:p>
            <a:endParaRPr/>
          </a:p>
        </p:txBody>
      </p:sp>
      <p:sp>
        <p:nvSpPr>
          <p:cNvPr id="1269" name="object 1269"/>
          <p:cNvSpPr/>
          <p:nvPr/>
        </p:nvSpPr>
        <p:spPr>
          <a:xfrm>
            <a:off x="8700105" y="1351750"/>
            <a:ext cx="5654" cy="7593"/>
          </a:xfrm>
          <a:custGeom>
            <a:avLst/>
            <a:gdLst/>
            <a:ahLst/>
            <a:cxnLst/>
            <a:rect l="l" t="t" r="r" b="b"/>
            <a:pathLst>
              <a:path w="5654" h="7593">
                <a:moveTo>
                  <a:pt x="5654" y="0"/>
                </a:moveTo>
                <a:lnTo>
                  <a:pt x="3273" y="607"/>
                </a:lnTo>
                <a:lnTo>
                  <a:pt x="1190" y="2429"/>
                </a:lnTo>
                <a:lnTo>
                  <a:pt x="297" y="4859"/>
                </a:lnTo>
                <a:lnTo>
                  <a:pt x="0" y="7593"/>
                </a:lnTo>
                <a:lnTo>
                  <a:pt x="4166" y="7593"/>
                </a:lnTo>
                <a:lnTo>
                  <a:pt x="4464" y="6074"/>
                </a:lnTo>
                <a:lnTo>
                  <a:pt x="4761" y="4859"/>
                </a:lnTo>
                <a:lnTo>
                  <a:pt x="5059" y="4252"/>
                </a:lnTo>
                <a:lnTo>
                  <a:pt x="5654" y="4252"/>
                </a:lnTo>
                <a:lnTo>
                  <a:pt x="5654" y="0"/>
                </a:lnTo>
                <a:close/>
              </a:path>
            </a:pathLst>
          </a:custGeom>
          <a:solidFill>
            <a:srgbClr val="FFFFFF"/>
          </a:solidFill>
        </p:spPr>
        <p:txBody>
          <a:bodyPr wrap="square" lIns="0" tIns="0" rIns="0" bIns="0" rtlCol="0">
            <a:noAutofit/>
          </a:bodyPr>
          <a:lstStyle/>
          <a:p>
            <a:endParaRPr/>
          </a:p>
        </p:txBody>
      </p:sp>
      <p:sp>
        <p:nvSpPr>
          <p:cNvPr id="1270" name="object 1270"/>
          <p:cNvSpPr/>
          <p:nvPr/>
        </p:nvSpPr>
        <p:spPr>
          <a:xfrm>
            <a:off x="9312901" y="1168300"/>
            <a:ext cx="182439" cy="262115"/>
          </a:xfrm>
          <a:custGeom>
            <a:avLst/>
            <a:gdLst/>
            <a:ahLst/>
            <a:cxnLst/>
            <a:rect l="l" t="t" r="r" b="b"/>
            <a:pathLst>
              <a:path w="182439" h="262115">
                <a:moveTo>
                  <a:pt x="22023" y="0"/>
                </a:moveTo>
                <a:lnTo>
                  <a:pt x="17559" y="303"/>
                </a:lnTo>
                <a:lnTo>
                  <a:pt x="13392" y="1822"/>
                </a:lnTo>
                <a:lnTo>
                  <a:pt x="3869" y="10022"/>
                </a:lnTo>
                <a:lnTo>
                  <a:pt x="0" y="22475"/>
                </a:lnTo>
                <a:lnTo>
                  <a:pt x="0" y="239639"/>
                </a:lnTo>
                <a:lnTo>
                  <a:pt x="1785" y="248447"/>
                </a:lnTo>
                <a:lnTo>
                  <a:pt x="9821" y="258166"/>
                </a:lnTo>
                <a:lnTo>
                  <a:pt x="22023" y="262115"/>
                </a:lnTo>
                <a:lnTo>
                  <a:pt x="160416" y="262115"/>
                </a:lnTo>
                <a:lnTo>
                  <a:pt x="169047" y="260292"/>
                </a:lnTo>
                <a:lnTo>
                  <a:pt x="178570" y="252092"/>
                </a:lnTo>
                <a:lnTo>
                  <a:pt x="182439" y="239639"/>
                </a:lnTo>
                <a:lnTo>
                  <a:pt x="182439" y="22475"/>
                </a:lnTo>
                <a:lnTo>
                  <a:pt x="180654" y="13667"/>
                </a:lnTo>
                <a:lnTo>
                  <a:pt x="172618" y="3948"/>
                </a:lnTo>
                <a:lnTo>
                  <a:pt x="160416" y="0"/>
                </a:lnTo>
                <a:lnTo>
                  <a:pt x="22023" y="0"/>
                </a:lnTo>
                <a:close/>
              </a:path>
            </a:pathLst>
          </a:custGeom>
          <a:solidFill>
            <a:srgbClr val="BEBEBE"/>
          </a:solidFill>
        </p:spPr>
        <p:txBody>
          <a:bodyPr wrap="square" lIns="0" tIns="0" rIns="0" bIns="0" rtlCol="0">
            <a:noAutofit/>
          </a:bodyPr>
          <a:lstStyle/>
          <a:p>
            <a:endParaRPr/>
          </a:p>
        </p:txBody>
      </p:sp>
      <p:sp>
        <p:nvSpPr>
          <p:cNvPr id="1271" name="object 1271"/>
          <p:cNvSpPr/>
          <p:nvPr/>
        </p:nvSpPr>
        <p:spPr>
          <a:xfrm>
            <a:off x="9334924" y="1168299"/>
            <a:ext cx="138392" cy="0"/>
          </a:xfrm>
          <a:custGeom>
            <a:avLst/>
            <a:gdLst/>
            <a:ahLst/>
            <a:cxnLst/>
            <a:rect l="l" t="t" r="r" b="b"/>
            <a:pathLst>
              <a:path w="138392">
                <a:moveTo>
                  <a:pt x="0" y="0"/>
                </a:moveTo>
                <a:lnTo>
                  <a:pt x="138392" y="0"/>
                </a:lnTo>
              </a:path>
            </a:pathLst>
          </a:custGeom>
          <a:ln w="4307">
            <a:solidFill>
              <a:srgbClr val="000000"/>
            </a:solidFill>
          </a:ln>
        </p:spPr>
        <p:txBody>
          <a:bodyPr wrap="square" lIns="0" tIns="0" rIns="0" bIns="0" rtlCol="0">
            <a:noAutofit/>
          </a:bodyPr>
          <a:lstStyle/>
          <a:p>
            <a:endParaRPr/>
          </a:p>
        </p:txBody>
      </p:sp>
      <p:sp>
        <p:nvSpPr>
          <p:cNvPr id="1272" name="object 1272"/>
          <p:cNvSpPr/>
          <p:nvPr/>
        </p:nvSpPr>
        <p:spPr>
          <a:xfrm>
            <a:off x="9473317" y="1166780"/>
            <a:ext cx="23511" cy="23994"/>
          </a:xfrm>
          <a:custGeom>
            <a:avLst/>
            <a:gdLst/>
            <a:ahLst/>
            <a:cxnLst/>
            <a:rect l="l" t="t" r="r" b="b"/>
            <a:pathLst>
              <a:path w="23511" h="23994">
                <a:moveTo>
                  <a:pt x="4166" y="3340"/>
                </a:moveTo>
                <a:lnTo>
                  <a:pt x="8035" y="4859"/>
                </a:lnTo>
                <a:lnTo>
                  <a:pt x="11309" y="6681"/>
                </a:lnTo>
                <a:lnTo>
                  <a:pt x="14285" y="9415"/>
                </a:lnTo>
                <a:lnTo>
                  <a:pt x="16964" y="12452"/>
                </a:lnTo>
                <a:lnTo>
                  <a:pt x="18749" y="15793"/>
                </a:lnTo>
                <a:lnTo>
                  <a:pt x="20238" y="19742"/>
                </a:lnTo>
                <a:lnTo>
                  <a:pt x="20535" y="23994"/>
                </a:lnTo>
                <a:lnTo>
                  <a:pt x="23511" y="23994"/>
                </a:lnTo>
                <a:lnTo>
                  <a:pt x="23214" y="19134"/>
                </a:lnTo>
                <a:lnTo>
                  <a:pt x="21726" y="14578"/>
                </a:lnTo>
                <a:lnTo>
                  <a:pt x="19345" y="10630"/>
                </a:lnTo>
                <a:lnTo>
                  <a:pt x="16666" y="6985"/>
                </a:lnTo>
                <a:lnTo>
                  <a:pt x="13095" y="4252"/>
                </a:lnTo>
                <a:lnTo>
                  <a:pt x="9226" y="1822"/>
                </a:lnTo>
                <a:lnTo>
                  <a:pt x="4761" y="303"/>
                </a:lnTo>
                <a:lnTo>
                  <a:pt x="0" y="0"/>
                </a:lnTo>
                <a:lnTo>
                  <a:pt x="0" y="3037"/>
                </a:lnTo>
                <a:lnTo>
                  <a:pt x="4166" y="3340"/>
                </a:lnTo>
                <a:close/>
              </a:path>
            </a:pathLst>
          </a:custGeom>
          <a:solidFill>
            <a:srgbClr val="000000"/>
          </a:solidFill>
        </p:spPr>
        <p:txBody>
          <a:bodyPr wrap="square" lIns="0" tIns="0" rIns="0" bIns="0" rtlCol="0">
            <a:noAutofit/>
          </a:bodyPr>
          <a:lstStyle/>
          <a:p>
            <a:endParaRPr/>
          </a:p>
        </p:txBody>
      </p:sp>
      <p:sp>
        <p:nvSpPr>
          <p:cNvPr id="1273" name="object 1273"/>
          <p:cNvSpPr/>
          <p:nvPr/>
        </p:nvSpPr>
        <p:spPr>
          <a:xfrm>
            <a:off x="9495340" y="1190775"/>
            <a:ext cx="0" cy="217163"/>
          </a:xfrm>
          <a:custGeom>
            <a:avLst/>
            <a:gdLst/>
            <a:ahLst/>
            <a:cxnLst/>
            <a:rect l="l" t="t" r="r" b="b"/>
            <a:pathLst>
              <a:path h="217163">
                <a:moveTo>
                  <a:pt x="0" y="0"/>
                </a:moveTo>
                <a:lnTo>
                  <a:pt x="0" y="217163"/>
                </a:lnTo>
              </a:path>
            </a:pathLst>
          </a:custGeom>
          <a:ln w="4246">
            <a:solidFill>
              <a:srgbClr val="000000"/>
            </a:solidFill>
          </a:ln>
        </p:spPr>
        <p:txBody>
          <a:bodyPr wrap="square" lIns="0" tIns="0" rIns="0" bIns="0" rtlCol="0">
            <a:noAutofit/>
          </a:bodyPr>
          <a:lstStyle/>
          <a:p>
            <a:endParaRPr/>
          </a:p>
        </p:txBody>
      </p:sp>
      <p:sp>
        <p:nvSpPr>
          <p:cNvPr id="1274" name="object 1274"/>
          <p:cNvSpPr/>
          <p:nvPr/>
        </p:nvSpPr>
        <p:spPr>
          <a:xfrm>
            <a:off x="9473317" y="1407938"/>
            <a:ext cx="23511" cy="23994"/>
          </a:xfrm>
          <a:custGeom>
            <a:avLst/>
            <a:gdLst/>
            <a:ahLst/>
            <a:cxnLst/>
            <a:rect l="l" t="t" r="r" b="b"/>
            <a:pathLst>
              <a:path w="23511" h="23994">
                <a:moveTo>
                  <a:pt x="4761" y="23690"/>
                </a:moveTo>
                <a:lnTo>
                  <a:pt x="9226" y="22171"/>
                </a:lnTo>
                <a:lnTo>
                  <a:pt x="13095" y="19742"/>
                </a:lnTo>
                <a:lnTo>
                  <a:pt x="16666" y="17008"/>
                </a:lnTo>
                <a:lnTo>
                  <a:pt x="19345" y="13363"/>
                </a:lnTo>
                <a:lnTo>
                  <a:pt x="21726" y="9415"/>
                </a:lnTo>
                <a:lnTo>
                  <a:pt x="23214" y="4859"/>
                </a:lnTo>
                <a:lnTo>
                  <a:pt x="23511" y="0"/>
                </a:lnTo>
                <a:lnTo>
                  <a:pt x="20535" y="0"/>
                </a:lnTo>
                <a:lnTo>
                  <a:pt x="20238" y="4252"/>
                </a:lnTo>
                <a:lnTo>
                  <a:pt x="18749" y="8200"/>
                </a:lnTo>
                <a:lnTo>
                  <a:pt x="16964" y="11541"/>
                </a:lnTo>
                <a:lnTo>
                  <a:pt x="14285" y="14578"/>
                </a:lnTo>
                <a:lnTo>
                  <a:pt x="11309" y="17312"/>
                </a:lnTo>
                <a:lnTo>
                  <a:pt x="8035" y="19134"/>
                </a:lnTo>
                <a:lnTo>
                  <a:pt x="4166" y="20653"/>
                </a:lnTo>
                <a:lnTo>
                  <a:pt x="0" y="20957"/>
                </a:lnTo>
                <a:lnTo>
                  <a:pt x="0" y="23994"/>
                </a:lnTo>
                <a:lnTo>
                  <a:pt x="4761" y="23690"/>
                </a:lnTo>
                <a:close/>
              </a:path>
            </a:pathLst>
          </a:custGeom>
          <a:solidFill>
            <a:srgbClr val="000000"/>
          </a:solidFill>
        </p:spPr>
        <p:txBody>
          <a:bodyPr wrap="square" lIns="0" tIns="0" rIns="0" bIns="0" rtlCol="0">
            <a:noAutofit/>
          </a:bodyPr>
          <a:lstStyle/>
          <a:p>
            <a:endParaRPr/>
          </a:p>
        </p:txBody>
      </p:sp>
      <p:sp>
        <p:nvSpPr>
          <p:cNvPr id="1275" name="object 1275"/>
          <p:cNvSpPr/>
          <p:nvPr/>
        </p:nvSpPr>
        <p:spPr>
          <a:xfrm>
            <a:off x="9334924" y="1430414"/>
            <a:ext cx="138392" cy="0"/>
          </a:xfrm>
          <a:custGeom>
            <a:avLst/>
            <a:gdLst/>
            <a:ahLst/>
            <a:cxnLst/>
            <a:rect l="l" t="t" r="r" b="b"/>
            <a:pathLst>
              <a:path w="138392">
                <a:moveTo>
                  <a:pt x="0" y="0"/>
                </a:moveTo>
                <a:lnTo>
                  <a:pt x="138392" y="0"/>
                </a:lnTo>
              </a:path>
            </a:pathLst>
          </a:custGeom>
          <a:ln w="4307">
            <a:solidFill>
              <a:srgbClr val="000000"/>
            </a:solidFill>
          </a:ln>
        </p:spPr>
        <p:txBody>
          <a:bodyPr wrap="square" lIns="0" tIns="0" rIns="0" bIns="0" rtlCol="0">
            <a:noAutofit/>
          </a:bodyPr>
          <a:lstStyle/>
          <a:p>
            <a:endParaRPr/>
          </a:p>
        </p:txBody>
      </p:sp>
      <p:sp>
        <p:nvSpPr>
          <p:cNvPr id="1276" name="object 1276"/>
          <p:cNvSpPr/>
          <p:nvPr/>
        </p:nvSpPr>
        <p:spPr>
          <a:xfrm>
            <a:off x="9311413" y="1407938"/>
            <a:ext cx="23511" cy="23994"/>
          </a:xfrm>
          <a:custGeom>
            <a:avLst/>
            <a:gdLst/>
            <a:ahLst/>
            <a:cxnLst/>
            <a:rect l="l" t="t" r="r" b="b"/>
            <a:pathLst>
              <a:path w="23511" h="23994">
                <a:moveTo>
                  <a:pt x="6547" y="11541"/>
                </a:moveTo>
                <a:lnTo>
                  <a:pt x="4761" y="8200"/>
                </a:lnTo>
                <a:lnTo>
                  <a:pt x="3273" y="4252"/>
                </a:lnTo>
                <a:lnTo>
                  <a:pt x="2976" y="0"/>
                </a:lnTo>
                <a:lnTo>
                  <a:pt x="0" y="0"/>
                </a:lnTo>
                <a:lnTo>
                  <a:pt x="297" y="4859"/>
                </a:lnTo>
                <a:lnTo>
                  <a:pt x="1785" y="9415"/>
                </a:lnTo>
                <a:lnTo>
                  <a:pt x="4166" y="13363"/>
                </a:lnTo>
                <a:lnTo>
                  <a:pt x="6845" y="17008"/>
                </a:lnTo>
                <a:lnTo>
                  <a:pt x="10416" y="19742"/>
                </a:lnTo>
                <a:lnTo>
                  <a:pt x="14285" y="22171"/>
                </a:lnTo>
                <a:lnTo>
                  <a:pt x="18749" y="23690"/>
                </a:lnTo>
                <a:lnTo>
                  <a:pt x="23511" y="23994"/>
                </a:lnTo>
                <a:lnTo>
                  <a:pt x="23511" y="20957"/>
                </a:lnTo>
                <a:lnTo>
                  <a:pt x="19345" y="20653"/>
                </a:lnTo>
                <a:lnTo>
                  <a:pt x="15476" y="19134"/>
                </a:lnTo>
                <a:lnTo>
                  <a:pt x="12202" y="17312"/>
                </a:lnTo>
                <a:lnTo>
                  <a:pt x="9226" y="14578"/>
                </a:lnTo>
                <a:lnTo>
                  <a:pt x="6547" y="11541"/>
                </a:lnTo>
                <a:close/>
              </a:path>
            </a:pathLst>
          </a:custGeom>
          <a:solidFill>
            <a:srgbClr val="000000"/>
          </a:solidFill>
        </p:spPr>
        <p:txBody>
          <a:bodyPr wrap="square" lIns="0" tIns="0" rIns="0" bIns="0" rtlCol="0">
            <a:noAutofit/>
          </a:bodyPr>
          <a:lstStyle/>
          <a:p>
            <a:endParaRPr/>
          </a:p>
        </p:txBody>
      </p:sp>
      <p:sp>
        <p:nvSpPr>
          <p:cNvPr id="1277" name="object 1277"/>
          <p:cNvSpPr/>
          <p:nvPr/>
        </p:nvSpPr>
        <p:spPr>
          <a:xfrm>
            <a:off x="9312900" y="1190775"/>
            <a:ext cx="0" cy="217163"/>
          </a:xfrm>
          <a:custGeom>
            <a:avLst/>
            <a:gdLst/>
            <a:ahLst/>
            <a:cxnLst/>
            <a:rect l="l" t="t" r="r" b="b"/>
            <a:pathLst>
              <a:path h="217163">
                <a:moveTo>
                  <a:pt x="0" y="0"/>
                </a:moveTo>
                <a:lnTo>
                  <a:pt x="0" y="217163"/>
                </a:lnTo>
              </a:path>
            </a:pathLst>
          </a:custGeom>
          <a:ln w="4246">
            <a:solidFill>
              <a:srgbClr val="000000"/>
            </a:solidFill>
          </a:ln>
        </p:spPr>
        <p:txBody>
          <a:bodyPr wrap="square" lIns="0" tIns="0" rIns="0" bIns="0" rtlCol="0">
            <a:noAutofit/>
          </a:bodyPr>
          <a:lstStyle/>
          <a:p>
            <a:endParaRPr/>
          </a:p>
        </p:txBody>
      </p:sp>
      <p:sp>
        <p:nvSpPr>
          <p:cNvPr id="1278" name="object 1278"/>
          <p:cNvSpPr/>
          <p:nvPr/>
        </p:nvSpPr>
        <p:spPr>
          <a:xfrm>
            <a:off x="9311413" y="1166780"/>
            <a:ext cx="23511" cy="23994"/>
          </a:xfrm>
          <a:custGeom>
            <a:avLst/>
            <a:gdLst/>
            <a:ahLst/>
            <a:cxnLst/>
            <a:rect l="l" t="t" r="r" b="b"/>
            <a:pathLst>
              <a:path w="23511" h="23994">
                <a:moveTo>
                  <a:pt x="2976" y="23994"/>
                </a:moveTo>
                <a:lnTo>
                  <a:pt x="3273" y="19742"/>
                </a:lnTo>
                <a:lnTo>
                  <a:pt x="4761" y="15793"/>
                </a:lnTo>
                <a:lnTo>
                  <a:pt x="6547" y="12452"/>
                </a:lnTo>
                <a:lnTo>
                  <a:pt x="9226" y="9415"/>
                </a:lnTo>
                <a:lnTo>
                  <a:pt x="12202" y="6681"/>
                </a:lnTo>
                <a:lnTo>
                  <a:pt x="15476" y="4859"/>
                </a:lnTo>
                <a:lnTo>
                  <a:pt x="19345" y="3340"/>
                </a:lnTo>
                <a:lnTo>
                  <a:pt x="23511" y="3037"/>
                </a:lnTo>
                <a:lnTo>
                  <a:pt x="23511" y="0"/>
                </a:lnTo>
                <a:lnTo>
                  <a:pt x="18749" y="303"/>
                </a:lnTo>
                <a:lnTo>
                  <a:pt x="14285" y="1822"/>
                </a:lnTo>
                <a:lnTo>
                  <a:pt x="10416" y="4252"/>
                </a:lnTo>
                <a:lnTo>
                  <a:pt x="6845" y="6985"/>
                </a:lnTo>
                <a:lnTo>
                  <a:pt x="4166" y="10630"/>
                </a:lnTo>
                <a:lnTo>
                  <a:pt x="1785" y="14578"/>
                </a:lnTo>
                <a:lnTo>
                  <a:pt x="297" y="19134"/>
                </a:lnTo>
                <a:lnTo>
                  <a:pt x="0" y="23994"/>
                </a:lnTo>
                <a:lnTo>
                  <a:pt x="2976" y="23994"/>
                </a:lnTo>
                <a:close/>
              </a:path>
            </a:pathLst>
          </a:custGeom>
          <a:solidFill>
            <a:srgbClr val="000000"/>
          </a:solidFill>
        </p:spPr>
        <p:txBody>
          <a:bodyPr wrap="square" lIns="0" tIns="0" rIns="0" bIns="0" rtlCol="0">
            <a:noAutofit/>
          </a:bodyPr>
          <a:lstStyle/>
          <a:p>
            <a:endParaRPr/>
          </a:p>
        </p:txBody>
      </p:sp>
      <p:sp>
        <p:nvSpPr>
          <p:cNvPr id="1279" name="object 1279"/>
          <p:cNvSpPr/>
          <p:nvPr/>
        </p:nvSpPr>
        <p:spPr>
          <a:xfrm>
            <a:off x="9312008" y="1167084"/>
            <a:ext cx="184225" cy="67730"/>
          </a:xfrm>
          <a:custGeom>
            <a:avLst/>
            <a:gdLst/>
            <a:ahLst/>
            <a:cxnLst/>
            <a:rect l="l" t="t" r="r" b="b"/>
            <a:pathLst>
              <a:path w="184225" h="67730">
                <a:moveTo>
                  <a:pt x="0" y="67730"/>
                </a:moveTo>
                <a:lnTo>
                  <a:pt x="184225" y="67730"/>
                </a:lnTo>
                <a:lnTo>
                  <a:pt x="184225" y="0"/>
                </a:lnTo>
                <a:lnTo>
                  <a:pt x="0" y="0"/>
                </a:lnTo>
                <a:lnTo>
                  <a:pt x="0" y="67730"/>
                </a:lnTo>
                <a:close/>
              </a:path>
            </a:pathLst>
          </a:custGeom>
          <a:solidFill>
            <a:srgbClr val="E4E4E4"/>
          </a:solidFill>
        </p:spPr>
        <p:txBody>
          <a:bodyPr wrap="square" lIns="0" tIns="0" rIns="0" bIns="0" rtlCol="0">
            <a:noAutofit/>
          </a:bodyPr>
          <a:lstStyle/>
          <a:p>
            <a:endParaRPr/>
          </a:p>
        </p:txBody>
      </p:sp>
      <p:sp>
        <p:nvSpPr>
          <p:cNvPr id="1280" name="object 1280"/>
          <p:cNvSpPr/>
          <p:nvPr/>
        </p:nvSpPr>
        <p:spPr>
          <a:xfrm>
            <a:off x="9312008" y="1165566"/>
            <a:ext cx="185713" cy="3037"/>
          </a:xfrm>
          <a:custGeom>
            <a:avLst/>
            <a:gdLst/>
            <a:ahLst/>
            <a:cxnLst/>
            <a:rect l="l" t="t" r="r" b="b"/>
            <a:pathLst>
              <a:path w="185713" h="3037">
                <a:moveTo>
                  <a:pt x="184225" y="0"/>
                </a:moveTo>
                <a:lnTo>
                  <a:pt x="0" y="0"/>
                </a:lnTo>
                <a:lnTo>
                  <a:pt x="0" y="3037"/>
                </a:lnTo>
                <a:lnTo>
                  <a:pt x="184225" y="3037"/>
                </a:lnTo>
                <a:lnTo>
                  <a:pt x="185118" y="2429"/>
                </a:lnTo>
                <a:lnTo>
                  <a:pt x="185713" y="1518"/>
                </a:lnTo>
                <a:lnTo>
                  <a:pt x="185118" y="607"/>
                </a:lnTo>
                <a:lnTo>
                  <a:pt x="184225" y="0"/>
                </a:lnTo>
                <a:lnTo>
                  <a:pt x="182737" y="1518"/>
                </a:lnTo>
                <a:lnTo>
                  <a:pt x="184225" y="0"/>
                </a:lnTo>
                <a:close/>
              </a:path>
            </a:pathLst>
          </a:custGeom>
          <a:solidFill>
            <a:srgbClr val="000000"/>
          </a:solidFill>
        </p:spPr>
        <p:txBody>
          <a:bodyPr wrap="square" lIns="0" tIns="0" rIns="0" bIns="0" rtlCol="0">
            <a:noAutofit/>
          </a:bodyPr>
          <a:lstStyle/>
          <a:p>
            <a:endParaRPr/>
          </a:p>
        </p:txBody>
      </p:sp>
      <p:sp>
        <p:nvSpPr>
          <p:cNvPr id="1281" name="object 1281"/>
          <p:cNvSpPr/>
          <p:nvPr/>
        </p:nvSpPr>
        <p:spPr>
          <a:xfrm>
            <a:off x="9494745" y="1167085"/>
            <a:ext cx="2976" cy="68793"/>
          </a:xfrm>
          <a:custGeom>
            <a:avLst/>
            <a:gdLst/>
            <a:ahLst/>
            <a:cxnLst/>
            <a:rect l="l" t="t" r="r" b="b"/>
            <a:pathLst>
              <a:path w="2976" h="68793">
                <a:moveTo>
                  <a:pt x="2380" y="68641"/>
                </a:moveTo>
                <a:lnTo>
                  <a:pt x="2976" y="67730"/>
                </a:lnTo>
                <a:lnTo>
                  <a:pt x="2976" y="0"/>
                </a:lnTo>
                <a:lnTo>
                  <a:pt x="0" y="0"/>
                </a:lnTo>
                <a:lnTo>
                  <a:pt x="0" y="67730"/>
                </a:lnTo>
                <a:lnTo>
                  <a:pt x="1488" y="66212"/>
                </a:lnTo>
                <a:lnTo>
                  <a:pt x="1934" y="68793"/>
                </a:lnTo>
                <a:lnTo>
                  <a:pt x="2380" y="68641"/>
                </a:lnTo>
                <a:close/>
              </a:path>
            </a:pathLst>
          </a:custGeom>
          <a:solidFill>
            <a:srgbClr val="000000"/>
          </a:solidFill>
        </p:spPr>
        <p:txBody>
          <a:bodyPr wrap="square" lIns="0" tIns="0" rIns="0" bIns="0" rtlCol="0">
            <a:noAutofit/>
          </a:bodyPr>
          <a:lstStyle/>
          <a:p>
            <a:endParaRPr/>
          </a:p>
        </p:txBody>
      </p:sp>
      <p:sp>
        <p:nvSpPr>
          <p:cNvPr id="1282" name="object 1282"/>
          <p:cNvSpPr/>
          <p:nvPr/>
        </p:nvSpPr>
        <p:spPr>
          <a:xfrm>
            <a:off x="9494745" y="1233297"/>
            <a:ext cx="1934" cy="2733"/>
          </a:xfrm>
          <a:custGeom>
            <a:avLst/>
            <a:gdLst/>
            <a:ahLst/>
            <a:cxnLst/>
            <a:rect l="l" t="t" r="r" b="b"/>
            <a:pathLst>
              <a:path w="1934" h="2733">
                <a:moveTo>
                  <a:pt x="1488" y="0"/>
                </a:moveTo>
                <a:lnTo>
                  <a:pt x="0" y="1518"/>
                </a:lnTo>
                <a:lnTo>
                  <a:pt x="595" y="2429"/>
                </a:lnTo>
                <a:lnTo>
                  <a:pt x="1488" y="2733"/>
                </a:lnTo>
                <a:lnTo>
                  <a:pt x="1934" y="2581"/>
                </a:lnTo>
                <a:lnTo>
                  <a:pt x="1488" y="0"/>
                </a:lnTo>
                <a:close/>
              </a:path>
            </a:pathLst>
          </a:custGeom>
          <a:solidFill>
            <a:srgbClr val="000000"/>
          </a:solidFill>
        </p:spPr>
        <p:txBody>
          <a:bodyPr wrap="square" lIns="0" tIns="0" rIns="0" bIns="0" rtlCol="0">
            <a:noAutofit/>
          </a:bodyPr>
          <a:lstStyle/>
          <a:p>
            <a:endParaRPr/>
          </a:p>
        </p:txBody>
      </p:sp>
      <p:sp>
        <p:nvSpPr>
          <p:cNvPr id="1283" name="object 1283"/>
          <p:cNvSpPr/>
          <p:nvPr/>
        </p:nvSpPr>
        <p:spPr>
          <a:xfrm>
            <a:off x="9312008" y="1234815"/>
            <a:ext cx="184225" cy="1518"/>
          </a:xfrm>
          <a:custGeom>
            <a:avLst/>
            <a:gdLst/>
            <a:ahLst/>
            <a:cxnLst/>
            <a:rect l="l" t="t" r="r" b="b"/>
            <a:pathLst>
              <a:path w="184225" h="1518">
                <a:moveTo>
                  <a:pt x="1488" y="0"/>
                </a:moveTo>
                <a:lnTo>
                  <a:pt x="0" y="1518"/>
                </a:lnTo>
                <a:lnTo>
                  <a:pt x="184225" y="1518"/>
                </a:lnTo>
                <a:lnTo>
                  <a:pt x="1488" y="0"/>
                </a:lnTo>
                <a:close/>
              </a:path>
            </a:pathLst>
          </a:custGeom>
          <a:solidFill>
            <a:srgbClr val="000000"/>
          </a:solidFill>
        </p:spPr>
        <p:txBody>
          <a:bodyPr wrap="square" lIns="0" tIns="0" rIns="0" bIns="0" rtlCol="0">
            <a:noAutofit/>
          </a:bodyPr>
          <a:lstStyle/>
          <a:p>
            <a:endParaRPr/>
          </a:p>
        </p:txBody>
      </p:sp>
      <p:sp>
        <p:nvSpPr>
          <p:cNvPr id="1284" name="object 1284"/>
          <p:cNvSpPr/>
          <p:nvPr/>
        </p:nvSpPr>
        <p:spPr>
          <a:xfrm>
            <a:off x="9310817" y="1233297"/>
            <a:ext cx="185416" cy="3037"/>
          </a:xfrm>
          <a:custGeom>
            <a:avLst/>
            <a:gdLst/>
            <a:ahLst/>
            <a:cxnLst/>
            <a:rect l="l" t="t" r="r" b="b"/>
            <a:pathLst>
              <a:path w="185416" h="3037">
                <a:moveTo>
                  <a:pt x="0" y="1518"/>
                </a:moveTo>
                <a:lnTo>
                  <a:pt x="148" y="1974"/>
                </a:lnTo>
                <a:lnTo>
                  <a:pt x="297" y="2429"/>
                </a:lnTo>
                <a:lnTo>
                  <a:pt x="1190" y="3037"/>
                </a:lnTo>
                <a:lnTo>
                  <a:pt x="2678" y="1518"/>
                </a:lnTo>
                <a:lnTo>
                  <a:pt x="185416" y="3037"/>
                </a:lnTo>
                <a:lnTo>
                  <a:pt x="185416" y="0"/>
                </a:lnTo>
                <a:lnTo>
                  <a:pt x="1190" y="0"/>
                </a:lnTo>
                <a:lnTo>
                  <a:pt x="297" y="607"/>
                </a:lnTo>
                <a:lnTo>
                  <a:pt x="0" y="1518"/>
                </a:lnTo>
                <a:close/>
              </a:path>
            </a:pathLst>
          </a:custGeom>
          <a:solidFill>
            <a:srgbClr val="000000"/>
          </a:solidFill>
        </p:spPr>
        <p:txBody>
          <a:bodyPr wrap="square" lIns="0" tIns="0" rIns="0" bIns="0" rtlCol="0">
            <a:noAutofit/>
          </a:bodyPr>
          <a:lstStyle/>
          <a:p>
            <a:endParaRPr/>
          </a:p>
        </p:txBody>
      </p:sp>
      <p:sp>
        <p:nvSpPr>
          <p:cNvPr id="1285" name="object 1285"/>
          <p:cNvSpPr/>
          <p:nvPr/>
        </p:nvSpPr>
        <p:spPr>
          <a:xfrm>
            <a:off x="9310519" y="1165566"/>
            <a:ext cx="2976" cy="69249"/>
          </a:xfrm>
          <a:custGeom>
            <a:avLst/>
            <a:gdLst/>
            <a:ahLst/>
            <a:cxnLst/>
            <a:rect l="l" t="t" r="r" b="b"/>
            <a:pathLst>
              <a:path w="2976" h="69249">
                <a:moveTo>
                  <a:pt x="2380" y="607"/>
                </a:moveTo>
                <a:lnTo>
                  <a:pt x="1488" y="0"/>
                </a:lnTo>
                <a:lnTo>
                  <a:pt x="1488" y="3037"/>
                </a:lnTo>
                <a:lnTo>
                  <a:pt x="0" y="1518"/>
                </a:lnTo>
                <a:lnTo>
                  <a:pt x="0" y="69249"/>
                </a:lnTo>
                <a:lnTo>
                  <a:pt x="2976" y="69249"/>
                </a:lnTo>
                <a:lnTo>
                  <a:pt x="2976" y="1518"/>
                </a:lnTo>
                <a:lnTo>
                  <a:pt x="2380" y="607"/>
                </a:lnTo>
                <a:close/>
              </a:path>
            </a:pathLst>
          </a:custGeom>
          <a:solidFill>
            <a:srgbClr val="000000"/>
          </a:solidFill>
        </p:spPr>
        <p:txBody>
          <a:bodyPr wrap="square" lIns="0" tIns="0" rIns="0" bIns="0" rtlCol="0">
            <a:noAutofit/>
          </a:bodyPr>
          <a:lstStyle/>
          <a:p>
            <a:endParaRPr/>
          </a:p>
        </p:txBody>
      </p:sp>
      <p:sp>
        <p:nvSpPr>
          <p:cNvPr id="1286" name="object 1286"/>
          <p:cNvSpPr/>
          <p:nvPr/>
        </p:nvSpPr>
        <p:spPr>
          <a:xfrm>
            <a:off x="9310519" y="1165566"/>
            <a:ext cx="1488" cy="3037"/>
          </a:xfrm>
          <a:custGeom>
            <a:avLst/>
            <a:gdLst/>
            <a:ahLst/>
            <a:cxnLst/>
            <a:rect l="l" t="t" r="r" b="b"/>
            <a:pathLst>
              <a:path w="1488" h="3037">
                <a:moveTo>
                  <a:pt x="1488" y="0"/>
                </a:moveTo>
                <a:lnTo>
                  <a:pt x="595" y="607"/>
                </a:lnTo>
                <a:lnTo>
                  <a:pt x="0" y="1518"/>
                </a:lnTo>
                <a:lnTo>
                  <a:pt x="1488" y="3037"/>
                </a:lnTo>
                <a:lnTo>
                  <a:pt x="1488" y="0"/>
                </a:lnTo>
                <a:close/>
              </a:path>
            </a:pathLst>
          </a:custGeom>
          <a:solidFill>
            <a:srgbClr val="000000"/>
          </a:solidFill>
        </p:spPr>
        <p:txBody>
          <a:bodyPr wrap="square" lIns="0" tIns="0" rIns="0" bIns="0" rtlCol="0">
            <a:noAutofit/>
          </a:bodyPr>
          <a:lstStyle/>
          <a:p>
            <a:endParaRPr/>
          </a:p>
        </p:txBody>
      </p:sp>
      <p:sp>
        <p:nvSpPr>
          <p:cNvPr id="1287" name="object 1287"/>
          <p:cNvSpPr/>
          <p:nvPr/>
        </p:nvSpPr>
        <p:spPr>
          <a:xfrm>
            <a:off x="9220937" y="1190167"/>
            <a:ext cx="186011" cy="307370"/>
          </a:xfrm>
          <a:custGeom>
            <a:avLst/>
            <a:gdLst/>
            <a:ahLst/>
            <a:cxnLst/>
            <a:rect l="l" t="t" r="r" b="b"/>
            <a:pathLst>
              <a:path w="186011" h="307370">
                <a:moveTo>
                  <a:pt x="92856" y="0"/>
                </a:moveTo>
                <a:lnTo>
                  <a:pt x="83333" y="911"/>
                </a:lnTo>
                <a:lnTo>
                  <a:pt x="74106" y="3037"/>
                </a:lnTo>
                <a:lnTo>
                  <a:pt x="56845" y="12149"/>
                </a:lnTo>
                <a:lnTo>
                  <a:pt x="48511" y="18527"/>
                </a:lnTo>
                <a:lnTo>
                  <a:pt x="41071" y="26424"/>
                </a:lnTo>
                <a:lnTo>
                  <a:pt x="33928" y="35232"/>
                </a:lnTo>
                <a:lnTo>
                  <a:pt x="27380" y="44951"/>
                </a:lnTo>
                <a:lnTo>
                  <a:pt x="21130" y="55885"/>
                </a:lnTo>
                <a:lnTo>
                  <a:pt x="15773" y="67730"/>
                </a:lnTo>
                <a:lnTo>
                  <a:pt x="11309" y="80487"/>
                </a:lnTo>
                <a:lnTo>
                  <a:pt x="7440" y="93851"/>
                </a:lnTo>
                <a:lnTo>
                  <a:pt x="4166" y="108126"/>
                </a:lnTo>
                <a:lnTo>
                  <a:pt x="1785" y="122705"/>
                </a:lnTo>
                <a:lnTo>
                  <a:pt x="595" y="137891"/>
                </a:lnTo>
                <a:lnTo>
                  <a:pt x="0" y="153685"/>
                </a:lnTo>
                <a:lnTo>
                  <a:pt x="595" y="169175"/>
                </a:lnTo>
                <a:lnTo>
                  <a:pt x="1785" y="184665"/>
                </a:lnTo>
                <a:lnTo>
                  <a:pt x="4166" y="199243"/>
                </a:lnTo>
                <a:lnTo>
                  <a:pt x="7440" y="213215"/>
                </a:lnTo>
                <a:lnTo>
                  <a:pt x="11309" y="226883"/>
                </a:lnTo>
                <a:lnTo>
                  <a:pt x="15773" y="239335"/>
                </a:lnTo>
                <a:lnTo>
                  <a:pt x="21130" y="251181"/>
                </a:lnTo>
                <a:lnTo>
                  <a:pt x="27380" y="262115"/>
                </a:lnTo>
                <a:lnTo>
                  <a:pt x="33928" y="272138"/>
                </a:lnTo>
                <a:lnTo>
                  <a:pt x="41071" y="280946"/>
                </a:lnTo>
                <a:lnTo>
                  <a:pt x="48511" y="288843"/>
                </a:lnTo>
                <a:lnTo>
                  <a:pt x="56845" y="295221"/>
                </a:lnTo>
                <a:lnTo>
                  <a:pt x="74106" y="304333"/>
                </a:lnTo>
                <a:lnTo>
                  <a:pt x="92856" y="307370"/>
                </a:lnTo>
                <a:lnTo>
                  <a:pt x="102380" y="306459"/>
                </a:lnTo>
                <a:lnTo>
                  <a:pt x="120535" y="300384"/>
                </a:lnTo>
                <a:lnTo>
                  <a:pt x="137201" y="288843"/>
                </a:lnTo>
                <a:lnTo>
                  <a:pt x="144940" y="280946"/>
                </a:lnTo>
                <a:lnTo>
                  <a:pt x="152082" y="272138"/>
                </a:lnTo>
                <a:lnTo>
                  <a:pt x="158630" y="262115"/>
                </a:lnTo>
                <a:lnTo>
                  <a:pt x="164880" y="251181"/>
                </a:lnTo>
                <a:lnTo>
                  <a:pt x="170237" y="239335"/>
                </a:lnTo>
                <a:lnTo>
                  <a:pt x="174701" y="226883"/>
                </a:lnTo>
                <a:lnTo>
                  <a:pt x="178570" y="213215"/>
                </a:lnTo>
                <a:lnTo>
                  <a:pt x="181844" y="199243"/>
                </a:lnTo>
                <a:lnTo>
                  <a:pt x="184225" y="184665"/>
                </a:lnTo>
                <a:lnTo>
                  <a:pt x="185416" y="169175"/>
                </a:lnTo>
                <a:lnTo>
                  <a:pt x="186011" y="153685"/>
                </a:lnTo>
                <a:lnTo>
                  <a:pt x="185416" y="137891"/>
                </a:lnTo>
                <a:lnTo>
                  <a:pt x="184225" y="122705"/>
                </a:lnTo>
                <a:lnTo>
                  <a:pt x="181844" y="108126"/>
                </a:lnTo>
                <a:lnTo>
                  <a:pt x="178570" y="93851"/>
                </a:lnTo>
                <a:lnTo>
                  <a:pt x="174701" y="80487"/>
                </a:lnTo>
                <a:lnTo>
                  <a:pt x="170237" y="67730"/>
                </a:lnTo>
                <a:lnTo>
                  <a:pt x="164880" y="55885"/>
                </a:lnTo>
                <a:lnTo>
                  <a:pt x="158630" y="44951"/>
                </a:lnTo>
                <a:lnTo>
                  <a:pt x="152082" y="35232"/>
                </a:lnTo>
                <a:lnTo>
                  <a:pt x="144940" y="26424"/>
                </a:lnTo>
                <a:lnTo>
                  <a:pt x="137201" y="18527"/>
                </a:lnTo>
                <a:lnTo>
                  <a:pt x="129166" y="12149"/>
                </a:lnTo>
                <a:lnTo>
                  <a:pt x="111606" y="3037"/>
                </a:lnTo>
                <a:lnTo>
                  <a:pt x="102380" y="911"/>
                </a:lnTo>
                <a:lnTo>
                  <a:pt x="92856" y="0"/>
                </a:lnTo>
                <a:close/>
              </a:path>
            </a:pathLst>
          </a:custGeom>
          <a:solidFill>
            <a:srgbClr val="000000"/>
          </a:solidFill>
        </p:spPr>
        <p:txBody>
          <a:bodyPr wrap="square" lIns="0" tIns="0" rIns="0" bIns="0" rtlCol="0">
            <a:noAutofit/>
          </a:bodyPr>
          <a:lstStyle/>
          <a:p>
            <a:endParaRPr/>
          </a:p>
        </p:txBody>
      </p:sp>
      <p:sp>
        <p:nvSpPr>
          <p:cNvPr id="1288" name="object 1288"/>
          <p:cNvSpPr/>
          <p:nvPr/>
        </p:nvSpPr>
        <p:spPr>
          <a:xfrm>
            <a:off x="9313794" y="1188042"/>
            <a:ext cx="95237" cy="155811"/>
          </a:xfrm>
          <a:custGeom>
            <a:avLst/>
            <a:gdLst/>
            <a:ahLst/>
            <a:cxnLst/>
            <a:rect l="l" t="t" r="r" b="b"/>
            <a:pathLst>
              <a:path w="95237" h="155811">
                <a:moveTo>
                  <a:pt x="0" y="0"/>
                </a:moveTo>
                <a:lnTo>
                  <a:pt x="0" y="4252"/>
                </a:lnTo>
                <a:lnTo>
                  <a:pt x="9226" y="5163"/>
                </a:lnTo>
                <a:lnTo>
                  <a:pt x="18154" y="7289"/>
                </a:lnTo>
                <a:lnTo>
                  <a:pt x="26785" y="10934"/>
                </a:lnTo>
                <a:lnTo>
                  <a:pt x="35118" y="16097"/>
                </a:lnTo>
                <a:lnTo>
                  <a:pt x="42857" y="22171"/>
                </a:lnTo>
                <a:lnTo>
                  <a:pt x="50595" y="30068"/>
                </a:lnTo>
                <a:lnTo>
                  <a:pt x="57440" y="38573"/>
                </a:lnTo>
                <a:lnTo>
                  <a:pt x="63987" y="48292"/>
                </a:lnTo>
                <a:lnTo>
                  <a:pt x="70237" y="58922"/>
                </a:lnTo>
                <a:lnTo>
                  <a:pt x="75595" y="70768"/>
                </a:lnTo>
                <a:lnTo>
                  <a:pt x="79761" y="83220"/>
                </a:lnTo>
                <a:lnTo>
                  <a:pt x="83630" y="96584"/>
                </a:lnTo>
                <a:lnTo>
                  <a:pt x="86904" y="110556"/>
                </a:lnTo>
                <a:lnTo>
                  <a:pt x="89285" y="125134"/>
                </a:lnTo>
                <a:lnTo>
                  <a:pt x="90475" y="140017"/>
                </a:lnTo>
                <a:lnTo>
                  <a:pt x="91071" y="155811"/>
                </a:lnTo>
                <a:lnTo>
                  <a:pt x="95237" y="155811"/>
                </a:lnTo>
                <a:lnTo>
                  <a:pt x="94642" y="140017"/>
                </a:lnTo>
                <a:lnTo>
                  <a:pt x="93452" y="124527"/>
                </a:lnTo>
                <a:lnTo>
                  <a:pt x="91071" y="109948"/>
                </a:lnTo>
                <a:lnTo>
                  <a:pt x="87797" y="95369"/>
                </a:lnTo>
                <a:lnTo>
                  <a:pt x="83928" y="82005"/>
                </a:lnTo>
                <a:lnTo>
                  <a:pt x="79166" y="68945"/>
                </a:lnTo>
                <a:lnTo>
                  <a:pt x="73809" y="57100"/>
                </a:lnTo>
                <a:lnTo>
                  <a:pt x="67559" y="45862"/>
                </a:lnTo>
                <a:lnTo>
                  <a:pt x="61011" y="36143"/>
                </a:lnTo>
                <a:lnTo>
                  <a:pt x="53571" y="27031"/>
                </a:lnTo>
                <a:lnTo>
                  <a:pt x="45833" y="19134"/>
                </a:lnTo>
                <a:lnTo>
                  <a:pt x="37499" y="12452"/>
                </a:lnTo>
                <a:lnTo>
                  <a:pt x="28571" y="7289"/>
                </a:lnTo>
                <a:lnTo>
                  <a:pt x="19345" y="3037"/>
                </a:lnTo>
                <a:lnTo>
                  <a:pt x="9821" y="911"/>
                </a:lnTo>
                <a:lnTo>
                  <a:pt x="0" y="0"/>
                </a:lnTo>
                <a:close/>
              </a:path>
            </a:pathLst>
          </a:custGeom>
          <a:solidFill>
            <a:srgbClr val="000000"/>
          </a:solidFill>
        </p:spPr>
        <p:txBody>
          <a:bodyPr wrap="square" lIns="0" tIns="0" rIns="0" bIns="0" rtlCol="0">
            <a:noAutofit/>
          </a:bodyPr>
          <a:lstStyle/>
          <a:p>
            <a:endParaRPr/>
          </a:p>
        </p:txBody>
      </p:sp>
      <p:sp>
        <p:nvSpPr>
          <p:cNvPr id="1289" name="object 1289"/>
          <p:cNvSpPr/>
          <p:nvPr/>
        </p:nvSpPr>
        <p:spPr>
          <a:xfrm>
            <a:off x="9313794" y="1343853"/>
            <a:ext cx="95237" cy="155811"/>
          </a:xfrm>
          <a:custGeom>
            <a:avLst/>
            <a:gdLst/>
            <a:ahLst/>
            <a:cxnLst/>
            <a:rect l="l" t="t" r="r" b="b"/>
            <a:pathLst>
              <a:path w="95237" h="155811">
                <a:moveTo>
                  <a:pt x="83928" y="73805"/>
                </a:moveTo>
                <a:lnTo>
                  <a:pt x="87797" y="60137"/>
                </a:lnTo>
                <a:lnTo>
                  <a:pt x="91071" y="45862"/>
                </a:lnTo>
                <a:lnTo>
                  <a:pt x="93452" y="31283"/>
                </a:lnTo>
                <a:lnTo>
                  <a:pt x="94642" y="15490"/>
                </a:lnTo>
                <a:lnTo>
                  <a:pt x="95237" y="0"/>
                </a:lnTo>
                <a:lnTo>
                  <a:pt x="91071" y="0"/>
                </a:lnTo>
                <a:lnTo>
                  <a:pt x="90475" y="15490"/>
                </a:lnTo>
                <a:lnTo>
                  <a:pt x="89285" y="30676"/>
                </a:lnTo>
                <a:lnTo>
                  <a:pt x="86904" y="45255"/>
                </a:lnTo>
                <a:lnTo>
                  <a:pt x="83630" y="58922"/>
                </a:lnTo>
                <a:lnTo>
                  <a:pt x="79761" y="72590"/>
                </a:lnTo>
                <a:lnTo>
                  <a:pt x="75595" y="84739"/>
                </a:lnTo>
                <a:lnTo>
                  <a:pt x="70237" y="96584"/>
                </a:lnTo>
                <a:lnTo>
                  <a:pt x="63987" y="107215"/>
                </a:lnTo>
                <a:lnTo>
                  <a:pt x="57440" y="117238"/>
                </a:lnTo>
                <a:lnTo>
                  <a:pt x="50595" y="125742"/>
                </a:lnTo>
                <a:lnTo>
                  <a:pt x="42857" y="133639"/>
                </a:lnTo>
                <a:lnTo>
                  <a:pt x="35118" y="139713"/>
                </a:lnTo>
                <a:lnTo>
                  <a:pt x="26785" y="144877"/>
                </a:lnTo>
                <a:lnTo>
                  <a:pt x="18154" y="148521"/>
                </a:lnTo>
                <a:lnTo>
                  <a:pt x="9226" y="150647"/>
                </a:lnTo>
                <a:lnTo>
                  <a:pt x="0" y="151559"/>
                </a:lnTo>
                <a:lnTo>
                  <a:pt x="0" y="155811"/>
                </a:lnTo>
                <a:lnTo>
                  <a:pt x="9821" y="154900"/>
                </a:lnTo>
                <a:lnTo>
                  <a:pt x="19345" y="152773"/>
                </a:lnTo>
                <a:lnTo>
                  <a:pt x="28571" y="148521"/>
                </a:lnTo>
                <a:lnTo>
                  <a:pt x="37499" y="143358"/>
                </a:lnTo>
                <a:lnTo>
                  <a:pt x="45833" y="136676"/>
                </a:lnTo>
                <a:lnTo>
                  <a:pt x="53571" y="128779"/>
                </a:lnTo>
                <a:lnTo>
                  <a:pt x="61011" y="119667"/>
                </a:lnTo>
                <a:lnTo>
                  <a:pt x="67559" y="109644"/>
                </a:lnTo>
                <a:lnTo>
                  <a:pt x="73809" y="98407"/>
                </a:lnTo>
                <a:lnTo>
                  <a:pt x="79166" y="86561"/>
                </a:lnTo>
                <a:lnTo>
                  <a:pt x="83928" y="73805"/>
                </a:lnTo>
                <a:close/>
              </a:path>
            </a:pathLst>
          </a:custGeom>
          <a:solidFill>
            <a:srgbClr val="000000"/>
          </a:solidFill>
        </p:spPr>
        <p:txBody>
          <a:bodyPr wrap="square" lIns="0" tIns="0" rIns="0" bIns="0" rtlCol="0">
            <a:noAutofit/>
          </a:bodyPr>
          <a:lstStyle/>
          <a:p>
            <a:endParaRPr/>
          </a:p>
        </p:txBody>
      </p:sp>
      <p:sp>
        <p:nvSpPr>
          <p:cNvPr id="1290" name="object 1290"/>
          <p:cNvSpPr/>
          <p:nvPr/>
        </p:nvSpPr>
        <p:spPr>
          <a:xfrm>
            <a:off x="9218853" y="1343853"/>
            <a:ext cx="94940" cy="155811"/>
          </a:xfrm>
          <a:custGeom>
            <a:avLst/>
            <a:gdLst/>
            <a:ahLst/>
            <a:cxnLst/>
            <a:rect l="l" t="t" r="r" b="b"/>
            <a:pathLst>
              <a:path w="94940" h="155811">
                <a:moveTo>
                  <a:pt x="595" y="15490"/>
                </a:moveTo>
                <a:lnTo>
                  <a:pt x="1785" y="31283"/>
                </a:lnTo>
                <a:lnTo>
                  <a:pt x="4166" y="45862"/>
                </a:lnTo>
                <a:lnTo>
                  <a:pt x="7440" y="60137"/>
                </a:lnTo>
                <a:lnTo>
                  <a:pt x="11309" y="73805"/>
                </a:lnTo>
                <a:lnTo>
                  <a:pt x="16071" y="86561"/>
                </a:lnTo>
                <a:lnTo>
                  <a:pt x="21428" y="98407"/>
                </a:lnTo>
                <a:lnTo>
                  <a:pt x="27678" y="109644"/>
                </a:lnTo>
                <a:lnTo>
                  <a:pt x="34226" y="119667"/>
                </a:lnTo>
                <a:lnTo>
                  <a:pt x="41666" y="128779"/>
                </a:lnTo>
                <a:lnTo>
                  <a:pt x="49106" y="136676"/>
                </a:lnTo>
                <a:lnTo>
                  <a:pt x="57737" y="143358"/>
                </a:lnTo>
                <a:lnTo>
                  <a:pt x="66368" y="148521"/>
                </a:lnTo>
                <a:lnTo>
                  <a:pt x="75595" y="152773"/>
                </a:lnTo>
                <a:lnTo>
                  <a:pt x="85118" y="154900"/>
                </a:lnTo>
                <a:lnTo>
                  <a:pt x="94940" y="155811"/>
                </a:lnTo>
                <a:lnTo>
                  <a:pt x="94940" y="151559"/>
                </a:lnTo>
                <a:lnTo>
                  <a:pt x="85714" y="150647"/>
                </a:lnTo>
                <a:lnTo>
                  <a:pt x="76785" y="148521"/>
                </a:lnTo>
                <a:lnTo>
                  <a:pt x="68154" y="144877"/>
                </a:lnTo>
                <a:lnTo>
                  <a:pt x="60118" y="139713"/>
                </a:lnTo>
                <a:lnTo>
                  <a:pt x="52083" y="133639"/>
                </a:lnTo>
                <a:lnTo>
                  <a:pt x="44642" y="125742"/>
                </a:lnTo>
                <a:lnTo>
                  <a:pt x="37797" y="117238"/>
                </a:lnTo>
                <a:lnTo>
                  <a:pt x="31249" y="107215"/>
                </a:lnTo>
                <a:lnTo>
                  <a:pt x="24999" y="96584"/>
                </a:lnTo>
                <a:lnTo>
                  <a:pt x="19642" y="84739"/>
                </a:lnTo>
                <a:lnTo>
                  <a:pt x="15476" y="72590"/>
                </a:lnTo>
                <a:lnTo>
                  <a:pt x="11607" y="58922"/>
                </a:lnTo>
                <a:lnTo>
                  <a:pt x="8333" y="45255"/>
                </a:lnTo>
                <a:lnTo>
                  <a:pt x="5952" y="30676"/>
                </a:lnTo>
                <a:lnTo>
                  <a:pt x="4761" y="15490"/>
                </a:lnTo>
                <a:lnTo>
                  <a:pt x="4166" y="0"/>
                </a:lnTo>
                <a:lnTo>
                  <a:pt x="0" y="0"/>
                </a:lnTo>
                <a:lnTo>
                  <a:pt x="595" y="15490"/>
                </a:lnTo>
                <a:close/>
              </a:path>
            </a:pathLst>
          </a:custGeom>
          <a:solidFill>
            <a:srgbClr val="000000"/>
          </a:solidFill>
        </p:spPr>
        <p:txBody>
          <a:bodyPr wrap="square" lIns="0" tIns="0" rIns="0" bIns="0" rtlCol="0">
            <a:noAutofit/>
          </a:bodyPr>
          <a:lstStyle/>
          <a:p>
            <a:endParaRPr/>
          </a:p>
        </p:txBody>
      </p:sp>
      <p:sp>
        <p:nvSpPr>
          <p:cNvPr id="1291" name="object 1291"/>
          <p:cNvSpPr/>
          <p:nvPr/>
        </p:nvSpPr>
        <p:spPr>
          <a:xfrm>
            <a:off x="9218853" y="1188042"/>
            <a:ext cx="94940" cy="155811"/>
          </a:xfrm>
          <a:custGeom>
            <a:avLst/>
            <a:gdLst/>
            <a:ahLst/>
            <a:cxnLst/>
            <a:rect l="l" t="t" r="r" b="b"/>
            <a:pathLst>
              <a:path w="94940" h="155811">
                <a:moveTo>
                  <a:pt x="4166" y="109948"/>
                </a:moveTo>
                <a:lnTo>
                  <a:pt x="1785" y="124527"/>
                </a:lnTo>
                <a:lnTo>
                  <a:pt x="595" y="140017"/>
                </a:lnTo>
                <a:lnTo>
                  <a:pt x="0" y="155811"/>
                </a:lnTo>
                <a:lnTo>
                  <a:pt x="4166" y="155811"/>
                </a:lnTo>
                <a:lnTo>
                  <a:pt x="4761" y="140017"/>
                </a:lnTo>
                <a:lnTo>
                  <a:pt x="5952" y="125134"/>
                </a:lnTo>
                <a:lnTo>
                  <a:pt x="8333" y="110556"/>
                </a:lnTo>
                <a:lnTo>
                  <a:pt x="11607" y="96584"/>
                </a:lnTo>
                <a:lnTo>
                  <a:pt x="15476" y="83220"/>
                </a:lnTo>
                <a:lnTo>
                  <a:pt x="19642" y="70768"/>
                </a:lnTo>
                <a:lnTo>
                  <a:pt x="24999" y="58922"/>
                </a:lnTo>
                <a:lnTo>
                  <a:pt x="31249" y="48292"/>
                </a:lnTo>
                <a:lnTo>
                  <a:pt x="37797" y="38573"/>
                </a:lnTo>
                <a:lnTo>
                  <a:pt x="44642" y="30068"/>
                </a:lnTo>
                <a:lnTo>
                  <a:pt x="52083" y="22171"/>
                </a:lnTo>
                <a:lnTo>
                  <a:pt x="60118" y="16097"/>
                </a:lnTo>
                <a:lnTo>
                  <a:pt x="68154" y="10934"/>
                </a:lnTo>
                <a:lnTo>
                  <a:pt x="76785" y="7289"/>
                </a:lnTo>
                <a:lnTo>
                  <a:pt x="85714" y="5163"/>
                </a:lnTo>
                <a:lnTo>
                  <a:pt x="94940" y="4252"/>
                </a:lnTo>
                <a:lnTo>
                  <a:pt x="94940" y="0"/>
                </a:lnTo>
                <a:lnTo>
                  <a:pt x="85118" y="911"/>
                </a:lnTo>
                <a:lnTo>
                  <a:pt x="75595" y="3037"/>
                </a:lnTo>
                <a:lnTo>
                  <a:pt x="66368" y="7289"/>
                </a:lnTo>
                <a:lnTo>
                  <a:pt x="57737" y="12452"/>
                </a:lnTo>
                <a:lnTo>
                  <a:pt x="49106" y="19134"/>
                </a:lnTo>
                <a:lnTo>
                  <a:pt x="41666" y="27031"/>
                </a:lnTo>
                <a:lnTo>
                  <a:pt x="34226" y="36143"/>
                </a:lnTo>
                <a:lnTo>
                  <a:pt x="27678" y="45862"/>
                </a:lnTo>
                <a:lnTo>
                  <a:pt x="21428" y="57100"/>
                </a:lnTo>
                <a:lnTo>
                  <a:pt x="16071" y="68945"/>
                </a:lnTo>
                <a:lnTo>
                  <a:pt x="11309" y="82005"/>
                </a:lnTo>
                <a:lnTo>
                  <a:pt x="7440" y="95369"/>
                </a:lnTo>
                <a:lnTo>
                  <a:pt x="4166" y="109948"/>
                </a:lnTo>
                <a:close/>
              </a:path>
            </a:pathLst>
          </a:custGeom>
          <a:solidFill>
            <a:srgbClr val="000000"/>
          </a:solidFill>
        </p:spPr>
        <p:txBody>
          <a:bodyPr wrap="square" lIns="0" tIns="0" rIns="0" bIns="0" rtlCol="0">
            <a:noAutofit/>
          </a:bodyPr>
          <a:lstStyle/>
          <a:p>
            <a:endParaRPr/>
          </a:p>
        </p:txBody>
      </p:sp>
      <p:sp>
        <p:nvSpPr>
          <p:cNvPr id="1292" name="object 1292"/>
          <p:cNvSpPr/>
          <p:nvPr/>
        </p:nvSpPr>
        <p:spPr>
          <a:xfrm>
            <a:off x="9314389" y="1486299"/>
            <a:ext cx="63095" cy="10326"/>
          </a:xfrm>
          <a:custGeom>
            <a:avLst/>
            <a:gdLst/>
            <a:ahLst/>
            <a:cxnLst/>
            <a:rect l="l" t="t" r="r" b="b"/>
            <a:pathLst>
              <a:path w="63095" h="10326">
                <a:moveTo>
                  <a:pt x="63095" y="10326"/>
                </a:moveTo>
                <a:lnTo>
                  <a:pt x="29761" y="0"/>
                </a:lnTo>
                <a:lnTo>
                  <a:pt x="0" y="10326"/>
                </a:lnTo>
                <a:lnTo>
                  <a:pt x="63095" y="10326"/>
                </a:lnTo>
                <a:close/>
              </a:path>
            </a:pathLst>
          </a:custGeom>
          <a:solidFill>
            <a:srgbClr val="000000"/>
          </a:solidFill>
        </p:spPr>
        <p:txBody>
          <a:bodyPr wrap="square" lIns="0" tIns="0" rIns="0" bIns="0" rtlCol="0">
            <a:noAutofit/>
          </a:bodyPr>
          <a:lstStyle/>
          <a:p>
            <a:endParaRPr/>
          </a:p>
        </p:txBody>
      </p:sp>
      <p:sp>
        <p:nvSpPr>
          <p:cNvPr id="1293" name="object 1293"/>
          <p:cNvSpPr/>
          <p:nvPr/>
        </p:nvSpPr>
        <p:spPr>
          <a:xfrm>
            <a:off x="9312603" y="1190471"/>
            <a:ext cx="61904" cy="10934"/>
          </a:xfrm>
          <a:custGeom>
            <a:avLst/>
            <a:gdLst/>
            <a:ahLst/>
            <a:cxnLst/>
            <a:rect l="l" t="t" r="r" b="b"/>
            <a:pathLst>
              <a:path w="61904" h="10934">
                <a:moveTo>
                  <a:pt x="61904" y="0"/>
                </a:moveTo>
                <a:lnTo>
                  <a:pt x="0" y="0"/>
                </a:lnTo>
                <a:lnTo>
                  <a:pt x="31547" y="10934"/>
                </a:lnTo>
                <a:lnTo>
                  <a:pt x="61904" y="0"/>
                </a:lnTo>
                <a:close/>
              </a:path>
            </a:pathLst>
          </a:custGeom>
          <a:solidFill>
            <a:srgbClr val="000000"/>
          </a:solidFill>
        </p:spPr>
        <p:txBody>
          <a:bodyPr wrap="square" lIns="0" tIns="0" rIns="0" bIns="0" rtlCol="0">
            <a:noAutofit/>
          </a:bodyPr>
          <a:lstStyle/>
          <a:p>
            <a:endParaRPr/>
          </a:p>
        </p:txBody>
      </p:sp>
      <p:sp>
        <p:nvSpPr>
          <p:cNvPr id="1294" name="object 1294"/>
          <p:cNvSpPr/>
          <p:nvPr/>
        </p:nvSpPr>
        <p:spPr>
          <a:xfrm>
            <a:off x="9312603" y="1188953"/>
            <a:ext cx="63392" cy="3037"/>
          </a:xfrm>
          <a:custGeom>
            <a:avLst/>
            <a:gdLst/>
            <a:ahLst/>
            <a:cxnLst/>
            <a:rect l="l" t="t" r="r" b="b"/>
            <a:pathLst>
              <a:path w="63392" h="3037">
                <a:moveTo>
                  <a:pt x="61309" y="0"/>
                </a:moveTo>
                <a:lnTo>
                  <a:pt x="0" y="0"/>
                </a:lnTo>
                <a:lnTo>
                  <a:pt x="0" y="3037"/>
                </a:lnTo>
                <a:lnTo>
                  <a:pt x="61904" y="3037"/>
                </a:lnTo>
                <a:lnTo>
                  <a:pt x="62429" y="2679"/>
                </a:lnTo>
                <a:lnTo>
                  <a:pt x="62797" y="2429"/>
                </a:lnTo>
                <a:lnTo>
                  <a:pt x="63392" y="1518"/>
                </a:lnTo>
                <a:lnTo>
                  <a:pt x="62797" y="607"/>
                </a:lnTo>
                <a:lnTo>
                  <a:pt x="61904" y="0"/>
                </a:lnTo>
                <a:lnTo>
                  <a:pt x="61309" y="0"/>
                </a:lnTo>
                <a:close/>
              </a:path>
            </a:pathLst>
          </a:custGeom>
          <a:solidFill>
            <a:srgbClr val="000000"/>
          </a:solidFill>
        </p:spPr>
        <p:txBody>
          <a:bodyPr wrap="square" lIns="0" tIns="0" rIns="0" bIns="0" rtlCol="0">
            <a:noAutofit/>
          </a:bodyPr>
          <a:lstStyle/>
          <a:p>
            <a:endParaRPr/>
          </a:p>
        </p:txBody>
      </p:sp>
      <p:sp>
        <p:nvSpPr>
          <p:cNvPr id="1295" name="object 1295"/>
          <p:cNvSpPr/>
          <p:nvPr/>
        </p:nvSpPr>
        <p:spPr>
          <a:xfrm>
            <a:off x="9342663" y="1188953"/>
            <a:ext cx="31249" cy="13971"/>
          </a:xfrm>
          <a:custGeom>
            <a:avLst/>
            <a:gdLst/>
            <a:ahLst/>
            <a:cxnLst/>
            <a:rect l="l" t="t" r="r" b="b"/>
            <a:pathLst>
              <a:path w="31249" h="13971">
                <a:moveTo>
                  <a:pt x="892" y="10934"/>
                </a:moveTo>
                <a:lnTo>
                  <a:pt x="0" y="11845"/>
                </a:lnTo>
                <a:lnTo>
                  <a:pt x="297" y="12756"/>
                </a:lnTo>
                <a:lnTo>
                  <a:pt x="892" y="13971"/>
                </a:lnTo>
                <a:lnTo>
                  <a:pt x="2083" y="13971"/>
                </a:lnTo>
                <a:lnTo>
                  <a:pt x="2083" y="10934"/>
                </a:lnTo>
                <a:lnTo>
                  <a:pt x="31249" y="0"/>
                </a:lnTo>
                <a:lnTo>
                  <a:pt x="892" y="10934"/>
                </a:lnTo>
                <a:close/>
              </a:path>
            </a:pathLst>
          </a:custGeom>
          <a:solidFill>
            <a:srgbClr val="000000"/>
          </a:solidFill>
        </p:spPr>
        <p:txBody>
          <a:bodyPr wrap="square" lIns="0" tIns="0" rIns="0" bIns="0" rtlCol="0">
            <a:noAutofit/>
          </a:bodyPr>
          <a:lstStyle/>
          <a:p>
            <a:endParaRPr/>
          </a:p>
        </p:txBody>
      </p:sp>
      <p:sp>
        <p:nvSpPr>
          <p:cNvPr id="1296" name="object 1296"/>
          <p:cNvSpPr/>
          <p:nvPr/>
        </p:nvSpPr>
        <p:spPr>
          <a:xfrm>
            <a:off x="9344746" y="1188953"/>
            <a:ext cx="30357" cy="13971"/>
          </a:xfrm>
          <a:custGeom>
            <a:avLst/>
            <a:gdLst/>
            <a:ahLst/>
            <a:cxnLst/>
            <a:rect l="l" t="t" r="r" b="b"/>
            <a:pathLst>
              <a:path w="30357" h="13971">
                <a:moveTo>
                  <a:pt x="0" y="10934"/>
                </a:moveTo>
                <a:lnTo>
                  <a:pt x="0" y="13971"/>
                </a:lnTo>
                <a:lnTo>
                  <a:pt x="30357" y="3037"/>
                </a:lnTo>
                <a:lnTo>
                  <a:pt x="29166" y="0"/>
                </a:lnTo>
                <a:lnTo>
                  <a:pt x="0" y="10934"/>
                </a:lnTo>
                <a:close/>
              </a:path>
            </a:pathLst>
          </a:custGeom>
          <a:solidFill>
            <a:srgbClr val="000000"/>
          </a:solidFill>
        </p:spPr>
        <p:txBody>
          <a:bodyPr wrap="square" lIns="0" tIns="0" rIns="0" bIns="0" rtlCol="0">
            <a:noAutofit/>
          </a:bodyPr>
          <a:lstStyle/>
          <a:p>
            <a:endParaRPr/>
          </a:p>
        </p:txBody>
      </p:sp>
      <p:sp>
        <p:nvSpPr>
          <p:cNvPr id="1297" name="object 1297"/>
          <p:cNvSpPr/>
          <p:nvPr/>
        </p:nvSpPr>
        <p:spPr>
          <a:xfrm>
            <a:off x="9311115" y="1188953"/>
            <a:ext cx="32440" cy="13971"/>
          </a:xfrm>
          <a:custGeom>
            <a:avLst/>
            <a:gdLst/>
            <a:ahLst/>
            <a:cxnLst/>
            <a:rect l="l" t="t" r="r" b="b"/>
            <a:pathLst>
              <a:path w="32440" h="13971">
                <a:moveTo>
                  <a:pt x="892" y="3037"/>
                </a:moveTo>
                <a:lnTo>
                  <a:pt x="32440" y="13971"/>
                </a:lnTo>
                <a:lnTo>
                  <a:pt x="1488" y="3037"/>
                </a:lnTo>
                <a:lnTo>
                  <a:pt x="1488" y="0"/>
                </a:lnTo>
                <a:lnTo>
                  <a:pt x="892" y="0"/>
                </a:lnTo>
                <a:lnTo>
                  <a:pt x="297" y="911"/>
                </a:lnTo>
                <a:lnTo>
                  <a:pt x="0" y="2126"/>
                </a:lnTo>
                <a:lnTo>
                  <a:pt x="892" y="3037"/>
                </a:lnTo>
                <a:close/>
              </a:path>
            </a:pathLst>
          </a:custGeom>
          <a:solidFill>
            <a:srgbClr val="000000"/>
          </a:solidFill>
        </p:spPr>
        <p:txBody>
          <a:bodyPr wrap="square" lIns="0" tIns="0" rIns="0" bIns="0" rtlCol="0">
            <a:noAutofit/>
          </a:bodyPr>
          <a:lstStyle/>
          <a:p>
            <a:endParaRPr/>
          </a:p>
        </p:txBody>
      </p:sp>
      <p:sp>
        <p:nvSpPr>
          <p:cNvPr id="1298" name="object 1298"/>
          <p:cNvSpPr/>
          <p:nvPr/>
        </p:nvSpPr>
        <p:spPr>
          <a:xfrm>
            <a:off x="9312603" y="1188953"/>
            <a:ext cx="32142" cy="13971"/>
          </a:xfrm>
          <a:custGeom>
            <a:avLst/>
            <a:gdLst/>
            <a:ahLst/>
            <a:cxnLst/>
            <a:rect l="l" t="t" r="r" b="b"/>
            <a:pathLst>
              <a:path w="32142" h="13971">
                <a:moveTo>
                  <a:pt x="595" y="0"/>
                </a:moveTo>
                <a:lnTo>
                  <a:pt x="0" y="0"/>
                </a:lnTo>
                <a:lnTo>
                  <a:pt x="0" y="3037"/>
                </a:lnTo>
                <a:lnTo>
                  <a:pt x="30952" y="13971"/>
                </a:lnTo>
                <a:lnTo>
                  <a:pt x="32142" y="10934"/>
                </a:lnTo>
                <a:lnTo>
                  <a:pt x="595" y="0"/>
                </a:lnTo>
                <a:close/>
              </a:path>
            </a:pathLst>
          </a:custGeom>
          <a:solidFill>
            <a:srgbClr val="000000"/>
          </a:solidFill>
        </p:spPr>
        <p:txBody>
          <a:bodyPr wrap="square" lIns="0" tIns="0" rIns="0" bIns="0" rtlCol="0">
            <a:noAutofit/>
          </a:bodyPr>
          <a:lstStyle/>
          <a:p>
            <a:endParaRPr/>
          </a:p>
        </p:txBody>
      </p:sp>
      <p:sp>
        <p:nvSpPr>
          <p:cNvPr id="1299" name="object 1299"/>
          <p:cNvSpPr/>
          <p:nvPr/>
        </p:nvSpPr>
        <p:spPr>
          <a:xfrm>
            <a:off x="9314389" y="1495108"/>
            <a:ext cx="64583" cy="3037"/>
          </a:xfrm>
          <a:custGeom>
            <a:avLst/>
            <a:gdLst/>
            <a:ahLst/>
            <a:cxnLst/>
            <a:rect l="l" t="t" r="r" b="b"/>
            <a:pathLst>
              <a:path w="64583" h="3037">
                <a:moveTo>
                  <a:pt x="64583" y="1518"/>
                </a:moveTo>
                <a:lnTo>
                  <a:pt x="63987" y="607"/>
                </a:lnTo>
                <a:lnTo>
                  <a:pt x="63374" y="189"/>
                </a:lnTo>
                <a:lnTo>
                  <a:pt x="63095" y="0"/>
                </a:lnTo>
                <a:lnTo>
                  <a:pt x="0" y="0"/>
                </a:lnTo>
                <a:lnTo>
                  <a:pt x="0" y="3037"/>
                </a:lnTo>
                <a:lnTo>
                  <a:pt x="63095" y="3037"/>
                </a:lnTo>
                <a:lnTo>
                  <a:pt x="63987" y="2429"/>
                </a:lnTo>
                <a:lnTo>
                  <a:pt x="64583" y="1518"/>
                </a:lnTo>
                <a:close/>
              </a:path>
            </a:pathLst>
          </a:custGeom>
          <a:solidFill>
            <a:srgbClr val="000000"/>
          </a:solidFill>
        </p:spPr>
        <p:txBody>
          <a:bodyPr wrap="square" lIns="0" tIns="0" rIns="0" bIns="0" rtlCol="0">
            <a:noAutofit/>
          </a:bodyPr>
          <a:lstStyle/>
          <a:p>
            <a:endParaRPr/>
          </a:p>
        </p:txBody>
      </p:sp>
      <p:sp>
        <p:nvSpPr>
          <p:cNvPr id="1300" name="object 1300"/>
          <p:cNvSpPr/>
          <p:nvPr/>
        </p:nvSpPr>
        <p:spPr>
          <a:xfrm>
            <a:off x="9343854" y="1487818"/>
            <a:ext cx="33333" cy="10326"/>
          </a:xfrm>
          <a:custGeom>
            <a:avLst/>
            <a:gdLst/>
            <a:ahLst/>
            <a:cxnLst/>
            <a:rect l="l" t="t" r="r" b="b"/>
            <a:pathLst>
              <a:path w="33333" h="10326">
                <a:moveTo>
                  <a:pt x="33333" y="10326"/>
                </a:moveTo>
                <a:lnTo>
                  <a:pt x="892" y="0"/>
                </a:lnTo>
                <a:lnTo>
                  <a:pt x="0" y="0"/>
                </a:lnTo>
                <a:lnTo>
                  <a:pt x="33333" y="10326"/>
                </a:lnTo>
                <a:close/>
              </a:path>
            </a:pathLst>
          </a:custGeom>
          <a:solidFill>
            <a:srgbClr val="000000"/>
          </a:solidFill>
        </p:spPr>
        <p:txBody>
          <a:bodyPr wrap="square" lIns="0" tIns="0" rIns="0" bIns="0" rtlCol="0">
            <a:noAutofit/>
          </a:bodyPr>
          <a:lstStyle/>
          <a:p>
            <a:endParaRPr/>
          </a:p>
        </p:txBody>
      </p:sp>
      <p:sp>
        <p:nvSpPr>
          <p:cNvPr id="1301" name="object 1301"/>
          <p:cNvSpPr/>
          <p:nvPr/>
        </p:nvSpPr>
        <p:spPr>
          <a:xfrm>
            <a:off x="9342961" y="1484782"/>
            <a:ext cx="34821" cy="13363"/>
          </a:xfrm>
          <a:custGeom>
            <a:avLst/>
            <a:gdLst/>
            <a:ahLst/>
            <a:cxnLst/>
            <a:rect l="l" t="t" r="r" b="b"/>
            <a:pathLst>
              <a:path w="34821" h="13363">
                <a:moveTo>
                  <a:pt x="34226" y="13363"/>
                </a:moveTo>
                <a:lnTo>
                  <a:pt x="34821" y="10326"/>
                </a:lnTo>
                <a:lnTo>
                  <a:pt x="1488" y="0"/>
                </a:lnTo>
                <a:lnTo>
                  <a:pt x="297" y="303"/>
                </a:lnTo>
                <a:lnTo>
                  <a:pt x="0" y="1214"/>
                </a:lnTo>
                <a:lnTo>
                  <a:pt x="0" y="2429"/>
                </a:lnTo>
                <a:lnTo>
                  <a:pt x="892" y="3037"/>
                </a:lnTo>
                <a:lnTo>
                  <a:pt x="1785" y="3037"/>
                </a:lnTo>
                <a:lnTo>
                  <a:pt x="34226" y="13363"/>
                </a:lnTo>
                <a:close/>
              </a:path>
            </a:pathLst>
          </a:custGeom>
          <a:solidFill>
            <a:srgbClr val="000000"/>
          </a:solidFill>
        </p:spPr>
        <p:txBody>
          <a:bodyPr wrap="square" lIns="0" tIns="0" rIns="0" bIns="0" rtlCol="0">
            <a:noAutofit/>
          </a:bodyPr>
          <a:lstStyle/>
          <a:p>
            <a:endParaRPr/>
          </a:p>
        </p:txBody>
      </p:sp>
      <p:sp>
        <p:nvSpPr>
          <p:cNvPr id="1302" name="object 1302"/>
          <p:cNvSpPr/>
          <p:nvPr/>
        </p:nvSpPr>
        <p:spPr>
          <a:xfrm>
            <a:off x="9313794" y="1484781"/>
            <a:ext cx="29761" cy="10326"/>
          </a:xfrm>
          <a:custGeom>
            <a:avLst/>
            <a:gdLst/>
            <a:ahLst/>
            <a:cxnLst/>
            <a:rect l="l" t="t" r="r" b="b"/>
            <a:pathLst>
              <a:path w="29761" h="10326">
                <a:moveTo>
                  <a:pt x="0" y="10326"/>
                </a:moveTo>
                <a:lnTo>
                  <a:pt x="595" y="10326"/>
                </a:lnTo>
                <a:lnTo>
                  <a:pt x="29761" y="0"/>
                </a:lnTo>
                <a:lnTo>
                  <a:pt x="0" y="10326"/>
                </a:lnTo>
                <a:close/>
              </a:path>
            </a:pathLst>
          </a:custGeom>
          <a:solidFill>
            <a:srgbClr val="000000"/>
          </a:solidFill>
        </p:spPr>
        <p:txBody>
          <a:bodyPr wrap="square" lIns="0" tIns="0" rIns="0" bIns="0" rtlCol="0">
            <a:noAutofit/>
          </a:bodyPr>
          <a:lstStyle/>
          <a:p>
            <a:endParaRPr/>
          </a:p>
        </p:txBody>
      </p:sp>
      <p:sp>
        <p:nvSpPr>
          <p:cNvPr id="1303" name="object 1303"/>
          <p:cNvSpPr/>
          <p:nvPr/>
        </p:nvSpPr>
        <p:spPr>
          <a:xfrm>
            <a:off x="9312901" y="1484782"/>
            <a:ext cx="31845" cy="13363"/>
          </a:xfrm>
          <a:custGeom>
            <a:avLst/>
            <a:gdLst/>
            <a:ahLst/>
            <a:cxnLst/>
            <a:rect l="l" t="t" r="r" b="b"/>
            <a:pathLst>
              <a:path w="31845" h="13363">
                <a:moveTo>
                  <a:pt x="297" y="12149"/>
                </a:moveTo>
                <a:lnTo>
                  <a:pt x="892" y="13363"/>
                </a:lnTo>
                <a:lnTo>
                  <a:pt x="2083" y="13363"/>
                </a:lnTo>
                <a:lnTo>
                  <a:pt x="31845" y="3037"/>
                </a:lnTo>
                <a:lnTo>
                  <a:pt x="30654" y="0"/>
                </a:lnTo>
                <a:lnTo>
                  <a:pt x="1488" y="10326"/>
                </a:lnTo>
                <a:lnTo>
                  <a:pt x="892" y="10326"/>
                </a:lnTo>
                <a:lnTo>
                  <a:pt x="0" y="11237"/>
                </a:lnTo>
                <a:lnTo>
                  <a:pt x="297" y="12149"/>
                </a:lnTo>
                <a:close/>
              </a:path>
            </a:pathLst>
          </a:custGeom>
          <a:solidFill>
            <a:srgbClr val="000000"/>
          </a:solidFill>
        </p:spPr>
        <p:txBody>
          <a:bodyPr wrap="square" lIns="0" tIns="0" rIns="0" bIns="0" rtlCol="0">
            <a:noAutofit/>
          </a:bodyPr>
          <a:lstStyle/>
          <a:p>
            <a:endParaRPr/>
          </a:p>
        </p:txBody>
      </p:sp>
      <p:sp>
        <p:nvSpPr>
          <p:cNvPr id="1304" name="object 1304"/>
          <p:cNvSpPr/>
          <p:nvPr/>
        </p:nvSpPr>
        <p:spPr>
          <a:xfrm>
            <a:off x="9282247" y="1190167"/>
            <a:ext cx="186011" cy="307370"/>
          </a:xfrm>
          <a:custGeom>
            <a:avLst/>
            <a:gdLst/>
            <a:ahLst/>
            <a:cxnLst/>
            <a:rect l="l" t="t" r="r" b="b"/>
            <a:pathLst>
              <a:path w="186011" h="307370">
                <a:moveTo>
                  <a:pt x="92856" y="0"/>
                </a:moveTo>
                <a:lnTo>
                  <a:pt x="83333" y="911"/>
                </a:lnTo>
                <a:lnTo>
                  <a:pt x="74106" y="3037"/>
                </a:lnTo>
                <a:lnTo>
                  <a:pt x="56845" y="12149"/>
                </a:lnTo>
                <a:lnTo>
                  <a:pt x="48511" y="18527"/>
                </a:lnTo>
                <a:lnTo>
                  <a:pt x="41071" y="26424"/>
                </a:lnTo>
                <a:lnTo>
                  <a:pt x="33928" y="35232"/>
                </a:lnTo>
                <a:lnTo>
                  <a:pt x="27380" y="44951"/>
                </a:lnTo>
                <a:lnTo>
                  <a:pt x="21130" y="55885"/>
                </a:lnTo>
                <a:lnTo>
                  <a:pt x="15773" y="67730"/>
                </a:lnTo>
                <a:lnTo>
                  <a:pt x="11309" y="80487"/>
                </a:lnTo>
                <a:lnTo>
                  <a:pt x="7440" y="93851"/>
                </a:lnTo>
                <a:lnTo>
                  <a:pt x="4166" y="108126"/>
                </a:lnTo>
                <a:lnTo>
                  <a:pt x="1785" y="122705"/>
                </a:lnTo>
                <a:lnTo>
                  <a:pt x="595" y="137891"/>
                </a:lnTo>
                <a:lnTo>
                  <a:pt x="0" y="153685"/>
                </a:lnTo>
                <a:lnTo>
                  <a:pt x="595" y="169175"/>
                </a:lnTo>
                <a:lnTo>
                  <a:pt x="1785" y="184665"/>
                </a:lnTo>
                <a:lnTo>
                  <a:pt x="4166" y="199243"/>
                </a:lnTo>
                <a:lnTo>
                  <a:pt x="7440" y="213215"/>
                </a:lnTo>
                <a:lnTo>
                  <a:pt x="11309" y="226883"/>
                </a:lnTo>
                <a:lnTo>
                  <a:pt x="15773" y="239335"/>
                </a:lnTo>
                <a:lnTo>
                  <a:pt x="21130" y="251181"/>
                </a:lnTo>
                <a:lnTo>
                  <a:pt x="27380" y="262115"/>
                </a:lnTo>
                <a:lnTo>
                  <a:pt x="33928" y="272138"/>
                </a:lnTo>
                <a:lnTo>
                  <a:pt x="41071" y="280946"/>
                </a:lnTo>
                <a:lnTo>
                  <a:pt x="48511" y="288843"/>
                </a:lnTo>
                <a:lnTo>
                  <a:pt x="56845" y="295221"/>
                </a:lnTo>
                <a:lnTo>
                  <a:pt x="74106" y="304333"/>
                </a:lnTo>
                <a:lnTo>
                  <a:pt x="92856" y="307370"/>
                </a:lnTo>
                <a:lnTo>
                  <a:pt x="102380" y="306459"/>
                </a:lnTo>
                <a:lnTo>
                  <a:pt x="120535" y="300384"/>
                </a:lnTo>
                <a:lnTo>
                  <a:pt x="137201" y="288843"/>
                </a:lnTo>
                <a:lnTo>
                  <a:pt x="144940" y="280946"/>
                </a:lnTo>
                <a:lnTo>
                  <a:pt x="152082" y="272138"/>
                </a:lnTo>
                <a:lnTo>
                  <a:pt x="158630" y="262115"/>
                </a:lnTo>
                <a:lnTo>
                  <a:pt x="164880" y="251181"/>
                </a:lnTo>
                <a:lnTo>
                  <a:pt x="170237" y="239335"/>
                </a:lnTo>
                <a:lnTo>
                  <a:pt x="174701" y="226883"/>
                </a:lnTo>
                <a:lnTo>
                  <a:pt x="178570" y="213215"/>
                </a:lnTo>
                <a:lnTo>
                  <a:pt x="181844" y="199243"/>
                </a:lnTo>
                <a:lnTo>
                  <a:pt x="184225" y="184665"/>
                </a:lnTo>
                <a:lnTo>
                  <a:pt x="185416" y="169175"/>
                </a:lnTo>
                <a:lnTo>
                  <a:pt x="186011" y="153685"/>
                </a:lnTo>
                <a:lnTo>
                  <a:pt x="185416" y="137891"/>
                </a:lnTo>
                <a:lnTo>
                  <a:pt x="184225" y="122705"/>
                </a:lnTo>
                <a:lnTo>
                  <a:pt x="181844" y="108126"/>
                </a:lnTo>
                <a:lnTo>
                  <a:pt x="178570" y="93851"/>
                </a:lnTo>
                <a:lnTo>
                  <a:pt x="174701" y="80487"/>
                </a:lnTo>
                <a:lnTo>
                  <a:pt x="170237" y="67730"/>
                </a:lnTo>
                <a:lnTo>
                  <a:pt x="164880" y="55885"/>
                </a:lnTo>
                <a:lnTo>
                  <a:pt x="158630" y="44951"/>
                </a:lnTo>
                <a:lnTo>
                  <a:pt x="152082" y="35232"/>
                </a:lnTo>
                <a:lnTo>
                  <a:pt x="144940" y="26424"/>
                </a:lnTo>
                <a:lnTo>
                  <a:pt x="137201" y="18527"/>
                </a:lnTo>
                <a:lnTo>
                  <a:pt x="129166" y="12149"/>
                </a:lnTo>
                <a:lnTo>
                  <a:pt x="111606" y="3037"/>
                </a:lnTo>
                <a:lnTo>
                  <a:pt x="102380" y="911"/>
                </a:lnTo>
                <a:lnTo>
                  <a:pt x="92856" y="0"/>
                </a:lnTo>
                <a:close/>
              </a:path>
            </a:pathLst>
          </a:custGeom>
          <a:solidFill>
            <a:srgbClr val="000000"/>
          </a:solidFill>
        </p:spPr>
        <p:txBody>
          <a:bodyPr wrap="square" lIns="0" tIns="0" rIns="0" bIns="0" rtlCol="0">
            <a:noAutofit/>
          </a:bodyPr>
          <a:lstStyle/>
          <a:p>
            <a:endParaRPr/>
          </a:p>
        </p:txBody>
      </p:sp>
      <p:sp>
        <p:nvSpPr>
          <p:cNvPr id="1305" name="object 1305"/>
          <p:cNvSpPr/>
          <p:nvPr/>
        </p:nvSpPr>
        <p:spPr>
          <a:xfrm>
            <a:off x="9375103" y="1188042"/>
            <a:ext cx="95237" cy="155811"/>
          </a:xfrm>
          <a:custGeom>
            <a:avLst/>
            <a:gdLst/>
            <a:ahLst/>
            <a:cxnLst/>
            <a:rect l="l" t="t" r="r" b="b"/>
            <a:pathLst>
              <a:path w="95237" h="155811">
                <a:moveTo>
                  <a:pt x="0" y="0"/>
                </a:moveTo>
                <a:lnTo>
                  <a:pt x="0" y="4252"/>
                </a:lnTo>
                <a:lnTo>
                  <a:pt x="9226" y="5163"/>
                </a:lnTo>
                <a:lnTo>
                  <a:pt x="18154" y="7289"/>
                </a:lnTo>
                <a:lnTo>
                  <a:pt x="26785" y="10934"/>
                </a:lnTo>
                <a:lnTo>
                  <a:pt x="35118" y="16097"/>
                </a:lnTo>
                <a:lnTo>
                  <a:pt x="42857" y="22171"/>
                </a:lnTo>
                <a:lnTo>
                  <a:pt x="50595" y="30068"/>
                </a:lnTo>
                <a:lnTo>
                  <a:pt x="57440" y="38573"/>
                </a:lnTo>
                <a:lnTo>
                  <a:pt x="63987" y="48292"/>
                </a:lnTo>
                <a:lnTo>
                  <a:pt x="70237" y="58922"/>
                </a:lnTo>
                <a:lnTo>
                  <a:pt x="75595" y="70768"/>
                </a:lnTo>
                <a:lnTo>
                  <a:pt x="79761" y="83220"/>
                </a:lnTo>
                <a:lnTo>
                  <a:pt x="83630" y="96584"/>
                </a:lnTo>
                <a:lnTo>
                  <a:pt x="86904" y="110556"/>
                </a:lnTo>
                <a:lnTo>
                  <a:pt x="89285" y="125134"/>
                </a:lnTo>
                <a:lnTo>
                  <a:pt x="90475" y="140017"/>
                </a:lnTo>
                <a:lnTo>
                  <a:pt x="91071" y="155811"/>
                </a:lnTo>
                <a:lnTo>
                  <a:pt x="95237" y="155811"/>
                </a:lnTo>
                <a:lnTo>
                  <a:pt x="94642" y="140017"/>
                </a:lnTo>
                <a:lnTo>
                  <a:pt x="93452" y="124527"/>
                </a:lnTo>
                <a:lnTo>
                  <a:pt x="91071" y="109948"/>
                </a:lnTo>
                <a:lnTo>
                  <a:pt x="87797" y="95369"/>
                </a:lnTo>
                <a:lnTo>
                  <a:pt x="83928" y="82005"/>
                </a:lnTo>
                <a:lnTo>
                  <a:pt x="79166" y="68945"/>
                </a:lnTo>
                <a:lnTo>
                  <a:pt x="73809" y="57100"/>
                </a:lnTo>
                <a:lnTo>
                  <a:pt x="67559" y="45862"/>
                </a:lnTo>
                <a:lnTo>
                  <a:pt x="61011" y="36143"/>
                </a:lnTo>
                <a:lnTo>
                  <a:pt x="53571" y="27031"/>
                </a:lnTo>
                <a:lnTo>
                  <a:pt x="45833" y="19134"/>
                </a:lnTo>
                <a:lnTo>
                  <a:pt x="37499" y="12452"/>
                </a:lnTo>
                <a:lnTo>
                  <a:pt x="28571" y="7289"/>
                </a:lnTo>
                <a:lnTo>
                  <a:pt x="19345" y="3037"/>
                </a:lnTo>
                <a:lnTo>
                  <a:pt x="9821" y="911"/>
                </a:lnTo>
                <a:lnTo>
                  <a:pt x="0" y="0"/>
                </a:lnTo>
                <a:close/>
              </a:path>
            </a:pathLst>
          </a:custGeom>
          <a:solidFill>
            <a:srgbClr val="000000"/>
          </a:solidFill>
        </p:spPr>
        <p:txBody>
          <a:bodyPr wrap="square" lIns="0" tIns="0" rIns="0" bIns="0" rtlCol="0">
            <a:noAutofit/>
          </a:bodyPr>
          <a:lstStyle/>
          <a:p>
            <a:endParaRPr/>
          </a:p>
        </p:txBody>
      </p:sp>
      <p:sp>
        <p:nvSpPr>
          <p:cNvPr id="1306" name="object 1306"/>
          <p:cNvSpPr/>
          <p:nvPr/>
        </p:nvSpPr>
        <p:spPr>
          <a:xfrm>
            <a:off x="9375103" y="1343853"/>
            <a:ext cx="95237" cy="155811"/>
          </a:xfrm>
          <a:custGeom>
            <a:avLst/>
            <a:gdLst/>
            <a:ahLst/>
            <a:cxnLst/>
            <a:rect l="l" t="t" r="r" b="b"/>
            <a:pathLst>
              <a:path w="95237" h="155811">
                <a:moveTo>
                  <a:pt x="83928" y="73805"/>
                </a:moveTo>
                <a:lnTo>
                  <a:pt x="87797" y="60137"/>
                </a:lnTo>
                <a:lnTo>
                  <a:pt x="91071" y="45862"/>
                </a:lnTo>
                <a:lnTo>
                  <a:pt x="93452" y="31283"/>
                </a:lnTo>
                <a:lnTo>
                  <a:pt x="94642" y="15490"/>
                </a:lnTo>
                <a:lnTo>
                  <a:pt x="95237" y="0"/>
                </a:lnTo>
                <a:lnTo>
                  <a:pt x="91071" y="0"/>
                </a:lnTo>
                <a:lnTo>
                  <a:pt x="90475" y="15490"/>
                </a:lnTo>
                <a:lnTo>
                  <a:pt x="89285" y="30676"/>
                </a:lnTo>
                <a:lnTo>
                  <a:pt x="86904" y="45255"/>
                </a:lnTo>
                <a:lnTo>
                  <a:pt x="83630" y="58922"/>
                </a:lnTo>
                <a:lnTo>
                  <a:pt x="79761" y="72590"/>
                </a:lnTo>
                <a:lnTo>
                  <a:pt x="75595" y="84739"/>
                </a:lnTo>
                <a:lnTo>
                  <a:pt x="70237" y="96584"/>
                </a:lnTo>
                <a:lnTo>
                  <a:pt x="63987" y="107215"/>
                </a:lnTo>
                <a:lnTo>
                  <a:pt x="57440" y="117238"/>
                </a:lnTo>
                <a:lnTo>
                  <a:pt x="50595" y="125742"/>
                </a:lnTo>
                <a:lnTo>
                  <a:pt x="42857" y="133639"/>
                </a:lnTo>
                <a:lnTo>
                  <a:pt x="35118" y="139713"/>
                </a:lnTo>
                <a:lnTo>
                  <a:pt x="26785" y="144877"/>
                </a:lnTo>
                <a:lnTo>
                  <a:pt x="18154" y="148521"/>
                </a:lnTo>
                <a:lnTo>
                  <a:pt x="9226" y="150647"/>
                </a:lnTo>
                <a:lnTo>
                  <a:pt x="0" y="151559"/>
                </a:lnTo>
                <a:lnTo>
                  <a:pt x="0" y="155811"/>
                </a:lnTo>
                <a:lnTo>
                  <a:pt x="9821" y="154900"/>
                </a:lnTo>
                <a:lnTo>
                  <a:pt x="19345" y="152773"/>
                </a:lnTo>
                <a:lnTo>
                  <a:pt x="28571" y="148521"/>
                </a:lnTo>
                <a:lnTo>
                  <a:pt x="37499" y="143358"/>
                </a:lnTo>
                <a:lnTo>
                  <a:pt x="45833" y="136676"/>
                </a:lnTo>
                <a:lnTo>
                  <a:pt x="53571" y="128779"/>
                </a:lnTo>
                <a:lnTo>
                  <a:pt x="61011" y="119667"/>
                </a:lnTo>
                <a:lnTo>
                  <a:pt x="67559" y="109644"/>
                </a:lnTo>
                <a:lnTo>
                  <a:pt x="73809" y="98407"/>
                </a:lnTo>
                <a:lnTo>
                  <a:pt x="79166" y="86561"/>
                </a:lnTo>
                <a:lnTo>
                  <a:pt x="83928" y="73805"/>
                </a:lnTo>
                <a:close/>
              </a:path>
            </a:pathLst>
          </a:custGeom>
          <a:solidFill>
            <a:srgbClr val="000000"/>
          </a:solidFill>
        </p:spPr>
        <p:txBody>
          <a:bodyPr wrap="square" lIns="0" tIns="0" rIns="0" bIns="0" rtlCol="0">
            <a:noAutofit/>
          </a:bodyPr>
          <a:lstStyle/>
          <a:p>
            <a:endParaRPr/>
          </a:p>
        </p:txBody>
      </p:sp>
      <p:sp>
        <p:nvSpPr>
          <p:cNvPr id="1307" name="object 1307"/>
          <p:cNvSpPr/>
          <p:nvPr/>
        </p:nvSpPr>
        <p:spPr>
          <a:xfrm>
            <a:off x="9280162" y="1343853"/>
            <a:ext cx="94940" cy="155811"/>
          </a:xfrm>
          <a:custGeom>
            <a:avLst/>
            <a:gdLst/>
            <a:ahLst/>
            <a:cxnLst/>
            <a:rect l="l" t="t" r="r" b="b"/>
            <a:pathLst>
              <a:path w="94940" h="155811">
                <a:moveTo>
                  <a:pt x="595" y="15490"/>
                </a:moveTo>
                <a:lnTo>
                  <a:pt x="1785" y="31283"/>
                </a:lnTo>
                <a:lnTo>
                  <a:pt x="4166" y="45862"/>
                </a:lnTo>
                <a:lnTo>
                  <a:pt x="7440" y="60137"/>
                </a:lnTo>
                <a:lnTo>
                  <a:pt x="11309" y="73805"/>
                </a:lnTo>
                <a:lnTo>
                  <a:pt x="16071" y="86561"/>
                </a:lnTo>
                <a:lnTo>
                  <a:pt x="21428" y="98407"/>
                </a:lnTo>
                <a:lnTo>
                  <a:pt x="27678" y="109644"/>
                </a:lnTo>
                <a:lnTo>
                  <a:pt x="34226" y="119667"/>
                </a:lnTo>
                <a:lnTo>
                  <a:pt x="41666" y="128779"/>
                </a:lnTo>
                <a:lnTo>
                  <a:pt x="49106" y="136676"/>
                </a:lnTo>
                <a:lnTo>
                  <a:pt x="57737" y="143358"/>
                </a:lnTo>
                <a:lnTo>
                  <a:pt x="66368" y="148521"/>
                </a:lnTo>
                <a:lnTo>
                  <a:pt x="75595" y="152773"/>
                </a:lnTo>
                <a:lnTo>
                  <a:pt x="85118" y="154900"/>
                </a:lnTo>
                <a:lnTo>
                  <a:pt x="94940" y="155811"/>
                </a:lnTo>
                <a:lnTo>
                  <a:pt x="94940" y="151559"/>
                </a:lnTo>
                <a:lnTo>
                  <a:pt x="85714" y="150647"/>
                </a:lnTo>
                <a:lnTo>
                  <a:pt x="76785" y="148521"/>
                </a:lnTo>
                <a:lnTo>
                  <a:pt x="68154" y="144877"/>
                </a:lnTo>
                <a:lnTo>
                  <a:pt x="60118" y="139713"/>
                </a:lnTo>
                <a:lnTo>
                  <a:pt x="52083" y="133639"/>
                </a:lnTo>
                <a:lnTo>
                  <a:pt x="44642" y="125742"/>
                </a:lnTo>
                <a:lnTo>
                  <a:pt x="37797" y="117238"/>
                </a:lnTo>
                <a:lnTo>
                  <a:pt x="31249" y="107215"/>
                </a:lnTo>
                <a:lnTo>
                  <a:pt x="24999" y="96584"/>
                </a:lnTo>
                <a:lnTo>
                  <a:pt x="19642" y="84739"/>
                </a:lnTo>
                <a:lnTo>
                  <a:pt x="15476" y="72590"/>
                </a:lnTo>
                <a:lnTo>
                  <a:pt x="11607" y="58922"/>
                </a:lnTo>
                <a:lnTo>
                  <a:pt x="8333" y="45255"/>
                </a:lnTo>
                <a:lnTo>
                  <a:pt x="5952" y="30676"/>
                </a:lnTo>
                <a:lnTo>
                  <a:pt x="4761" y="15490"/>
                </a:lnTo>
                <a:lnTo>
                  <a:pt x="4166" y="0"/>
                </a:lnTo>
                <a:lnTo>
                  <a:pt x="0" y="0"/>
                </a:lnTo>
                <a:lnTo>
                  <a:pt x="595" y="15490"/>
                </a:lnTo>
                <a:close/>
              </a:path>
            </a:pathLst>
          </a:custGeom>
          <a:solidFill>
            <a:srgbClr val="000000"/>
          </a:solidFill>
        </p:spPr>
        <p:txBody>
          <a:bodyPr wrap="square" lIns="0" tIns="0" rIns="0" bIns="0" rtlCol="0">
            <a:noAutofit/>
          </a:bodyPr>
          <a:lstStyle/>
          <a:p>
            <a:endParaRPr/>
          </a:p>
        </p:txBody>
      </p:sp>
      <p:sp>
        <p:nvSpPr>
          <p:cNvPr id="1308" name="object 1308"/>
          <p:cNvSpPr/>
          <p:nvPr/>
        </p:nvSpPr>
        <p:spPr>
          <a:xfrm>
            <a:off x="9280162" y="1188042"/>
            <a:ext cx="94940" cy="155811"/>
          </a:xfrm>
          <a:custGeom>
            <a:avLst/>
            <a:gdLst/>
            <a:ahLst/>
            <a:cxnLst/>
            <a:rect l="l" t="t" r="r" b="b"/>
            <a:pathLst>
              <a:path w="94940" h="155811">
                <a:moveTo>
                  <a:pt x="4166" y="109948"/>
                </a:moveTo>
                <a:lnTo>
                  <a:pt x="1785" y="124527"/>
                </a:lnTo>
                <a:lnTo>
                  <a:pt x="595" y="140017"/>
                </a:lnTo>
                <a:lnTo>
                  <a:pt x="0" y="155811"/>
                </a:lnTo>
                <a:lnTo>
                  <a:pt x="4166" y="155811"/>
                </a:lnTo>
                <a:lnTo>
                  <a:pt x="4761" y="140017"/>
                </a:lnTo>
                <a:lnTo>
                  <a:pt x="5952" y="125134"/>
                </a:lnTo>
                <a:lnTo>
                  <a:pt x="8333" y="110556"/>
                </a:lnTo>
                <a:lnTo>
                  <a:pt x="11607" y="96584"/>
                </a:lnTo>
                <a:lnTo>
                  <a:pt x="15476" y="83220"/>
                </a:lnTo>
                <a:lnTo>
                  <a:pt x="19642" y="70768"/>
                </a:lnTo>
                <a:lnTo>
                  <a:pt x="24999" y="58922"/>
                </a:lnTo>
                <a:lnTo>
                  <a:pt x="31249" y="48292"/>
                </a:lnTo>
                <a:lnTo>
                  <a:pt x="37797" y="38573"/>
                </a:lnTo>
                <a:lnTo>
                  <a:pt x="44642" y="30068"/>
                </a:lnTo>
                <a:lnTo>
                  <a:pt x="52083" y="22171"/>
                </a:lnTo>
                <a:lnTo>
                  <a:pt x="60118" y="16097"/>
                </a:lnTo>
                <a:lnTo>
                  <a:pt x="68154" y="10934"/>
                </a:lnTo>
                <a:lnTo>
                  <a:pt x="76785" y="7289"/>
                </a:lnTo>
                <a:lnTo>
                  <a:pt x="85714" y="5163"/>
                </a:lnTo>
                <a:lnTo>
                  <a:pt x="94940" y="4252"/>
                </a:lnTo>
                <a:lnTo>
                  <a:pt x="94940" y="0"/>
                </a:lnTo>
                <a:lnTo>
                  <a:pt x="85118" y="911"/>
                </a:lnTo>
                <a:lnTo>
                  <a:pt x="75595" y="3037"/>
                </a:lnTo>
                <a:lnTo>
                  <a:pt x="66368" y="7289"/>
                </a:lnTo>
                <a:lnTo>
                  <a:pt x="57737" y="12452"/>
                </a:lnTo>
                <a:lnTo>
                  <a:pt x="49106" y="19134"/>
                </a:lnTo>
                <a:lnTo>
                  <a:pt x="41666" y="27031"/>
                </a:lnTo>
                <a:lnTo>
                  <a:pt x="34226" y="36143"/>
                </a:lnTo>
                <a:lnTo>
                  <a:pt x="27678" y="45862"/>
                </a:lnTo>
                <a:lnTo>
                  <a:pt x="21428" y="57100"/>
                </a:lnTo>
                <a:lnTo>
                  <a:pt x="16071" y="68945"/>
                </a:lnTo>
                <a:lnTo>
                  <a:pt x="11309" y="82005"/>
                </a:lnTo>
                <a:lnTo>
                  <a:pt x="7440" y="95369"/>
                </a:lnTo>
                <a:lnTo>
                  <a:pt x="4166" y="109948"/>
                </a:lnTo>
                <a:close/>
              </a:path>
            </a:pathLst>
          </a:custGeom>
          <a:solidFill>
            <a:srgbClr val="000000"/>
          </a:solidFill>
        </p:spPr>
        <p:txBody>
          <a:bodyPr wrap="square" lIns="0" tIns="0" rIns="0" bIns="0" rtlCol="0">
            <a:noAutofit/>
          </a:bodyPr>
          <a:lstStyle/>
          <a:p>
            <a:endParaRPr/>
          </a:p>
        </p:txBody>
      </p:sp>
      <p:sp>
        <p:nvSpPr>
          <p:cNvPr id="1309" name="object 1309"/>
          <p:cNvSpPr/>
          <p:nvPr/>
        </p:nvSpPr>
        <p:spPr>
          <a:xfrm>
            <a:off x="9328674" y="1250305"/>
            <a:ext cx="113094" cy="187094"/>
          </a:xfrm>
          <a:custGeom>
            <a:avLst/>
            <a:gdLst/>
            <a:ahLst/>
            <a:cxnLst/>
            <a:rect l="l" t="t" r="r" b="b"/>
            <a:pathLst>
              <a:path w="113094" h="187094">
                <a:moveTo>
                  <a:pt x="56547" y="0"/>
                </a:moveTo>
                <a:lnTo>
                  <a:pt x="50892" y="607"/>
                </a:lnTo>
                <a:lnTo>
                  <a:pt x="45237" y="1822"/>
                </a:lnTo>
                <a:lnTo>
                  <a:pt x="34523" y="7289"/>
                </a:lnTo>
                <a:lnTo>
                  <a:pt x="29464" y="11237"/>
                </a:lnTo>
                <a:lnTo>
                  <a:pt x="24999" y="16097"/>
                </a:lnTo>
                <a:lnTo>
                  <a:pt x="20535" y="21260"/>
                </a:lnTo>
                <a:lnTo>
                  <a:pt x="16666" y="27335"/>
                </a:lnTo>
                <a:lnTo>
                  <a:pt x="12797" y="34017"/>
                </a:lnTo>
                <a:lnTo>
                  <a:pt x="9523" y="41306"/>
                </a:lnTo>
                <a:lnTo>
                  <a:pt x="6845" y="48899"/>
                </a:lnTo>
                <a:lnTo>
                  <a:pt x="4464" y="57100"/>
                </a:lnTo>
                <a:lnTo>
                  <a:pt x="2678" y="65604"/>
                </a:lnTo>
                <a:lnTo>
                  <a:pt x="1190" y="74716"/>
                </a:lnTo>
                <a:lnTo>
                  <a:pt x="297" y="84131"/>
                </a:lnTo>
                <a:lnTo>
                  <a:pt x="0" y="93547"/>
                </a:lnTo>
                <a:lnTo>
                  <a:pt x="297" y="102962"/>
                </a:lnTo>
                <a:lnTo>
                  <a:pt x="1190" y="112378"/>
                </a:lnTo>
                <a:lnTo>
                  <a:pt x="2678" y="121490"/>
                </a:lnTo>
                <a:lnTo>
                  <a:pt x="4464" y="129994"/>
                </a:lnTo>
                <a:lnTo>
                  <a:pt x="6845" y="138195"/>
                </a:lnTo>
                <a:lnTo>
                  <a:pt x="9523" y="145788"/>
                </a:lnTo>
                <a:lnTo>
                  <a:pt x="12797" y="153077"/>
                </a:lnTo>
                <a:lnTo>
                  <a:pt x="16666" y="159759"/>
                </a:lnTo>
                <a:lnTo>
                  <a:pt x="20535" y="165834"/>
                </a:lnTo>
                <a:lnTo>
                  <a:pt x="24999" y="170997"/>
                </a:lnTo>
                <a:lnTo>
                  <a:pt x="29464" y="175857"/>
                </a:lnTo>
                <a:lnTo>
                  <a:pt x="34523" y="179805"/>
                </a:lnTo>
                <a:lnTo>
                  <a:pt x="45237" y="185272"/>
                </a:lnTo>
                <a:lnTo>
                  <a:pt x="56547" y="187094"/>
                </a:lnTo>
                <a:lnTo>
                  <a:pt x="62202" y="186487"/>
                </a:lnTo>
                <a:lnTo>
                  <a:pt x="73511" y="182842"/>
                </a:lnTo>
                <a:lnTo>
                  <a:pt x="83630" y="175857"/>
                </a:lnTo>
                <a:lnTo>
                  <a:pt x="88094" y="170997"/>
                </a:lnTo>
                <a:lnTo>
                  <a:pt x="92559" y="165834"/>
                </a:lnTo>
                <a:lnTo>
                  <a:pt x="96428" y="159759"/>
                </a:lnTo>
                <a:lnTo>
                  <a:pt x="100297" y="153077"/>
                </a:lnTo>
                <a:lnTo>
                  <a:pt x="103571" y="145788"/>
                </a:lnTo>
                <a:lnTo>
                  <a:pt x="106249" y="138195"/>
                </a:lnTo>
                <a:lnTo>
                  <a:pt x="108630" y="129994"/>
                </a:lnTo>
                <a:lnTo>
                  <a:pt x="110416" y="121490"/>
                </a:lnTo>
                <a:lnTo>
                  <a:pt x="111904" y="112378"/>
                </a:lnTo>
                <a:lnTo>
                  <a:pt x="112797" y="102962"/>
                </a:lnTo>
                <a:lnTo>
                  <a:pt x="113094" y="93547"/>
                </a:lnTo>
                <a:lnTo>
                  <a:pt x="112797" y="84131"/>
                </a:lnTo>
                <a:lnTo>
                  <a:pt x="111904" y="74716"/>
                </a:lnTo>
                <a:lnTo>
                  <a:pt x="110416" y="65604"/>
                </a:lnTo>
                <a:lnTo>
                  <a:pt x="108630" y="57100"/>
                </a:lnTo>
                <a:lnTo>
                  <a:pt x="106249" y="48899"/>
                </a:lnTo>
                <a:lnTo>
                  <a:pt x="103571" y="41306"/>
                </a:lnTo>
                <a:lnTo>
                  <a:pt x="100297" y="34017"/>
                </a:lnTo>
                <a:lnTo>
                  <a:pt x="96428" y="27335"/>
                </a:lnTo>
                <a:lnTo>
                  <a:pt x="92559" y="21260"/>
                </a:lnTo>
                <a:lnTo>
                  <a:pt x="88094" y="16097"/>
                </a:lnTo>
                <a:lnTo>
                  <a:pt x="83630" y="11237"/>
                </a:lnTo>
                <a:lnTo>
                  <a:pt x="78571" y="7289"/>
                </a:lnTo>
                <a:lnTo>
                  <a:pt x="67856" y="1822"/>
                </a:lnTo>
                <a:lnTo>
                  <a:pt x="62202" y="607"/>
                </a:lnTo>
                <a:lnTo>
                  <a:pt x="56547" y="0"/>
                </a:lnTo>
                <a:close/>
              </a:path>
            </a:pathLst>
          </a:custGeom>
          <a:solidFill>
            <a:srgbClr val="E4E4E4"/>
          </a:solidFill>
        </p:spPr>
        <p:txBody>
          <a:bodyPr wrap="square" lIns="0" tIns="0" rIns="0" bIns="0" rtlCol="0">
            <a:noAutofit/>
          </a:bodyPr>
          <a:lstStyle/>
          <a:p>
            <a:endParaRPr/>
          </a:p>
        </p:txBody>
      </p:sp>
      <p:sp>
        <p:nvSpPr>
          <p:cNvPr id="1310" name="object 1310"/>
          <p:cNvSpPr/>
          <p:nvPr/>
        </p:nvSpPr>
        <p:spPr>
          <a:xfrm>
            <a:off x="9385222" y="1248179"/>
            <a:ext cx="58630" cy="95673"/>
          </a:xfrm>
          <a:custGeom>
            <a:avLst/>
            <a:gdLst/>
            <a:ahLst/>
            <a:cxnLst/>
            <a:rect l="l" t="t" r="r" b="b"/>
            <a:pathLst>
              <a:path w="58630" h="95673">
                <a:moveTo>
                  <a:pt x="5357" y="4859"/>
                </a:moveTo>
                <a:lnTo>
                  <a:pt x="10714" y="6074"/>
                </a:lnTo>
                <a:lnTo>
                  <a:pt x="16071" y="8200"/>
                </a:lnTo>
                <a:lnTo>
                  <a:pt x="20833" y="11237"/>
                </a:lnTo>
                <a:lnTo>
                  <a:pt x="25595" y="14882"/>
                </a:lnTo>
                <a:lnTo>
                  <a:pt x="30059" y="19742"/>
                </a:lnTo>
                <a:lnTo>
                  <a:pt x="34226" y="24601"/>
                </a:lnTo>
                <a:lnTo>
                  <a:pt x="38095" y="30676"/>
                </a:lnTo>
                <a:lnTo>
                  <a:pt x="41964" y="37054"/>
                </a:lnTo>
                <a:lnTo>
                  <a:pt x="45237" y="44343"/>
                </a:lnTo>
                <a:lnTo>
                  <a:pt x="47618" y="51633"/>
                </a:lnTo>
                <a:lnTo>
                  <a:pt x="49999" y="59833"/>
                </a:lnTo>
                <a:lnTo>
                  <a:pt x="51785" y="68034"/>
                </a:lnTo>
                <a:lnTo>
                  <a:pt x="53273" y="77146"/>
                </a:lnTo>
                <a:lnTo>
                  <a:pt x="54166" y="86258"/>
                </a:lnTo>
                <a:lnTo>
                  <a:pt x="54464" y="95673"/>
                </a:lnTo>
                <a:lnTo>
                  <a:pt x="58630" y="95673"/>
                </a:lnTo>
                <a:lnTo>
                  <a:pt x="58333" y="86258"/>
                </a:lnTo>
                <a:lnTo>
                  <a:pt x="57440" y="76538"/>
                </a:lnTo>
                <a:lnTo>
                  <a:pt x="55952" y="67427"/>
                </a:lnTo>
                <a:lnTo>
                  <a:pt x="54166" y="58619"/>
                </a:lnTo>
                <a:lnTo>
                  <a:pt x="51785" y="50418"/>
                </a:lnTo>
                <a:lnTo>
                  <a:pt x="48809" y="42521"/>
                </a:lnTo>
                <a:lnTo>
                  <a:pt x="45535" y="35232"/>
                </a:lnTo>
                <a:lnTo>
                  <a:pt x="41666" y="28246"/>
                </a:lnTo>
                <a:lnTo>
                  <a:pt x="37797" y="22171"/>
                </a:lnTo>
                <a:lnTo>
                  <a:pt x="33035" y="16704"/>
                </a:lnTo>
                <a:lnTo>
                  <a:pt x="28571" y="11845"/>
                </a:lnTo>
                <a:lnTo>
                  <a:pt x="23214" y="7593"/>
                </a:lnTo>
                <a:lnTo>
                  <a:pt x="17857" y="4555"/>
                </a:lnTo>
                <a:lnTo>
                  <a:pt x="11904" y="1822"/>
                </a:lnTo>
                <a:lnTo>
                  <a:pt x="5952" y="607"/>
                </a:lnTo>
                <a:lnTo>
                  <a:pt x="0" y="0"/>
                </a:lnTo>
                <a:lnTo>
                  <a:pt x="0" y="4252"/>
                </a:lnTo>
                <a:lnTo>
                  <a:pt x="5357" y="4859"/>
                </a:lnTo>
                <a:close/>
              </a:path>
            </a:pathLst>
          </a:custGeom>
          <a:solidFill>
            <a:srgbClr val="000000"/>
          </a:solidFill>
        </p:spPr>
        <p:txBody>
          <a:bodyPr wrap="square" lIns="0" tIns="0" rIns="0" bIns="0" rtlCol="0">
            <a:noAutofit/>
          </a:bodyPr>
          <a:lstStyle/>
          <a:p>
            <a:endParaRPr/>
          </a:p>
        </p:txBody>
      </p:sp>
      <p:sp>
        <p:nvSpPr>
          <p:cNvPr id="1311" name="object 1311"/>
          <p:cNvSpPr/>
          <p:nvPr/>
        </p:nvSpPr>
        <p:spPr>
          <a:xfrm>
            <a:off x="9385222" y="1343853"/>
            <a:ext cx="58630" cy="95673"/>
          </a:xfrm>
          <a:custGeom>
            <a:avLst/>
            <a:gdLst/>
            <a:ahLst/>
            <a:cxnLst/>
            <a:rect l="l" t="t" r="r" b="b"/>
            <a:pathLst>
              <a:path w="58630" h="95673">
                <a:moveTo>
                  <a:pt x="0" y="91421"/>
                </a:moveTo>
                <a:lnTo>
                  <a:pt x="0" y="95673"/>
                </a:lnTo>
                <a:lnTo>
                  <a:pt x="5952" y="95066"/>
                </a:lnTo>
                <a:lnTo>
                  <a:pt x="11904" y="93851"/>
                </a:lnTo>
                <a:lnTo>
                  <a:pt x="17857" y="91117"/>
                </a:lnTo>
                <a:lnTo>
                  <a:pt x="23214" y="88080"/>
                </a:lnTo>
                <a:lnTo>
                  <a:pt x="28571" y="83828"/>
                </a:lnTo>
                <a:lnTo>
                  <a:pt x="33035" y="78968"/>
                </a:lnTo>
                <a:lnTo>
                  <a:pt x="37797" y="73501"/>
                </a:lnTo>
                <a:lnTo>
                  <a:pt x="41666" y="67427"/>
                </a:lnTo>
                <a:lnTo>
                  <a:pt x="45535" y="60441"/>
                </a:lnTo>
                <a:lnTo>
                  <a:pt x="48809" y="53151"/>
                </a:lnTo>
                <a:lnTo>
                  <a:pt x="51785" y="45255"/>
                </a:lnTo>
                <a:lnTo>
                  <a:pt x="54166" y="37054"/>
                </a:lnTo>
                <a:lnTo>
                  <a:pt x="55952" y="28246"/>
                </a:lnTo>
                <a:lnTo>
                  <a:pt x="57440" y="19134"/>
                </a:lnTo>
                <a:lnTo>
                  <a:pt x="58333" y="9415"/>
                </a:lnTo>
                <a:lnTo>
                  <a:pt x="58630" y="0"/>
                </a:lnTo>
                <a:lnTo>
                  <a:pt x="54464" y="0"/>
                </a:lnTo>
                <a:lnTo>
                  <a:pt x="54166" y="9415"/>
                </a:lnTo>
                <a:lnTo>
                  <a:pt x="53273" y="18527"/>
                </a:lnTo>
                <a:lnTo>
                  <a:pt x="51785" y="27639"/>
                </a:lnTo>
                <a:lnTo>
                  <a:pt x="49999" y="35839"/>
                </a:lnTo>
                <a:lnTo>
                  <a:pt x="47618" y="44040"/>
                </a:lnTo>
                <a:lnTo>
                  <a:pt x="45237" y="51329"/>
                </a:lnTo>
                <a:lnTo>
                  <a:pt x="41964" y="58619"/>
                </a:lnTo>
                <a:lnTo>
                  <a:pt x="38095" y="64997"/>
                </a:lnTo>
                <a:lnTo>
                  <a:pt x="34226" y="71071"/>
                </a:lnTo>
                <a:lnTo>
                  <a:pt x="30059" y="75931"/>
                </a:lnTo>
                <a:lnTo>
                  <a:pt x="25595" y="80791"/>
                </a:lnTo>
                <a:lnTo>
                  <a:pt x="20833" y="84435"/>
                </a:lnTo>
                <a:lnTo>
                  <a:pt x="16071" y="87472"/>
                </a:lnTo>
                <a:lnTo>
                  <a:pt x="10714" y="89599"/>
                </a:lnTo>
                <a:lnTo>
                  <a:pt x="5357" y="90813"/>
                </a:lnTo>
                <a:lnTo>
                  <a:pt x="0" y="91421"/>
                </a:lnTo>
                <a:close/>
              </a:path>
            </a:pathLst>
          </a:custGeom>
          <a:solidFill>
            <a:srgbClr val="000000"/>
          </a:solidFill>
        </p:spPr>
        <p:txBody>
          <a:bodyPr wrap="square" lIns="0" tIns="0" rIns="0" bIns="0" rtlCol="0">
            <a:noAutofit/>
          </a:bodyPr>
          <a:lstStyle/>
          <a:p>
            <a:endParaRPr/>
          </a:p>
        </p:txBody>
      </p:sp>
      <p:sp>
        <p:nvSpPr>
          <p:cNvPr id="1312" name="object 1312"/>
          <p:cNvSpPr/>
          <p:nvPr/>
        </p:nvSpPr>
        <p:spPr>
          <a:xfrm>
            <a:off x="9326591" y="1343853"/>
            <a:ext cx="58630" cy="95673"/>
          </a:xfrm>
          <a:custGeom>
            <a:avLst/>
            <a:gdLst/>
            <a:ahLst/>
            <a:cxnLst/>
            <a:rect l="l" t="t" r="r" b="b"/>
            <a:pathLst>
              <a:path w="58630" h="95673">
                <a:moveTo>
                  <a:pt x="4166" y="0"/>
                </a:moveTo>
                <a:lnTo>
                  <a:pt x="0" y="0"/>
                </a:lnTo>
                <a:lnTo>
                  <a:pt x="297" y="9415"/>
                </a:lnTo>
                <a:lnTo>
                  <a:pt x="1190" y="19134"/>
                </a:lnTo>
                <a:lnTo>
                  <a:pt x="2678" y="28246"/>
                </a:lnTo>
                <a:lnTo>
                  <a:pt x="4464" y="37054"/>
                </a:lnTo>
                <a:lnTo>
                  <a:pt x="6845" y="45255"/>
                </a:lnTo>
                <a:lnTo>
                  <a:pt x="9821" y="53151"/>
                </a:lnTo>
                <a:lnTo>
                  <a:pt x="13095" y="60441"/>
                </a:lnTo>
                <a:lnTo>
                  <a:pt x="16964" y="67427"/>
                </a:lnTo>
                <a:lnTo>
                  <a:pt x="20833" y="73501"/>
                </a:lnTo>
                <a:lnTo>
                  <a:pt x="25595" y="78968"/>
                </a:lnTo>
                <a:lnTo>
                  <a:pt x="30059" y="83828"/>
                </a:lnTo>
                <a:lnTo>
                  <a:pt x="35416" y="88080"/>
                </a:lnTo>
                <a:lnTo>
                  <a:pt x="40773" y="91117"/>
                </a:lnTo>
                <a:lnTo>
                  <a:pt x="46726" y="93851"/>
                </a:lnTo>
                <a:lnTo>
                  <a:pt x="52678" y="95066"/>
                </a:lnTo>
                <a:lnTo>
                  <a:pt x="58630" y="95673"/>
                </a:lnTo>
                <a:lnTo>
                  <a:pt x="58630" y="91421"/>
                </a:lnTo>
                <a:lnTo>
                  <a:pt x="53273" y="90813"/>
                </a:lnTo>
                <a:lnTo>
                  <a:pt x="47916" y="89599"/>
                </a:lnTo>
                <a:lnTo>
                  <a:pt x="42559" y="87472"/>
                </a:lnTo>
                <a:lnTo>
                  <a:pt x="37797" y="84435"/>
                </a:lnTo>
                <a:lnTo>
                  <a:pt x="33035" y="80791"/>
                </a:lnTo>
                <a:lnTo>
                  <a:pt x="28571" y="75931"/>
                </a:lnTo>
                <a:lnTo>
                  <a:pt x="24404" y="71071"/>
                </a:lnTo>
                <a:lnTo>
                  <a:pt x="20535" y="64997"/>
                </a:lnTo>
                <a:lnTo>
                  <a:pt x="16666" y="58619"/>
                </a:lnTo>
                <a:lnTo>
                  <a:pt x="13392" y="51329"/>
                </a:lnTo>
                <a:lnTo>
                  <a:pt x="11011" y="44040"/>
                </a:lnTo>
                <a:lnTo>
                  <a:pt x="8630" y="35839"/>
                </a:lnTo>
                <a:lnTo>
                  <a:pt x="6845" y="27639"/>
                </a:lnTo>
                <a:lnTo>
                  <a:pt x="5357" y="18527"/>
                </a:lnTo>
                <a:lnTo>
                  <a:pt x="4464" y="9415"/>
                </a:lnTo>
                <a:lnTo>
                  <a:pt x="4166" y="0"/>
                </a:lnTo>
                <a:close/>
              </a:path>
            </a:pathLst>
          </a:custGeom>
          <a:solidFill>
            <a:srgbClr val="000000"/>
          </a:solidFill>
        </p:spPr>
        <p:txBody>
          <a:bodyPr wrap="square" lIns="0" tIns="0" rIns="0" bIns="0" rtlCol="0">
            <a:noAutofit/>
          </a:bodyPr>
          <a:lstStyle/>
          <a:p>
            <a:endParaRPr/>
          </a:p>
        </p:txBody>
      </p:sp>
      <p:sp>
        <p:nvSpPr>
          <p:cNvPr id="1313" name="object 1313"/>
          <p:cNvSpPr/>
          <p:nvPr/>
        </p:nvSpPr>
        <p:spPr>
          <a:xfrm>
            <a:off x="9326591" y="1248179"/>
            <a:ext cx="58630" cy="95673"/>
          </a:xfrm>
          <a:custGeom>
            <a:avLst/>
            <a:gdLst/>
            <a:ahLst/>
            <a:cxnLst/>
            <a:rect l="l" t="t" r="r" b="b"/>
            <a:pathLst>
              <a:path w="58630" h="95673">
                <a:moveTo>
                  <a:pt x="4464" y="58619"/>
                </a:moveTo>
                <a:lnTo>
                  <a:pt x="2678" y="67427"/>
                </a:lnTo>
                <a:lnTo>
                  <a:pt x="1190" y="76538"/>
                </a:lnTo>
                <a:lnTo>
                  <a:pt x="297" y="86258"/>
                </a:lnTo>
                <a:lnTo>
                  <a:pt x="0" y="95673"/>
                </a:lnTo>
                <a:lnTo>
                  <a:pt x="4166" y="95673"/>
                </a:lnTo>
                <a:lnTo>
                  <a:pt x="4464" y="86258"/>
                </a:lnTo>
                <a:lnTo>
                  <a:pt x="5357" y="77146"/>
                </a:lnTo>
                <a:lnTo>
                  <a:pt x="6845" y="68034"/>
                </a:lnTo>
                <a:lnTo>
                  <a:pt x="8630" y="59833"/>
                </a:lnTo>
                <a:lnTo>
                  <a:pt x="11011" y="51633"/>
                </a:lnTo>
                <a:lnTo>
                  <a:pt x="13392" y="44343"/>
                </a:lnTo>
                <a:lnTo>
                  <a:pt x="16666" y="37054"/>
                </a:lnTo>
                <a:lnTo>
                  <a:pt x="20535" y="30676"/>
                </a:lnTo>
                <a:lnTo>
                  <a:pt x="24404" y="24601"/>
                </a:lnTo>
                <a:lnTo>
                  <a:pt x="28571" y="19742"/>
                </a:lnTo>
                <a:lnTo>
                  <a:pt x="33035" y="14882"/>
                </a:lnTo>
                <a:lnTo>
                  <a:pt x="37797" y="11237"/>
                </a:lnTo>
                <a:lnTo>
                  <a:pt x="42559" y="8200"/>
                </a:lnTo>
                <a:lnTo>
                  <a:pt x="47916" y="6074"/>
                </a:lnTo>
                <a:lnTo>
                  <a:pt x="53273" y="4859"/>
                </a:lnTo>
                <a:lnTo>
                  <a:pt x="58630" y="4252"/>
                </a:lnTo>
                <a:lnTo>
                  <a:pt x="58630" y="0"/>
                </a:lnTo>
                <a:lnTo>
                  <a:pt x="52678" y="607"/>
                </a:lnTo>
                <a:lnTo>
                  <a:pt x="46726" y="1822"/>
                </a:lnTo>
                <a:lnTo>
                  <a:pt x="40773" y="4555"/>
                </a:lnTo>
                <a:lnTo>
                  <a:pt x="35416" y="7593"/>
                </a:lnTo>
                <a:lnTo>
                  <a:pt x="30059" y="11845"/>
                </a:lnTo>
                <a:lnTo>
                  <a:pt x="25595" y="16704"/>
                </a:lnTo>
                <a:lnTo>
                  <a:pt x="20833" y="22171"/>
                </a:lnTo>
                <a:lnTo>
                  <a:pt x="16964" y="28246"/>
                </a:lnTo>
                <a:lnTo>
                  <a:pt x="13095" y="35232"/>
                </a:lnTo>
                <a:lnTo>
                  <a:pt x="9821" y="42521"/>
                </a:lnTo>
                <a:lnTo>
                  <a:pt x="6845" y="50418"/>
                </a:lnTo>
                <a:lnTo>
                  <a:pt x="4464" y="58619"/>
                </a:lnTo>
                <a:close/>
              </a:path>
            </a:pathLst>
          </a:custGeom>
          <a:solidFill>
            <a:srgbClr val="000000"/>
          </a:solidFill>
        </p:spPr>
        <p:txBody>
          <a:bodyPr wrap="square" lIns="0" tIns="0" rIns="0" bIns="0" rtlCol="0">
            <a:noAutofit/>
          </a:bodyPr>
          <a:lstStyle/>
          <a:p>
            <a:endParaRPr/>
          </a:p>
        </p:txBody>
      </p:sp>
      <p:sp>
        <p:nvSpPr>
          <p:cNvPr id="1314" name="object 1314"/>
          <p:cNvSpPr/>
          <p:nvPr/>
        </p:nvSpPr>
        <p:spPr>
          <a:xfrm>
            <a:off x="9328972" y="1256683"/>
            <a:ext cx="105356" cy="174034"/>
          </a:xfrm>
          <a:custGeom>
            <a:avLst/>
            <a:gdLst/>
            <a:ahLst/>
            <a:cxnLst/>
            <a:rect l="l" t="t" r="r" b="b"/>
            <a:pathLst>
              <a:path w="105356" h="174034">
                <a:moveTo>
                  <a:pt x="52678" y="0"/>
                </a:moveTo>
                <a:lnTo>
                  <a:pt x="42261" y="1822"/>
                </a:lnTo>
                <a:lnTo>
                  <a:pt x="32142" y="6985"/>
                </a:lnTo>
                <a:lnTo>
                  <a:pt x="23214" y="14882"/>
                </a:lnTo>
                <a:lnTo>
                  <a:pt x="19345" y="20045"/>
                </a:lnTo>
                <a:lnTo>
                  <a:pt x="15476" y="25512"/>
                </a:lnTo>
                <a:lnTo>
                  <a:pt x="12202" y="31587"/>
                </a:lnTo>
                <a:lnTo>
                  <a:pt x="8928" y="38573"/>
                </a:lnTo>
                <a:lnTo>
                  <a:pt x="6547" y="45558"/>
                </a:lnTo>
                <a:lnTo>
                  <a:pt x="4166" y="53151"/>
                </a:lnTo>
                <a:lnTo>
                  <a:pt x="2380" y="61048"/>
                </a:lnTo>
                <a:lnTo>
                  <a:pt x="1190" y="69553"/>
                </a:lnTo>
                <a:lnTo>
                  <a:pt x="297" y="78057"/>
                </a:lnTo>
                <a:lnTo>
                  <a:pt x="0" y="86865"/>
                </a:lnTo>
                <a:lnTo>
                  <a:pt x="297" y="95673"/>
                </a:lnTo>
                <a:lnTo>
                  <a:pt x="1190" y="104481"/>
                </a:lnTo>
                <a:lnTo>
                  <a:pt x="2380" y="112682"/>
                </a:lnTo>
                <a:lnTo>
                  <a:pt x="4166" y="120579"/>
                </a:lnTo>
                <a:lnTo>
                  <a:pt x="6547" y="128475"/>
                </a:lnTo>
                <a:lnTo>
                  <a:pt x="8928" y="135461"/>
                </a:lnTo>
                <a:lnTo>
                  <a:pt x="12202" y="142143"/>
                </a:lnTo>
                <a:lnTo>
                  <a:pt x="15476" y="148521"/>
                </a:lnTo>
                <a:lnTo>
                  <a:pt x="19345" y="153988"/>
                </a:lnTo>
                <a:lnTo>
                  <a:pt x="23214" y="159152"/>
                </a:lnTo>
                <a:lnTo>
                  <a:pt x="27678" y="163404"/>
                </a:lnTo>
                <a:lnTo>
                  <a:pt x="37202" y="170086"/>
                </a:lnTo>
                <a:lnTo>
                  <a:pt x="47321" y="173731"/>
                </a:lnTo>
                <a:lnTo>
                  <a:pt x="52678" y="174034"/>
                </a:lnTo>
                <a:lnTo>
                  <a:pt x="58035" y="173731"/>
                </a:lnTo>
                <a:lnTo>
                  <a:pt x="68452" y="170086"/>
                </a:lnTo>
                <a:lnTo>
                  <a:pt x="77678" y="163404"/>
                </a:lnTo>
                <a:lnTo>
                  <a:pt x="82142" y="159152"/>
                </a:lnTo>
                <a:lnTo>
                  <a:pt x="86309" y="153988"/>
                </a:lnTo>
                <a:lnTo>
                  <a:pt x="89880" y="148521"/>
                </a:lnTo>
                <a:lnTo>
                  <a:pt x="93452" y="142143"/>
                </a:lnTo>
                <a:lnTo>
                  <a:pt x="96428" y="135461"/>
                </a:lnTo>
                <a:lnTo>
                  <a:pt x="99106" y="128475"/>
                </a:lnTo>
                <a:lnTo>
                  <a:pt x="101190" y="120579"/>
                </a:lnTo>
                <a:lnTo>
                  <a:pt x="102975" y="112682"/>
                </a:lnTo>
                <a:lnTo>
                  <a:pt x="104166" y="104481"/>
                </a:lnTo>
                <a:lnTo>
                  <a:pt x="105059" y="95673"/>
                </a:lnTo>
                <a:lnTo>
                  <a:pt x="105356" y="86865"/>
                </a:lnTo>
                <a:lnTo>
                  <a:pt x="105059" y="78057"/>
                </a:lnTo>
                <a:lnTo>
                  <a:pt x="104166" y="69553"/>
                </a:lnTo>
                <a:lnTo>
                  <a:pt x="102975" y="61048"/>
                </a:lnTo>
                <a:lnTo>
                  <a:pt x="101190" y="53151"/>
                </a:lnTo>
                <a:lnTo>
                  <a:pt x="99106" y="45558"/>
                </a:lnTo>
                <a:lnTo>
                  <a:pt x="96428" y="38573"/>
                </a:lnTo>
                <a:lnTo>
                  <a:pt x="93452" y="31587"/>
                </a:lnTo>
                <a:lnTo>
                  <a:pt x="89880" y="25512"/>
                </a:lnTo>
                <a:lnTo>
                  <a:pt x="86309" y="20045"/>
                </a:lnTo>
                <a:lnTo>
                  <a:pt x="82142" y="14882"/>
                </a:lnTo>
                <a:lnTo>
                  <a:pt x="77678" y="10630"/>
                </a:lnTo>
                <a:lnTo>
                  <a:pt x="68452" y="3948"/>
                </a:lnTo>
                <a:lnTo>
                  <a:pt x="58035" y="303"/>
                </a:lnTo>
                <a:lnTo>
                  <a:pt x="52678" y="0"/>
                </a:lnTo>
                <a:close/>
              </a:path>
            </a:pathLst>
          </a:custGeom>
          <a:solidFill>
            <a:srgbClr val="4B4B4B"/>
          </a:solidFill>
        </p:spPr>
        <p:txBody>
          <a:bodyPr wrap="square" lIns="0" tIns="0" rIns="0" bIns="0" rtlCol="0">
            <a:noAutofit/>
          </a:bodyPr>
          <a:lstStyle/>
          <a:p>
            <a:endParaRPr/>
          </a:p>
        </p:txBody>
      </p:sp>
      <p:sp>
        <p:nvSpPr>
          <p:cNvPr id="1315" name="object 1315"/>
          <p:cNvSpPr/>
          <p:nvPr/>
        </p:nvSpPr>
        <p:spPr>
          <a:xfrm>
            <a:off x="9326889" y="1254558"/>
            <a:ext cx="54761" cy="88991"/>
          </a:xfrm>
          <a:custGeom>
            <a:avLst/>
            <a:gdLst/>
            <a:ahLst/>
            <a:cxnLst/>
            <a:rect l="l" t="t" r="r" b="b"/>
            <a:pathLst>
              <a:path w="54761" h="88991">
                <a:moveTo>
                  <a:pt x="5357" y="71982"/>
                </a:moveTo>
                <a:lnTo>
                  <a:pt x="6547" y="63478"/>
                </a:lnTo>
                <a:lnTo>
                  <a:pt x="8333" y="55885"/>
                </a:lnTo>
                <a:lnTo>
                  <a:pt x="10714" y="48292"/>
                </a:lnTo>
                <a:lnTo>
                  <a:pt x="12797" y="41610"/>
                </a:lnTo>
                <a:lnTo>
                  <a:pt x="16071" y="34624"/>
                </a:lnTo>
                <a:lnTo>
                  <a:pt x="19345" y="28853"/>
                </a:lnTo>
                <a:lnTo>
                  <a:pt x="23214" y="23386"/>
                </a:lnTo>
                <a:lnTo>
                  <a:pt x="26785" y="18527"/>
                </a:lnTo>
                <a:lnTo>
                  <a:pt x="31249" y="14275"/>
                </a:lnTo>
                <a:lnTo>
                  <a:pt x="35416" y="10934"/>
                </a:lnTo>
                <a:lnTo>
                  <a:pt x="40178" y="7896"/>
                </a:lnTo>
                <a:lnTo>
                  <a:pt x="44940" y="6074"/>
                </a:lnTo>
                <a:lnTo>
                  <a:pt x="49702" y="4555"/>
                </a:lnTo>
                <a:lnTo>
                  <a:pt x="54761" y="4252"/>
                </a:lnTo>
                <a:lnTo>
                  <a:pt x="54761" y="0"/>
                </a:lnTo>
                <a:lnTo>
                  <a:pt x="49106" y="303"/>
                </a:lnTo>
                <a:lnTo>
                  <a:pt x="43749" y="1822"/>
                </a:lnTo>
                <a:lnTo>
                  <a:pt x="38392" y="4252"/>
                </a:lnTo>
                <a:lnTo>
                  <a:pt x="33035" y="7289"/>
                </a:lnTo>
                <a:lnTo>
                  <a:pt x="28273" y="11237"/>
                </a:lnTo>
                <a:lnTo>
                  <a:pt x="23809" y="15490"/>
                </a:lnTo>
                <a:lnTo>
                  <a:pt x="19642" y="20957"/>
                </a:lnTo>
                <a:lnTo>
                  <a:pt x="15773" y="26424"/>
                </a:lnTo>
                <a:lnTo>
                  <a:pt x="12499" y="32802"/>
                </a:lnTo>
                <a:lnTo>
                  <a:pt x="9226" y="39788"/>
                </a:lnTo>
                <a:lnTo>
                  <a:pt x="6547" y="47077"/>
                </a:lnTo>
                <a:lnTo>
                  <a:pt x="4166" y="54670"/>
                </a:lnTo>
                <a:lnTo>
                  <a:pt x="2380" y="62871"/>
                </a:lnTo>
                <a:lnTo>
                  <a:pt x="1190" y="71375"/>
                </a:lnTo>
                <a:lnTo>
                  <a:pt x="297" y="80183"/>
                </a:lnTo>
                <a:lnTo>
                  <a:pt x="0" y="88991"/>
                </a:lnTo>
                <a:lnTo>
                  <a:pt x="4166" y="88991"/>
                </a:lnTo>
                <a:lnTo>
                  <a:pt x="4464" y="80183"/>
                </a:lnTo>
                <a:lnTo>
                  <a:pt x="5357" y="71982"/>
                </a:lnTo>
                <a:close/>
              </a:path>
            </a:pathLst>
          </a:custGeom>
          <a:solidFill>
            <a:srgbClr val="FFFFFF"/>
          </a:solidFill>
        </p:spPr>
        <p:txBody>
          <a:bodyPr wrap="square" lIns="0" tIns="0" rIns="0" bIns="0" rtlCol="0">
            <a:noAutofit/>
          </a:bodyPr>
          <a:lstStyle/>
          <a:p>
            <a:endParaRPr/>
          </a:p>
        </p:txBody>
      </p:sp>
      <p:sp>
        <p:nvSpPr>
          <p:cNvPr id="1316" name="object 1316"/>
          <p:cNvSpPr/>
          <p:nvPr/>
        </p:nvSpPr>
        <p:spPr>
          <a:xfrm>
            <a:off x="9326889" y="1343549"/>
            <a:ext cx="54761" cy="89295"/>
          </a:xfrm>
          <a:custGeom>
            <a:avLst/>
            <a:gdLst/>
            <a:ahLst/>
            <a:cxnLst/>
            <a:rect l="l" t="t" r="r" b="b"/>
            <a:pathLst>
              <a:path w="54761" h="89295">
                <a:moveTo>
                  <a:pt x="4166" y="0"/>
                </a:moveTo>
                <a:lnTo>
                  <a:pt x="0" y="0"/>
                </a:lnTo>
                <a:lnTo>
                  <a:pt x="297" y="8808"/>
                </a:lnTo>
                <a:lnTo>
                  <a:pt x="1190" y="17919"/>
                </a:lnTo>
                <a:lnTo>
                  <a:pt x="2380" y="26120"/>
                </a:lnTo>
                <a:lnTo>
                  <a:pt x="4166" y="34320"/>
                </a:lnTo>
                <a:lnTo>
                  <a:pt x="6547" y="42217"/>
                </a:lnTo>
                <a:lnTo>
                  <a:pt x="9226" y="49507"/>
                </a:lnTo>
                <a:lnTo>
                  <a:pt x="12499" y="56189"/>
                </a:lnTo>
                <a:lnTo>
                  <a:pt x="15773" y="62871"/>
                </a:lnTo>
                <a:lnTo>
                  <a:pt x="19642" y="68338"/>
                </a:lnTo>
                <a:lnTo>
                  <a:pt x="23809" y="73805"/>
                </a:lnTo>
                <a:lnTo>
                  <a:pt x="28273" y="78057"/>
                </a:lnTo>
                <a:lnTo>
                  <a:pt x="33035" y="82005"/>
                </a:lnTo>
                <a:lnTo>
                  <a:pt x="38392" y="85043"/>
                </a:lnTo>
                <a:lnTo>
                  <a:pt x="43749" y="87472"/>
                </a:lnTo>
                <a:lnTo>
                  <a:pt x="49106" y="88991"/>
                </a:lnTo>
                <a:lnTo>
                  <a:pt x="54761" y="89295"/>
                </a:lnTo>
                <a:lnTo>
                  <a:pt x="54761" y="85043"/>
                </a:lnTo>
                <a:lnTo>
                  <a:pt x="49702" y="84739"/>
                </a:lnTo>
                <a:lnTo>
                  <a:pt x="44940" y="83220"/>
                </a:lnTo>
                <a:lnTo>
                  <a:pt x="40178" y="81398"/>
                </a:lnTo>
                <a:lnTo>
                  <a:pt x="35416" y="78361"/>
                </a:lnTo>
                <a:lnTo>
                  <a:pt x="31249" y="75020"/>
                </a:lnTo>
                <a:lnTo>
                  <a:pt x="26785" y="70768"/>
                </a:lnTo>
                <a:lnTo>
                  <a:pt x="23214" y="65908"/>
                </a:lnTo>
                <a:lnTo>
                  <a:pt x="19345" y="60441"/>
                </a:lnTo>
                <a:lnTo>
                  <a:pt x="16071" y="54366"/>
                </a:lnTo>
                <a:lnTo>
                  <a:pt x="12797" y="47684"/>
                </a:lnTo>
                <a:lnTo>
                  <a:pt x="10714" y="41002"/>
                </a:lnTo>
                <a:lnTo>
                  <a:pt x="8333" y="33106"/>
                </a:lnTo>
                <a:lnTo>
                  <a:pt x="6547" y="25512"/>
                </a:lnTo>
                <a:lnTo>
                  <a:pt x="5357" y="17312"/>
                </a:lnTo>
                <a:lnTo>
                  <a:pt x="4464" y="8808"/>
                </a:lnTo>
                <a:lnTo>
                  <a:pt x="4166" y="0"/>
                </a:lnTo>
                <a:close/>
              </a:path>
            </a:pathLst>
          </a:custGeom>
          <a:solidFill>
            <a:srgbClr val="FFFFFF"/>
          </a:solidFill>
        </p:spPr>
        <p:txBody>
          <a:bodyPr wrap="square" lIns="0" tIns="0" rIns="0" bIns="0" rtlCol="0">
            <a:noAutofit/>
          </a:bodyPr>
          <a:lstStyle/>
          <a:p>
            <a:endParaRPr/>
          </a:p>
        </p:txBody>
      </p:sp>
      <p:sp>
        <p:nvSpPr>
          <p:cNvPr id="1317" name="object 1317"/>
          <p:cNvSpPr/>
          <p:nvPr/>
        </p:nvSpPr>
        <p:spPr>
          <a:xfrm>
            <a:off x="9381651" y="1343549"/>
            <a:ext cx="54761" cy="89295"/>
          </a:xfrm>
          <a:custGeom>
            <a:avLst/>
            <a:gdLst/>
            <a:ahLst/>
            <a:cxnLst/>
            <a:rect l="l" t="t" r="r" b="b"/>
            <a:pathLst>
              <a:path w="54761" h="89295">
                <a:moveTo>
                  <a:pt x="0" y="85043"/>
                </a:moveTo>
                <a:lnTo>
                  <a:pt x="0" y="89295"/>
                </a:lnTo>
                <a:lnTo>
                  <a:pt x="5654" y="88991"/>
                </a:lnTo>
                <a:lnTo>
                  <a:pt x="11309" y="87472"/>
                </a:lnTo>
                <a:lnTo>
                  <a:pt x="16666" y="85043"/>
                </a:lnTo>
                <a:lnTo>
                  <a:pt x="21726" y="82005"/>
                </a:lnTo>
                <a:lnTo>
                  <a:pt x="26488" y="78057"/>
                </a:lnTo>
                <a:lnTo>
                  <a:pt x="30952" y="73805"/>
                </a:lnTo>
                <a:lnTo>
                  <a:pt x="35416" y="68338"/>
                </a:lnTo>
                <a:lnTo>
                  <a:pt x="38987" y="62871"/>
                </a:lnTo>
                <a:lnTo>
                  <a:pt x="42559" y="56189"/>
                </a:lnTo>
                <a:lnTo>
                  <a:pt x="45535" y="49507"/>
                </a:lnTo>
                <a:lnTo>
                  <a:pt x="48511" y="42217"/>
                </a:lnTo>
                <a:lnTo>
                  <a:pt x="50595" y="34320"/>
                </a:lnTo>
                <a:lnTo>
                  <a:pt x="52380" y="26120"/>
                </a:lnTo>
                <a:lnTo>
                  <a:pt x="53571" y="17919"/>
                </a:lnTo>
                <a:lnTo>
                  <a:pt x="54464" y="8808"/>
                </a:lnTo>
                <a:lnTo>
                  <a:pt x="54761" y="0"/>
                </a:lnTo>
                <a:lnTo>
                  <a:pt x="50595" y="0"/>
                </a:lnTo>
                <a:lnTo>
                  <a:pt x="50297" y="8808"/>
                </a:lnTo>
                <a:lnTo>
                  <a:pt x="49404" y="17312"/>
                </a:lnTo>
                <a:lnTo>
                  <a:pt x="48214" y="25512"/>
                </a:lnTo>
                <a:lnTo>
                  <a:pt x="46428" y="33106"/>
                </a:lnTo>
                <a:lnTo>
                  <a:pt x="44345" y="41002"/>
                </a:lnTo>
                <a:lnTo>
                  <a:pt x="41964" y="47684"/>
                </a:lnTo>
                <a:lnTo>
                  <a:pt x="38987" y="54366"/>
                </a:lnTo>
                <a:lnTo>
                  <a:pt x="35416" y="60441"/>
                </a:lnTo>
                <a:lnTo>
                  <a:pt x="31845" y="65908"/>
                </a:lnTo>
                <a:lnTo>
                  <a:pt x="27976" y="70768"/>
                </a:lnTo>
                <a:lnTo>
                  <a:pt x="23511" y="75020"/>
                </a:lnTo>
                <a:lnTo>
                  <a:pt x="19345" y="78361"/>
                </a:lnTo>
                <a:lnTo>
                  <a:pt x="14880" y="81398"/>
                </a:lnTo>
                <a:lnTo>
                  <a:pt x="10119" y="83220"/>
                </a:lnTo>
                <a:lnTo>
                  <a:pt x="5059" y="84739"/>
                </a:lnTo>
                <a:lnTo>
                  <a:pt x="0" y="85043"/>
                </a:lnTo>
                <a:close/>
              </a:path>
            </a:pathLst>
          </a:custGeom>
          <a:solidFill>
            <a:srgbClr val="FFFFFF"/>
          </a:solidFill>
        </p:spPr>
        <p:txBody>
          <a:bodyPr wrap="square" lIns="0" tIns="0" rIns="0" bIns="0" rtlCol="0">
            <a:noAutofit/>
          </a:bodyPr>
          <a:lstStyle/>
          <a:p>
            <a:endParaRPr/>
          </a:p>
        </p:txBody>
      </p:sp>
      <p:sp>
        <p:nvSpPr>
          <p:cNvPr id="1318" name="object 1318"/>
          <p:cNvSpPr/>
          <p:nvPr/>
        </p:nvSpPr>
        <p:spPr>
          <a:xfrm>
            <a:off x="9381651" y="1254558"/>
            <a:ext cx="54761" cy="88991"/>
          </a:xfrm>
          <a:custGeom>
            <a:avLst/>
            <a:gdLst/>
            <a:ahLst/>
            <a:cxnLst/>
            <a:rect l="l" t="t" r="r" b="b"/>
            <a:pathLst>
              <a:path w="54761" h="88991">
                <a:moveTo>
                  <a:pt x="5059" y="4555"/>
                </a:moveTo>
                <a:lnTo>
                  <a:pt x="10119" y="6074"/>
                </a:lnTo>
                <a:lnTo>
                  <a:pt x="14880" y="7896"/>
                </a:lnTo>
                <a:lnTo>
                  <a:pt x="19345" y="10934"/>
                </a:lnTo>
                <a:lnTo>
                  <a:pt x="23511" y="14275"/>
                </a:lnTo>
                <a:lnTo>
                  <a:pt x="27976" y="18527"/>
                </a:lnTo>
                <a:lnTo>
                  <a:pt x="31845" y="23386"/>
                </a:lnTo>
                <a:lnTo>
                  <a:pt x="35416" y="28853"/>
                </a:lnTo>
                <a:lnTo>
                  <a:pt x="38987" y="34624"/>
                </a:lnTo>
                <a:lnTo>
                  <a:pt x="41964" y="41610"/>
                </a:lnTo>
                <a:lnTo>
                  <a:pt x="44345" y="48292"/>
                </a:lnTo>
                <a:lnTo>
                  <a:pt x="46428" y="55885"/>
                </a:lnTo>
                <a:lnTo>
                  <a:pt x="48214" y="63478"/>
                </a:lnTo>
                <a:lnTo>
                  <a:pt x="49404" y="71982"/>
                </a:lnTo>
                <a:lnTo>
                  <a:pt x="50297" y="80183"/>
                </a:lnTo>
                <a:lnTo>
                  <a:pt x="50595" y="88991"/>
                </a:lnTo>
                <a:lnTo>
                  <a:pt x="54761" y="88991"/>
                </a:lnTo>
                <a:lnTo>
                  <a:pt x="54464" y="80183"/>
                </a:lnTo>
                <a:lnTo>
                  <a:pt x="53571" y="71375"/>
                </a:lnTo>
                <a:lnTo>
                  <a:pt x="52380" y="62871"/>
                </a:lnTo>
                <a:lnTo>
                  <a:pt x="50595" y="54670"/>
                </a:lnTo>
                <a:lnTo>
                  <a:pt x="48511" y="47077"/>
                </a:lnTo>
                <a:lnTo>
                  <a:pt x="45535" y="39788"/>
                </a:lnTo>
                <a:lnTo>
                  <a:pt x="42559" y="32802"/>
                </a:lnTo>
                <a:lnTo>
                  <a:pt x="38987" y="26424"/>
                </a:lnTo>
                <a:lnTo>
                  <a:pt x="35416" y="20957"/>
                </a:lnTo>
                <a:lnTo>
                  <a:pt x="30952" y="15490"/>
                </a:lnTo>
                <a:lnTo>
                  <a:pt x="26488" y="11237"/>
                </a:lnTo>
                <a:lnTo>
                  <a:pt x="21726" y="7289"/>
                </a:lnTo>
                <a:lnTo>
                  <a:pt x="16666" y="4252"/>
                </a:lnTo>
                <a:lnTo>
                  <a:pt x="11309" y="1822"/>
                </a:lnTo>
                <a:lnTo>
                  <a:pt x="5654" y="303"/>
                </a:lnTo>
                <a:lnTo>
                  <a:pt x="0" y="0"/>
                </a:lnTo>
                <a:lnTo>
                  <a:pt x="0" y="4252"/>
                </a:lnTo>
                <a:lnTo>
                  <a:pt x="5059" y="4555"/>
                </a:lnTo>
                <a:close/>
              </a:path>
            </a:pathLst>
          </a:custGeom>
          <a:solidFill>
            <a:srgbClr val="FFFFFF"/>
          </a:solidFill>
        </p:spPr>
        <p:txBody>
          <a:bodyPr wrap="square" lIns="0" tIns="0" rIns="0" bIns="0" rtlCol="0">
            <a:noAutofit/>
          </a:bodyPr>
          <a:lstStyle/>
          <a:p>
            <a:endParaRPr/>
          </a:p>
        </p:txBody>
      </p:sp>
      <p:sp>
        <p:nvSpPr>
          <p:cNvPr id="1319" name="object 1319"/>
          <p:cNvSpPr/>
          <p:nvPr/>
        </p:nvSpPr>
        <p:spPr>
          <a:xfrm>
            <a:off x="9328674" y="1263973"/>
            <a:ext cx="96428" cy="159455"/>
          </a:xfrm>
          <a:custGeom>
            <a:avLst/>
            <a:gdLst/>
            <a:ahLst/>
            <a:cxnLst/>
            <a:rect l="l" t="t" r="r" b="b"/>
            <a:pathLst>
              <a:path w="96428" h="159455">
                <a:moveTo>
                  <a:pt x="48214" y="0"/>
                </a:moveTo>
                <a:lnTo>
                  <a:pt x="43452" y="303"/>
                </a:lnTo>
                <a:lnTo>
                  <a:pt x="38392" y="1518"/>
                </a:lnTo>
                <a:lnTo>
                  <a:pt x="29464" y="6378"/>
                </a:lnTo>
                <a:lnTo>
                  <a:pt x="25297" y="9719"/>
                </a:lnTo>
                <a:lnTo>
                  <a:pt x="21428" y="13667"/>
                </a:lnTo>
                <a:lnTo>
                  <a:pt x="17559" y="18223"/>
                </a:lnTo>
                <a:lnTo>
                  <a:pt x="14285" y="23386"/>
                </a:lnTo>
                <a:lnTo>
                  <a:pt x="11011" y="29157"/>
                </a:lnTo>
                <a:lnTo>
                  <a:pt x="8333" y="35232"/>
                </a:lnTo>
                <a:lnTo>
                  <a:pt x="5952" y="41610"/>
                </a:lnTo>
                <a:lnTo>
                  <a:pt x="3869" y="48596"/>
                </a:lnTo>
                <a:lnTo>
                  <a:pt x="2083" y="55885"/>
                </a:lnTo>
                <a:lnTo>
                  <a:pt x="892" y="63478"/>
                </a:lnTo>
                <a:lnTo>
                  <a:pt x="297" y="71375"/>
                </a:lnTo>
                <a:lnTo>
                  <a:pt x="0" y="79576"/>
                </a:lnTo>
                <a:lnTo>
                  <a:pt x="297" y="87776"/>
                </a:lnTo>
                <a:lnTo>
                  <a:pt x="892" y="95673"/>
                </a:lnTo>
                <a:lnTo>
                  <a:pt x="2083" y="103266"/>
                </a:lnTo>
                <a:lnTo>
                  <a:pt x="3869" y="110556"/>
                </a:lnTo>
                <a:lnTo>
                  <a:pt x="5952" y="117541"/>
                </a:lnTo>
                <a:lnTo>
                  <a:pt x="8333" y="124223"/>
                </a:lnTo>
                <a:lnTo>
                  <a:pt x="11011" y="130298"/>
                </a:lnTo>
                <a:lnTo>
                  <a:pt x="14285" y="136069"/>
                </a:lnTo>
                <a:lnTo>
                  <a:pt x="17559" y="141232"/>
                </a:lnTo>
                <a:lnTo>
                  <a:pt x="21428" y="145788"/>
                </a:lnTo>
                <a:lnTo>
                  <a:pt x="25297" y="149736"/>
                </a:lnTo>
                <a:lnTo>
                  <a:pt x="29464" y="153077"/>
                </a:lnTo>
                <a:lnTo>
                  <a:pt x="38392" y="157937"/>
                </a:lnTo>
                <a:lnTo>
                  <a:pt x="48214" y="159455"/>
                </a:lnTo>
                <a:lnTo>
                  <a:pt x="52976" y="159152"/>
                </a:lnTo>
                <a:lnTo>
                  <a:pt x="62499" y="155811"/>
                </a:lnTo>
                <a:lnTo>
                  <a:pt x="71130" y="149736"/>
                </a:lnTo>
                <a:lnTo>
                  <a:pt x="74999" y="145788"/>
                </a:lnTo>
                <a:lnTo>
                  <a:pt x="78868" y="141232"/>
                </a:lnTo>
                <a:lnTo>
                  <a:pt x="82142" y="136069"/>
                </a:lnTo>
                <a:lnTo>
                  <a:pt x="85416" y="130298"/>
                </a:lnTo>
                <a:lnTo>
                  <a:pt x="88094" y="124223"/>
                </a:lnTo>
                <a:lnTo>
                  <a:pt x="90475" y="117541"/>
                </a:lnTo>
                <a:lnTo>
                  <a:pt x="92559" y="110556"/>
                </a:lnTo>
                <a:lnTo>
                  <a:pt x="94344" y="103266"/>
                </a:lnTo>
                <a:lnTo>
                  <a:pt x="95535" y="95673"/>
                </a:lnTo>
                <a:lnTo>
                  <a:pt x="96130" y="87776"/>
                </a:lnTo>
                <a:lnTo>
                  <a:pt x="96428" y="79576"/>
                </a:lnTo>
                <a:lnTo>
                  <a:pt x="96130" y="71375"/>
                </a:lnTo>
                <a:lnTo>
                  <a:pt x="95535" y="63478"/>
                </a:lnTo>
                <a:lnTo>
                  <a:pt x="94344" y="55885"/>
                </a:lnTo>
                <a:lnTo>
                  <a:pt x="92559" y="48596"/>
                </a:lnTo>
                <a:lnTo>
                  <a:pt x="90475" y="41610"/>
                </a:lnTo>
                <a:lnTo>
                  <a:pt x="88094" y="35232"/>
                </a:lnTo>
                <a:lnTo>
                  <a:pt x="85416" y="29157"/>
                </a:lnTo>
                <a:lnTo>
                  <a:pt x="82142" y="23386"/>
                </a:lnTo>
                <a:lnTo>
                  <a:pt x="78868" y="18223"/>
                </a:lnTo>
                <a:lnTo>
                  <a:pt x="74999" y="13667"/>
                </a:lnTo>
                <a:lnTo>
                  <a:pt x="71130" y="9719"/>
                </a:lnTo>
                <a:lnTo>
                  <a:pt x="66964" y="6378"/>
                </a:lnTo>
                <a:lnTo>
                  <a:pt x="58035" y="1518"/>
                </a:lnTo>
                <a:lnTo>
                  <a:pt x="52976" y="303"/>
                </a:lnTo>
                <a:lnTo>
                  <a:pt x="48214" y="0"/>
                </a:lnTo>
                <a:close/>
              </a:path>
            </a:pathLst>
          </a:custGeom>
          <a:solidFill>
            <a:srgbClr val="999999"/>
          </a:solidFill>
        </p:spPr>
        <p:txBody>
          <a:bodyPr wrap="square" lIns="0" tIns="0" rIns="0" bIns="0" rtlCol="0">
            <a:noAutofit/>
          </a:bodyPr>
          <a:lstStyle/>
          <a:p>
            <a:endParaRPr/>
          </a:p>
        </p:txBody>
      </p:sp>
      <p:sp>
        <p:nvSpPr>
          <p:cNvPr id="1320" name="object 1320"/>
          <p:cNvSpPr/>
          <p:nvPr/>
        </p:nvSpPr>
        <p:spPr>
          <a:xfrm>
            <a:off x="9376889" y="1261846"/>
            <a:ext cx="50297" cy="81702"/>
          </a:xfrm>
          <a:custGeom>
            <a:avLst/>
            <a:gdLst/>
            <a:ahLst/>
            <a:cxnLst/>
            <a:rect l="l" t="t" r="r" b="b"/>
            <a:pathLst>
              <a:path w="50297" h="81702">
                <a:moveTo>
                  <a:pt x="4464" y="4555"/>
                </a:moveTo>
                <a:lnTo>
                  <a:pt x="9226" y="5770"/>
                </a:lnTo>
                <a:lnTo>
                  <a:pt x="13392" y="7593"/>
                </a:lnTo>
                <a:lnTo>
                  <a:pt x="17559" y="10326"/>
                </a:lnTo>
                <a:lnTo>
                  <a:pt x="21428" y="13363"/>
                </a:lnTo>
                <a:lnTo>
                  <a:pt x="25297" y="17312"/>
                </a:lnTo>
                <a:lnTo>
                  <a:pt x="28868" y="21564"/>
                </a:lnTo>
                <a:lnTo>
                  <a:pt x="32142" y="26727"/>
                </a:lnTo>
                <a:lnTo>
                  <a:pt x="35416" y="32194"/>
                </a:lnTo>
                <a:lnTo>
                  <a:pt x="38095" y="38269"/>
                </a:lnTo>
                <a:lnTo>
                  <a:pt x="40178" y="44343"/>
                </a:lnTo>
                <a:lnTo>
                  <a:pt x="42261" y="51329"/>
                </a:lnTo>
                <a:lnTo>
                  <a:pt x="44047" y="58315"/>
                </a:lnTo>
                <a:lnTo>
                  <a:pt x="45237" y="65908"/>
                </a:lnTo>
                <a:lnTo>
                  <a:pt x="45833" y="73501"/>
                </a:lnTo>
                <a:lnTo>
                  <a:pt x="46130" y="81702"/>
                </a:lnTo>
                <a:lnTo>
                  <a:pt x="50297" y="81702"/>
                </a:lnTo>
                <a:lnTo>
                  <a:pt x="49999" y="73501"/>
                </a:lnTo>
                <a:lnTo>
                  <a:pt x="49404" y="65301"/>
                </a:lnTo>
                <a:lnTo>
                  <a:pt x="48214" y="57707"/>
                </a:lnTo>
                <a:lnTo>
                  <a:pt x="46428" y="50114"/>
                </a:lnTo>
                <a:lnTo>
                  <a:pt x="44345" y="43129"/>
                </a:lnTo>
                <a:lnTo>
                  <a:pt x="41666" y="36447"/>
                </a:lnTo>
                <a:lnTo>
                  <a:pt x="38987" y="30372"/>
                </a:lnTo>
                <a:lnTo>
                  <a:pt x="35714" y="24298"/>
                </a:lnTo>
                <a:lnTo>
                  <a:pt x="32440" y="19134"/>
                </a:lnTo>
                <a:lnTo>
                  <a:pt x="28273" y="14275"/>
                </a:lnTo>
                <a:lnTo>
                  <a:pt x="24404" y="10326"/>
                </a:lnTo>
                <a:lnTo>
                  <a:pt x="19940" y="6681"/>
                </a:lnTo>
                <a:lnTo>
                  <a:pt x="15178" y="3948"/>
                </a:lnTo>
                <a:lnTo>
                  <a:pt x="10416" y="1518"/>
                </a:lnTo>
                <a:lnTo>
                  <a:pt x="5059" y="303"/>
                </a:lnTo>
                <a:lnTo>
                  <a:pt x="0" y="0"/>
                </a:lnTo>
                <a:lnTo>
                  <a:pt x="0" y="4252"/>
                </a:lnTo>
                <a:lnTo>
                  <a:pt x="4464" y="4555"/>
                </a:lnTo>
                <a:close/>
              </a:path>
            </a:pathLst>
          </a:custGeom>
          <a:solidFill>
            <a:srgbClr val="000000"/>
          </a:solidFill>
        </p:spPr>
        <p:txBody>
          <a:bodyPr wrap="square" lIns="0" tIns="0" rIns="0" bIns="0" rtlCol="0">
            <a:noAutofit/>
          </a:bodyPr>
          <a:lstStyle/>
          <a:p>
            <a:endParaRPr/>
          </a:p>
        </p:txBody>
      </p:sp>
      <p:sp>
        <p:nvSpPr>
          <p:cNvPr id="1321" name="object 1321"/>
          <p:cNvSpPr/>
          <p:nvPr/>
        </p:nvSpPr>
        <p:spPr>
          <a:xfrm>
            <a:off x="9376889" y="1343549"/>
            <a:ext cx="50297" cy="82005"/>
          </a:xfrm>
          <a:custGeom>
            <a:avLst/>
            <a:gdLst/>
            <a:ahLst/>
            <a:cxnLst/>
            <a:rect l="l" t="t" r="r" b="b"/>
            <a:pathLst>
              <a:path w="50297" h="82005">
                <a:moveTo>
                  <a:pt x="5059" y="81702"/>
                </a:moveTo>
                <a:lnTo>
                  <a:pt x="10416" y="80487"/>
                </a:lnTo>
                <a:lnTo>
                  <a:pt x="15178" y="78057"/>
                </a:lnTo>
                <a:lnTo>
                  <a:pt x="19940" y="75323"/>
                </a:lnTo>
                <a:lnTo>
                  <a:pt x="24404" y="71679"/>
                </a:lnTo>
                <a:lnTo>
                  <a:pt x="28273" y="67730"/>
                </a:lnTo>
                <a:lnTo>
                  <a:pt x="32440" y="62871"/>
                </a:lnTo>
                <a:lnTo>
                  <a:pt x="35714" y="57707"/>
                </a:lnTo>
                <a:lnTo>
                  <a:pt x="38987" y="51633"/>
                </a:lnTo>
                <a:lnTo>
                  <a:pt x="41666" y="45558"/>
                </a:lnTo>
                <a:lnTo>
                  <a:pt x="44345" y="38573"/>
                </a:lnTo>
                <a:lnTo>
                  <a:pt x="46428" y="31587"/>
                </a:lnTo>
                <a:lnTo>
                  <a:pt x="48214" y="23994"/>
                </a:lnTo>
                <a:lnTo>
                  <a:pt x="49404" y="16401"/>
                </a:lnTo>
                <a:lnTo>
                  <a:pt x="49999" y="8200"/>
                </a:lnTo>
                <a:lnTo>
                  <a:pt x="50297" y="0"/>
                </a:lnTo>
                <a:lnTo>
                  <a:pt x="46130" y="0"/>
                </a:lnTo>
                <a:lnTo>
                  <a:pt x="45833" y="8200"/>
                </a:lnTo>
                <a:lnTo>
                  <a:pt x="45237" y="15793"/>
                </a:lnTo>
                <a:lnTo>
                  <a:pt x="44047" y="23386"/>
                </a:lnTo>
                <a:lnTo>
                  <a:pt x="42261" y="30372"/>
                </a:lnTo>
                <a:lnTo>
                  <a:pt x="40178" y="37358"/>
                </a:lnTo>
                <a:lnTo>
                  <a:pt x="38095" y="43736"/>
                </a:lnTo>
                <a:lnTo>
                  <a:pt x="35416" y="49810"/>
                </a:lnTo>
                <a:lnTo>
                  <a:pt x="32142" y="55278"/>
                </a:lnTo>
                <a:lnTo>
                  <a:pt x="28868" y="60441"/>
                </a:lnTo>
                <a:lnTo>
                  <a:pt x="25297" y="64693"/>
                </a:lnTo>
                <a:lnTo>
                  <a:pt x="21428" y="68641"/>
                </a:lnTo>
                <a:lnTo>
                  <a:pt x="17559" y="71679"/>
                </a:lnTo>
                <a:lnTo>
                  <a:pt x="13392" y="74412"/>
                </a:lnTo>
                <a:lnTo>
                  <a:pt x="9226" y="76235"/>
                </a:lnTo>
                <a:lnTo>
                  <a:pt x="4464" y="77450"/>
                </a:lnTo>
                <a:lnTo>
                  <a:pt x="0" y="77753"/>
                </a:lnTo>
                <a:lnTo>
                  <a:pt x="0" y="82005"/>
                </a:lnTo>
                <a:lnTo>
                  <a:pt x="5059" y="81702"/>
                </a:lnTo>
                <a:close/>
              </a:path>
            </a:pathLst>
          </a:custGeom>
          <a:solidFill>
            <a:srgbClr val="000000"/>
          </a:solidFill>
        </p:spPr>
        <p:txBody>
          <a:bodyPr wrap="square" lIns="0" tIns="0" rIns="0" bIns="0" rtlCol="0">
            <a:noAutofit/>
          </a:bodyPr>
          <a:lstStyle/>
          <a:p>
            <a:endParaRPr/>
          </a:p>
        </p:txBody>
      </p:sp>
      <p:sp>
        <p:nvSpPr>
          <p:cNvPr id="1322" name="object 1322"/>
          <p:cNvSpPr/>
          <p:nvPr/>
        </p:nvSpPr>
        <p:spPr>
          <a:xfrm>
            <a:off x="9326592" y="1343549"/>
            <a:ext cx="50297" cy="82005"/>
          </a:xfrm>
          <a:custGeom>
            <a:avLst/>
            <a:gdLst/>
            <a:ahLst/>
            <a:cxnLst/>
            <a:rect l="l" t="t" r="r" b="b"/>
            <a:pathLst>
              <a:path w="50297" h="82005">
                <a:moveTo>
                  <a:pt x="4166" y="0"/>
                </a:moveTo>
                <a:lnTo>
                  <a:pt x="0" y="0"/>
                </a:lnTo>
                <a:lnTo>
                  <a:pt x="297" y="8200"/>
                </a:lnTo>
                <a:lnTo>
                  <a:pt x="892" y="16401"/>
                </a:lnTo>
                <a:lnTo>
                  <a:pt x="2083" y="23994"/>
                </a:lnTo>
                <a:lnTo>
                  <a:pt x="3869" y="31587"/>
                </a:lnTo>
                <a:lnTo>
                  <a:pt x="5952" y="38573"/>
                </a:lnTo>
                <a:lnTo>
                  <a:pt x="8630" y="45558"/>
                </a:lnTo>
                <a:lnTo>
                  <a:pt x="11309" y="51633"/>
                </a:lnTo>
                <a:lnTo>
                  <a:pt x="14583" y="57707"/>
                </a:lnTo>
                <a:lnTo>
                  <a:pt x="17857" y="62871"/>
                </a:lnTo>
                <a:lnTo>
                  <a:pt x="22023" y="67730"/>
                </a:lnTo>
                <a:lnTo>
                  <a:pt x="25892" y="71679"/>
                </a:lnTo>
                <a:lnTo>
                  <a:pt x="30357" y="75323"/>
                </a:lnTo>
                <a:lnTo>
                  <a:pt x="35118" y="78057"/>
                </a:lnTo>
                <a:lnTo>
                  <a:pt x="39880" y="80487"/>
                </a:lnTo>
                <a:lnTo>
                  <a:pt x="45237" y="81702"/>
                </a:lnTo>
                <a:lnTo>
                  <a:pt x="50297" y="82005"/>
                </a:lnTo>
                <a:lnTo>
                  <a:pt x="50297" y="77753"/>
                </a:lnTo>
                <a:lnTo>
                  <a:pt x="45833" y="77450"/>
                </a:lnTo>
                <a:lnTo>
                  <a:pt x="41071" y="76235"/>
                </a:lnTo>
                <a:lnTo>
                  <a:pt x="36904" y="74412"/>
                </a:lnTo>
                <a:lnTo>
                  <a:pt x="32737" y="71679"/>
                </a:lnTo>
                <a:lnTo>
                  <a:pt x="28868" y="68641"/>
                </a:lnTo>
                <a:lnTo>
                  <a:pt x="24999" y="64693"/>
                </a:lnTo>
                <a:lnTo>
                  <a:pt x="21428" y="60441"/>
                </a:lnTo>
                <a:lnTo>
                  <a:pt x="18154" y="55278"/>
                </a:lnTo>
                <a:lnTo>
                  <a:pt x="14880" y="49810"/>
                </a:lnTo>
                <a:lnTo>
                  <a:pt x="12202" y="43736"/>
                </a:lnTo>
                <a:lnTo>
                  <a:pt x="10119" y="37358"/>
                </a:lnTo>
                <a:lnTo>
                  <a:pt x="8035" y="30372"/>
                </a:lnTo>
                <a:lnTo>
                  <a:pt x="6249" y="23386"/>
                </a:lnTo>
                <a:lnTo>
                  <a:pt x="5059" y="15793"/>
                </a:lnTo>
                <a:lnTo>
                  <a:pt x="4464" y="8200"/>
                </a:lnTo>
                <a:lnTo>
                  <a:pt x="4166" y="0"/>
                </a:lnTo>
                <a:close/>
              </a:path>
            </a:pathLst>
          </a:custGeom>
          <a:solidFill>
            <a:srgbClr val="000000"/>
          </a:solidFill>
        </p:spPr>
        <p:txBody>
          <a:bodyPr wrap="square" lIns="0" tIns="0" rIns="0" bIns="0" rtlCol="0">
            <a:noAutofit/>
          </a:bodyPr>
          <a:lstStyle/>
          <a:p>
            <a:endParaRPr/>
          </a:p>
        </p:txBody>
      </p:sp>
      <p:sp>
        <p:nvSpPr>
          <p:cNvPr id="1323" name="object 1323"/>
          <p:cNvSpPr/>
          <p:nvPr/>
        </p:nvSpPr>
        <p:spPr>
          <a:xfrm>
            <a:off x="9326592" y="1261846"/>
            <a:ext cx="50297" cy="81702"/>
          </a:xfrm>
          <a:custGeom>
            <a:avLst/>
            <a:gdLst/>
            <a:ahLst/>
            <a:cxnLst/>
            <a:rect l="l" t="t" r="r" b="b"/>
            <a:pathLst>
              <a:path w="50297" h="81702">
                <a:moveTo>
                  <a:pt x="5952" y="43129"/>
                </a:moveTo>
                <a:lnTo>
                  <a:pt x="3869" y="50114"/>
                </a:lnTo>
                <a:lnTo>
                  <a:pt x="2083" y="57707"/>
                </a:lnTo>
                <a:lnTo>
                  <a:pt x="892" y="65301"/>
                </a:lnTo>
                <a:lnTo>
                  <a:pt x="297" y="73501"/>
                </a:lnTo>
                <a:lnTo>
                  <a:pt x="0" y="81702"/>
                </a:lnTo>
                <a:lnTo>
                  <a:pt x="4166" y="81702"/>
                </a:lnTo>
                <a:lnTo>
                  <a:pt x="4464" y="73501"/>
                </a:lnTo>
                <a:lnTo>
                  <a:pt x="5059" y="65908"/>
                </a:lnTo>
                <a:lnTo>
                  <a:pt x="6249" y="58315"/>
                </a:lnTo>
                <a:lnTo>
                  <a:pt x="8035" y="51329"/>
                </a:lnTo>
                <a:lnTo>
                  <a:pt x="10119" y="44343"/>
                </a:lnTo>
                <a:lnTo>
                  <a:pt x="12202" y="38269"/>
                </a:lnTo>
                <a:lnTo>
                  <a:pt x="14880" y="32194"/>
                </a:lnTo>
                <a:lnTo>
                  <a:pt x="18154" y="26727"/>
                </a:lnTo>
                <a:lnTo>
                  <a:pt x="21428" y="21564"/>
                </a:lnTo>
                <a:lnTo>
                  <a:pt x="24999" y="17312"/>
                </a:lnTo>
                <a:lnTo>
                  <a:pt x="28868" y="13363"/>
                </a:lnTo>
                <a:lnTo>
                  <a:pt x="32737" y="10326"/>
                </a:lnTo>
                <a:lnTo>
                  <a:pt x="36904" y="7593"/>
                </a:lnTo>
                <a:lnTo>
                  <a:pt x="41071" y="5770"/>
                </a:lnTo>
                <a:lnTo>
                  <a:pt x="45833" y="4555"/>
                </a:lnTo>
                <a:lnTo>
                  <a:pt x="50297" y="4252"/>
                </a:lnTo>
                <a:lnTo>
                  <a:pt x="50297" y="0"/>
                </a:lnTo>
                <a:lnTo>
                  <a:pt x="45237" y="303"/>
                </a:lnTo>
                <a:lnTo>
                  <a:pt x="39880" y="1518"/>
                </a:lnTo>
                <a:lnTo>
                  <a:pt x="35118" y="3948"/>
                </a:lnTo>
                <a:lnTo>
                  <a:pt x="30357" y="6681"/>
                </a:lnTo>
                <a:lnTo>
                  <a:pt x="25892" y="10326"/>
                </a:lnTo>
                <a:lnTo>
                  <a:pt x="22023" y="14275"/>
                </a:lnTo>
                <a:lnTo>
                  <a:pt x="17857" y="19134"/>
                </a:lnTo>
                <a:lnTo>
                  <a:pt x="14583" y="24298"/>
                </a:lnTo>
                <a:lnTo>
                  <a:pt x="11309" y="30372"/>
                </a:lnTo>
                <a:lnTo>
                  <a:pt x="8630" y="36447"/>
                </a:lnTo>
                <a:lnTo>
                  <a:pt x="5952" y="43129"/>
                </a:lnTo>
                <a:close/>
              </a:path>
            </a:pathLst>
          </a:custGeom>
          <a:solidFill>
            <a:srgbClr val="000000"/>
          </a:solidFill>
        </p:spPr>
        <p:txBody>
          <a:bodyPr wrap="square" lIns="0" tIns="0" rIns="0" bIns="0" rtlCol="0">
            <a:noAutofit/>
          </a:bodyPr>
          <a:lstStyle/>
          <a:p>
            <a:endParaRPr/>
          </a:p>
        </p:txBody>
      </p:sp>
      <p:sp>
        <p:nvSpPr>
          <p:cNvPr id="1324" name="object 1324"/>
          <p:cNvSpPr/>
          <p:nvPr/>
        </p:nvSpPr>
        <p:spPr>
          <a:xfrm>
            <a:off x="9329269" y="1277945"/>
            <a:ext cx="49106" cy="131513"/>
          </a:xfrm>
          <a:custGeom>
            <a:avLst/>
            <a:gdLst/>
            <a:ahLst/>
            <a:cxnLst/>
            <a:rect l="l" t="t" r="r" b="b"/>
            <a:pathLst>
              <a:path w="49106" h="131513">
                <a:moveTo>
                  <a:pt x="20833" y="131513"/>
                </a:moveTo>
                <a:lnTo>
                  <a:pt x="28273" y="125438"/>
                </a:lnTo>
                <a:lnTo>
                  <a:pt x="34523" y="118149"/>
                </a:lnTo>
                <a:lnTo>
                  <a:pt x="39583" y="109948"/>
                </a:lnTo>
                <a:lnTo>
                  <a:pt x="43452" y="100836"/>
                </a:lnTo>
                <a:lnTo>
                  <a:pt x="46428" y="91117"/>
                </a:lnTo>
                <a:lnTo>
                  <a:pt x="48214" y="81094"/>
                </a:lnTo>
                <a:lnTo>
                  <a:pt x="49106" y="70768"/>
                </a:lnTo>
                <a:lnTo>
                  <a:pt x="49106" y="60745"/>
                </a:lnTo>
                <a:lnTo>
                  <a:pt x="47916" y="50418"/>
                </a:lnTo>
                <a:lnTo>
                  <a:pt x="46130" y="40699"/>
                </a:lnTo>
                <a:lnTo>
                  <a:pt x="43749" y="31587"/>
                </a:lnTo>
                <a:lnTo>
                  <a:pt x="40476" y="23083"/>
                </a:lnTo>
                <a:lnTo>
                  <a:pt x="36607" y="15490"/>
                </a:lnTo>
                <a:lnTo>
                  <a:pt x="31845" y="8808"/>
                </a:lnTo>
                <a:lnTo>
                  <a:pt x="26785" y="3644"/>
                </a:lnTo>
                <a:lnTo>
                  <a:pt x="21130" y="0"/>
                </a:lnTo>
                <a:lnTo>
                  <a:pt x="16666" y="5163"/>
                </a:lnTo>
                <a:lnTo>
                  <a:pt x="12499" y="11237"/>
                </a:lnTo>
                <a:lnTo>
                  <a:pt x="8928" y="18223"/>
                </a:lnTo>
                <a:lnTo>
                  <a:pt x="5952" y="25816"/>
                </a:lnTo>
                <a:lnTo>
                  <a:pt x="3571" y="34017"/>
                </a:lnTo>
                <a:lnTo>
                  <a:pt x="1785" y="42825"/>
                </a:lnTo>
                <a:lnTo>
                  <a:pt x="595" y="51937"/>
                </a:lnTo>
                <a:lnTo>
                  <a:pt x="0" y="61048"/>
                </a:lnTo>
                <a:lnTo>
                  <a:pt x="297" y="70768"/>
                </a:lnTo>
                <a:lnTo>
                  <a:pt x="892" y="80183"/>
                </a:lnTo>
                <a:lnTo>
                  <a:pt x="2380" y="89599"/>
                </a:lnTo>
                <a:lnTo>
                  <a:pt x="4464" y="98710"/>
                </a:lnTo>
                <a:lnTo>
                  <a:pt x="7440" y="107822"/>
                </a:lnTo>
                <a:lnTo>
                  <a:pt x="11309" y="116326"/>
                </a:lnTo>
                <a:lnTo>
                  <a:pt x="15476" y="124223"/>
                </a:lnTo>
                <a:lnTo>
                  <a:pt x="20833" y="131513"/>
                </a:lnTo>
                <a:close/>
              </a:path>
            </a:pathLst>
          </a:custGeom>
          <a:solidFill>
            <a:srgbClr val="000000"/>
          </a:solidFill>
        </p:spPr>
        <p:txBody>
          <a:bodyPr wrap="square" lIns="0" tIns="0" rIns="0" bIns="0" rtlCol="0">
            <a:noAutofit/>
          </a:bodyPr>
          <a:lstStyle/>
          <a:p>
            <a:endParaRPr/>
          </a:p>
        </p:txBody>
      </p:sp>
      <p:sp>
        <p:nvSpPr>
          <p:cNvPr id="1325" name="object 1325"/>
          <p:cNvSpPr/>
          <p:nvPr/>
        </p:nvSpPr>
        <p:spPr>
          <a:xfrm>
            <a:off x="9349210" y="1276729"/>
            <a:ext cx="30654" cy="133942"/>
          </a:xfrm>
          <a:custGeom>
            <a:avLst/>
            <a:gdLst/>
            <a:ahLst/>
            <a:cxnLst/>
            <a:rect l="l" t="t" r="r" b="b"/>
            <a:pathLst>
              <a:path w="30654" h="133942">
                <a:moveTo>
                  <a:pt x="0" y="607"/>
                </a:moveTo>
                <a:lnTo>
                  <a:pt x="0" y="1822"/>
                </a:lnTo>
                <a:lnTo>
                  <a:pt x="595" y="2429"/>
                </a:lnTo>
                <a:lnTo>
                  <a:pt x="5952" y="6074"/>
                </a:lnTo>
                <a:lnTo>
                  <a:pt x="10714" y="10934"/>
                </a:lnTo>
                <a:lnTo>
                  <a:pt x="15476" y="17616"/>
                </a:lnTo>
                <a:lnTo>
                  <a:pt x="19047" y="24905"/>
                </a:lnTo>
                <a:lnTo>
                  <a:pt x="22321" y="33409"/>
                </a:lnTo>
                <a:lnTo>
                  <a:pt x="24702" y="42217"/>
                </a:lnTo>
                <a:lnTo>
                  <a:pt x="26488" y="51937"/>
                </a:lnTo>
                <a:lnTo>
                  <a:pt x="27678" y="61960"/>
                </a:lnTo>
                <a:lnTo>
                  <a:pt x="27678" y="71982"/>
                </a:lnTo>
                <a:lnTo>
                  <a:pt x="26785" y="82005"/>
                </a:lnTo>
                <a:lnTo>
                  <a:pt x="24999" y="92028"/>
                </a:lnTo>
                <a:lnTo>
                  <a:pt x="22023" y="101444"/>
                </a:lnTo>
                <a:lnTo>
                  <a:pt x="18452" y="110556"/>
                </a:lnTo>
                <a:lnTo>
                  <a:pt x="13392" y="118452"/>
                </a:lnTo>
                <a:lnTo>
                  <a:pt x="7440" y="125438"/>
                </a:lnTo>
                <a:lnTo>
                  <a:pt x="0" y="131513"/>
                </a:lnTo>
                <a:lnTo>
                  <a:pt x="1785" y="133942"/>
                </a:lnTo>
                <a:lnTo>
                  <a:pt x="9226" y="127868"/>
                </a:lnTo>
                <a:lnTo>
                  <a:pt x="15773" y="120275"/>
                </a:lnTo>
                <a:lnTo>
                  <a:pt x="20833" y="111771"/>
                </a:lnTo>
                <a:lnTo>
                  <a:pt x="24999" y="102659"/>
                </a:lnTo>
                <a:lnTo>
                  <a:pt x="27976" y="92636"/>
                </a:lnTo>
                <a:lnTo>
                  <a:pt x="29761" y="82613"/>
                </a:lnTo>
                <a:lnTo>
                  <a:pt x="30654" y="71982"/>
                </a:lnTo>
                <a:lnTo>
                  <a:pt x="30654" y="61960"/>
                </a:lnTo>
                <a:lnTo>
                  <a:pt x="29464" y="51329"/>
                </a:lnTo>
                <a:lnTo>
                  <a:pt x="27678" y="41610"/>
                </a:lnTo>
                <a:lnTo>
                  <a:pt x="25297" y="32194"/>
                </a:lnTo>
                <a:lnTo>
                  <a:pt x="22023" y="23690"/>
                </a:lnTo>
                <a:lnTo>
                  <a:pt x="17857" y="15793"/>
                </a:lnTo>
                <a:lnTo>
                  <a:pt x="13095" y="9111"/>
                </a:lnTo>
                <a:lnTo>
                  <a:pt x="7738" y="3644"/>
                </a:lnTo>
                <a:lnTo>
                  <a:pt x="2083" y="2429"/>
                </a:lnTo>
                <a:lnTo>
                  <a:pt x="892" y="0"/>
                </a:lnTo>
                <a:lnTo>
                  <a:pt x="0" y="607"/>
                </a:lnTo>
                <a:close/>
              </a:path>
            </a:pathLst>
          </a:custGeom>
          <a:solidFill>
            <a:srgbClr val="000000"/>
          </a:solidFill>
        </p:spPr>
        <p:txBody>
          <a:bodyPr wrap="square" lIns="0" tIns="0" rIns="0" bIns="0" rtlCol="0">
            <a:noAutofit/>
          </a:bodyPr>
          <a:lstStyle/>
          <a:p>
            <a:endParaRPr/>
          </a:p>
        </p:txBody>
      </p:sp>
      <p:sp>
        <p:nvSpPr>
          <p:cNvPr id="1326" name="object 1326"/>
          <p:cNvSpPr/>
          <p:nvPr/>
        </p:nvSpPr>
        <p:spPr>
          <a:xfrm>
            <a:off x="9350104" y="1276729"/>
            <a:ext cx="6845" cy="3644"/>
          </a:xfrm>
          <a:custGeom>
            <a:avLst/>
            <a:gdLst/>
            <a:ahLst/>
            <a:cxnLst/>
            <a:rect l="l" t="t" r="r" b="b"/>
            <a:pathLst>
              <a:path w="6845" h="3644">
                <a:moveTo>
                  <a:pt x="892" y="0"/>
                </a:moveTo>
                <a:lnTo>
                  <a:pt x="0" y="0"/>
                </a:lnTo>
                <a:lnTo>
                  <a:pt x="1190" y="2429"/>
                </a:lnTo>
                <a:lnTo>
                  <a:pt x="6845" y="3644"/>
                </a:lnTo>
                <a:lnTo>
                  <a:pt x="892" y="0"/>
                </a:lnTo>
                <a:close/>
              </a:path>
            </a:pathLst>
          </a:custGeom>
          <a:solidFill>
            <a:srgbClr val="000000"/>
          </a:solidFill>
        </p:spPr>
        <p:txBody>
          <a:bodyPr wrap="square" lIns="0" tIns="0" rIns="0" bIns="0" rtlCol="0">
            <a:noAutofit/>
          </a:bodyPr>
          <a:lstStyle/>
          <a:p>
            <a:endParaRPr/>
          </a:p>
        </p:txBody>
      </p:sp>
      <p:sp>
        <p:nvSpPr>
          <p:cNvPr id="1327" name="object 1327"/>
          <p:cNvSpPr/>
          <p:nvPr/>
        </p:nvSpPr>
        <p:spPr>
          <a:xfrm>
            <a:off x="9327782" y="1276730"/>
            <a:ext cx="23511" cy="133639"/>
          </a:xfrm>
          <a:custGeom>
            <a:avLst/>
            <a:gdLst/>
            <a:ahLst/>
            <a:cxnLst/>
            <a:rect l="l" t="t" r="r" b="b"/>
            <a:pathLst>
              <a:path w="23511" h="133639">
                <a:moveTo>
                  <a:pt x="5357" y="90510"/>
                </a:moveTo>
                <a:lnTo>
                  <a:pt x="3869" y="81094"/>
                </a:lnTo>
                <a:lnTo>
                  <a:pt x="3273" y="71982"/>
                </a:lnTo>
                <a:lnTo>
                  <a:pt x="2976" y="62263"/>
                </a:lnTo>
                <a:lnTo>
                  <a:pt x="3571" y="53151"/>
                </a:lnTo>
                <a:lnTo>
                  <a:pt x="4761" y="44343"/>
                </a:lnTo>
                <a:lnTo>
                  <a:pt x="6547" y="35535"/>
                </a:lnTo>
                <a:lnTo>
                  <a:pt x="8928" y="27639"/>
                </a:lnTo>
                <a:lnTo>
                  <a:pt x="11904" y="20045"/>
                </a:lnTo>
                <a:lnTo>
                  <a:pt x="15178" y="13363"/>
                </a:lnTo>
                <a:lnTo>
                  <a:pt x="19345" y="7289"/>
                </a:lnTo>
                <a:lnTo>
                  <a:pt x="23511" y="2429"/>
                </a:lnTo>
                <a:lnTo>
                  <a:pt x="21726" y="0"/>
                </a:lnTo>
                <a:lnTo>
                  <a:pt x="16964" y="5467"/>
                </a:lnTo>
                <a:lnTo>
                  <a:pt x="12797" y="11541"/>
                </a:lnTo>
                <a:lnTo>
                  <a:pt x="8928" y="18830"/>
                </a:lnTo>
                <a:lnTo>
                  <a:pt x="5952" y="26424"/>
                </a:lnTo>
                <a:lnTo>
                  <a:pt x="3571" y="34928"/>
                </a:lnTo>
                <a:lnTo>
                  <a:pt x="1785" y="43736"/>
                </a:lnTo>
                <a:lnTo>
                  <a:pt x="595" y="53151"/>
                </a:lnTo>
                <a:lnTo>
                  <a:pt x="0" y="62263"/>
                </a:lnTo>
                <a:lnTo>
                  <a:pt x="297" y="71982"/>
                </a:lnTo>
                <a:lnTo>
                  <a:pt x="892" y="81702"/>
                </a:lnTo>
                <a:lnTo>
                  <a:pt x="2380" y="91117"/>
                </a:lnTo>
                <a:lnTo>
                  <a:pt x="4464" y="100229"/>
                </a:lnTo>
                <a:lnTo>
                  <a:pt x="7440" y="109644"/>
                </a:lnTo>
                <a:lnTo>
                  <a:pt x="11607" y="118149"/>
                </a:lnTo>
                <a:lnTo>
                  <a:pt x="15773" y="126349"/>
                </a:lnTo>
                <a:lnTo>
                  <a:pt x="21130" y="133639"/>
                </a:lnTo>
                <a:lnTo>
                  <a:pt x="21428" y="131513"/>
                </a:lnTo>
                <a:lnTo>
                  <a:pt x="23511" y="131816"/>
                </a:lnTo>
                <a:lnTo>
                  <a:pt x="18154" y="124527"/>
                </a:lnTo>
                <a:lnTo>
                  <a:pt x="13988" y="116934"/>
                </a:lnTo>
                <a:lnTo>
                  <a:pt x="10416" y="108430"/>
                </a:lnTo>
                <a:lnTo>
                  <a:pt x="7440" y="99621"/>
                </a:lnTo>
                <a:lnTo>
                  <a:pt x="5357" y="90510"/>
                </a:lnTo>
                <a:close/>
              </a:path>
            </a:pathLst>
          </a:custGeom>
          <a:solidFill>
            <a:srgbClr val="000000"/>
          </a:solidFill>
        </p:spPr>
        <p:txBody>
          <a:bodyPr wrap="square" lIns="0" tIns="0" rIns="0" bIns="0" rtlCol="0">
            <a:noAutofit/>
          </a:bodyPr>
          <a:lstStyle/>
          <a:p>
            <a:endParaRPr/>
          </a:p>
        </p:txBody>
      </p:sp>
      <p:sp>
        <p:nvSpPr>
          <p:cNvPr id="1328" name="object 1328"/>
          <p:cNvSpPr/>
          <p:nvPr/>
        </p:nvSpPr>
        <p:spPr>
          <a:xfrm>
            <a:off x="9348912" y="1408243"/>
            <a:ext cx="2678" cy="2733"/>
          </a:xfrm>
          <a:custGeom>
            <a:avLst/>
            <a:gdLst/>
            <a:ahLst/>
            <a:cxnLst/>
            <a:rect l="l" t="t" r="r" b="b"/>
            <a:pathLst>
              <a:path w="2678" h="2733">
                <a:moveTo>
                  <a:pt x="2083" y="2429"/>
                </a:moveTo>
                <a:lnTo>
                  <a:pt x="2678" y="1518"/>
                </a:lnTo>
                <a:lnTo>
                  <a:pt x="2380" y="303"/>
                </a:lnTo>
                <a:lnTo>
                  <a:pt x="297" y="0"/>
                </a:lnTo>
                <a:lnTo>
                  <a:pt x="0" y="2126"/>
                </a:lnTo>
                <a:lnTo>
                  <a:pt x="1190" y="2733"/>
                </a:lnTo>
                <a:lnTo>
                  <a:pt x="2083" y="2429"/>
                </a:lnTo>
                <a:close/>
              </a:path>
            </a:pathLst>
          </a:custGeom>
          <a:solidFill>
            <a:srgbClr val="000000"/>
          </a:solidFill>
        </p:spPr>
        <p:txBody>
          <a:bodyPr wrap="square" lIns="0" tIns="0" rIns="0" bIns="0" rtlCol="0">
            <a:noAutofit/>
          </a:bodyPr>
          <a:lstStyle/>
          <a:p>
            <a:endParaRPr/>
          </a:p>
        </p:txBody>
      </p:sp>
      <p:sp>
        <p:nvSpPr>
          <p:cNvPr id="1329" name="object 1329"/>
          <p:cNvSpPr/>
          <p:nvPr/>
        </p:nvSpPr>
        <p:spPr>
          <a:xfrm>
            <a:off x="9330163" y="1324110"/>
            <a:ext cx="33035" cy="37358"/>
          </a:xfrm>
          <a:custGeom>
            <a:avLst/>
            <a:gdLst/>
            <a:ahLst/>
            <a:cxnLst/>
            <a:rect l="l" t="t" r="r" b="b"/>
            <a:pathLst>
              <a:path w="33035" h="37358">
                <a:moveTo>
                  <a:pt x="33035" y="0"/>
                </a:moveTo>
                <a:lnTo>
                  <a:pt x="1785" y="0"/>
                </a:lnTo>
                <a:lnTo>
                  <a:pt x="892" y="4555"/>
                </a:lnTo>
                <a:lnTo>
                  <a:pt x="595" y="9415"/>
                </a:lnTo>
                <a:lnTo>
                  <a:pt x="0" y="13971"/>
                </a:lnTo>
                <a:lnTo>
                  <a:pt x="0" y="23386"/>
                </a:lnTo>
                <a:lnTo>
                  <a:pt x="595" y="28246"/>
                </a:lnTo>
                <a:lnTo>
                  <a:pt x="892" y="32802"/>
                </a:lnTo>
                <a:lnTo>
                  <a:pt x="1785" y="37358"/>
                </a:lnTo>
                <a:lnTo>
                  <a:pt x="33035" y="37358"/>
                </a:lnTo>
                <a:lnTo>
                  <a:pt x="33035" y="0"/>
                </a:lnTo>
                <a:close/>
              </a:path>
            </a:pathLst>
          </a:custGeom>
          <a:solidFill>
            <a:srgbClr val="404040"/>
          </a:solidFill>
        </p:spPr>
        <p:txBody>
          <a:bodyPr wrap="square" lIns="0" tIns="0" rIns="0" bIns="0" rtlCol="0">
            <a:noAutofit/>
          </a:bodyPr>
          <a:lstStyle/>
          <a:p>
            <a:endParaRPr/>
          </a:p>
        </p:txBody>
      </p:sp>
      <p:sp>
        <p:nvSpPr>
          <p:cNvPr id="1330" name="object 1330"/>
          <p:cNvSpPr/>
          <p:nvPr/>
        </p:nvSpPr>
        <p:spPr>
          <a:xfrm>
            <a:off x="9330757" y="1322592"/>
            <a:ext cx="32440" cy="3037"/>
          </a:xfrm>
          <a:custGeom>
            <a:avLst/>
            <a:gdLst/>
            <a:ahLst/>
            <a:cxnLst/>
            <a:rect l="l" t="t" r="r" b="b"/>
            <a:pathLst>
              <a:path w="32440" h="3037">
                <a:moveTo>
                  <a:pt x="243" y="773"/>
                </a:moveTo>
                <a:lnTo>
                  <a:pt x="0" y="1518"/>
                </a:lnTo>
                <a:lnTo>
                  <a:pt x="297" y="2429"/>
                </a:lnTo>
                <a:lnTo>
                  <a:pt x="1190" y="3037"/>
                </a:lnTo>
                <a:lnTo>
                  <a:pt x="32440" y="3037"/>
                </a:lnTo>
                <a:lnTo>
                  <a:pt x="32440" y="0"/>
                </a:lnTo>
                <a:lnTo>
                  <a:pt x="2678" y="1822"/>
                </a:lnTo>
                <a:lnTo>
                  <a:pt x="1190" y="0"/>
                </a:lnTo>
                <a:lnTo>
                  <a:pt x="297" y="607"/>
                </a:lnTo>
                <a:lnTo>
                  <a:pt x="243" y="773"/>
                </a:lnTo>
                <a:close/>
              </a:path>
            </a:pathLst>
          </a:custGeom>
          <a:solidFill>
            <a:srgbClr val="000000"/>
          </a:solidFill>
        </p:spPr>
        <p:txBody>
          <a:bodyPr wrap="square" lIns="0" tIns="0" rIns="0" bIns="0" rtlCol="0">
            <a:noAutofit/>
          </a:bodyPr>
          <a:lstStyle/>
          <a:p>
            <a:endParaRPr/>
          </a:p>
        </p:txBody>
      </p:sp>
      <p:sp>
        <p:nvSpPr>
          <p:cNvPr id="1331" name="object 1331"/>
          <p:cNvSpPr/>
          <p:nvPr/>
        </p:nvSpPr>
        <p:spPr>
          <a:xfrm>
            <a:off x="9331949" y="1322591"/>
            <a:ext cx="31249" cy="1822"/>
          </a:xfrm>
          <a:custGeom>
            <a:avLst/>
            <a:gdLst/>
            <a:ahLst/>
            <a:cxnLst/>
            <a:rect l="l" t="t" r="r" b="b"/>
            <a:pathLst>
              <a:path w="31249" h="1822">
                <a:moveTo>
                  <a:pt x="0" y="0"/>
                </a:moveTo>
                <a:lnTo>
                  <a:pt x="1488" y="1822"/>
                </a:lnTo>
                <a:lnTo>
                  <a:pt x="31249" y="0"/>
                </a:lnTo>
                <a:lnTo>
                  <a:pt x="0" y="0"/>
                </a:lnTo>
                <a:close/>
              </a:path>
            </a:pathLst>
          </a:custGeom>
          <a:solidFill>
            <a:srgbClr val="000000"/>
          </a:solidFill>
        </p:spPr>
        <p:txBody>
          <a:bodyPr wrap="square" lIns="0" tIns="0" rIns="0" bIns="0" rtlCol="0">
            <a:noAutofit/>
          </a:bodyPr>
          <a:lstStyle/>
          <a:p>
            <a:endParaRPr/>
          </a:p>
        </p:txBody>
      </p:sp>
      <p:sp>
        <p:nvSpPr>
          <p:cNvPr id="1332" name="object 1332"/>
          <p:cNvSpPr/>
          <p:nvPr/>
        </p:nvSpPr>
        <p:spPr>
          <a:xfrm>
            <a:off x="9328675" y="1323806"/>
            <a:ext cx="4761" cy="38876"/>
          </a:xfrm>
          <a:custGeom>
            <a:avLst/>
            <a:gdLst/>
            <a:ahLst/>
            <a:cxnLst/>
            <a:rect l="l" t="t" r="r" b="b"/>
            <a:pathLst>
              <a:path w="4761" h="38876">
                <a:moveTo>
                  <a:pt x="0" y="19134"/>
                </a:moveTo>
                <a:lnTo>
                  <a:pt x="0" y="23690"/>
                </a:lnTo>
                <a:lnTo>
                  <a:pt x="595" y="28550"/>
                </a:lnTo>
                <a:lnTo>
                  <a:pt x="892" y="33409"/>
                </a:lnTo>
                <a:lnTo>
                  <a:pt x="1785" y="37965"/>
                </a:lnTo>
                <a:lnTo>
                  <a:pt x="2380" y="38876"/>
                </a:lnTo>
                <a:lnTo>
                  <a:pt x="3571" y="38876"/>
                </a:lnTo>
                <a:lnTo>
                  <a:pt x="4464" y="38573"/>
                </a:lnTo>
                <a:lnTo>
                  <a:pt x="4761" y="37358"/>
                </a:lnTo>
                <a:lnTo>
                  <a:pt x="3869" y="32802"/>
                </a:lnTo>
                <a:lnTo>
                  <a:pt x="3273" y="36143"/>
                </a:lnTo>
                <a:lnTo>
                  <a:pt x="2976" y="23690"/>
                </a:lnTo>
                <a:lnTo>
                  <a:pt x="2976" y="14275"/>
                </a:lnTo>
                <a:lnTo>
                  <a:pt x="3571" y="9719"/>
                </a:lnTo>
                <a:lnTo>
                  <a:pt x="3869" y="5163"/>
                </a:lnTo>
                <a:lnTo>
                  <a:pt x="4761" y="607"/>
                </a:lnTo>
                <a:lnTo>
                  <a:pt x="1785" y="0"/>
                </a:lnTo>
                <a:lnTo>
                  <a:pt x="892" y="4555"/>
                </a:lnTo>
                <a:lnTo>
                  <a:pt x="595" y="9719"/>
                </a:lnTo>
                <a:lnTo>
                  <a:pt x="0" y="14275"/>
                </a:lnTo>
                <a:lnTo>
                  <a:pt x="0" y="19134"/>
                </a:lnTo>
                <a:close/>
              </a:path>
            </a:pathLst>
          </a:custGeom>
          <a:solidFill>
            <a:srgbClr val="000000"/>
          </a:solidFill>
        </p:spPr>
        <p:txBody>
          <a:bodyPr wrap="square" lIns="0" tIns="0" rIns="0" bIns="0" rtlCol="0">
            <a:noAutofit/>
          </a:bodyPr>
          <a:lstStyle/>
          <a:p>
            <a:endParaRPr/>
          </a:p>
        </p:txBody>
      </p:sp>
      <p:sp>
        <p:nvSpPr>
          <p:cNvPr id="1333" name="object 1333"/>
          <p:cNvSpPr/>
          <p:nvPr/>
        </p:nvSpPr>
        <p:spPr>
          <a:xfrm>
            <a:off x="9331650" y="1347497"/>
            <a:ext cx="892" cy="12452"/>
          </a:xfrm>
          <a:custGeom>
            <a:avLst/>
            <a:gdLst/>
            <a:ahLst/>
            <a:cxnLst/>
            <a:rect l="l" t="t" r="r" b="b"/>
            <a:pathLst>
              <a:path w="892" h="12452">
                <a:moveTo>
                  <a:pt x="595" y="4859"/>
                </a:moveTo>
                <a:lnTo>
                  <a:pt x="0" y="0"/>
                </a:lnTo>
                <a:lnTo>
                  <a:pt x="297" y="12452"/>
                </a:lnTo>
                <a:lnTo>
                  <a:pt x="892" y="9111"/>
                </a:lnTo>
                <a:lnTo>
                  <a:pt x="595" y="4859"/>
                </a:lnTo>
                <a:close/>
              </a:path>
            </a:pathLst>
          </a:custGeom>
          <a:solidFill>
            <a:srgbClr val="000000"/>
          </a:solidFill>
        </p:spPr>
        <p:txBody>
          <a:bodyPr wrap="square" lIns="0" tIns="0" rIns="0" bIns="0" rtlCol="0">
            <a:noAutofit/>
          </a:bodyPr>
          <a:lstStyle/>
          <a:p>
            <a:endParaRPr/>
          </a:p>
        </p:txBody>
      </p:sp>
      <p:sp>
        <p:nvSpPr>
          <p:cNvPr id="1334" name="object 1334"/>
          <p:cNvSpPr/>
          <p:nvPr/>
        </p:nvSpPr>
        <p:spPr>
          <a:xfrm>
            <a:off x="9331949" y="1359951"/>
            <a:ext cx="32737" cy="3037"/>
          </a:xfrm>
          <a:custGeom>
            <a:avLst/>
            <a:gdLst/>
            <a:ahLst/>
            <a:cxnLst/>
            <a:rect l="l" t="t" r="r" b="b"/>
            <a:pathLst>
              <a:path w="32737" h="3037">
                <a:moveTo>
                  <a:pt x="32142" y="2429"/>
                </a:moveTo>
                <a:lnTo>
                  <a:pt x="32737" y="1518"/>
                </a:lnTo>
                <a:lnTo>
                  <a:pt x="32142" y="607"/>
                </a:lnTo>
                <a:lnTo>
                  <a:pt x="31249" y="0"/>
                </a:lnTo>
                <a:lnTo>
                  <a:pt x="0" y="0"/>
                </a:lnTo>
                <a:lnTo>
                  <a:pt x="0" y="3037"/>
                </a:lnTo>
                <a:lnTo>
                  <a:pt x="31249" y="3037"/>
                </a:lnTo>
                <a:lnTo>
                  <a:pt x="29761" y="1518"/>
                </a:lnTo>
                <a:lnTo>
                  <a:pt x="31249" y="3037"/>
                </a:lnTo>
                <a:lnTo>
                  <a:pt x="32142" y="2429"/>
                </a:lnTo>
                <a:close/>
              </a:path>
            </a:pathLst>
          </a:custGeom>
          <a:solidFill>
            <a:srgbClr val="000000"/>
          </a:solidFill>
        </p:spPr>
        <p:txBody>
          <a:bodyPr wrap="square" lIns="0" tIns="0" rIns="0" bIns="0" rtlCol="0">
            <a:noAutofit/>
          </a:bodyPr>
          <a:lstStyle/>
          <a:p>
            <a:endParaRPr/>
          </a:p>
        </p:txBody>
      </p:sp>
      <p:sp>
        <p:nvSpPr>
          <p:cNvPr id="1335" name="object 1335"/>
          <p:cNvSpPr/>
          <p:nvPr/>
        </p:nvSpPr>
        <p:spPr>
          <a:xfrm>
            <a:off x="9362305" y="1322592"/>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1336" name="object 1336"/>
          <p:cNvSpPr/>
          <p:nvPr/>
        </p:nvSpPr>
        <p:spPr>
          <a:xfrm>
            <a:off x="9361710" y="1322591"/>
            <a:ext cx="2976" cy="38876"/>
          </a:xfrm>
          <a:custGeom>
            <a:avLst/>
            <a:gdLst/>
            <a:ahLst/>
            <a:cxnLst/>
            <a:rect l="l" t="t" r="r" b="b"/>
            <a:pathLst>
              <a:path w="2976" h="38876">
                <a:moveTo>
                  <a:pt x="595" y="607"/>
                </a:moveTo>
                <a:lnTo>
                  <a:pt x="0" y="1518"/>
                </a:lnTo>
                <a:lnTo>
                  <a:pt x="0" y="38876"/>
                </a:lnTo>
                <a:lnTo>
                  <a:pt x="2976" y="38876"/>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1337" name="object 1337"/>
          <p:cNvSpPr/>
          <p:nvPr/>
        </p:nvSpPr>
        <p:spPr>
          <a:xfrm>
            <a:off x="9352484" y="1324111"/>
            <a:ext cx="22916" cy="37965"/>
          </a:xfrm>
          <a:custGeom>
            <a:avLst/>
            <a:gdLst/>
            <a:ahLst/>
            <a:cxnLst/>
            <a:rect l="l" t="t" r="r" b="b"/>
            <a:pathLst>
              <a:path w="22916" h="37965">
                <a:moveTo>
                  <a:pt x="11309" y="0"/>
                </a:moveTo>
                <a:lnTo>
                  <a:pt x="8928" y="303"/>
                </a:lnTo>
                <a:lnTo>
                  <a:pt x="6845" y="1518"/>
                </a:lnTo>
                <a:lnTo>
                  <a:pt x="5059" y="3340"/>
                </a:lnTo>
                <a:lnTo>
                  <a:pt x="3273" y="5467"/>
                </a:lnTo>
                <a:lnTo>
                  <a:pt x="1785" y="8200"/>
                </a:lnTo>
                <a:lnTo>
                  <a:pt x="892" y="11541"/>
                </a:lnTo>
                <a:lnTo>
                  <a:pt x="297" y="15186"/>
                </a:lnTo>
                <a:lnTo>
                  <a:pt x="0" y="18830"/>
                </a:lnTo>
                <a:lnTo>
                  <a:pt x="297" y="22779"/>
                </a:lnTo>
                <a:lnTo>
                  <a:pt x="892" y="26424"/>
                </a:lnTo>
                <a:lnTo>
                  <a:pt x="1785" y="29461"/>
                </a:lnTo>
                <a:lnTo>
                  <a:pt x="3273" y="32498"/>
                </a:lnTo>
                <a:lnTo>
                  <a:pt x="5059" y="34624"/>
                </a:lnTo>
                <a:lnTo>
                  <a:pt x="6845" y="36447"/>
                </a:lnTo>
                <a:lnTo>
                  <a:pt x="8928" y="37661"/>
                </a:lnTo>
                <a:lnTo>
                  <a:pt x="11309" y="37965"/>
                </a:lnTo>
                <a:lnTo>
                  <a:pt x="13690" y="37661"/>
                </a:lnTo>
                <a:lnTo>
                  <a:pt x="15773" y="36447"/>
                </a:lnTo>
                <a:lnTo>
                  <a:pt x="17857" y="34624"/>
                </a:lnTo>
                <a:lnTo>
                  <a:pt x="19642" y="32498"/>
                </a:lnTo>
                <a:lnTo>
                  <a:pt x="20833" y="29461"/>
                </a:lnTo>
                <a:lnTo>
                  <a:pt x="22023" y="26424"/>
                </a:lnTo>
                <a:lnTo>
                  <a:pt x="22618" y="22779"/>
                </a:lnTo>
                <a:lnTo>
                  <a:pt x="22916" y="18830"/>
                </a:lnTo>
                <a:lnTo>
                  <a:pt x="22618" y="15186"/>
                </a:lnTo>
                <a:lnTo>
                  <a:pt x="22023" y="11541"/>
                </a:lnTo>
                <a:lnTo>
                  <a:pt x="20833" y="8200"/>
                </a:lnTo>
                <a:lnTo>
                  <a:pt x="19642" y="5467"/>
                </a:lnTo>
                <a:lnTo>
                  <a:pt x="17857" y="3340"/>
                </a:lnTo>
                <a:lnTo>
                  <a:pt x="15773" y="1518"/>
                </a:lnTo>
                <a:lnTo>
                  <a:pt x="13690" y="303"/>
                </a:lnTo>
                <a:lnTo>
                  <a:pt x="11309" y="0"/>
                </a:lnTo>
                <a:close/>
              </a:path>
            </a:pathLst>
          </a:custGeom>
          <a:solidFill>
            <a:srgbClr val="000000"/>
          </a:solidFill>
        </p:spPr>
        <p:txBody>
          <a:bodyPr wrap="square" lIns="0" tIns="0" rIns="0" bIns="0" rtlCol="0">
            <a:noAutofit/>
          </a:bodyPr>
          <a:lstStyle/>
          <a:p>
            <a:endParaRPr/>
          </a:p>
        </p:txBody>
      </p:sp>
      <p:sp>
        <p:nvSpPr>
          <p:cNvPr id="1338" name="object 1338"/>
          <p:cNvSpPr/>
          <p:nvPr/>
        </p:nvSpPr>
        <p:spPr>
          <a:xfrm>
            <a:off x="9363793" y="1321985"/>
            <a:ext cx="13690" cy="20957"/>
          </a:xfrm>
          <a:custGeom>
            <a:avLst/>
            <a:gdLst/>
            <a:ahLst/>
            <a:cxnLst/>
            <a:rect l="l" t="t" r="r" b="b"/>
            <a:pathLst>
              <a:path w="13690" h="20957">
                <a:moveTo>
                  <a:pt x="5654" y="1822"/>
                </a:moveTo>
                <a:lnTo>
                  <a:pt x="2976" y="303"/>
                </a:lnTo>
                <a:lnTo>
                  <a:pt x="0" y="0"/>
                </a:lnTo>
                <a:lnTo>
                  <a:pt x="0" y="4252"/>
                </a:lnTo>
                <a:lnTo>
                  <a:pt x="1785" y="4555"/>
                </a:lnTo>
                <a:lnTo>
                  <a:pt x="3273" y="5467"/>
                </a:lnTo>
                <a:lnTo>
                  <a:pt x="5059" y="6985"/>
                </a:lnTo>
                <a:lnTo>
                  <a:pt x="6547" y="8808"/>
                </a:lnTo>
                <a:lnTo>
                  <a:pt x="7738" y="11237"/>
                </a:lnTo>
                <a:lnTo>
                  <a:pt x="8630" y="14275"/>
                </a:lnTo>
                <a:lnTo>
                  <a:pt x="9226" y="17616"/>
                </a:lnTo>
                <a:lnTo>
                  <a:pt x="9523" y="20957"/>
                </a:lnTo>
                <a:lnTo>
                  <a:pt x="13690" y="20957"/>
                </a:lnTo>
                <a:lnTo>
                  <a:pt x="13392" y="17008"/>
                </a:lnTo>
                <a:lnTo>
                  <a:pt x="12797" y="13060"/>
                </a:lnTo>
                <a:lnTo>
                  <a:pt x="11309" y="9415"/>
                </a:lnTo>
                <a:lnTo>
                  <a:pt x="10119" y="6378"/>
                </a:lnTo>
                <a:lnTo>
                  <a:pt x="8035" y="3948"/>
                </a:lnTo>
                <a:lnTo>
                  <a:pt x="5654" y="1822"/>
                </a:lnTo>
                <a:close/>
              </a:path>
            </a:pathLst>
          </a:custGeom>
          <a:solidFill>
            <a:srgbClr val="000000"/>
          </a:solidFill>
        </p:spPr>
        <p:txBody>
          <a:bodyPr wrap="square" lIns="0" tIns="0" rIns="0" bIns="0" rtlCol="0">
            <a:noAutofit/>
          </a:bodyPr>
          <a:lstStyle/>
          <a:p>
            <a:endParaRPr/>
          </a:p>
        </p:txBody>
      </p:sp>
      <p:sp>
        <p:nvSpPr>
          <p:cNvPr id="1339" name="object 1339"/>
          <p:cNvSpPr/>
          <p:nvPr/>
        </p:nvSpPr>
        <p:spPr>
          <a:xfrm>
            <a:off x="9363793" y="1342941"/>
            <a:ext cx="13690" cy="21260"/>
          </a:xfrm>
          <a:custGeom>
            <a:avLst/>
            <a:gdLst/>
            <a:ahLst/>
            <a:cxnLst/>
            <a:rect l="l" t="t" r="r" b="b"/>
            <a:pathLst>
              <a:path w="13690" h="21260">
                <a:moveTo>
                  <a:pt x="5654" y="19438"/>
                </a:moveTo>
                <a:lnTo>
                  <a:pt x="8035" y="17312"/>
                </a:lnTo>
                <a:lnTo>
                  <a:pt x="10119" y="14882"/>
                </a:lnTo>
                <a:lnTo>
                  <a:pt x="11309" y="11541"/>
                </a:lnTo>
                <a:lnTo>
                  <a:pt x="12797" y="8200"/>
                </a:lnTo>
                <a:lnTo>
                  <a:pt x="13392" y="4252"/>
                </a:lnTo>
                <a:lnTo>
                  <a:pt x="13690" y="0"/>
                </a:lnTo>
                <a:lnTo>
                  <a:pt x="9523" y="0"/>
                </a:lnTo>
                <a:lnTo>
                  <a:pt x="9226" y="3644"/>
                </a:lnTo>
                <a:lnTo>
                  <a:pt x="8630" y="6985"/>
                </a:lnTo>
                <a:lnTo>
                  <a:pt x="7738" y="9719"/>
                </a:lnTo>
                <a:lnTo>
                  <a:pt x="6547" y="12452"/>
                </a:lnTo>
                <a:lnTo>
                  <a:pt x="5059" y="14275"/>
                </a:lnTo>
                <a:lnTo>
                  <a:pt x="3273" y="15793"/>
                </a:lnTo>
                <a:lnTo>
                  <a:pt x="1785" y="16704"/>
                </a:lnTo>
                <a:lnTo>
                  <a:pt x="0" y="17008"/>
                </a:lnTo>
                <a:lnTo>
                  <a:pt x="0" y="21260"/>
                </a:lnTo>
                <a:lnTo>
                  <a:pt x="2976" y="20957"/>
                </a:lnTo>
                <a:lnTo>
                  <a:pt x="5654" y="19438"/>
                </a:lnTo>
                <a:close/>
              </a:path>
            </a:pathLst>
          </a:custGeom>
          <a:solidFill>
            <a:srgbClr val="000000"/>
          </a:solidFill>
        </p:spPr>
        <p:txBody>
          <a:bodyPr wrap="square" lIns="0" tIns="0" rIns="0" bIns="0" rtlCol="0">
            <a:noAutofit/>
          </a:bodyPr>
          <a:lstStyle/>
          <a:p>
            <a:endParaRPr/>
          </a:p>
        </p:txBody>
      </p:sp>
      <p:sp>
        <p:nvSpPr>
          <p:cNvPr id="1340" name="object 1340"/>
          <p:cNvSpPr/>
          <p:nvPr/>
        </p:nvSpPr>
        <p:spPr>
          <a:xfrm>
            <a:off x="9350400" y="1342941"/>
            <a:ext cx="13392" cy="21260"/>
          </a:xfrm>
          <a:custGeom>
            <a:avLst/>
            <a:gdLst/>
            <a:ahLst/>
            <a:cxnLst/>
            <a:rect l="l" t="t" r="r" b="b"/>
            <a:pathLst>
              <a:path w="13392" h="21260">
                <a:moveTo>
                  <a:pt x="4166" y="0"/>
                </a:moveTo>
                <a:lnTo>
                  <a:pt x="0" y="0"/>
                </a:lnTo>
                <a:lnTo>
                  <a:pt x="297" y="4252"/>
                </a:lnTo>
                <a:lnTo>
                  <a:pt x="892" y="8200"/>
                </a:lnTo>
                <a:lnTo>
                  <a:pt x="2083" y="11541"/>
                </a:lnTo>
                <a:lnTo>
                  <a:pt x="3571" y="14882"/>
                </a:lnTo>
                <a:lnTo>
                  <a:pt x="5654" y="17312"/>
                </a:lnTo>
                <a:lnTo>
                  <a:pt x="7738" y="19438"/>
                </a:lnTo>
                <a:lnTo>
                  <a:pt x="10416" y="20957"/>
                </a:lnTo>
                <a:lnTo>
                  <a:pt x="13392" y="21260"/>
                </a:lnTo>
                <a:lnTo>
                  <a:pt x="13392" y="17008"/>
                </a:lnTo>
                <a:lnTo>
                  <a:pt x="11607" y="16704"/>
                </a:lnTo>
                <a:lnTo>
                  <a:pt x="10119" y="15793"/>
                </a:lnTo>
                <a:lnTo>
                  <a:pt x="8630" y="14275"/>
                </a:lnTo>
                <a:lnTo>
                  <a:pt x="7142" y="12452"/>
                </a:lnTo>
                <a:lnTo>
                  <a:pt x="5654" y="9719"/>
                </a:lnTo>
                <a:lnTo>
                  <a:pt x="5059" y="6985"/>
                </a:lnTo>
                <a:lnTo>
                  <a:pt x="4464" y="3644"/>
                </a:lnTo>
                <a:lnTo>
                  <a:pt x="4166" y="0"/>
                </a:lnTo>
                <a:close/>
              </a:path>
            </a:pathLst>
          </a:custGeom>
          <a:solidFill>
            <a:srgbClr val="000000"/>
          </a:solidFill>
        </p:spPr>
        <p:txBody>
          <a:bodyPr wrap="square" lIns="0" tIns="0" rIns="0" bIns="0" rtlCol="0">
            <a:noAutofit/>
          </a:bodyPr>
          <a:lstStyle/>
          <a:p>
            <a:endParaRPr/>
          </a:p>
        </p:txBody>
      </p:sp>
      <p:sp>
        <p:nvSpPr>
          <p:cNvPr id="1341" name="object 1341"/>
          <p:cNvSpPr/>
          <p:nvPr/>
        </p:nvSpPr>
        <p:spPr>
          <a:xfrm>
            <a:off x="9350400" y="1321985"/>
            <a:ext cx="13392" cy="20957"/>
          </a:xfrm>
          <a:custGeom>
            <a:avLst/>
            <a:gdLst/>
            <a:ahLst/>
            <a:cxnLst/>
            <a:rect l="l" t="t" r="r" b="b"/>
            <a:pathLst>
              <a:path w="13392" h="20957">
                <a:moveTo>
                  <a:pt x="5654" y="3948"/>
                </a:moveTo>
                <a:lnTo>
                  <a:pt x="3571" y="6378"/>
                </a:lnTo>
                <a:lnTo>
                  <a:pt x="2083" y="9415"/>
                </a:lnTo>
                <a:lnTo>
                  <a:pt x="892" y="13363"/>
                </a:lnTo>
                <a:lnTo>
                  <a:pt x="297" y="17008"/>
                </a:lnTo>
                <a:lnTo>
                  <a:pt x="0" y="20957"/>
                </a:lnTo>
                <a:lnTo>
                  <a:pt x="4166" y="20957"/>
                </a:lnTo>
                <a:lnTo>
                  <a:pt x="4464" y="17616"/>
                </a:lnTo>
                <a:lnTo>
                  <a:pt x="5059" y="13971"/>
                </a:lnTo>
                <a:lnTo>
                  <a:pt x="5654" y="11237"/>
                </a:lnTo>
                <a:lnTo>
                  <a:pt x="7142" y="8808"/>
                </a:lnTo>
                <a:lnTo>
                  <a:pt x="8630" y="6985"/>
                </a:lnTo>
                <a:lnTo>
                  <a:pt x="10119" y="5467"/>
                </a:lnTo>
                <a:lnTo>
                  <a:pt x="11607" y="4555"/>
                </a:lnTo>
                <a:lnTo>
                  <a:pt x="13392" y="4252"/>
                </a:lnTo>
                <a:lnTo>
                  <a:pt x="13392" y="0"/>
                </a:lnTo>
                <a:lnTo>
                  <a:pt x="10416" y="303"/>
                </a:lnTo>
                <a:lnTo>
                  <a:pt x="7738" y="1822"/>
                </a:lnTo>
                <a:lnTo>
                  <a:pt x="5654" y="3948"/>
                </a:lnTo>
                <a:close/>
              </a:path>
            </a:pathLst>
          </a:custGeom>
          <a:solidFill>
            <a:srgbClr val="000000"/>
          </a:solidFill>
        </p:spPr>
        <p:txBody>
          <a:bodyPr wrap="square" lIns="0" tIns="0" rIns="0" bIns="0" rtlCol="0">
            <a:noAutofit/>
          </a:bodyPr>
          <a:lstStyle/>
          <a:p>
            <a:endParaRPr/>
          </a:p>
        </p:txBody>
      </p:sp>
      <p:sp>
        <p:nvSpPr>
          <p:cNvPr id="1342" name="object 1342"/>
          <p:cNvSpPr/>
          <p:nvPr/>
        </p:nvSpPr>
        <p:spPr>
          <a:xfrm>
            <a:off x="9353376" y="1325630"/>
            <a:ext cx="21130" cy="13363"/>
          </a:xfrm>
          <a:custGeom>
            <a:avLst/>
            <a:gdLst/>
            <a:ahLst/>
            <a:cxnLst/>
            <a:rect l="l" t="t" r="r" b="b"/>
            <a:pathLst>
              <a:path w="21130" h="13363">
                <a:moveTo>
                  <a:pt x="1785" y="7896"/>
                </a:moveTo>
                <a:lnTo>
                  <a:pt x="0" y="13363"/>
                </a:lnTo>
                <a:lnTo>
                  <a:pt x="2380" y="8504"/>
                </a:lnTo>
                <a:lnTo>
                  <a:pt x="5059" y="4859"/>
                </a:lnTo>
                <a:lnTo>
                  <a:pt x="8035" y="3037"/>
                </a:lnTo>
                <a:lnTo>
                  <a:pt x="11011" y="2733"/>
                </a:lnTo>
                <a:lnTo>
                  <a:pt x="13690" y="3644"/>
                </a:lnTo>
                <a:lnTo>
                  <a:pt x="16666" y="5770"/>
                </a:lnTo>
                <a:lnTo>
                  <a:pt x="19047" y="9111"/>
                </a:lnTo>
                <a:lnTo>
                  <a:pt x="21130" y="13363"/>
                </a:lnTo>
                <a:lnTo>
                  <a:pt x="18749" y="6985"/>
                </a:lnTo>
                <a:lnTo>
                  <a:pt x="16071" y="2733"/>
                </a:lnTo>
                <a:lnTo>
                  <a:pt x="13095" y="607"/>
                </a:lnTo>
                <a:lnTo>
                  <a:pt x="10119" y="0"/>
                </a:lnTo>
                <a:lnTo>
                  <a:pt x="6845" y="1214"/>
                </a:lnTo>
                <a:lnTo>
                  <a:pt x="4166" y="3948"/>
                </a:lnTo>
                <a:lnTo>
                  <a:pt x="1785" y="7896"/>
                </a:lnTo>
                <a:close/>
              </a:path>
            </a:pathLst>
          </a:custGeom>
          <a:solidFill>
            <a:srgbClr val="FFFFFF"/>
          </a:solidFill>
        </p:spPr>
        <p:txBody>
          <a:bodyPr wrap="square" lIns="0" tIns="0" rIns="0" bIns="0" rtlCol="0">
            <a:noAutofit/>
          </a:bodyPr>
          <a:lstStyle/>
          <a:p>
            <a:endParaRPr/>
          </a:p>
        </p:txBody>
      </p:sp>
      <p:sp>
        <p:nvSpPr>
          <p:cNvPr id="1343" name="object 1343"/>
          <p:cNvSpPr/>
          <p:nvPr/>
        </p:nvSpPr>
        <p:spPr>
          <a:xfrm>
            <a:off x="9351294" y="1323502"/>
            <a:ext cx="25297" cy="17616"/>
          </a:xfrm>
          <a:custGeom>
            <a:avLst/>
            <a:gdLst/>
            <a:ahLst/>
            <a:cxnLst/>
            <a:rect l="l" t="t" r="r" b="b"/>
            <a:pathLst>
              <a:path w="25297" h="17616">
                <a:moveTo>
                  <a:pt x="4166" y="16097"/>
                </a:moveTo>
                <a:lnTo>
                  <a:pt x="5654" y="10934"/>
                </a:lnTo>
                <a:lnTo>
                  <a:pt x="8035" y="7289"/>
                </a:lnTo>
                <a:lnTo>
                  <a:pt x="10119" y="5163"/>
                </a:lnTo>
                <a:lnTo>
                  <a:pt x="12499" y="4252"/>
                </a:lnTo>
                <a:lnTo>
                  <a:pt x="14285" y="4555"/>
                </a:lnTo>
                <a:lnTo>
                  <a:pt x="16666" y="6378"/>
                </a:lnTo>
                <a:lnTo>
                  <a:pt x="19047" y="10022"/>
                </a:lnTo>
                <a:lnTo>
                  <a:pt x="21130" y="16097"/>
                </a:lnTo>
                <a:lnTo>
                  <a:pt x="21306" y="16337"/>
                </a:lnTo>
                <a:lnTo>
                  <a:pt x="22023" y="17312"/>
                </a:lnTo>
                <a:lnTo>
                  <a:pt x="23809" y="17616"/>
                </a:lnTo>
                <a:lnTo>
                  <a:pt x="24999" y="16704"/>
                </a:lnTo>
                <a:lnTo>
                  <a:pt x="25297" y="14882"/>
                </a:lnTo>
                <a:lnTo>
                  <a:pt x="25191" y="14617"/>
                </a:lnTo>
                <a:lnTo>
                  <a:pt x="22618" y="8200"/>
                </a:lnTo>
                <a:lnTo>
                  <a:pt x="19642" y="3340"/>
                </a:lnTo>
                <a:lnTo>
                  <a:pt x="16071" y="911"/>
                </a:lnTo>
                <a:lnTo>
                  <a:pt x="11904" y="0"/>
                </a:lnTo>
                <a:lnTo>
                  <a:pt x="7738" y="1518"/>
                </a:lnTo>
                <a:lnTo>
                  <a:pt x="4464" y="4859"/>
                </a:lnTo>
                <a:lnTo>
                  <a:pt x="2083" y="9111"/>
                </a:lnTo>
                <a:lnTo>
                  <a:pt x="0" y="14882"/>
                </a:lnTo>
                <a:lnTo>
                  <a:pt x="4166" y="16097"/>
                </a:lnTo>
                <a:close/>
              </a:path>
            </a:pathLst>
          </a:custGeom>
          <a:solidFill>
            <a:srgbClr val="FFFFFF"/>
          </a:solidFill>
        </p:spPr>
        <p:txBody>
          <a:bodyPr wrap="square" lIns="0" tIns="0" rIns="0" bIns="0" rtlCol="0">
            <a:noAutofit/>
          </a:bodyPr>
          <a:lstStyle/>
          <a:p>
            <a:endParaRPr/>
          </a:p>
        </p:txBody>
      </p:sp>
      <p:sp>
        <p:nvSpPr>
          <p:cNvPr id="1344" name="object 1344"/>
          <p:cNvSpPr/>
          <p:nvPr/>
        </p:nvSpPr>
        <p:spPr>
          <a:xfrm>
            <a:off x="9351293" y="1332919"/>
            <a:ext cx="4166" cy="6681"/>
          </a:xfrm>
          <a:custGeom>
            <a:avLst/>
            <a:gdLst/>
            <a:ahLst/>
            <a:cxnLst/>
            <a:rect l="l" t="t" r="r" b="b"/>
            <a:pathLst>
              <a:path w="4166" h="6681">
                <a:moveTo>
                  <a:pt x="4166" y="6681"/>
                </a:moveTo>
                <a:lnTo>
                  <a:pt x="2678" y="0"/>
                </a:lnTo>
                <a:lnTo>
                  <a:pt x="0" y="5163"/>
                </a:lnTo>
                <a:lnTo>
                  <a:pt x="4166" y="6681"/>
                </a:lnTo>
                <a:close/>
              </a:path>
            </a:pathLst>
          </a:custGeom>
          <a:solidFill>
            <a:srgbClr val="FFFFFF"/>
          </a:solidFill>
        </p:spPr>
        <p:txBody>
          <a:bodyPr wrap="square" lIns="0" tIns="0" rIns="0" bIns="0" rtlCol="0">
            <a:noAutofit/>
          </a:bodyPr>
          <a:lstStyle/>
          <a:p>
            <a:endParaRPr/>
          </a:p>
        </p:txBody>
      </p:sp>
      <p:sp>
        <p:nvSpPr>
          <p:cNvPr id="1345" name="object 1345"/>
          <p:cNvSpPr/>
          <p:nvPr/>
        </p:nvSpPr>
        <p:spPr>
          <a:xfrm>
            <a:off x="9351294" y="1326236"/>
            <a:ext cx="25297" cy="14882"/>
          </a:xfrm>
          <a:custGeom>
            <a:avLst/>
            <a:gdLst/>
            <a:ahLst/>
            <a:cxnLst/>
            <a:rect l="l" t="t" r="r" b="b"/>
            <a:pathLst>
              <a:path w="25297" h="14882">
                <a:moveTo>
                  <a:pt x="9523" y="303"/>
                </a:moveTo>
                <a:lnTo>
                  <a:pt x="5654" y="2733"/>
                </a:lnTo>
                <a:lnTo>
                  <a:pt x="2678" y="6681"/>
                </a:lnTo>
                <a:lnTo>
                  <a:pt x="4166" y="13363"/>
                </a:lnTo>
                <a:lnTo>
                  <a:pt x="0" y="11845"/>
                </a:lnTo>
                <a:lnTo>
                  <a:pt x="0" y="13667"/>
                </a:lnTo>
                <a:lnTo>
                  <a:pt x="1190" y="14882"/>
                </a:lnTo>
                <a:lnTo>
                  <a:pt x="2976" y="14882"/>
                </a:lnTo>
                <a:lnTo>
                  <a:pt x="4166" y="13667"/>
                </a:lnTo>
                <a:lnTo>
                  <a:pt x="6249" y="9111"/>
                </a:lnTo>
                <a:lnTo>
                  <a:pt x="8630" y="5770"/>
                </a:lnTo>
                <a:lnTo>
                  <a:pt x="10714" y="4555"/>
                </a:lnTo>
                <a:lnTo>
                  <a:pt x="12797" y="4252"/>
                </a:lnTo>
                <a:lnTo>
                  <a:pt x="14880" y="4859"/>
                </a:lnTo>
                <a:lnTo>
                  <a:pt x="17261" y="6681"/>
                </a:lnTo>
                <a:lnTo>
                  <a:pt x="19345" y="9719"/>
                </a:lnTo>
                <a:lnTo>
                  <a:pt x="21130" y="13667"/>
                </a:lnTo>
                <a:lnTo>
                  <a:pt x="25297" y="11845"/>
                </a:lnTo>
                <a:lnTo>
                  <a:pt x="22916" y="7289"/>
                </a:lnTo>
                <a:lnTo>
                  <a:pt x="20238" y="3644"/>
                </a:lnTo>
                <a:lnTo>
                  <a:pt x="16666" y="1214"/>
                </a:lnTo>
                <a:lnTo>
                  <a:pt x="13392" y="0"/>
                </a:lnTo>
                <a:lnTo>
                  <a:pt x="9523" y="303"/>
                </a:lnTo>
                <a:close/>
              </a:path>
            </a:pathLst>
          </a:custGeom>
          <a:solidFill>
            <a:srgbClr val="FFFFFF"/>
          </a:solidFill>
        </p:spPr>
        <p:txBody>
          <a:bodyPr wrap="square" lIns="0" tIns="0" rIns="0" bIns="0" rtlCol="0">
            <a:noAutofit/>
          </a:bodyPr>
          <a:lstStyle/>
          <a:p>
            <a:endParaRPr/>
          </a:p>
        </p:txBody>
      </p:sp>
      <p:sp>
        <p:nvSpPr>
          <p:cNvPr id="1346" name="object 1346"/>
          <p:cNvSpPr/>
          <p:nvPr/>
        </p:nvSpPr>
        <p:spPr>
          <a:xfrm>
            <a:off x="9137603" y="1167085"/>
            <a:ext cx="358332" cy="150647"/>
          </a:xfrm>
          <a:custGeom>
            <a:avLst/>
            <a:gdLst/>
            <a:ahLst/>
            <a:cxnLst/>
            <a:rect l="l" t="t" r="r" b="b"/>
            <a:pathLst>
              <a:path w="358332" h="150647">
                <a:moveTo>
                  <a:pt x="132142" y="150647"/>
                </a:moveTo>
                <a:lnTo>
                  <a:pt x="133332" y="135157"/>
                </a:lnTo>
                <a:lnTo>
                  <a:pt x="134523" y="120275"/>
                </a:lnTo>
                <a:lnTo>
                  <a:pt x="136011" y="106000"/>
                </a:lnTo>
                <a:lnTo>
                  <a:pt x="137499" y="92940"/>
                </a:lnTo>
                <a:lnTo>
                  <a:pt x="139285" y="80487"/>
                </a:lnTo>
                <a:lnTo>
                  <a:pt x="141368" y="68945"/>
                </a:lnTo>
                <a:lnTo>
                  <a:pt x="144047" y="58315"/>
                </a:lnTo>
                <a:lnTo>
                  <a:pt x="147023" y="48292"/>
                </a:lnTo>
                <a:lnTo>
                  <a:pt x="150297" y="39484"/>
                </a:lnTo>
                <a:lnTo>
                  <a:pt x="154463" y="31891"/>
                </a:lnTo>
                <a:lnTo>
                  <a:pt x="159225" y="24905"/>
                </a:lnTo>
                <a:lnTo>
                  <a:pt x="164880" y="19134"/>
                </a:lnTo>
                <a:lnTo>
                  <a:pt x="171130" y="14275"/>
                </a:lnTo>
                <a:lnTo>
                  <a:pt x="178273" y="10630"/>
                </a:lnTo>
                <a:lnTo>
                  <a:pt x="186606" y="7896"/>
                </a:lnTo>
                <a:lnTo>
                  <a:pt x="195832" y="6378"/>
                </a:lnTo>
                <a:lnTo>
                  <a:pt x="358332" y="0"/>
                </a:lnTo>
                <a:lnTo>
                  <a:pt x="174404" y="0"/>
                </a:lnTo>
                <a:lnTo>
                  <a:pt x="80952" y="1214"/>
                </a:lnTo>
                <a:lnTo>
                  <a:pt x="69345" y="2429"/>
                </a:lnTo>
                <a:lnTo>
                  <a:pt x="59226" y="5467"/>
                </a:lnTo>
                <a:lnTo>
                  <a:pt x="49999" y="10022"/>
                </a:lnTo>
                <a:lnTo>
                  <a:pt x="41666" y="15793"/>
                </a:lnTo>
                <a:lnTo>
                  <a:pt x="34523" y="22779"/>
                </a:lnTo>
                <a:lnTo>
                  <a:pt x="27976" y="30676"/>
                </a:lnTo>
                <a:lnTo>
                  <a:pt x="22618" y="39788"/>
                </a:lnTo>
                <a:lnTo>
                  <a:pt x="17857" y="49810"/>
                </a:lnTo>
                <a:lnTo>
                  <a:pt x="13690" y="60441"/>
                </a:lnTo>
                <a:lnTo>
                  <a:pt x="10416" y="71679"/>
                </a:lnTo>
                <a:lnTo>
                  <a:pt x="7738" y="83524"/>
                </a:lnTo>
                <a:lnTo>
                  <a:pt x="5357" y="95673"/>
                </a:lnTo>
                <a:lnTo>
                  <a:pt x="3571" y="108126"/>
                </a:lnTo>
                <a:lnTo>
                  <a:pt x="2083" y="120579"/>
                </a:lnTo>
                <a:lnTo>
                  <a:pt x="892" y="133031"/>
                </a:lnTo>
                <a:lnTo>
                  <a:pt x="0" y="145484"/>
                </a:lnTo>
                <a:lnTo>
                  <a:pt x="132142" y="150647"/>
                </a:lnTo>
                <a:close/>
              </a:path>
            </a:pathLst>
          </a:custGeom>
          <a:solidFill>
            <a:srgbClr val="999999"/>
          </a:solidFill>
        </p:spPr>
        <p:txBody>
          <a:bodyPr wrap="square" lIns="0" tIns="0" rIns="0" bIns="0" rtlCol="0">
            <a:noAutofit/>
          </a:bodyPr>
          <a:lstStyle/>
          <a:p>
            <a:endParaRPr/>
          </a:p>
        </p:txBody>
      </p:sp>
      <p:sp>
        <p:nvSpPr>
          <p:cNvPr id="1347" name="object 1347"/>
          <p:cNvSpPr/>
          <p:nvPr/>
        </p:nvSpPr>
        <p:spPr>
          <a:xfrm>
            <a:off x="9137603" y="1311050"/>
            <a:ext cx="133630" cy="8200"/>
          </a:xfrm>
          <a:custGeom>
            <a:avLst/>
            <a:gdLst/>
            <a:ahLst/>
            <a:cxnLst/>
            <a:rect l="l" t="t" r="r" b="b"/>
            <a:pathLst>
              <a:path w="133630" h="8200">
                <a:moveTo>
                  <a:pt x="133035" y="7593"/>
                </a:moveTo>
                <a:lnTo>
                  <a:pt x="133630" y="6681"/>
                </a:lnTo>
                <a:lnTo>
                  <a:pt x="133035" y="5770"/>
                </a:lnTo>
                <a:lnTo>
                  <a:pt x="132142" y="5163"/>
                </a:lnTo>
                <a:lnTo>
                  <a:pt x="0" y="0"/>
                </a:lnTo>
                <a:lnTo>
                  <a:pt x="0" y="3037"/>
                </a:lnTo>
                <a:lnTo>
                  <a:pt x="132142" y="8200"/>
                </a:lnTo>
                <a:lnTo>
                  <a:pt x="130654" y="6681"/>
                </a:lnTo>
                <a:lnTo>
                  <a:pt x="132142" y="8200"/>
                </a:lnTo>
                <a:lnTo>
                  <a:pt x="133035" y="7593"/>
                </a:lnTo>
                <a:close/>
              </a:path>
            </a:pathLst>
          </a:custGeom>
          <a:solidFill>
            <a:srgbClr val="000000"/>
          </a:solidFill>
        </p:spPr>
        <p:txBody>
          <a:bodyPr wrap="square" lIns="0" tIns="0" rIns="0" bIns="0" rtlCol="0">
            <a:noAutofit/>
          </a:bodyPr>
          <a:lstStyle/>
          <a:p>
            <a:endParaRPr/>
          </a:p>
        </p:txBody>
      </p:sp>
      <p:sp>
        <p:nvSpPr>
          <p:cNvPr id="1348" name="object 1348"/>
          <p:cNvSpPr/>
          <p:nvPr/>
        </p:nvSpPr>
        <p:spPr>
          <a:xfrm>
            <a:off x="9268258" y="1171943"/>
            <a:ext cx="66666" cy="145788"/>
          </a:xfrm>
          <a:custGeom>
            <a:avLst/>
            <a:gdLst/>
            <a:ahLst/>
            <a:cxnLst/>
            <a:rect l="l" t="t" r="r" b="b"/>
            <a:pathLst>
              <a:path w="66666" h="145788">
                <a:moveTo>
                  <a:pt x="1190" y="130298"/>
                </a:moveTo>
                <a:lnTo>
                  <a:pt x="0" y="145788"/>
                </a:lnTo>
                <a:lnTo>
                  <a:pt x="2976" y="145788"/>
                </a:lnTo>
                <a:lnTo>
                  <a:pt x="4166" y="130298"/>
                </a:lnTo>
                <a:lnTo>
                  <a:pt x="5357" y="115415"/>
                </a:lnTo>
                <a:lnTo>
                  <a:pt x="6845" y="101444"/>
                </a:lnTo>
                <a:lnTo>
                  <a:pt x="8333" y="88384"/>
                </a:lnTo>
                <a:lnTo>
                  <a:pt x="10119" y="75931"/>
                </a:lnTo>
                <a:lnTo>
                  <a:pt x="12202" y="64389"/>
                </a:lnTo>
                <a:lnTo>
                  <a:pt x="14880" y="53759"/>
                </a:lnTo>
                <a:lnTo>
                  <a:pt x="17857" y="44040"/>
                </a:lnTo>
                <a:lnTo>
                  <a:pt x="21130" y="35232"/>
                </a:lnTo>
                <a:lnTo>
                  <a:pt x="24999" y="27942"/>
                </a:lnTo>
                <a:lnTo>
                  <a:pt x="29761" y="20957"/>
                </a:lnTo>
                <a:lnTo>
                  <a:pt x="35118" y="15490"/>
                </a:lnTo>
                <a:lnTo>
                  <a:pt x="41368" y="10630"/>
                </a:lnTo>
                <a:lnTo>
                  <a:pt x="48214" y="7289"/>
                </a:lnTo>
                <a:lnTo>
                  <a:pt x="56249" y="4555"/>
                </a:lnTo>
                <a:lnTo>
                  <a:pt x="65178" y="3037"/>
                </a:lnTo>
                <a:lnTo>
                  <a:pt x="66071" y="2429"/>
                </a:lnTo>
                <a:lnTo>
                  <a:pt x="66666" y="1518"/>
                </a:lnTo>
                <a:lnTo>
                  <a:pt x="66071" y="607"/>
                </a:lnTo>
                <a:lnTo>
                  <a:pt x="65178" y="0"/>
                </a:lnTo>
                <a:lnTo>
                  <a:pt x="55654" y="1518"/>
                </a:lnTo>
                <a:lnTo>
                  <a:pt x="47023" y="4252"/>
                </a:lnTo>
                <a:lnTo>
                  <a:pt x="39583" y="8200"/>
                </a:lnTo>
                <a:lnTo>
                  <a:pt x="33333" y="13060"/>
                </a:lnTo>
                <a:lnTo>
                  <a:pt x="27380" y="19134"/>
                </a:lnTo>
                <a:lnTo>
                  <a:pt x="22618" y="26120"/>
                </a:lnTo>
                <a:lnTo>
                  <a:pt x="18154" y="34017"/>
                </a:lnTo>
                <a:lnTo>
                  <a:pt x="14880" y="42825"/>
                </a:lnTo>
                <a:lnTo>
                  <a:pt x="11904" y="53151"/>
                </a:lnTo>
                <a:lnTo>
                  <a:pt x="9226" y="63782"/>
                </a:lnTo>
                <a:lnTo>
                  <a:pt x="7142" y="75323"/>
                </a:lnTo>
                <a:lnTo>
                  <a:pt x="5357" y="87776"/>
                </a:lnTo>
                <a:lnTo>
                  <a:pt x="3869" y="100836"/>
                </a:lnTo>
                <a:lnTo>
                  <a:pt x="2380" y="115415"/>
                </a:lnTo>
                <a:lnTo>
                  <a:pt x="1190" y="130298"/>
                </a:lnTo>
                <a:close/>
              </a:path>
            </a:pathLst>
          </a:custGeom>
          <a:solidFill>
            <a:srgbClr val="000000"/>
          </a:solidFill>
        </p:spPr>
        <p:txBody>
          <a:bodyPr wrap="square" lIns="0" tIns="0" rIns="0" bIns="0" rtlCol="0">
            <a:noAutofit/>
          </a:bodyPr>
          <a:lstStyle/>
          <a:p>
            <a:endParaRPr/>
          </a:p>
        </p:txBody>
      </p:sp>
      <p:sp>
        <p:nvSpPr>
          <p:cNvPr id="1349" name="object 1349"/>
          <p:cNvSpPr/>
          <p:nvPr/>
        </p:nvSpPr>
        <p:spPr>
          <a:xfrm>
            <a:off x="9333437" y="1165566"/>
            <a:ext cx="163987" cy="9415"/>
          </a:xfrm>
          <a:custGeom>
            <a:avLst/>
            <a:gdLst/>
            <a:ahLst/>
            <a:cxnLst/>
            <a:rect l="l" t="t" r="r" b="b"/>
            <a:pathLst>
              <a:path w="163987" h="9415">
                <a:moveTo>
                  <a:pt x="162499" y="3037"/>
                </a:moveTo>
                <a:lnTo>
                  <a:pt x="162499" y="0"/>
                </a:lnTo>
                <a:lnTo>
                  <a:pt x="0" y="6378"/>
                </a:lnTo>
                <a:lnTo>
                  <a:pt x="0" y="9415"/>
                </a:lnTo>
                <a:lnTo>
                  <a:pt x="162499" y="3037"/>
                </a:lnTo>
                <a:lnTo>
                  <a:pt x="162499" y="0"/>
                </a:lnTo>
                <a:lnTo>
                  <a:pt x="162499" y="3037"/>
                </a:lnTo>
                <a:lnTo>
                  <a:pt x="163392" y="2429"/>
                </a:lnTo>
                <a:lnTo>
                  <a:pt x="163987" y="1518"/>
                </a:lnTo>
                <a:lnTo>
                  <a:pt x="163392" y="607"/>
                </a:lnTo>
                <a:lnTo>
                  <a:pt x="162499" y="0"/>
                </a:lnTo>
                <a:lnTo>
                  <a:pt x="162499" y="3037"/>
                </a:lnTo>
                <a:close/>
              </a:path>
            </a:pathLst>
          </a:custGeom>
          <a:solidFill>
            <a:srgbClr val="000000"/>
          </a:solidFill>
        </p:spPr>
        <p:txBody>
          <a:bodyPr wrap="square" lIns="0" tIns="0" rIns="0" bIns="0" rtlCol="0">
            <a:noAutofit/>
          </a:bodyPr>
          <a:lstStyle/>
          <a:p>
            <a:endParaRPr/>
          </a:p>
        </p:txBody>
      </p:sp>
      <p:sp>
        <p:nvSpPr>
          <p:cNvPr id="1350" name="object 1350"/>
          <p:cNvSpPr/>
          <p:nvPr/>
        </p:nvSpPr>
        <p:spPr>
          <a:xfrm>
            <a:off x="9310817" y="1165566"/>
            <a:ext cx="185118" cy="3037"/>
          </a:xfrm>
          <a:custGeom>
            <a:avLst/>
            <a:gdLst/>
            <a:ahLst/>
            <a:cxnLst/>
            <a:rect l="l" t="t" r="r" b="b"/>
            <a:pathLst>
              <a:path w="185118" h="3037">
                <a:moveTo>
                  <a:pt x="1190" y="3037"/>
                </a:moveTo>
                <a:lnTo>
                  <a:pt x="185118" y="3037"/>
                </a:lnTo>
                <a:lnTo>
                  <a:pt x="185118" y="0"/>
                </a:lnTo>
                <a:lnTo>
                  <a:pt x="1190" y="0"/>
                </a:lnTo>
                <a:lnTo>
                  <a:pt x="297" y="607"/>
                </a:lnTo>
                <a:lnTo>
                  <a:pt x="0" y="1518"/>
                </a:lnTo>
                <a:lnTo>
                  <a:pt x="297" y="2429"/>
                </a:lnTo>
                <a:lnTo>
                  <a:pt x="1190" y="3037"/>
                </a:lnTo>
                <a:close/>
              </a:path>
            </a:pathLst>
          </a:custGeom>
          <a:solidFill>
            <a:srgbClr val="000000"/>
          </a:solidFill>
        </p:spPr>
        <p:txBody>
          <a:bodyPr wrap="square" lIns="0" tIns="0" rIns="0" bIns="0" rtlCol="0">
            <a:noAutofit/>
          </a:bodyPr>
          <a:lstStyle/>
          <a:p>
            <a:endParaRPr/>
          </a:p>
        </p:txBody>
      </p:sp>
      <p:sp>
        <p:nvSpPr>
          <p:cNvPr id="1351" name="object 1351"/>
          <p:cNvSpPr/>
          <p:nvPr/>
        </p:nvSpPr>
        <p:spPr>
          <a:xfrm>
            <a:off x="9217365" y="1165565"/>
            <a:ext cx="94642" cy="4252"/>
          </a:xfrm>
          <a:custGeom>
            <a:avLst/>
            <a:gdLst/>
            <a:ahLst/>
            <a:cxnLst/>
            <a:rect l="l" t="t" r="r" b="b"/>
            <a:pathLst>
              <a:path w="94642" h="4252">
                <a:moveTo>
                  <a:pt x="1190" y="4252"/>
                </a:moveTo>
                <a:lnTo>
                  <a:pt x="94642" y="3037"/>
                </a:lnTo>
                <a:lnTo>
                  <a:pt x="94642" y="0"/>
                </a:lnTo>
                <a:lnTo>
                  <a:pt x="1190" y="1214"/>
                </a:lnTo>
                <a:lnTo>
                  <a:pt x="297" y="1822"/>
                </a:lnTo>
                <a:lnTo>
                  <a:pt x="0" y="2733"/>
                </a:lnTo>
                <a:lnTo>
                  <a:pt x="297" y="3644"/>
                </a:lnTo>
                <a:lnTo>
                  <a:pt x="1190" y="4252"/>
                </a:lnTo>
                <a:close/>
              </a:path>
            </a:pathLst>
          </a:custGeom>
          <a:solidFill>
            <a:srgbClr val="000000"/>
          </a:solidFill>
        </p:spPr>
        <p:txBody>
          <a:bodyPr wrap="square" lIns="0" tIns="0" rIns="0" bIns="0" rtlCol="0">
            <a:noAutofit/>
          </a:bodyPr>
          <a:lstStyle/>
          <a:p>
            <a:endParaRPr/>
          </a:p>
        </p:txBody>
      </p:sp>
      <p:sp>
        <p:nvSpPr>
          <p:cNvPr id="1352" name="object 1352"/>
          <p:cNvSpPr/>
          <p:nvPr/>
        </p:nvSpPr>
        <p:spPr>
          <a:xfrm>
            <a:off x="9137603" y="1166781"/>
            <a:ext cx="80952" cy="146699"/>
          </a:xfrm>
          <a:custGeom>
            <a:avLst/>
            <a:gdLst/>
            <a:ahLst/>
            <a:cxnLst/>
            <a:rect l="l" t="t" r="r" b="b"/>
            <a:pathLst>
              <a:path w="80952" h="146699">
                <a:moveTo>
                  <a:pt x="1488" y="145788"/>
                </a:moveTo>
                <a:lnTo>
                  <a:pt x="2380" y="133335"/>
                </a:lnTo>
                <a:lnTo>
                  <a:pt x="3571" y="121186"/>
                </a:lnTo>
                <a:lnTo>
                  <a:pt x="5059" y="108733"/>
                </a:lnTo>
                <a:lnTo>
                  <a:pt x="6845" y="96281"/>
                </a:lnTo>
                <a:lnTo>
                  <a:pt x="9226" y="84131"/>
                </a:lnTo>
                <a:lnTo>
                  <a:pt x="11904" y="72286"/>
                </a:lnTo>
                <a:lnTo>
                  <a:pt x="15178" y="61352"/>
                </a:lnTo>
                <a:lnTo>
                  <a:pt x="19345" y="50722"/>
                </a:lnTo>
                <a:lnTo>
                  <a:pt x="23809" y="40699"/>
                </a:lnTo>
                <a:lnTo>
                  <a:pt x="29166" y="31891"/>
                </a:lnTo>
                <a:lnTo>
                  <a:pt x="35714" y="23994"/>
                </a:lnTo>
                <a:lnTo>
                  <a:pt x="42559" y="17312"/>
                </a:lnTo>
                <a:lnTo>
                  <a:pt x="50595" y="11541"/>
                </a:lnTo>
                <a:lnTo>
                  <a:pt x="59821" y="7289"/>
                </a:lnTo>
                <a:lnTo>
                  <a:pt x="69642" y="4252"/>
                </a:lnTo>
                <a:lnTo>
                  <a:pt x="80952" y="3037"/>
                </a:lnTo>
                <a:lnTo>
                  <a:pt x="80952" y="0"/>
                </a:lnTo>
                <a:lnTo>
                  <a:pt x="69047" y="1214"/>
                </a:lnTo>
                <a:lnTo>
                  <a:pt x="58630" y="4252"/>
                </a:lnTo>
                <a:lnTo>
                  <a:pt x="49404" y="9111"/>
                </a:lnTo>
                <a:lnTo>
                  <a:pt x="40773" y="14882"/>
                </a:lnTo>
                <a:lnTo>
                  <a:pt x="33333" y="22171"/>
                </a:lnTo>
                <a:lnTo>
                  <a:pt x="26785" y="30068"/>
                </a:lnTo>
                <a:lnTo>
                  <a:pt x="21428" y="39484"/>
                </a:lnTo>
                <a:lnTo>
                  <a:pt x="16368" y="49507"/>
                </a:lnTo>
                <a:lnTo>
                  <a:pt x="12202" y="60137"/>
                </a:lnTo>
                <a:lnTo>
                  <a:pt x="8928" y="71679"/>
                </a:lnTo>
                <a:lnTo>
                  <a:pt x="6249" y="83524"/>
                </a:lnTo>
                <a:lnTo>
                  <a:pt x="3869" y="95673"/>
                </a:lnTo>
                <a:lnTo>
                  <a:pt x="2083" y="108126"/>
                </a:lnTo>
                <a:lnTo>
                  <a:pt x="595" y="120579"/>
                </a:lnTo>
                <a:lnTo>
                  <a:pt x="0" y="144269"/>
                </a:lnTo>
                <a:lnTo>
                  <a:pt x="892" y="146699"/>
                </a:lnTo>
                <a:lnTo>
                  <a:pt x="1488" y="145788"/>
                </a:lnTo>
                <a:close/>
              </a:path>
            </a:pathLst>
          </a:custGeom>
          <a:solidFill>
            <a:srgbClr val="000000"/>
          </a:solidFill>
        </p:spPr>
        <p:txBody>
          <a:bodyPr wrap="square" lIns="0" tIns="0" rIns="0" bIns="0" rtlCol="0">
            <a:noAutofit/>
          </a:bodyPr>
          <a:lstStyle/>
          <a:p>
            <a:endParaRPr/>
          </a:p>
        </p:txBody>
      </p:sp>
      <p:sp>
        <p:nvSpPr>
          <p:cNvPr id="1353" name="object 1353"/>
          <p:cNvSpPr/>
          <p:nvPr/>
        </p:nvSpPr>
        <p:spPr>
          <a:xfrm>
            <a:off x="9136115" y="1287359"/>
            <a:ext cx="2380" cy="26424"/>
          </a:xfrm>
          <a:custGeom>
            <a:avLst/>
            <a:gdLst/>
            <a:ahLst/>
            <a:cxnLst/>
            <a:rect l="l" t="t" r="r" b="b"/>
            <a:pathLst>
              <a:path w="2380" h="26424">
                <a:moveTo>
                  <a:pt x="1041" y="26272"/>
                </a:moveTo>
                <a:lnTo>
                  <a:pt x="1488" y="26424"/>
                </a:lnTo>
                <a:lnTo>
                  <a:pt x="2380" y="26120"/>
                </a:lnTo>
                <a:lnTo>
                  <a:pt x="1488" y="23690"/>
                </a:lnTo>
                <a:lnTo>
                  <a:pt x="2083" y="0"/>
                </a:lnTo>
                <a:lnTo>
                  <a:pt x="892" y="12756"/>
                </a:lnTo>
                <a:lnTo>
                  <a:pt x="0" y="25209"/>
                </a:lnTo>
                <a:lnTo>
                  <a:pt x="595" y="26120"/>
                </a:lnTo>
                <a:lnTo>
                  <a:pt x="1041" y="26272"/>
                </a:lnTo>
                <a:close/>
              </a:path>
            </a:pathLst>
          </a:custGeom>
          <a:solidFill>
            <a:srgbClr val="000000"/>
          </a:solidFill>
        </p:spPr>
        <p:txBody>
          <a:bodyPr wrap="square" lIns="0" tIns="0" rIns="0" bIns="0" rtlCol="0">
            <a:noAutofit/>
          </a:bodyPr>
          <a:lstStyle/>
          <a:p>
            <a:endParaRPr/>
          </a:p>
        </p:txBody>
      </p:sp>
      <p:sp>
        <p:nvSpPr>
          <p:cNvPr id="1354" name="object 1354"/>
          <p:cNvSpPr/>
          <p:nvPr/>
        </p:nvSpPr>
        <p:spPr>
          <a:xfrm>
            <a:off x="8973913" y="1205962"/>
            <a:ext cx="227082" cy="195599"/>
          </a:xfrm>
          <a:custGeom>
            <a:avLst/>
            <a:gdLst/>
            <a:ahLst/>
            <a:cxnLst/>
            <a:rect l="l" t="t" r="r" b="b"/>
            <a:pathLst>
              <a:path w="227082" h="195599">
                <a:moveTo>
                  <a:pt x="0" y="0"/>
                </a:moveTo>
                <a:lnTo>
                  <a:pt x="0" y="195599"/>
                </a:lnTo>
                <a:lnTo>
                  <a:pt x="162201" y="190739"/>
                </a:lnTo>
                <a:lnTo>
                  <a:pt x="169642" y="189221"/>
                </a:lnTo>
                <a:lnTo>
                  <a:pt x="176785" y="186487"/>
                </a:lnTo>
                <a:lnTo>
                  <a:pt x="189582" y="179501"/>
                </a:lnTo>
                <a:lnTo>
                  <a:pt x="200594" y="169782"/>
                </a:lnTo>
                <a:lnTo>
                  <a:pt x="205654" y="164011"/>
                </a:lnTo>
                <a:lnTo>
                  <a:pt x="213987" y="151255"/>
                </a:lnTo>
                <a:lnTo>
                  <a:pt x="217261" y="143965"/>
                </a:lnTo>
                <a:lnTo>
                  <a:pt x="220237" y="136372"/>
                </a:lnTo>
                <a:lnTo>
                  <a:pt x="222618" y="128779"/>
                </a:lnTo>
                <a:lnTo>
                  <a:pt x="224701" y="120579"/>
                </a:lnTo>
                <a:lnTo>
                  <a:pt x="225892" y="112378"/>
                </a:lnTo>
                <a:lnTo>
                  <a:pt x="226785" y="103874"/>
                </a:lnTo>
                <a:lnTo>
                  <a:pt x="227082" y="95066"/>
                </a:lnTo>
                <a:lnTo>
                  <a:pt x="226785" y="88991"/>
                </a:lnTo>
                <a:lnTo>
                  <a:pt x="224701" y="75020"/>
                </a:lnTo>
                <a:lnTo>
                  <a:pt x="222915" y="67427"/>
                </a:lnTo>
                <a:lnTo>
                  <a:pt x="220535" y="59833"/>
                </a:lnTo>
                <a:lnTo>
                  <a:pt x="217558" y="52240"/>
                </a:lnTo>
                <a:lnTo>
                  <a:pt x="213987" y="44951"/>
                </a:lnTo>
                <a:lnTo>
                  <a:pt x="209820" y="37661"/>
                </a:lnTo>
                <a:lnTo>
                  <a:pt x="205356" y="30676"/>
                </a:lnTo>
                <a:lnTo>
                  <a:pt x="199999" y="24298"/>
                </a:lnTo>
                <a:lnTo>
                  <a:pt x="194344" y="18223"/>
                </a:lnTo>
                <a:lnTo>
                  <a:pt x="188094" y="13363"/>
                </a:lnTo>
                <a:lnTo>
                  <a:pt x="181249" y="9111"/>
                </a:lnTo>
                <a:lnTo>
                  <a:pt x="173808" y="5770"/>
                </a:lnTo>
                <a:lnTo>
                  <a:pt x="165773" y="3948"/>
                </a:lnTo>
                <a:lnTo>
                  <a:pt x="157142" y="3037"/>
                </a:lnTo>
                <a:lnTo>
                  <a:pt x="0" y="0"/>
                </a:lnTo>
                <a:close/>
              </a:path>
            </a:pathLst>
          </a:custGeom>
          <a:solidFill>
            <a:srgbClr val="000000"/>
          </a:solidFill>
        </p:spPr>
        <p:txBody>
          <a:bodyPr wrap="square" lIns="0" tIns="0" rIns="0" bIns="0" rtlCol="0">
            <a:noAutofit/>
          </a:bodyPr>
          <a:lstStyle/>
          <a:p>
            <a:endParaRPr/>
          </a:p>
        </p:txBody>
      </p:sp>
      <p:sp>
        <p:nvSpPr>
          <p:cNvPr id="1355" name="object 1355"/>
          <p:cNvSpPr/>
          <p:nvPr/>
        </p:nvSpPr>
        <p:spPr>
          <a:xfrm>
            <a:off x="8973913" y="1204442"/>
            <a:ext cx="158630" cy="6074"/>
          </a:xfrm>
          <a:custGeom>
            <a:avLst/>
            <a:gdLst/>
            <a:ahLst/>
            <a:cxnLst/>
            <a:rect l="l" t="t" r="r" b="b"/>
            <a:pathLst>
              <a:path w="158630" h="6074">
                <a:moveTo>
                  <a:pt x="157142" y="3037"/>
                </a:moveTo>
                <a:lnTo>
                  <a:pt x="0" y="0"/>
                </a:lnTo>
                <a:lnTo>
                  <a:pt x="0" y="3037"/>
                </a:lnTo>
                <a:lnTo>
                  <a:pt x="157142" y="6074"/>
                </a:lnTo>
                <a:lnTo>
                  <a:pt x="158035" y="5467"/>
                </a:lnTo>
                <a:lnTo>
                  <a:pt x="158630" y="4555"/>
                </a:lnTo>
                <a:lnTo>
                  <a:pt x="158035" y="3644"/>
                </a:lnTo>
                <a:lnTo>
                  <a:pt x="157142" y="3037"/>
                </a:lnTo>
                <a:close/>
              </a:path>
            </a:pathLst>
          </a:custGeom>
          <a:solidFill>
            <a:srgbClr val="000000"/>
          </a:solidFill>
        </p:spPr>
        <p:txBody>
          <a:bodyPr wrap="square" lIns="0" tIns="0" rIns="0" bIns="0" rtlCol="0">
            <a:noAutofit/>
          </a:bodyPr>
          <a:lstStyle/>
          <a:p>
            <a:endParaRPr/>
          </a:p>
        </p:txBody>
      </p:sp>
      <p:sp>
        <p:nvSpPr>
          <p:cNvPr id="1356" name="object 1356"/>
          <p:cNvSpPr/>
          <p:nvPr/>
        </p:nvSpPr>
        <p:spPr>
          <a:xfrm>
            <a:off x="9131056" y="1207479"/>
            <a:ext cx="71428" cy="94762"/>
          </a:xfrm>
          <a:custGeom>
            <a:avLst/>
            <a:gdLst/>
            <a:ahLst/>
            <a:cxnLst/>
            <a:rect l="l" t="t" r="r" b="b"/>
            <a:pathLst>
              <a:path w="71428" h="94762">
                <a:moveTo>
                  <a:pt x="8333" y="3948"/>
                </a:moveTo>
                <a:lnTo>
                  <a:pt x="16071" y="5770"/>
                </a:lnTo>
                <a:lnTo>
                  <a:pt x="23511" y="8808"/>
                </a:lnTo>
                <a:lnTo>
                  <a:pt x="30059" y="13060"/>
                </a:lnTo>
                <a:lnTo>
                  <a:pt x="36309" y="17919"/>
                </a:lnTo>
                <a:lnTo>
                  <a:pt x="41666" y="23690"/>
                </a:lnTo>
                <a:lnTo>
                  <a:pt x="47023" y="30068"/>
                </a:lnTo>
                <a:lnTo>
                  <a:pt x="51487" y="37054"/>
                </a:lnTo>
                <a:lnTo>
                  <a:pt x="55654" y="44040"/>
                </a:lnTo>
                <a:lnTo>
                  <a:pt x="58928" y="51329"/>
                </a:lnTo>
                <a:lnTo>
                  <a:pt x="61904" y="58922"/>
                </a:lnTo>
                <a:lnTo>
                  <a:pt x="64285" y="66212"/>
                </a:lnTo>
                <a:lnTo>
                  <a:pt x="66071" y="73805"/>
                </a:lnTo>
                <a:lnTo>
                  <a:pt x="67261" y="80791"/>
                </a:lnTo>
                <a:lnTo>
                  <a:pt x="68154" y="87472"/>
                </a:lnTo>
                <a:lnTo>
                  <a:pt x="68452" y="93547"/>
                </a:lnTo>
                <a:lnTo>
                  <a:pt x="69047" y="94458"/>
                </a:lnTo>
                <a:lnTo>
                  <a:pt x="69940" y="94762"/>
                </a:lnTo>
                <a:lnTo>
                  <a:pt x="70833" y="94458"/>
                </a:lnTo>
                <a:lnTo>
                  <a:pt x="71428" y="93547"/>
                </a:lnTo>
                <a:lnTo>
                  <a:pt x="71130" y="87472"/>
                </a:lnTo>
                <a:lnTo>
                  <a:pt x="70237" y="80183"/>
                </a:lnTo>
                <a:lnTo>
                  <a:pt x="69047" y="73197"/>
                </a:lnTo>
                <a:lnTo>
                  <a:pt x="67261" y="65604"/>
                </a:lnTo>
                <a:lnTo>
                  <a:pt x="64880" y="57707"/>
                </a:lnTo>
                <a:lnTo>
                  <a:pt x="61904" y="50114"/>
                </a:lnTo>
                <a:lnTo>
                  <a:pt x="58035" y="42825"/>
                </a:lnTo>
                <a:lnTo>
                  <a:pt x="53868" y="35232"/>
                </a:lnTo>
                <a:lnTo>
                  <a:pt x="49404" y="28246"/>
                </a:lnTo>
                <a:lnTo>
                  <a:pt x="44047" y="21868"/>
                </a:lnTo>
                <a:lnTo>
                  <a:pt x="38095" y="15490"/>
                </a:lnTo>
                <a:lnTo>
                  <a:pt x="31845" y="10630"/>
                </a:lnTo>
                <a:lnTo>
                  <a:pt x="24702" y="6378"/>
                </a:lnTo>
                <a:lnTo>
                  <a:pt x="17261" y="2733"/>
                </a:lnTo>
                <a:lnTo>
                  <a:pt x="8928" y="911"/>
                </a:lnTo>
                <a:lnTo>
                  <a:pt x="0" y="0"/>
                </a:lnTo>
                <a:lnTo>
                  <a:pt x="0" y="3037"/>
                </a:lnTo>
                <a:lnTo>
                  <a:pt x="8333" y="3948"/>
                </a:lnTo>
                <a:close/>
              </a:path>
            </a:pathLst>
          </a:custGeom>
          <a:solidFill>
            <a:srgbClr val="000000"/>
          </a:solidFill>
        </p:spPr>
        <p:txBody>
          <a:bodyPr wrap="square" lIns="0" tIns="0" rIns="0" bIns="0" rtlCol="0">
            <a:noAutofit/>
          </a:bodyPr>
          <a:lstStyle/>
          <a:p>
            <a:endParaRPr/>
          </a:p>
        </p:txBody>
      </p:sp>
      <p:sp>
        <p:nvSpPr>
          <p:cNvPr id="1357" name="object 1357"/>
          <p:cNvSpPr/>
          <p:nvPr/>
        </p:nvSpPr>
        <p:spPr>
          <a:xfrm>
            <a:off x="9134926" y="1301027"/>
            <a:ext cx="67559" cy="97192"/>
          </a:xfrm>
          <a:custGeom>
            <a:avLst/>
            <a:gdLst/>
            <a:ahLst/>
            <a:cxnLst/>
            <a:rect l="l" t="t" r="r" b="b"/>
            <a:pathLst>
              <a:path w="67559" h="97192">
                <a:moveTo>
                  <a:pt x="8333" y="92636"/>
                </a:moveTo>
                <a:lnTo>
                  <a:pt x="892" y="94154"/>
                </a:lnTo>
                <a:lnTo>
                  <a:pt x="0" y="94762"/>
                </a:lnTo>
                <a:lnTo>
                  <a:pt x="0" y="95977"/>
                </a:lnTo>
                <a:lnTo>
                  <a:pt x="297" y="96888"/>
                </a:lnTo>
                <a:lnTo>
                  <a:pt x="1488" y="97192"/>
                </a:lnTo>
                <a:lnTo>
                  <a:pt x="8928" y="95673"/>
                </a:lnTo>
                <a:lnTo>
                  <a:pt x="16368" y="92940"/>
                </a:lnTo>
                <a:lnTo>
                  <a:pt x="22916" y="89599"/>
                </a:lnTo>
                <a:lnTo>
                  <a:pt x="29464" y="85650"/>
                </a:lnTo>
                <a:lnTo>
                  <a:pt x="35118" y="81094"/>
                </a:lnTo>
                <a:lnTo>
                  <a:pt x="40773" y="75627"/>
                </a:lnTo>
                <a:lnTo>
                  <a:pt x="45833" y="69856"/>
                </a:lnTo>
                <a:lnTo>
                  <a:pt x="49999" y="63782"/>
                </a:lnTo>
                <a:lnTo>
                  <a:pt x="54166" y="56796"/>
                </a:lnTo>
                <a:lnTo>
                  <a:pt x="57737" y="49507"/>
                </a:lnTo>
                <a:lnTo>
                  <a:pt x="60714" y="41914"/>
                </a:lnTo>
                <a:lnTo>
                  <a:pt x="63095" y="34017"/>
                </a:lnTo>
                <a:lnTo>
                  <a:pt x="65178" y="25816"/>
                </a:lnTo>
                <a:lnTo>
                  <a:pt x="66368" y="17616"/>
                </a:lnTo>
                <a:lnTo>
                  <a:pt x="67261" y="8808"/>
                </a:lnTo>
                <a:lnTo>
                  <a:pt x="67559" y="0"/>
                </a:lnTo>
                <a:lnTo>
                  <a:pt x="64583" y="0"/>
                </a:lnTo>
                <a:lnTo>
                  <a:pt x="64285" y="8808"/>
                </a:lnTo>
                <a:lnTo>
                  <a:pt x="63392" y="17008"/>
                </a:lnTo>
                <a:lnTo>
                  <a:pt x="62202" y="25209"/>
                </a:lnTo>
                <a:lnTo>
                  <a:pt x="60118" y="33409"/>
                </a:lnTo>
                <a:lnTo>
                  <a:pt x="57737" y="40699"/>
                </a:lnTo>
                <a:lnTo>
                  <a:pt x="54761" y="48292"/>
                </a:lnTo>
                <a:lnTo>
                  <a:pt x="51785" y="55581"/>
                </a:lnTo>
                <a:lnTo>
                  <a:pt x="47618" y="61960"/>
                </a:lnTo>
                <a:lnTo>
                  <a:pt x="43452" y="68034"/>
                </a:lnTo>
                <a:lnTo>
                  <a:pt x="38392" y="73805"/>
                </a:lnTo>
                <a:lnTo>
                  <a:pt x="33333" y="78664"/>
                </a:lnTo>
                <a:lnTo>
                  <a:pt x="27678" y="83220"/>
                </a:lnTo>
                <a:lnTo>
                  <a:pt x="21726" y="87169"/>
                </a:lnTo>
                <a:lnTo>
                  <a:pt x="15178" y="89902"/>
                </a:lnTo>
                <a:lnTo>
                  <a:pt x="8333" y="92636"/>
                </a:lnTo>
                <a:lnTo>
                  <a:pt x="1190" y="94154"/>
                </a:lnTo>
                <a:lnTo>
                  <a:pt x="8333" y="92636"/>
                </a:lnTo>
                <a:close/>
              </a:path>
            </a:pathLst>
          </a:custGeom>
          <a:solidFill>
            <a:srgbClr val="000000"/>
          </a:solidFill>
        </p:spPr>
        <p:txBody>
          <a:bodyPr wrap="square" lIns="0" tIns="0" rIns="0" bIns="0" rtlCol="0">
            <a:noAutofit/>
          </a:bodyPr>
          <a:lstStyle/>
          <a:p>
            <a:endParaRPr/>
          </a:p>
        </p:txBody>
      </p:sp>
      <p:sp>
        <p:nvSpPr>
          <p:cNvPr id="1358" name="object 1358"/>
          <p:cNvSpPr/>
          <p:nvPr/>
        </p:nvSpPr>
        <p:spPr>
          <a:xfrm>
            <a:off x="8973914" y="1398220"/>
            <a:ext cx="162201" cy="4859"/>
          </a:xfrm>
          <a:custGeom>
            <a:avLst/>
            <a:gdLst/>
            <a:ahLst/>
            <a:cxnLst/>
            <a:rect l="l" t="t" r="r" b="b"/>
            <a:pathLst>
              <a:path w="162201" h="4859">
                <a:moveTo>
                  <a:pt x="1488" y="3340"/>
                </a:moveTo>
                <a:lnTo>
                  <a:pt x="0" y="4859"/>
                </a:lnTo>
                <a:lnTo>
                  <a:pt x="162201" y="0"/>
                </a:lnTo>
                <a:lnTo>
                  <a:pt x="1488" y="3340"/>
                </a:lnTo>
                <a:close/>
              </a:path>
            </a:pathLst>
          </a:custGeom>
          <a:solidFill>
            <a:srgbClr val="000000"/>
          </a:solidFill>
        </p:spPr>
        <p:txBody>
          <a:bodyPr wrap="square" lIns="0" tIns="0" rIns="0" bIns="0" rtlCol="0">
            <a:noAutofit/>
          </a:bodyPr>
          <a:lstStyle/>
          <a:p>
            <a:endParaRPr/>
          </a:p>
        </p:txBody>
      </p:sp>
      <p:sp>
        <p:nvSpPr>
          <p:cNvPr id="1359" name="object 1359"/>
          <p:cNvSpPr/>
          <p:nvPr/>
        </p:nvSpPr>
        <p:spPr>
          <a:xfrm>
            <a:off x="8972723" y="1395182"/>
            <a:ext cx="163392" cy="7896"/>
          </a:xfrm>
          <a:custGeom>
            <a:avLst/>
            <a:gdLst/>
            <a:ahLst/>
            <a:cxnLst/>
            <a:rect l="l" t="t" r="r" b="b"/>
            <a:pathLst>
              <a:path w="163392" h="7896">
                <a:moveTo>
                  <a:pt x="0" y="6378"/>
                </a:moveTo>
                <a:lnTo>
                  <a:pt x="148" y="6833"/>
                </a:lnTo>
                <a:lnTo>
                  <a:pt x="297" y="7289"/>
                </a:lnTo>
                <a:lnTo>
                  <a:pt x="1190" y="7896"/>
                </a:lnTo>
                <a:lnTo>
                  <a:pt x="2678" y="6378"/>
                </a:lnTo>
                <a:lnTo>
                  <a:pt x="163392" y="3037"/>
                </a:lnTo>
                <a:lnTo>
                  <a:pt x="163392" y="0"/>
                </a:lnTo>
                <a:lnTo>
                  <a:pt x="1190" y="4859"/>
                </a:lnTo>
                <a:lnTo>
                  <a:pt x="297" y="5467"/>
                </a:lnTo>
                <a:lnTo>
                  <a:pt x="0" y="6378"/>
                </a:lnTo>
                <a:close/>
              </a:path>
            </a:pathLst>
          </a:custGeom>
          <a:solidFill>
            <a:srgbClr val="000000"/>
          </a:solidFill>
        </p:spPr>
        <p:txBody>
          <a:bodyPr wrap="square" lIns="0" tIns="0" rIns="0" bIns="0" rtlCol="0">
            <a:noAutofit/>
          </a:bodyPr>
          <a:lstStyle/>
          <a:p>
            <a:endParaRPr/>
          </a:p>
        </p:txBody>
      </p:sp>
      <p:sp>
        <p:nvSpPr>
          <p:cNvPr id="1360" name="object 1360"/>
          <p:cNvSpPr/>
          <p:nvPr/>
        </p:nvSpPr>
        <p:spPr>
          <a:xfrm>
            <a:off x="8972425" y="1204443"/>
            <a:ext cx="2976" cy="197117"/>
          </a:xfrm>
          <a:custGeom>
            <a:avLst/>
            <a:gdLst/>
            <a:ahLst/>
            <a:cxnLst/>
            <a:rect l="l" t="t" r="r" b="b"/>
            <a:pathLst>
              <a:path w="2976" h="197117">
                <a:moveTo>
                  <a:pt x="2380" y="607"/>
                </a:moveTo>
                <a:lnTo>
                  <a:pt x="1488" y="0"/>
                </a:lnTo>
                <a:lnTo>
                  <a:pt x="1488" y="3037"/>
                </a:lnTo>
                <a:lnTo>
                  <a:pt x="0" y="1518"/>
                </a:lnTo>
                <a:lnTo>
                  <a:pt x="0" y="197117"/>
                </a:lnTo>
                <a:lnTo>
                  <a:pt x="2976" y="197117"/>
                </a:lnTo>
                <a:lnTo>
                  <a:pt x="2976" y="1518"/>
                </a:lnTo>
                <a:lnTo>
                  <a:pt x="2380" y="607"/>
                </a:lnTo>
                <a:close/>
              </a:path>
            </a:pathLst>
          </a:custGeom>
          <a:solidFill>
            <a:srgbClr val="000000"/>
          </a:solidFill>
        </p:spPr>
        <p:txBody>
          <a:bodyPr wrap="square" lIns="0" tIns="0" rIns="0" bIns="0" rtlCol="0">
            <a:noAutofit/>
          </a:bodyPr>
          <a:lstStyle/>
          <a:p>
            <a:endParaRPr/>
          </a:p>
        </p:txBody>
      </p:sp>
      <p:sp>
        <p:nvSpPr>
          <p:cNvPr id="1361" name="object 1361"/>
          <p:cNvSpPr/>
          <p:nvPr/>
        </p:nvSpPr>
        <p:spPr>
          <a:xfrm>
            <a:off x="8972425" y="1204443"/>
            <a:ext cx="1488" cy="3037"/>
          </a:xfrm>
          <a:custGeom>
            <a:avLst/>
            <a:gdLst/>
            <a:ahLst/>
            <a:cxnLst/>
            <a:rect l="l" t="t" r="r" b="b"/>
            <a:pathLst>
              <a:path w="1488" h="3037">
                <a:moveTo>
                  <a:pt x="1488" y="0"/>
                </a:moveTo>
                <a:lnTo>
                  <a:pt x="595" y="607"/>
                </a:lnTo>
                <a:lnTo>
                  <a:pt x="0" y="1518"/>
                </a:lnTo>
                <a:lnTo>
                  <a:pt x="1488" y="3037"/>
                </a:lnTo>
                <a:lnTo>
                  <a:pt x="1488" y="0"/>
                </a:lnTo>
                <a:close/>
              </a:path>
            </a:pathLst>
          </a:custGeom>
          <a:solidFill>
            <a:srgbClr val="000000"/>
          </a:solidFill>
        </p:spPr>
        <p:txBody>
          <a:bodyPr wrap="square" lIns="0" tIns="0" rIns="0" bIns="0" rtlCol="0">
            <a:noAutofit/>
          </a:bodyPr>
          <a:lstStyle/>
          <a:p>
            <a:endParaRPr/>
          </a:p>
        </p:txBody>
      </p:sp>
      <p:sp>
        <p:nvSpPr>
          <p:cNvPr id="1362" name="object 1362"/>
          <p:cNvSpPr/>
          <p:nvPr/>
        </p:nvSpPr>
        <p:spPr>
          <a:xfrm>
            <a:off x="8976294" y="1206873"/>
            <a:ext cx="217558" cy="88687"/>
          </a:xfrm>
          <a:custGeom>
            <a:avLst/>
            <a:gdLst/>
            <a:ahLst/>
            <a:cxnLst/>
            <a:rect l="l" t="t" r="r" b="b"/>
            <a:pathLst>
              <a:path w="217558" h="88687">
                <a:moveTo>
                  <a:pt x="0" y="0"/>
                </a:moveTo>
                <a:lnTo>
                  <a:pt x="0" y="88687"/>
                </a:lnTo>
                <a:lnTo>
                  <a:pt x="217558" y="86258"/>
                </a:lnTo>
                <a:lnTo>
                  <a:pt x="216666" y="74716"/>
                </a:lnTo>
                <a:lnTo>
                  <a:pt x="213392" y="61352"/>
                </a:lnTo>
                <a:lnTo>
                  <a:pt x="211308" y="54366"/>
                </a:lnTo>
                <a:lnTo>
                  <a:pt x="208332" y="47684"/>
                </a:lnTo>
                <a:lnTo>
                  <a:pt x="205058" y="40699"/>
                </a:lnTo>
                <a:lnTo>
                  <a:pt x="201189" y="34017"/>
                </a:lnTo>
                <a:lnTo>
                  <a:pt x="196725" y="27942"/>
                </a:lnTo>
                <a:lnTo>
                  <a:pt x="191963" y="21868"/>
                </a:lnTo>
                <a:lnTo>
                  <a:pt x="186308" y="16704"/>
                </a:lnTo>
                <a:lnTo>
                  <a:pt x="180356" y="12149"/>
                </a:lnTo>
                <a:lnTo>
                  <a:pt x="173808" y="8200"/>
                </a:lnTo>
                <a:lnTo>
                  <a:pt x="166666" y="5467"/>
                </a:lnTo>
                <a:lnTo>
                  <a:pt x="159225" y="3340"/>
                </a:lnTo>
                <a:lnTo>
                  <a:pt x="150892" y="2733"/>
                </a:lnTo>
                <a:lnTo>
                  <a:pt x="0" y="0"/>
                </a:lnTo>
                <a:close/>
              </a:path>
            </a:pathLst>
          </a:custGeom>
          <a:solidFill>
            <a:srgbClr val="BEBEBE"/>
          </a:solidFill>
        </p:spPr>
        <p:txBody>
          <a:bodyPr wrap="square" lIns="0" tIns="0" rIns="0" bIns="0" rtlCol="0">
            <a:noAutofit/>
          </a:bodyPr>
          <a:lstStyle/>
          <a:p>
            <a:endParaRPr/>
          </a:p>
        </p:txBody>
      </p:sp>
      <p:sp>
        <p:nvSpPr>
          <p:cNvPr id="1363" name="object 1363"/>
          <p:cNvSpPr/>
          <p:nvPr/>
        </p:nvSpPr>
        <p:spPr>
          <a:xfrm>
            <a:off x="8976294" y="1205353"/>
            <a:ext cx="152380" cy="5770"/>
          </a:xfrm>
          <a:custGeom>
            <a:avLst/>
            <a:gdLst/>
            <a:ahLst/>
            <a:cxnLst/>
            <a:rect l="l" t="t" r="r" b="b"/>
            <a:pathLst>
              <a:path w="152380" h="5770">
                <a:moveTo>
                  <a:pt x="150892" y="2733"/>
                </a:moveTo>
                <a:lnTo>
                  <a:pt x="0" y="0"/>
                </a:lnTo>
                <a:lnTo>
                  <a:pt x="0" y="3037"/>
                </a:lnTo>
                <a:lnTo>
                  <a:pt x="150892" y="5770"/>
                </a:lnTo>
                <a:lnTo>
                  <a:pt x="151785" y="5163"/>
                </a:lnTo>
                <a:lnTo>
                  <a:pt x="152380" y="4252"/>
                </a:lnTo>
                <a:lnTo>
                  <a:pt x="151785" y="3340"/>
                </a:lnTo>
                <a:lnTo>
                  <a:pt x="150892" y="2733"/>
                </a:lnTo>
                <a:close/>
              </a:path>
            </a:pathLst>
          </a:custGeom>
          <a:solidFill>
            <a:srgbClr val="000000"/>
          </a:solidFill>
        </p:spPr>
        <p:txBody>
          <a:bodyPr wrap="square" lIns="0" tIns="0" rIns="0" bIns="0" rtlCol="0">
            <a:noAutofit/>
          </a:bodyPr>
          <a:lstStyle/>
          <a:p>
            <a:endParaRPr/>
          </a:p>
        </p:txBody>
      </p:sp>
      <p:sp>
        <p:nvSpPr>
          <p:cNvPr id="1364" name="object 1364"/>
          <p:cNvSpPr/>
          <p:nvPr/>
        </p:nvSpPr>
        <p:spPr>
          <a:xfrm>
            <a:off x="9127187" y="1208087"/>
            <a:ext cx="68154" cy="86258"/>
          </a:xfrm>
          <a:custGeom>
            <a:avLst/>
            <a:gdLst/>
            <a:ahLst/>
            <a:cxnLst/>
            <a:rect l="l" t="t" r="r" b="b"/>
            <a:pathLst>
              <a:path w="68154" h="86258">
                <a:moveTo>
                  <a:pt x="8035" y="3644"/>
                </a:moveTo>
                <a:lnTo>
                  <a:pt x="15178" y="5770"/>
                </a:lnTo>
                <a:lnTo>
                  <a:pt x="22321" y="8200"/>
                </a:lnTo>
                <a:lnTo>
                  <a:pt x="28571" y="12149"/>
                </a:lnTo>
                <a:lnTo>
                  <a:pt x="34523" y="16704"/>
                </a:lnTo>
                <a:lnTo>
                  <a:pt x="39880" y="21564"/>
                </a:lnTo>
                <a:lnTo>
                  <a:pt x="44642" y="27639"/>
                </a:lnTo>
                <a:lnTo>
                  <a:pt x="49106" y="33713"/>
                </a:lnTo>
                <a:lnTo>
                  <a:pt x="52976" y="40091"/>
                </a:lnTo>
                <a:lnTo>
                  <a:pt x="55952" y="47077"/>
                </a:lnTo>
                <a:lnTo>
                  <a:pt x="58928" y="53759"/>
                </a:lnTo>
                <a:lnTo>
                  <a:pt x="61011" y="60441"/>
                </a:lnTo>
                <a:lnTo>
                  <a:pt x="62797" y="67123"/>
                </a:lnTo>
                <a:lnTo>
                  <a:pt x="64285" y="73805"/>
                </a:lnTo>
                <a:lnTo>
                  <a:pt x="64880" y="79576"/>
                </a:lnTo>
                <a:lnTo>
                  <a:pt x="65178" y="85043"/>
                </a:lnTo>
                <a:lnTo>
                  <a:pt x="66666" y="83524"/>
                </a:lnTo>
                <a:lnTo>
                  <a:pt x="65773" y="85954"/>
                </a:lnTo>
                <a:lnTo>
                  <a:pt x="66666" y="86258"/>
                </a:lnTo>
                <a:lnTo>
                  <a:pt x="67112" y="86106"/>
                </a:lnTo>
                <a:lnTo>
                  <a:pt x="67559" y="85954"/>
                </a:lnTo>
                <a:lnTo>
                  <a:pt x="68154" y="85043"/>
                </a:lnTo>
                <a:lnTo>
                  <a:pt x="67856" y="79576"/>
                </a:lnTo>
                <a:lnTo>
                  <a:pt x="67261" y="73197"/>
                </a:lnTo>
                <a:lnTo>
                  <a:pt x="65773" y="66515"/>
                </a:lnTo>
                <a:lnTo>
                  <a:pt x="63987" y="59833"/>
                </a:lnTo>
                <a:lnTo>
                  <a:pt x="61904" y="52544"/>
                </a:lnTo>
                <a:lnTo>
                  <a:pt x="58928" y="45862"/>
                </a:lnTo>
                <a:lnTo>
                  <a:pt x="55356" y="38876"/>
                </a:lnTo>
                <a:lnTo>
                  <a:pt x="51487" y="31891"/>
                </a:lnTo>
                <a:lnTo>
                  <a:pt x="47023" y="25816"/>
                </a:lnTo>
                <a:lnTo>
                  <a:pt x="42261" y="19742"/>
                </a:lnTo>
                <a:lnTo>
                  <a:pt x="36309" y="14275"/>
                </a:lnTo>
                <a:lnTo>
                  <a:pt x="30357" y="9719"/>
                </a:lnTo>
                <a:lnTo>
                  <a:pt x="23511" y="5770"/>
                </a:lnTo>
                <a:lnTo>
                  <a:pt x="16368" y="2733"/>
                </a:lnTo>
                <a:lnTo>
                  <a:pt x="8630" y="607"/>
                </a:lnTo>
                <a:lnTo>
                  <a:pt x="0" y="0"/>
                </a:lnTo>
                <a:lnTo>
                  <a:pt x="0" y="3037"/>
                </a:lnTo>
                <a:lnTo>
                  <a:pt x="8035" y="3644"/>
                </a:lnTo>
                <a:close/>
              </a:path>
            </a:pathLst>
          </a:custGeom>
          <a:solidFill>
            <a:srgbClr val="000000"/>
          </a:solidFill>
        </p:spPr>
        <p:txBody>
          <a:bodyPr wrap="square" lIns="0" tIns="0" rIns="0" bIns="0" rtlCol="0">
            <a:noAutofit/>
          </a:bodyPr>
          <a:lstStyle/>
          <a:p>
            <a:endParaRPr/>
          </a:p>
        </p:txBody>
      </p:sp>
      <p:sp>
        <p:nvSpPr>
          <p:cNvPr id="1365" name="object 1365"/>
          <p:cNvSpPr/>
          <p:nvPr/>
        </p:nvSpPr>
        <p:spPr>
          <a:xfrm>
            <a:off x="9192365" y="1291612"/>
            <a:ext cx="1488" cy="2429"/>
          </a:xfrm>
          <a:custGeom>
            <a:avLst/>
            <a:gdLst/>
            <a:ahLst/>
            <a:cxnLst/>
            <a:rect l="l" t="t" r="r" b="b"/>
            <a:pathLst>
              <a:path w="1488" h="2429">
                <a:moveTo>
                  <a:pt x="595" y="2429"/>
                </a:moveTo>
                <a:lnTo>
                  <a:pt x="1488" y="0"/>
                </a:lnTo>
                <a:lnTo>
                  <a:pt x="0" y="1518"/>
                </a:lnTo>
                <a:lnTo>
                  <a:pt x="595" y="2429"/>
                </a:lnTo>
                <a:close/>
              </a:path>
            </a:pathLst>
          </a:custGeom>
          <a:solidFill>
            <a:srgbClr val="000000"/>
          </a:solidFill>
        </p:spPr>
        <p:txBody>
          <a:bodyPr wrap="square" lIns="0" tIns="0" rIns="0" bIns="0" rtlCol="0">
            <a:noAutofit/>
          </a:bodyPr>
          <a:lstStyle/>
          <a:p>
            <a:endParaRPr/>
          </a:p>
        </p:txBody>
      </p:sp>
      <p:sp>
        <p:nvSpPr>
          <p:cNvPr id="1366" name="object 1366"/>
          <p:cNvSpPr/>
          <p:nvPr/>
        </p:nvSpPr>
        <p:spPr>
          <a:xfrm>
            <a:off x="8976294" y="1294650"/>
            <a:ext cx="217558" cy="2429"/>
          </a:xfrm>
          <a:custGeom>
            <a:avLst/>
            <a:gdLst/>
            <a:ahLst/>
            <a:cxnLst/>
            <a:rect l="l" t="t" r="r" b="b"/>
            <a:pathLst>
              <a:path w="217558" h="2429">
                <a:moveTo>
                  <a:pt x="1488" y="911"/>
                </a:moveTo>
                <a:lnTo>
                  <a:pt x="0" y="2429"/>
                </a:lnTo>
                <a:lnTo>
                  <a:pt x="217558" y="0"/>
                </a:lnTo>
                <a:lnTo>
                  <a:pt x="1488" y="911"/>
                </a:lnTo>
                <a:close/>
              </a:path>
            </a:pathLst>
          </a:custGeom>
          <a:solidFill>
            <a:srgbClr val="000000"/>
          </a:solidFill>
        </p:spPr>
        <p:txBody>
          <a:bodyPr wrap="square" lIns="0" tIns="0" rIns="0" bIns="0" rtlCol="0">
            <a:noAutofit/>
          </a:bodyPr>
          <a:lstStyle/>
          <a:p>
            <a:endParaRPr/>
          </a:p>
        </p:txBody>
      </p:sp>
      <p:sp>
        <p:nvSpPr>
          <p:cNvPr id="1367" name="object 1367"/>
          <p:cNvSpPr/>
          <p:nvPr/>
        </p:nvSpPr>
        <p:spPr>
          <a:xfrm>
            <a:off x="8975105" y="1291612"/>
            <a:ext cx="218749" cy="5467"/>
          </a:xfrm>
          <a:custGeom>
            <a:avLst/>
            <a:gdLst/>
            <a:ahLst/>
            <a:cxnLst/>
            <a:rect l="l" t="t" r="r" b="b"/>
            <a:pathLst>
              <a:path w="218749" h="5467">
                <a:moveTo>
                  <a:pt x="0" y="3948"/>
                </a:moveTo>
                <a:lnTo>
                  <a:pt x="148" y="4404"/>
                </a:lnTo>
                <a:lnTo>
                  <a:pt x="297" y="4859"/>
                </a:lnTo>
                <a:lnTo>
                  <a:pt x="1190" y="5467"/>
                </a:lnTo>
                <a:lnTo>
                  <a:pt x="2678" y="3948"/>
                </a:lnTo>
                <a:lnTo>
                  <a:pt x="218749" y="3037"/>
                </a:lnTo>
                <a:lnTo>
                  <a:pt x="218749" y="0"/>
                </a:lnTo>
                <a:lnTo>
                  <a:pt x="1190" y="2429"/>
                </a:lnTo>
                <a:lnTo>
                  <a:pt x="297" y="3037"/>
                </a:lnTo>
                <a:lnTo>
                  <a:pt x="0" y="3948"/>
                </a:lnTo>
                <a:close/>
              </a:path>
            </a:pathLst>
          </a:custGeom>
          <a:solidFill>
            <a:srgbClr val="000000"/>
          </a:solidFill>
        </p:spPr>
        <p:txBody>
          <a:bodyPr wrap="square" lIns="0" tIns="0" rIns="0" bIns="0" rtlCol="0">
            <a:noAutofit/>
          </a:bodyPr>
          <a:lstStyle/>
          <a:p>
            <a:endParaRPr/>
          </a:p>
        </p:txBody>
      </p:sp>
      <p:sp>
        <p:nvSpPr>
          <p:cNvPr id="1368" name="object 1368"/>
          <p:cNvSpPr/>
          <p:nvPr/>
        </p:nvSpPr>
        <p:spPr>
          <a:xfrm>
            <a:off x="8974806" y="1205353"/>
            <a:ext cx="2976" cy="90206"/>
          </a:xfrm>
          <a:custGeom>
            <a:avLst/>
            <a:gdLst/>
            <a:ahLst/>
            <a:cxnLst/>
            <a:rect l="l" t="t" r="r" b="b"/>
            <a:pathLst>
              <a:path w="2976" h="90206">
                <a:moveTo>
                  <a:pt x="2380" y="607"/>
                </a:moveTo>
                <a:lnTo>
                  <a:pt x="1488" y="0"/>
                </a:lnTo>
                <a:lnTo>
                  <a:pt x="1488" y="3037"/>
                </a:lnTo>
                <a:lnTo>
                  <a:pt x="0" y="1518"/>
                </a:lnTo>
                <a:lnTo>
                  <a:pt x="0" y="90206"/>
                </a:lnTo>
                <a:lnTo>
                  <a:pt x="2976" y="90206"/>
                </a:lnTo>
                <a:lnTo>
                  <a:pt x="2976" y="1518"/>
                </a:lnTo>
                <a:lnTo>
                  <a:pt x="2380" y="607"/>
                </a:lnTo>
                <a:close/>
              </a:path>
            </a:pathLst>
          </a:custGeom>
          <a:solidFill>
            <a:srgbClr val="000000"/>
          </a:solidFill>
        </p:spPr>
        <p:txBody>
          <a:bodyPr wrap="square" lIns="0" tIns="0" rIns="0" bIns="0" rtlCol="0">
            <a:noAutofit/>
          </a:bodyPr>
          <a:lstStyle/>
          <a:p>
            <a:endParaRPr/>
          </a:p>
        </p:txBody>
      </p:sp>
      <p:sp>
        <p:nvSpPr>
          <p:cNvPr id="1369" name="object 1369"/>
          <p:cNvSpPr/>
          <p:nvPr/>
        </p:nvSpPr>
        <p:spPr>
          <a:xfrm>
            <a:off x="8974806" y="1205354"/>
            <a:ext cx="1488" cy="3037"/>
          </a:xfrm>
          <a:custGeom>
            <a:avLst/>
            <a:gdLst/>
            <a:ahLst/>
            <a:cxnLst/>
            <a:rect l="l" t="t" r="r" b="b"/>
            <a:pathLst>
              <a:path w="1488" h="3037">
                <a:moveTo>
                  <a:pt x="1488" y="0"/>
                </a:moveTo>
                <a:lnTo>
                  <a:pt x="595" y="607"/>
                </a:lnTo>
                <a:lnTo>
                  <a:pt x="0" y="1518"/>
                </a:lnTo>
                <a:lnTo>
                  <a:pt x="1488" y="3037"/>
                </a:lnTo>
                <a:lnTo>
                  <a:pt x="1488" y="0"/>
                </a:lnTo>
                <a:close/>
              </a:path>
            </a:pathLst>
          </a:custGeom>
          <a:solidFill>
            <a:srgbClr val="000000"/>
          </a:solidFill>
        </p:spPr>
        <p:txBody>
          <a:bodyPr wrap="square" lIns="0" tIns="0" rIns="0" bIns="0" rtlCol="0">
            <a:noAutofit/>
          </a:bodyPr>
          <a:lstStyle/>
          <a:p>
            <a:endParaRPr/>
          </a:p>
        </p:txBody>
      </p:sp>
      <p:sp>
        <p:nvSpPr>
          <p:cNvPr id="1370" name="object 1370"/>
          <p:cNvSpPr/>
          <p:nvPr/>
        </p:nvSpPr>
        <p:spPr>
          <a:xfrm>
            <a:off x="8987008" y="1207176"/>
            <a:ext cx="200594" cy="57404"/>
          </a:xfrm>
          <a:custGeom>
            <a:avLst/>
            <a:gdLst/>
            <a:ahLst/>
            <a:cxnLst/>
            <a:rect l="l" t="t" r="r" b="b"/>
            <a:pathLst>
              <a:path w="200594" h="57404">
                <a:moveTo>
                  <a:pt x="0" y="0"/>
                </a:moveTo>
                <a:lnTo>
                  <a:pt x="297" y="57404"/>
                </a:lnTo>
                <a:lnTo>
                  <a:pt x="200594" y="54974"/>
                </a:lnTo>
                <a:lnTo>
                  <a:pt x="198213" y="48899"/>
                </a:lnTo>
                <a:lnTo>
                  <a:pt x="195832" y="43129"/>
                </a:lnTo>
                <a:lnTo>
                  <a:pt x="193154" y="37965"/>
                </a:lnTo>
                <a:lnTo>
                  <a:pt x="190177" y="33106"/>
                </a:lnTo>
                <a:lnTo>
                  <a:pt x="186904" y="28550"/>
                </a:lnTo>
                <a:lnTo>
                  <a:pt x="183630" y="24298"/>
                </a:lnTo>
                <a:lnTo>
                  <a:pt x="180356" y="20349"/>
                </a:lnTo>
                <a:lnTo>
                  <a:pt x="176785" y="16704"/>
                </a:lnTo>
                <a:lnTo>
                  <a:pt x="172916" y="13667"/>
                </a:lnTo>
                <a:lnTo>
                  <a:pt x="169047" y="10934"/>
                </a:lnTo>
                <a:lnTo>
                  <a:pt x="165178" y="8504"/>
                </a:lnTo>
                <a:lnTo>
                  <a:pt x="161309" y="6681"/>
                </a:lnTo>
                <a:lnTo>
                  <a:pt x="157142" y="4859"/>
                </a:lnTo>
                <a:lnTo>
                  <a:pt x="152975" y="3644"/>
                </a:lnTo>
                <a:lnTo>
                  <a:pt x="149106" y="3037"/>
                </a:lnTo>
                <a:lnTo>
                  <a:pt x="144940" y="2429"/>
                </a:lnTo>
                <a:lnTo>
                  <a:pt x="0" y="0"/>
                </a:lnTo>
                <a:close/>
              </a:path>
            </a:pathLst>
          </a:custGeom>
          <a:solidFill>
            <a:srgbClr val="FFFFFF"/>
          </a:solidFill>
        </p:spPr>
        <p:txBody>
          <a:bodyPr wrap="square" lIns="0" tIns="0" rIns="0" bIns="0" rtlCol="0">
            <a:noAutofit/>
          </a:bodyPr>
          <a:lstStyle/>
          <a:p>
            <a:endParaRPr/>
          </a:p>
        </p:txBody>
      </p:sp>
      <p:sp>
        <p:nvSpPr>
          <p:cNvPr id="1371" name="object 1371"/>
          <p:cNvSpPr/>
          <p:nvPr/>
        </p:nvSpPr>
        <p:spPr>
          <a:xfrm>
            <a:off x="8900402" y="1205657"/>
            <a:ext cx="146428" cy="196206"/>
          </a:xfrm>
          <a:custGeom>
            <a:avLst/>
            <a:gdLst/>
            <a:ahLst/>
            <a:cxnLst/>
            <a:rect l="l" t="t" r="r" b="b"/>
            <a:pathLst>
              <a:path w="146428" h="196206">
                <a:moveTo>
                  <a:pt x="73511" y="0"/>
                </a:moveTo>
                <a:lnTo>
                  <a:pt x="66071" y="607"/>
                </a:lnTo>
                <a:lnTo>
                  <a:pt x="58630" y="2126"/>
                </a:lnTo>
                <a:lnTo>
                  <a:pt x="51487" y="4555"/>
                </a:lnTo>
                <a:lnTo>
                  <a:pt x="44940" y="7593"/>
                </a:lnTo>
                <a:lnTo>
                  <a:pt x="38392" y="11845"/>
                </a:lnTo>
                <a:lnTo>
                  <a:pt x="32440" y="16704"/>
                </a:lnTo>
                <a:lnTo>
                  <a:pt x="26785" y="22475"/>
                </a:lnTo>
                <a:lnTo>
                  <a:pt x="21428" y="28853"/>
                </a:lnTo>
                <a:lnTo>
                  <a:pt x="16666" y="35839"/>
                </a:lnTo>
                <a:lnTo>
                  <a:pt x="12499" y="43432"/>
                </a:lnTo>
                <a:lnTo>
                  <a:pt x="8928" y="51329"/>
                </a:lnTo>
                <a:lnTo>
                  <a:pt x="5654" y="59833"/>
                </a:lnTo>
                <a:lnTo>
                  <a:pt x="3273" y="68945"/>
                </a:lnTo>
                <a:lnTo>
                  <a:pt x="1488" y="78361"/>
                </a:lnTo>
                <a:lnTo>
                  <a:pt x="297" y="88080"/>
                </a:lnTo>
                <a:lnTo>
                  <a:pt x="0" y="98103"/>
                </a:lnTo>
                <a:lnTo>
                  <a:pt x="297" y="108126"/>
                </a:lnTo>
                <a:lnTo>
                  <a:pt x="1488" y="117845"/>
                </a:lnTo>
                <a:lnTo>
                  <a:pt x="3273" y="127261"/>
                </a:lnTo>
                <a:lnTo>
                  <a:pt x="5654" y="136372"/>
                </a:lnTo>
                <a:lnTo>
                  <a:pt x="8928" y="144877"/>
                </a:lnTo>
                <a:lnTo>
                  <a:pt x="12499" y="152773"/>
                </a:lnTo>
                <a:lnTo>
                  <a:pt x="16666" y="160367"/>
                </a:lnTo>
                <a:lnTo>
                  <a:pt x="21428" y="167352"/>
                </a:lnTo>
                <a:lnTo>
                  <a:pt x="26785" y="173731"/>
                </a:lnTo>
                <a:lnTo>
                  <a:pt x="32440" y="179501"/>
                </a:lnTo>
                <a:lnTo>
                  <a:pt x="38392" y="184361"/>
                </a:lnTo>
                <a:lnTo>
                  <a:pt x="44940" y="188613"/>
                </a:lnTo>
                <a:lnTo>
                  <a:pt x="51487" y="191650"/>
                </a:lnTo>
                <a:lnTo>
                  <a:pt x="58630" y="194080"/>
                </a:lnTo>
                <a:lnTo>
                  <a:pt x="66071" y="195599"/>
                </a:lnTo>
                <a:lnTo>
                  <a:pt x="73511" y="196206"/>
                </a:lnTo>
                <a:lnTo>
                  <a:pt x="80952" y="195599"/>
                </a:lnTo>
                <a:lnTo>
                  <a:pt x="88094" y="194080"/>
                </a:lnTo>
                <a:lnTo>
                  <a:pt x="95237" y="191650"/>
                </a:lnTo>
                <a:lnTo>
                  <a:pt x="101785" y="188613"/>
                </a:lnTo>
                <a:lnTo>
                  <a:pt x="108333" y="184361"/>
                </a:lnTo>
                <a:lnTo>
                  <a:pt x="114285" y="179501"/>
                </a:lnTo>
                <a:lnTo>
                  <a:pt x="119940" y="173731"/>
                </a:lnTo>
                <a:lnTo>
                  <a:pt x="124999" y="167352"/>
                </a:lnTo>
                <a:lnTo>
                  <a:pt x="129761" y="160367"/>
                </a:lnTo>
                <a:lnTo>
                  <a:pt x="133928" y="152773"/>
                </a:lnTo>
                <a:lnTo>
                  <a:pt x="137499" y="144877"/>
                </a:lnTo>
                <a:lnTo>
                  <a:pt x="140773" y="136372"/>
                </a:lnTo>
                <a:lnTo>
                  <a:pt x="143154" y="127261"/>
                </a:lnTo>
                <a:lnTo>
                  <a:pt x="144940" y="117845"/>
                </a:lnTo>
                <a:lnTo>
                  <a:pt x="146130" y="108126"/>
                </a:lnTo>
                <a:lnTo>
                  <a:pt x="146428" y="98103"/>
                </a:lnTo>
                <a:lnTo>
                  <a:pt x="146130" y="88080"/>
                </a:lnTo>
                <a:lnTo>
                  <a:pt x="144940" y="78361"/>
                </a:lnTo>
                <a:lnTo>
                  <a:pt x="143154" y="68945"/>
                </a:lnTo>
                <a:lnTo>
                  <a:pt x="140773" y="59833"/>
                </a:lnTo>
                <a:lnTo>
                  <a:pt x="137499" y="51329"/>
                </a:lnTo>
                <a:lnTo>
                  <a:pt x="133928" y="43432"/>
                </a:lnTo>
                <a:lnTo>
                  <a:pt x="129761" y="35839"/>
                </a:lnTo>
                <a:lnTo>
                  <a:pt x="124999" y="28853"/>
                </a:lnTo>
                <a:lnTo>
                  <a:pt x="119940" y="22475"/>
                </a:lnTo>
                <a:lnTo>
                  <a:pt x="114285" y="16704"/>
                </a:lnTo>
                <a:lnTo>
                  <a:pt x="108333" y="11845"/>
                </a:lnTo>
                <a:lnTo>
                  <a:pt x="101785" y="7593"/>
                </a:lnTo>
                <a:lnTo>
                  <a:pt x="95237" y="4555"/>
                </a:lnTo>
                <a:lnTo>
                  <a:pt x="88094" y="2126"/>
                </a:lnTo>
                <a:lnTo>
                  <a:pt x="80952" y="607"/>
                </a:lnTo>
                <a:lnTo>
                  <a:pt x="73511" y="0"/>
                </a:lnTo>
                <a:close/>
              </a:path>
            </a:pathLst>
          </a:custGeom>
          <a:solidFill>
            <a:srgbClr val="000000"/>
          </a:solidFill>
        </p:spPr>
        <p:txBody>
          <a:bodyPr wrap="square" lIns="0" tIns="0" rIns="0" bIns="0" rtlCol="0">
            <a:noAutofit/>
          </a:bodyPr>
          <a:lstStyle/>
          <a:p>
            <a:endParaRPr/>
          </a:p>
        </p:txBody>
      </p:sp>
      <p:sp>
        <p:nvSpPr>
          <p:cNvPr id="1372" name="object 1372"/>
          <p:cNvSpPr/>
          <p:nvPr/>
        </p:nvSpPr>
        <p:spPr>
          <a:xfrm>
            <a:off x="8973913" y="1204139"/>
            <a:ext cx="74404" cy="99621"/>
          </a:xfrm>
          <a:custGeom>
            <a:avLst/>
            <a:gdLst/>
            <a:ahLst/>
            <a:cxnLst/>
            <a:rect l="l" t="t" r="r" b="b"/>
            <a:pathLst>
              <a:path w="74404" h="99621">
                <a:moveTo>
                  <a:pt x="65773" y="61960"/>
                </a:moveTo>
                <a:lnTo>
                  <a:pt x="68154" y="70768"/>
                </a:lnTo>
                <a:lnTo>
                  <a:pt x="69940" y="80183"/>
                </a:lnTo>
                <a:lnTo>
                  <a:pt x="71130" y="89599"/>
                </a:lnTo>
                <a:lnTo>
                  <a:pt x="71428" y="99621"/>
                </a:lnTo>
                <a:lnTo>
                  <a:pt x="74404" y="99621"/>
                </a:lnTo>
                <a:lnTo>
                  <a:pt x="74106" y="89599"/>
                </a:lnTo>
                <a:lnTo>
                  <a:pt x="72916" y="79576"/>
                </a:lnTo>
                <a:lnTo>
                  <a:pt x="71130" y="70160"/>
                </a:lnTo>
                <a:lnTo>
                  <a:pt x="68749" y="60745"/>
                </a:lnTo>
                <a:lnTo>
                  <a:pt x="65475" y="52240"/>
                </a:lnTo>
                <a:lnTo>
                  <a:pt x="61606" y="44343"/>
                </a:lnTo>
                <a:lnTo>
                  <a:pt x="57440" y="36447"/>
                </a:lnTo>
                <a:lnTo>
                  <a:pt x="52678" y="29461"/>
                </a:lnTo>
                <a:lnTo>
                  <a:pt x="47618" y="23083"/>
                </a:lnTo>
                <a:lnTo>
                  <a:pt x="41666" y="17008"/>
                </a:lnTo>
                <a:lnTo>
                  <a:pt x="35714" y="12149"/>
                </a:lnTo>
                <a:lnTo>
                  <a:pt x="28868" y="7896"/>
                </a:lnTo>
                <a:lnTo>
                  <a:pt x="22321" y="4555"/>
                </a:lnTo>
                <a:lnTo>
                  <a:pt x="14880" y="2126"/>
                </a:lnTo>
                <a:lnTo>
                  <a:pt x="7738" y="607"/>
                </a:lnTo>
                <a:lnTo>
                  <a:pt x="0" y="0"/>
                </a:lnTo>
                <a:lnTo>
                  <a:pt x="0" y="3037"/>
                </a:lnTo>
                <a:lnTo>
                  <a:pt x="7142" y="3644"/>
                </a:lnTo>
                <a:lnTo>
                  <a:pt x="14285" y="5163"/>
                </a:lnTo>
                <a:lnTo>
                  <a:pt x="21130" y="7593"/>
                </a:lnTo>
                <a:lnTo>
                  <a:pt x="27678" y="10326"/>
                </a:lnTo>
                <a:lnTo>
                  <a:pt x="33928" y="14578"/>
                </a:lnTo>
                <a:lnTo>
                  <a:pt x="39880" y="19438"/>
                </a:lnTo>
                <a:lnTo>
                  <a:pt x="45237" y="24905"/>
                </a:lnTo>
                <a:lnTo>
                  <a:pt x="50297" y="31283"/>
                </a:lnTo>
                <a:lnTo>
                  <a:pt x="55059" y="38269"/>
                </a:lnTo>
                <a:lnTo>
                  <a:pt x="59226" y="45558"/>
                </a:lnTo>
                <a:lnTo>
                  <a:pt x="62499" y="53455"/>
                </a:lnTo>
                <a:lnTo>
                  <a:pt x="65773" y="61960"/>
                </a:lnTo>
                <a:close/>
              </a:path>
            </a:pathLst>
          </a:custGeom>
          <a:solidFill>
            <a:srgbClr val="000000"/>
          </a:solidFill>
        </p:spPr>
        <p:txBody>
          <a:bodyPr wrap="square" lIns="0" tIns="0" rIns="0" bIns="0" rtlCol="0">
            <a:noAutofit/>
          </a:bodyPr>
          <a:lstStyle/>
          <a:p>
            <a:endParaRPr/>
          </a:p>
        </p:txBody>
      </p:sp>
      <p:sp>
        <p:nvSpPr>
          <p:cNvPr id="1373" name="object 1373"/>
          <p:cNvSpPr/>
          <p:nvPr/>
        </p:nvSpPr>
        <p:spPr>
          <a:xfrm>
            <a:off x="8973913" y="1303761"/>
            <a:ext cx="74404" cy="99621"/>
          </a:xfrm>
          <a:custGeom>
            <a:avLst/>
            <a:gdLst/>
            <a:ahLst/>
            <a:cxnLst/>
            <a:rect l="l" t="t" r="r" b="b"/>
            <a:pathLst>
              <a:path w="74404" h="99621">
                <a:moveTo>
                  <a:pt x="7142" y="95977"/>
                </a:moveTo>
                <a:lnTo>
                  <a:pt x="0" y="96584"/>
                </a:lnTo>
                <a:lnTo>
                  <a:pt x="0" y="99621"/>
                </a:lnTo>
                <a:lnTo>
                  <a:pt x="7738" y="99014"/>
                </a:lnTo>
                <a:lnTo>
                  <a:pt x="14880" y="97495"/>
                </a:lnTo>
                <a:lnTo>
                  <a:pt x="22321" y="95066"/>
                </a:lnTo>
                <a:lnTo>
                  <a:pt x="28868" y="91725"/>
                </a:lnTo>
                <a:lnTo>
                  <a:pt x="35714" y="87472"/>
                </a:lnTo>
                <a:lnTo>
                  <a:pt x="41666" y="82613"/>
                </a:lnTo>
                <a:lnTo>
                  <a:pt x="47618" y="76538"/>
                </a:lnTo>
                <a:lnTo>
                  <a:pt x="52678" y="70160"/>
                </a:lnTo>
                <a:lnTo>
                  <a:pt x="57440" y="63174"/>
                </a:lnTo>
                <a:lnTo>
                  <a:pt x="61606" y="55278"/>
                </a:lnTo>
                <a:lnTo>
                  <a:pt x="65475" y="47381"/>
                </a:lnTo>
                <a:lnTo>
                  <a:pt x="68749" y="38876"/>
                </a:lnTo>
                <a:lnTo>
                  <a:pt x="71130" y="29461"/>
                </a:lnTo>
                <a:lnTo>
                  <a:pt x="72916" y="20045"/>
                </a:lnTo>
                <a:lnTo>
                  <a:pt x="74106" y="10022"/>
                </a:lnTo>
                <a:lnTo>
                  <a:pt x="74404" y="0"/>
                </a:lnTo>
                <a:lnTo>
                  <a:pt x="71428" y="0"/>
                </a:lnTo>
                <a:lnTo>
                  <a:pt x="71130" y="10022"/>
                </a:lnTo>
                <a:lnTo>
                  <a:pt x="69940" y="19438"/>
                </a:lnTo>
                <a:lnTo>
                  <a:pt x="68154" y="28853"/>
                </a:lnTo>
                <a:lnTo>
                  <a:pt x="65773" y="37661"/>
                </a:lnTo>
                <a:lnTo>
                  <a:pt x="62499" y="46166"/>
                </a:lnTo>
                <a:lnTo>
                  <a:pt x="59226" y="54063"/>
                </a:lnTo>
                <a:lnTo>
                  <a:pt x="55059" y="61352"/>
                </a:lnTo>
                <a:lnTo>
                  <a:pt x="50297" y="68338"/>
                </a:lnTo>
                <a:lnTo>
                  <a:pt x="45237" y="74716"/>
                </a:lnTo>
                <a:lnTo>
                  <a:pt x="39880" y="80183"/>
                </a:lnTo>
                <a:lnTo>
                  <a:pt x="33928" y="85043"/>
                </a:lnTo>
                <a:lnTo>
                  <a:pt x="27678" y="89295"/>
                </a:lnTo>
                <a:lnTo>
                  <a:pt x="21130" y="92028"/>
                </a:lnTo>
                <a:lnTo>
                  <a:pt x="14285" y="94458"/>
                </a:lnTo>
                <a:lnTo>
                  <a:pt x="7142" y="95977"/>
                </a:lnTo>
                <a:close/>
              </a:path>
            </a:pathLst>
          </a:custGeom>
          <a:solidFill>
            <a:srgbClr val="000000"/>
          </a:solidFill>
        </p:spPr>
        <p:txBody>
          <a:bodyPr wrap="square" lIns="0" tIns="0" rIns="0" bIns="0" rtlCol="0">
            <a:noAutofit/>
          </a:bodyPr>
          <a:lstStyle/>
          <a:p>
            <a:endParaRPr/>
          </a:p>
        </p:txBody>
      </p:sp>
      <p:sp>
        <p:nvSpPr>
          <p:cNvPr id="1374" name="object 1374"/>
          <p:cNvSpPr/>
          <p:nvPr/>
        </p:nvSpPr>
        <p:spPr>
          <a:xfrm>
            <a:off x="8898914" y="1303761"/>
            <a:ext cx="74999" cy="99621"/>
          </a:xfrm>
          <a:custGeom>
            <a:avLst/>
            <a:gdLst/>
            <a:ahLst/>
            <a:cxnLst/>
            <a:rect l="l" t="t" r="r" b="b"/>
            <a:pathLst>
              <a:path w="74999" h="99621">
                <a:moveTo>
                  <a:pt x="297" y="10022"/>
                </a:moveTo>
                <a:lnTo>
                  <a:pt x="1488" y="20045"/>
                </a:lnTo>
                <a:lnTo>
                  <a:pt x="3273" y="29461"/>
                </a:lnTo>
                <a:lnTo>
                  <a:pt x="5654" y="38876"/>
                </a:lnTo>
                <a:lnTo>
                  <a:pt x="8928" y="47381"/>
                </a:lnTo>
                <a:lnTo>
                  <a:pt x="12797" y="55278"/>
                </a:lnTo>
                <a:lnTo>
                  <a:pt x="16964" y="63174"/>
                </a:lnTo>
                <a:lnTo>
                  <a:pt x="21726" y="70160"/>
                </a:lnTo>
                <a:lnTo>
                  <a:pt x="27083" y="76538"/>
                </a:lnTo>
                <a:lnTo>
                  <a:pt x="33035" y="82613"/>
                </a:lnTo>
                <a:lnTo>
                  <a:pt x="38987" y="87472"/>
                </a:lnTo>
                <a:lnTo>
                  <a:pt x="45833" y="91725"/>
                </a:lnTo>
                <a:lnTo>
                  <a:pt x="52380" y="95066"/>
                </a:lnTo>
                <a:lnTo>
                  <a:pt x="59821" y="97495"/>
                </a:lnTo>
                <a:lnTo>
                  <a:pt x="67261" y="99014"/>
                </a:lnTo>
                <a:lnTo>
                  <a:pt x="74999" y="99621"/>
                </a:lnTo>
                <a:lnTo>
                  <a:pt x="74999" y="96584"/>
                </a:lnTo>
                <a:lnTo>
                  <a:pt x="67856" y="95977"/>
                </a:lnTo>
                <a:lnTo>
                  <a:pt x="60416" y="94458"/>
                </a:lnTo>
                <a:lnTo>
                  <a:pt x="53571" y="92028"/>
                </a:lnTo>
                <a:lnTo>
                  <a:pt x="47023" y="89295"/>
                </a:lnTo>
                <a:lnTo>
                  <a:pt x="40773" y="85043"/>
                </a:lnTo>
                <a:lnTo>
                  <a:pt x="34821" y="80183"/>
                </a:lnTo>
                <a:lnTo>
                  <a:pt x="29464" y="74716"/>
                </a:lnTo>
                <a:lnTo>
                  <a:pt x="24107" y="68338"/>
                </a:lnTo>
                <a:lnTo>
                  <a:pt x="19345" y="61352"/>
                </a:lnTo>
                <a:lnTo>
                  <a:pt x="15178" y="54063"/>
                </a:lnTo>
                <a:lnTo>
                  <a:pt x="11904" y="46166"/>
                </a:lnTo>
                <a:lnTo>
                  <a:pt x="8630" y="37661"/>
                </a:lnTo>
                <a:lnTo>
                  <a:pt x="6249" y="28853"/>
                </a:lnTo>
                <a:lnTo>
                  <a:pt x="4464" y="19438"/>
                </a:lnTo>
                <a:lnTo>
                  <a:pt x="3273" y="10022"/>
                </a:lnTo>
                <a:lnTo>
                  <a:pt x="2976" y="0"/>
                </a:lnTo>
                <a:lnTo>
                  <a:pt x="0" y="0"/>
                </a:lnTo>
                <a:lnTo>
                  <a:pt x="297" y="10022"/>
                </a:lnTo>
                <a:close/>
              </a:path>
            </a:pathLst>
          </a:custGeom>
          <a:solidFill>
            <a:srgbClr val="000000"/>
          </a:solidFill>
        </p:spPr>
        <p:txBody>
          <a:bodyPr wrap="square" lIns="0" tIns="0" rIns="0" bIns="0" rtlCol="0">
            <a:noAutofit/>
          </a:bodyPr>
          <a:lstStyle/>
          <a:p>
            <a:endParaRPr/>
          </a:p>
        </p:txBody>
      </p:sp>
      <p:sp>
        <p:nvSpPr>
          <p:cNvPr id="1375" name="object 1375"/>
          <p:cNvSpPr/>
          <p:nvPr/>
        </p:nvSpPr>
        <p:spPr>
          <a:xfrm>
            <a:off x="8898914" y="1204139"/>
            <a:ext cx="74999" cy="99621"/>
          </a:xfrm>
          <a:custGeom>
            <a:avLst/>
            <a:gdLst/>
            <a:ahLst/>
            <a:cxnLst/>
            <a:rect l="l" t="t" r="r" b="b"/>
            <a:pathLst>
              <a:path w="74999" h="99621">
                <a:moveTo>
                  <a:pt x="2976" y="99621"/>
                </a:moveTo>
                <a:lnTo>
                  <a:pt x="3273" y="89599"/>
                </a:lnTo>
                <a:lnTo>
                  <a:pt x="4464" y="80183"/>
                </a:lnTo>
                <a:lnTo>
                  <a:pt x="6249" y="70768"/>
                </a:lnTo>
                <a:lnTo>
                  <a:pt x="8630" y="61960"/>
                </a:lnTo>
                <a:lnTo>
                  <a:pt x="11904" y="53455"/>
                </a:lnTo>
                <a:lnTo>
                  <a:pt x="15178" y="45558"/>
                </a:lnTo>
                <a:lnTo>
                  <a:pt x="19345" y="38269"/>
                </a:lnTo>
                <a:lnTo>
                  <a:pt x="24107" y="31283"/>
                </a:lnTo>
                <a:lnTo>
                  <a:pt x="29464" y="24905"/>
                </a:lnTo>
                <a:lnTo>
                  <a:pt x="34821" y="19438"/>
                </a:lnTo>
                <a:lnTo>
                  <a:pt x="40773" y="14578"/>
                </a:lnTo>
                <a:lnTo>
                  <a:pt x="47023" y="10326"/>
                </a:lnTo>
                <a:lnTo>
                  <a:pt x="53571" y="7593"/>
                </a:lnTo>
                <a:lnTo>
                  <a:pt x="60416" y="5163"/>
                </a:lnTo>
                <a:lnTo>
                  <a:pt x="67856" y="3644"/>
                </a:lnTo>
                <a:lnTo>
                  <a:pt x="74999" y="3037"/>
                </a:lnTo>
                <a:lnTo>
                  <a:pt x="74999" y="0"/>
                </a:lnTo>
                <a:lnTo>
                  <a:pt x="67261" y="607"/>
                </a:lnTo>
                <a:lnTo>
                  <a:pt x="59821" y="2126"/>
                </a:lnTo>
                <a:lnTo>
                  <a:pt x="52380" y="4555"/>
                </a:lnTo>
                <a:lnTo>
                  <a:pt x="45833" y="7896"/>
                </a:lnTo>
                <a:lnTo>
                  <a:pt x="38987" y="12149"/>
                </a:lnTo>
                <a:lnTo>
                  <a:pt x="33035" y="17008"/>
                </a:lnTo>
                <a:lnTo>
                  <a:pt x="27083" y="23083"/>
                </a:lnTo>
                <a:lnTo>
                  <a:pt x="21726" y="29461"/>
                </a:lnTo>
                <a:lnTo>
                  <a:pt x="16964" y="36447"/>
                </a:lnTo>
                <a:lnTo>
                  <a:pt x="12797" y="44343"/>
                </a:lnTo>
                <a:lnTo>
                  <a:pt x="8928" y="52240"/>
                </a:lnTo>
                <a:lnTo>
                  <a:pt x="5654" y="60745"/>
                </a:lnTo>
                <a:lnTo>
                  <a:pt x="3273" y="70160"/>
                </a:lnTo>
                <a:lnTo>
                  <a:pt x="1488" y="79576"/>
                </a:lnTo>
                <a:lnTo>
                  <a:pt x="297" y="89599"/>
                </a:lnTo>
                <a:lnTo>
                  <a:pt x="0" y="99621"/>
                </a:lnTo>
                <a:lnTo>
                  <a:pt x="2976" y="99621"/>
                </a:lnTo>
                <a:close/>
              </a:path>
            </a:pathLst>
          </a:custGeom>
          <a:solidFill>
            <a:srgbClr val="000000"/>
          </a:solidFill>
        </p:spPr>
        <p:txBody>
          <a:bodyPr wrap="square" lIns="0" tIns="0" rIns="0" bIns="0" rtlCol="0">
            <a:noAutofit/>
          </a:bodyPr>
          <a:lstStyle/>
          <a:p>
            <a:endParaRPr/>
          </a:p>
        </p:txBody>
      </p:sp>
      <p:sp>
        <p:nvSpPr>
          <p:cNvPr id="1376" name="object 1376"/>
          <p:cNvSpPr/>
          <p:nvPr/>
        </p:nvSpPr>
        <p:spPr>
          <a:xfrm>
            <a:off x="8935520" y="1245750"/>
            <a:ext cx="105356" cy="129387"/>
          </a:xfrm>
          <a:custGeom>
            <a:avLst/>
            <a:gdLst/>
            <a:ahLst/>
            <a:cxnLst/>
            <a:rect l="l" t="t" r="r" b="b"/>
            <a:pathLst>
              <a:path w="105356" h="129387">
                <a:moveTo>
                  <a:pt x="0" y="0"/>
                </a:moveTo>
                <a:lnTo>
                  <a:pt x="0" y="129387"/>
                </a:lnTo>
                <a:lnTo>
                  <a:pt x="105356" y="127261"/>
                </a:lnTo>
                <a:lnTo>
                  <a:pt x="105356" y="2126"/>
                </a:lnTo>
                <a:lnTo>
                  <a:pt x="0" y="0"/>
                </a:lnTo>
                <a:close/>
              </a:path>
            </a:pathLst>
          </a:custGeom>
          <a:solidFill>
            <a:srgbClr val="EFEFEF"/>
          </a:solidFill>
        </p:spPr>
        <p:txBody>
          <a:bodyPr wrap="square" lIns="0" tIns="0" rIns="0" bIns="0" rtlCol="0">
            <a:noAutofit/>
          </a:bodyPr>
          <a:lstStyle/>
          <a:p>
            <a:endParaRPr/>
          </a:p>
        </p:txBody>
      </p:sp>
      <p:sp>
        <p:nvSpPr>
          <p:cNvPr id="1377" name="object 1377"/>
          <p:cNvSpPr/>
          <p:nvPr/>
        </p:nvSpPr>
        <p:spPr>
          <a:xfrm>
            <a:off x="8934032" y="1245749"/>
            <a:ext cx="2976" cy="130602"/>
          </a:xfrm>
          <a:custGeom>
            <a:avLst/>
            <a:gdLst/>
            <a:ahLst/>
            <a:cxnLst/>
            <a:rect l="l" t="t" r="r" b="b"/>
            <a:pathLst>
              <a:path w="2976" h="130602">
                <a:moveTo>
                  <a:pt x="1041" y="130450"/>
                </a:moveTo>
                <a:lnTo>
                  <a:pt x="1488" y="130602"/>
                </a:lnTo>
                <a:lnTo>
                  <a:pt x="1488" y="127868"/>
                </a:lnTo>
                <a:lnTo>
                  <a:pt x="2976" y="0"/>
                </a:lnTo>
                <a:lnTo>
                  <a:pt x="0" y="0"/>
                </a:lnTo>
                <a:lnTo>
                  <a:pt x="0" y="129387"/>
                </a:lnTo>
                <a:lnTo>
                  <a:pt x="595" y="130298"/>
                </a:lnTo>
                <a:lnTo>
                  <a:pt x="1041" y="130450"/>
                </a:lnTo>
                <a:close/>
              </a:path>
            </a:pathLst>
          </a:custGeom>
          <a:solidFill>
            <a:srgbClr val="000000"/>
          </a:solidFill>
        </p:spPr>
        <p:txBody>
          <a:bodyPr wrap="square" lIns="0" tIns="0" rIns="0" bIns="0" rtlCol="0">
            <a:noAutofit/>
          </a:bodyPr>
          <a:lstStyle/>
          <a:p>
            <a:endParaRPr/>
          </a:p>
        </p:txBody>
      </p:sp>
      <p:sp>
        <p:nvSpPr>
          <p:cNvPr id="1378" name="object 1378"/>
          <p:cNvSpPr/>
          <p:nvPr/>
        </p:nvSpPr>
        <p:spPr>
          <a:xfrm>
            <a:off x="8935520" y="1245749"/>
            <a:ext cx="1488" cy="130602"/>
          </a:xfrm>
          <a:custGeom>
            <a:avLst/>
            <a:gdLst/>
            <a:ahLst/>
            <a:cxnLst/>
            <a:rect l="l" t="t" r="r" b="b"/>
            <a:pathLst>
              <a:path w="1488" h="130602">
                <a:moveTo>
                  <a:pt x="0" y="127868"/>
                </a:moveTo>
                <a:lnTo>
                  <a:pt x="0" y="130602"/>
                </a:lnTo>
                <a:lnTo>
                  <a:pt x="892" y="130298"/>
                </a:lnTo>
                <a:lnTo>
                  <a:pt x="1488" y="129387"/>
                </a:lnTo>
                <a:lnTo>
                  <a:pt x="1488" y="0"/>
                </a:lnTo>
                <a:lnTo>
                  <a:pt x="0" y="127868"/>
                </a:lnTo>
                <a:close/>
              </a:path>
            </a:pathLst>
          </a:custGeom>
          <a:solidFill>
            <a:srgbClr val="000000"/>
          </a:solidFill>
        </p:spPr>
        <p:txBody>
          <a:bodyPr wrap="square" lIns="0" tIns="0" rIns="0" bIns="0" rtlCol="0">
            <a:noAutofit/>
          </a:bodyPr>
          <a:lstStyle/>
          <a:p>
            <a:endParaRPr/>
          </a:p>
        </p:txBody>
      </p:sp>
      <p:sp>
        <p:nvSpPr>
          <p:cNvPr id="1379" name="object 1379"/>
          <p:cNvSpPr/>
          <p:nvPr/>
        </p:nvSpPr>
        <p:spPr>
          <a:xfrm>
            <a:off x="8935520" y="1371492"/>
            <a:ext cx="106844" cy="5163"/>
          </a:xfrm>
          <a:custGeom>
            <a:avLst/>
            <a:gdLst/>
            <a:ahLst/>
            <a:cxnLst/>
            <a:rect l="l" t="t" r="r" b="b"/>
            <a:pathLst>
              <a:path w="106844" h="5163">
                <a:moveTo>
                  <a:pt x="106249" y="2429"/>
                </a:moveTo>
                <a:lnTo>
                  <a:pt x="106844" y="1518"/>
                </a:lnTo>
                <a:lnTo>
                  <a:pt x="106249" y="607"/>
                </a:lnTo>
                <a:lnTo>
                  <a:pt x="105356" y="0"/>
                </a:lnTo>
                <a:lnTo>
                  <a:pt x="0" y="2126"/>
                </a:lnTo>
                <a:lnTo>
                  <a:pt x="0" y="5163"/>
                </a:lnTo>
                <a:lnTo>
                  <a:pt x="105356" y="3037"/>
                </a:lnTo>
                <a:lnTo>
                  <a:pt x="103868" y="1518"/>
                </a:lnTo>
                <a:lnTo>
                  <a:pt x="105356" y="3037"/>
                </a:lnTo>
                <a:lnTo>
                  <a:pt x="106249" y="2429"/>
                </a:lnTo>
                <a:close/>
              </a:path>
            </a:pathLst>
          </a:custGeom>
          <a:solidFill>
            <a:srgbClr val="000000"/>
          </a:solidFill>
        </p:spPr>
        <p:txBody>
          <a:bodyPr wrap="square" lIns="0" tIns="0" rIns="0" bIns="0" rtlCol="0">
            <a:noAutofit/>
          </a:bodyPr>
          <a:lstStyle/>
          <a:p>
            <a:endParaRPr/>
          </a:p>
        </p:txBody>
      </p:sp>
      <p:sp>
        <p:nvSpPr>
          <p:cNvPr id="1380" name="object 1380"/>
          <p:cNvSpPr/>
          <p:nvPr/>
        </p:nvSpPr>
        <p:spPr>
          <a:xfrm>
            <a:off x="9039984" y="1246357"/>
            <a:ext cx="892" cy="3037"/>
          </a:xfrm>
          <a:custGeom>
            <a:avLst/>
            <a:gdLst/>
            <a:ahLst/>
            <a:cxnLst/>
            <a:rect l="l" t="t" r="r" b="b"/>
            <a:pathLst>
              <a:path w="892" h="3037">
                <a:moveTo>
                  <a:pt x="0" y="607"/>
                </a:moveTo>
                <a:lnTo>
                  <a:pt x="892" y="3037"/>
                </a:lnTo>
                <a:lnTo>
                  <a:pt x="892" y="0"/>
                </a:lnTo>
                <a:lnTo>
                  <a:pt x="0" y="607"/>
                </a:lnTo>
                <a:close/>
              </a:path>
            </a:pathLst>
          </a:custGeom>
          <a:solidFill>
            <a:srgbClr val="000000"/>
          </a:solidFill>
        </p:spPr>
        <p:txBody>
          <a:bodyPr wrap="square" lIns="0" tIns="0" rIns="0" bIns="0" rtlCol="0">
            <a:noAutofit/>
          </a:bodyPr>
          <a:lstStyle/>
          <a:p>
            <a:endParaRPr/>
          </a:p>
        </p:txBody>
      </p:sp>
      <p:sp>
        <p:nvSpPr>
          <p:cNvPr id="1381" name="object 1381"/>
          <p:cNvSpPr/>
          <p:nvPr/>
        </p:nvSpPr>
        <p:spPr>
          <a:xfrm>
            <a:off x="9039389" y="1246357"/>
            <a:ext cx="2976" cy="126653"/>
          </a:xfrm>
          <a:custGeom>
            <a:avLst/>
            <a:gdLst/>
            <a:ahLst/>
            <a:cxnLst/>
            <a:rect l="l" t="t" r="r" b="b"/>
            <a:pathLst>
              <a:path w="2976" h="126653">
                <a:moveTo>
                  <a:pt x="595" y="607"/>
                </a:moveTo>
                <a:lnTo>
                  <a:pt x="0" y="1518"/>
                </a:lnTo>
                <a:lnTo>
                  <a:pt x="0" y="126653"/>
                </a:lnTo>
                <a:lnTo>
                  <a:pt x="2976" y="126653"/>
                </a:lnTo>
                <a:lnTo>
                  <a:pt x="2976" y="1518"/>
                </a:lnTo>
                <a:lnTo>
                  <a:pt x="2380" y="607"/>
                </a:lnTo>
                <a:lnTo>
                  <a:pt x="1488" y="0"/>
                </a:lnTo>
                <a:lnTo>
                  <a:pt x="1488" y="3037"/>
                </a:lnTo>
                <a:lnTo>
                  <a:pt x="595" y="607"/>
                </a:lnTo>
                <a:close/>
              </a:path>
            </a:pathLst>
          </a:custGeom>
          <a:solidFill>
            <a:srgbClr val="000000"/>
          </a:solidFill>
        </p:spPr>
        <p:txBody>
          <a:bodyPr wrap="square" lIns="0" tIns="0" rIns="0" bIns="0" rtlCol="0">
            <a:noAutofit/>
          </a:bodyPr>
          <a:lstStyle/>
          <a:p>
            <a:endParaRPr/>
          </a:p>
        </p:txBody>
      </p:sp>
      <p:sp>
        <p:nvSpPr>
          <p:cNvPr id="1382" name="object 1382"/>
          <p:cNvSpPr/>
          <p:nvPr/>
        </p:nvSpPr>
        <p:spPr>
          <a:xfrm>
            <a:off x="8934331" y="1244231"/>
            <a:ext cx="106547" cy="5163"/>
          </a:xfrm>
          <a:custGeom>
            <a:avLst/>
            <a:gdLst/>
            <a:ahLst/>
            <a:cxnLst/>
            <a:rect l="l" t="t" r="r" b="b"/>
            <a:pathLst>
              <a:path w="106547" h="5163">
                <a:moveTo>
                  <a:pt x="148" y="1063"/>
                </a:moveTo>
                <a:lnTo>
                  <a:pt x="0" y="1518"/>
                </a:lnTo>
                <a:lnTo>
                  <a:pt x="297" y="2429"/>
                </a:lnTo>
                <a:lnTo>
                  <a:pt x="1190" y="3037"/>
                </a:lnTo>
                <a:lnTo>
                  <a:pt x="106547" y="5163"/>
                </a:lnTo>
                <a:lnTo>
                  <a:pt x="106547" y="2126"/>
                </a:lnTo>
                <a:lnTo>
                  <a:pt x="2678" y="1518"/>
                </a:lnTo>
                <a:lnTo>
                  <a:pt x="1190" y="0"/>
                </a:lnTo>
                <a:lnTo>
                  <a:pt x="297" y="607"/>
                </a:lnTo>
                <a:lnTo>
                  <a:pt x="148" y="1063"/>
                </a:lnTo>
                <a:close/>
              </a:path>
            </a:pathLst>
          </a:custGeom>
          <a:solidFill>
            <a:srgbClr val="000000"/>
          </a:solidFill>
        </p:spPr>
        <p:txBody>
          <a:bodyPr wrap="square" lIns="0" tIns="0" rIns="0" bIns="0" rtlCol="0">
            <a:noAutofit/>
          </a:bodyPr>
          <a:lstStyle/>
          <a:p>
            <a:endParaRPr/>
          </a:p>
        </p:txBody>
      </p:sp>
      <p:sp>
        <p:nvSpPr>
          <p:cNvPr id="1383" name="object 1383"/>
          <p:cNvSpPr/>
          <p:nvPr/>
        </p:nvSpPr>
        <p:spPr>
          <a:xfrm>
            <a:off x="8935520" y="1244230"/>
            <a:ext cx="105356" cy="2126"/>
          </a:xfrm>
          <a:custGeom>
            <a:avLst/>
            <a:gdLst/>
            <a:ahLst/>
            <a:cxnLst/>
            <a:rect l="l" t="t" r="r" b="b"/>
            <a:pathLst>
              <a:path w="105356" h="2126">
                <a:moveTo>
                  <a:pt x="0" y="0"/>
                </a:moveTo>
                <a:lnTo>
                  <a:pt x="1488" y="1518"/>
                </a:lnTo>
                <a:lnTo>
                  <a:pt x="105356" y="2126"/>
                </a:lnTo>
                <a:lnTo>
                  <a:pt x="0" y="0"/>
                </a:lnTo>
                <a:close/>
              </a:path>
            </a:pathLst>
          </a:custGeom>
          <a:solidFill>
            <a:srgbClr val="000000"/>
          </a:solidFill>
        </p:spPr>
        <p:txBody>
          <a:bodyPr wrap="square" lIns="0" tIns="0" rIns="0" bIns="0" rtlCol="0">
            <a:noAutofit/>
          </a:bodyPr>
          <a:lstStyle/>
          <a:p>
            <a:endParaRPr/>
          </a:p>
        </p:txBody>
      </p:sp>
      <p:sp>
        <p:nvSpPr>
          <p:cNvPr id="1384" name="object 1384"/>
          <p:cNvSpPr/>
          <p:nvPr/>
        </p:nvSpPr>
        <p:spPr>
          <a:xfrm>
            <a:off x="8846236" y="1245749"/>
            <a:ext cx="89583" cy="129690"/>
          </a:xfrm>
          <a:custGeom>
            <a:avLst/>
            <a:gdLst/>
            <a:ahLst/>
            <a:cxnLst/>
            <a:rect l="l" t="t" r="r" b="b"/>
            <a:pathLst>
              <a:path w="89583" h="129690">
                <a:moveTo>
                  <a:pt x="89583" y="129690"/>
                </a:moveTo>
                <a:lnTo>
                  <a:pt x="89583" y="0"/>
                </a:lnTo>
                <a:lnTo>
                  <a:pt x="46726" y="0"/>
                </a:lnTo>
                <a:lnTo>
                  <a:pt x="0" y="70464"/>
                </a:lnTo>
                <a:lnTo>
                  <a:pt x="0" y="112985"/>
                </a:lnTo>
                <a:lnTo>
                  <a:pt x="89583" y="129690"/>
                </a:lnTo>
                <a:close/>
              </a:path>
            </a:pathLst>
          </a:custGeom>
          <a:solidFill>
            <a:srgbClr val="BEBEBE"/>
          </a:solidFill>
        </p:spPr>
        <p:txBody>
          <a:bodyPr wrap="square" lIns="0" tIns="0" rIns="0" bIns="0" rtlCol="0">
            <a:noAutofit/>
          </a:bodyPr>
          <a:lstStyle/>
          <a:p>
            <a:endParaRPr/>
          </a:p>
        </p:txBody>
      </p:sp>
      <p:sp>
        <p:nvSpPr>
          <p:cNvPr id="1385" name="object 1385"/>
          <p:cNvSpPr/>
          <p:nvPr/>
        </p:nvSpPr>
        <p:spPr>
          <a:xfrm>
            <a:off x="8845046" y="1357216"/>
            <a:ext cx="90475" cy="19742"/>
          </a:xfrm>
          <a:custGeom>
            <a:avLst/>
            <a:gdLst/>
            <a:ahLst/>
            <a:cxnLst/>
            <a:rect l="l" t="t" r="r" b="b"/>
            <a:pathLst>
              <a:path w="90475" h="19742">
                <a:moveTo>
                  <a:pt x="2678" y="1518"/>
                </a:moveTo>
                <a:lnTo>
                  <a:pt x="892" y="3037"/>
                </a:lnTo>
                <a:lnTo>
                  <a:pt x="90475" y="19742"/>
                </a:lnTo>
                <a:lnTo>
                  <a:pt x="2678" y="1518"/>
                </a:lnTo>
                <a:close/>
              </a:path>
              <a:path w="90475" h="19742">
                <a:moveTo>
                  <a:pt x="90475" y="19742"/>
                </a:moveTo>
                <a:lnTo>
                  <a:pt x="91071" y="16704"/>
                </a:lnTo>
                <a:lnTo>
                  <a:pt x="1488" y="0"/>
                </a:lnTo>
                <a:lnTo>
                  <a:pt x="297" y="303"/>
                </a:lnTo>
                <a:lnTo>
                  <a:pt x="0" y="1214"/>
                </a:lnTo>
                <a:lnTo>
                  <a:pt x="0" y="2429"/>
                </a:lnTo>
                <a:lnTo>
                  <a:pt x="892" y="3037"/>
                </a:lnTo>
                <a:lnTo>
                  <a:pt x="2678" y="1518"/>
                </a:lnTo>
                <a:lnTo>
                  <a:pt x="90475" y="19742"/>
                </a:lnTo>
                <a:close/>
              </a:path>
            </a:pathLst>
          </a:custGeom>
          <a:solidFill>
            <a:srgbClr val="000000"/>
          </a:solidFill>
        </p:spPr>
        <p:txBody>
          <a:bodyPr wrap="square" lIns="0" tIns="0" rIns="0" bIns="0" rtlCol="0">
            <a:noAutofit/>
          </a:bodyPr>
          <a:lstStyle/>
          <a:p>
            <a:endParaRPr/>
          </a:p>
        </p:txBody>
      </p:sp>
      <p:sp>
        <p:nvSpPr>
          <p:cNvPr id="1386" name="object 1386"/>
          <p:cNvSpPr/>
          <p:nvPr/>
        </p:nvSpPr>
        <p:spPr>
          <a:xfrm>
            <a:off x="8844747" y="1314694"/>
            <a:ext cx="2976" cy="44040"/>
          </a:xfrm>
          <a:custGeom>
            <a:avLst/>
            <a:gdLst/>
            <a:ahLst/>
            <a:cxnLst/>
            <a:rect l="l" t="t" r="r" b="b"/>
            <a:pathLst>
              <a:path w="2976" h="44040">
                <a:moveTo>
                  <a:pt x="2976" y="44040"/>
                </a:moveTo>
                <a:lnTo>
                  <a:pt x="2976" y="1518"/>
                </a:lnTo>
                <a:lnTo>
                  <a:pt x="2678" y="2429"/>
                </a:lnTo>
                <a:lnTo>
                  <a:pt x="2380" y="607"/>
                </a:lnTo>
                <a:lnTo>
                  <a:pt x="1488" y="0"/>
                </a:lnTo>
                <a:lnTo>
                  <a:pt x="595" y="607"/>
                </a:lnTo>
                <a:lnTo>
                  <a:pt x="0" y="1518"/>
                </a:lnTo>
                <a:lnTo>
                  <a:pt x="0" y="44040"/>
                </a:lnTo>
                <a:lnTo>
                  <a:pt x="2976" y="44040"/>
                </a:lnTo>
                <a:close/>
              </a:path>
            </a:pathLst>
          </a:custGeom>
          <a:solidFill>
            <a:srgbClr val="000000"/>
          </a:solidFill>
        </p:spPr>
        <p:txBody>
          <a:bodyPr wrap="square" lIns="0" tIns="0" rIns="0" bIns="0" rtlCol="0">
            <a:noAutofit/>
          </a:bodyPr>
          <a:lstStyle/>
          <a:p>
            <a:endParaRPr/>
          </a:p>
        </p:txBody>
      </p:sp>
      <p:sp>
        <p:nvSpPr>
          <p:cNvPr id="1387" name="object 1387"/>
          <p:cNvSpPr/>
          <p:nvPr/>
        </p:nvSpPr>
        <p:spPr>
          <a:xfrm>
            <a:off x="8847129" y="1315302"/>
            <a:ext cx="595" cy="1822"/>
          </a:xfrm>
          <a:custGeom>
            <a:avLst/>
            <a:gdLst/>
            <a:ahLst/>
            <a:cxnLst/>
            <a:rect l="l" t="t" r="r" b="b"/>
            <a:pathLst>
              <a:path w="595" h="1822">
                <a:moveTo>
                  <a:pt x="595" y="911"/>
                </a:moveTo>
                <a:lnTo>
                  <a:pt x="0" y="0"/>
                </a:lnTo>
                <a:lnTo>
                  <a:pt x="297" y="1822"/>
                </a:lnTo>
                <a:lnTo>
                  <a:pt x="595" y="911"/>
                </a:lnTo>
                <a:close/>
              </a:path>
            </a:pathLst>
          </a:custGeom>
          <a:solidFill>
            <a:srgbClr val="000000"/>
          </a:solidFill>
        </p:spPr>
        <p:txBody>
          <a:bodyPr wrap="square" lIns="0" tIns="0" rIns="0" bIns="0" rtlCol="0">
            <a:noAutofit/>
          </a:bodyPr>
          <a:lstStyle/>
          <a:p>
            <a:endParaRPr/>
          </a:p>
        </p:txBody>
      </p:sp>
      <p:sp>
        <p:nvSpPr>
          <p:cNvPr id="1388" name="object 1388"/>
          <p:cNvSpPr/>
          <p:nvPr/>
        </p:nvSpPr>
        <p:spPr>
          <a:xfrm>
            <a:off x="8845045" y="1244230"/>
            <a:ext cx="47916" cy="72894"/>
          </a:xfrm>
          <a:custGeom>
            <a:avLst/>
            <a:gdLst/>
            <a:ahLst/>
            <a:cxnLst/>
            <a:rect l="l" t="t" r="r" b="b"/>
            <a:pathLst>
              <a:path w="47916" h="72894">
                <a:moveTo>
                  <a:pt x="47916" y="3037"/>
                </a:moveTo>
                <a:lnTo>
                  <a:pt x="47916" y="0"/>
                </a:lnTo>
                <a:lnTo>
                  <a:pt x="46726" y="607"/>
                </a:lnTo>
                <a:lnTo>
                  <a:pt x="47916" y="3037"/>
                </a:lnTo>
                <a:close/>
              </a:path>
              <a:path w="47916" h="72894">
                <a:moveTo>
                  <a:pt x="48809" y="303"/>
                </a:moveTo>
                <a:lnTo>
                  <a:pt x="47916" y="0"/>
                </a:lnTo>
                <a:lnTo>
                  <a:pt x="47916" y="3037"/>
                </a:lnTo>
                <a:lnTo>
                  <a:pt x="46726" y="607"/>
                </a:lnTo>
                <a:lnTo>
                  <a:pt x="0" y="71071"/>
                </a:lnTo>
                <a:lnTo>
                  <a:pt x="2380" y="72894"/>
                </a:lnTo>
                <a:lnTo>
                  <a:pt x="49106" y="2429"/>
                </a:lnTo>
                <a:lnTo>
                  <a:pt x="49404" y="1214"/>
                </a:lnTo>
                <a:lnTo>
                  <a:pt x="48809" y="303"/>
                </a:lnTo>
                <a:close/>
              </a:path>
            </a:pathLst>
          </a:custGeom>
          <a:solidFill>
            <a:srgbClr val="000000"/>
          </a:solidFill>
        </p:spPr>
        <p:txBody>
          <a:bodyPr wrap="square" lIns="0" tIns="0" rIns="0" bIns="0" rtlCol="0">
            <a:noAutofit/>
          </a:bodyPr>
          <a:lstStyle/>
          <a:p>
            <a:endParaRPr/>
          </a:p>
        </p:txBody>
      </p:sp>
      <p:sp>
        <p:nvSpPr>
          <p:cNvPr id="1389" name="object 1389"/>
          <p:cNvSpPr/>
          <p:nvPr/>
        </p:nvSpPr>
        <p:spPr>
          <a:xfrm>
            <a:off x="8892962" y="1244231"/>
            <a:ext cx="44345" cy="3037"/>
          </a:xfrm>
          <a:custGeom>
            <a:avLst/>
            <a:gdLst/>
            <a:ahLst/>
            <a:cxnLst/>
            <a:rect l="l" t="t" r="r" b="b"/>
            <a:pathLst>
              <a:path w="44345" h="3037">
                <a:moveTo>
                  <a:pt x="42857" y="0"/>
                </a:moveTo>
                <a:lnTo>
                  <a:pt x="0" y="0"/>
                </a:lnTo>
                <a:lnTo>
                  <a:pt x="0" y="3037"/>
                </a:lnTo>
                <a:lnTo>
                  <a:pt x="42857" y="3037"/>
                </a:lnTo>
                <a:lnTo>
                  <a:pt x="43749" y="2429"/>
                </a:lnTo>
                <a:lnTo>
                  <a:pt x="44345" y="1518"/>
                </a:lnTo>
                <a:lnTo>
                  <a:pt x="43749" y="607"/>
                </a:lnTo>
                <a:lnTo>
                  <a:pt x="42857" y="0"/>
                </a:lnTo>
                <a:lnTo>
                  <a:pt x="41368" y="1518"/>
                </a:lnTo>
                <a:lnTo>
                  <a:pt x="42857" y="0"/>
                </a:lnTo>
                <a:close/>
              </a:path>
            </a:pathLst>
          </a:custGeom>
          <a:solidFill>
            <a:srgbClr val="000000"/>
          </a:solidFill>
        </p:spPr>
        <p:txBody>
          <a:bodyPr wrap="square" lIns="0" tIns="0" rIns="0" bIns="0" rtlCol="0">
            <a:noAutofit/>
          </a:bodyPr>
          <a:lstStyle/>
          <a:p>
            <a:endParaRPr/>
          </a:p>
        </p:txBody>
      </p:sp>
      <p:sp>
        <p:nvSpPr>
          <p:cNvPr id="1390" name="object 1390"/>
          <p:cNvSpPr/>
          <p:nvPr/>
        </p:nvSpPr>
        <p:spPr>
          <a:xfrm>
            <a:off x="8934330" y="1245750"/>
            <a:ext cx="2976" cy="130905"/>
          </a:xfrm>
          <a:custGeom>
            <a:avLst/>
            <a:gdLst/>
            <a:ahLst/>
            <a:cxnLst/>
            <a:rect l="l" t="t" r="r" b="b"/>
            <a:pathLst>
              <a:path w="2976" h="130905">
                <a:moveTo>
                  <a:pt x="1785" y="128172"/>
                </a:moveTo>
                <a:lnTo>
                  <a:pt x="2976" y="129690"/>
                </a:lnTo>
                <a:lnTo>
                  <a:pt x="2976" y="0"/>
                </a:lnTo>
                <a:lnTo>
                  <a:pt x="0" y="0"/>
                </a:lnTo>
                <a:lnTo>
                  <a:pt x="0" y="129690"/>
                </a:lnTo>
                <a:lnTo>
                  <a:pt x="595" y="130602"/>
                </a:lnTo>
                <a:lnTo>
                  <a:pt x="1488" y="130905"/>
                </a:lnTo>
                <a:lnTo>
                  <a:pt x="2380" y="130602"/>
                </a:lnTo>
                <a:lnTo>
                  <a:pt x="2976" y="129690"/>
                </a:lnTo>
                <a:lnTo>
                  <a:pt x="1785" y="128172"/>
                </a:lnTo>
                <a:close/>
              </a:path>
            </a:pathLst>
          </a:custGeom>
          <a:solidFill>
            <a:srgbClr val="000000"/>
          </a:solidFill>
        </p:spPr>
        <p:txBody>
          <a:bodyPr wrap="square" lIns="0" tIns="0" rIns="0" bIns="0" rtlCol="0">
            <a:noAutofit/>
          </a:bodyPr>
          <a:lstStyle/>
          <a:p>
            <a:endParaRPr/>
          </a:p>
        </p:txBody>
      </p:sp>
      <p:sp>
        <p:nvSpPr>
          <p:cNvPr id="1391" name="object 1391"/>
          <p:cNvSpPr/>
          <p:nvPr/>
        </p:nvSpPr>
        <p:spPr>
          <a:xfrm>
            <a:off x="8072726" y="1307102"/>
            <a:ext cx="44047" cy="42521"/>
          </a:xfrm>
          <a:custGeom>
            <a:avLst/>
            <a:gdLst/>
            <a:ahLst/>
            <a:cxnLst/>
            <a:rect l="l" t="t" r="r" b="b"/>
            <a:pathLst>
              <a:path w="44047" h="42521">
                <a:moveTo>
                  <a:pt x="0" y="6681"/>
                </a:moveTo>
                <a:lnTo>
                  <a:pt x="0" y="34928"/>
                </a:lnTo>
                <a:lnTo>
                  <a:pt x="595" y="37358"/>
                </a:lnTo>
                <a:lnTo>
                  <a:pt x="2083" y="39484"/>
                </a:lnTo>
                <a:lnTo>
                  <a:pt x="4166" y="41002"/>
                </a:lnTo>
                <a:lnTo>
                  <a:pt x="6547" y="41610"/>
                </a:lnTo>
                <a:lnTo>
                  <a:pt x="37499" y="42521"/>
                </a:lnTo>
                <a:lnTo>
                  <a:pt x="39880" y="41914"/>
                </a:lnTo>
                <a:lnTo>
                  <a:pt x="41964" y="40395"/>
                </a:lnTo>
                <a:lnTo>
                  <a:pt x="43452" y="38269"/>
                </a:lnTo>
                <a:lnTo>
                  <a:pt x="44047" y="35535"/>
                </a:lnTo>
                <a:lnTo>
                  <a:pt x="44047" y="7593"/>
                </a:lnTo>
                <a:lnTo>
                  <a:pt x="43452" y="5163"/>
                </a:lnTo>
                <a:lnTo>
                  <a:pt x="41666" y="3037"/>
                </a:lnTo>
                <a:lnTo>
                  <a:pt x="39583" y="1518"/>
                </a:lnTo>
                <a:lnTo>
                  <a:pt x="37499" y="911"/>
                </a:lnTo>
                <a:lnTo>
                  <a:pt x="6547" y="0"/>
                </a:lnTo>
                <a:lnTo>
                  <a:pt x="4464" y="607"/>
                </a:lnTo>
                <a:lnTo>
                  <a:pt x="2380" y="1822"/>
                </a:lnTo>
                <a:lnTo>
                  <a:pt x="595" y="3948"/>
                </a:lnTo>
                <a:lnTo>
                  <a:pt x="0" y="6681"/>
                </a:lnTo>
                <a:close/>
              </a:path>
            </a:pathLst>
          </a:custGeom>
          <a:solidFill>
            <a:srgbClr val="7E7E7E"/>
          </a:solidFill>
        </p:spPr>
        <p:txBody>
          <a:bodyPr wrap="square" lIns="0" tIns="0" rIns="0" bIns="0" rtlCol="0">
            <a:noAutofit/>
          </a:bodyPr>
          <a:lstStyle/>
          <a:p>
            <a:endParaRPr/>
          </a:p>
        </p:txBody>
      </p:sp>
      <p:sp>
        <p:nvSpPr>
          <p:cNvPr id="1392" name="object 1392"/>
          <p:cNvSpPr/>
          <p:nvPr/>
        </p:nvSpPr>
        <p:spPr>
          <a:xfrm>
            <a:off x="8375106" y="1314392"/>
            <a:ext cx="46726" cy="45255"/>
          </a:xfrm>
          <a:custGeom>
            <a:avLst/>
            <a:gdLst/>
            <a:ahLst/>
            <a:cxnLst/>
            <a:rect l="l" t="t" r="r" b="b"/>
            <a:pathLst>
              <a:path w="46726" h="45255">
                <a:moveTo>
                  <a:pt x="0" y="6985"/>
                </a:moveTo>
                <a:lnTo>
                  <a:pt x="0" y="37054"/>
                </a:lnTo>
                <a:lnTo>
                  <a:pt x="595" y="39788"/>
                </a:lnTo>
                <a:lnTo>
                  <a:pt x="2083" y="42217"/>
                </a:lnTo>
                <a:lnTo>
                  <a:pt x="4464" y="43736"/>
                </a:lnTo>
                <a:lnTo>
                  <a:pt x="6845" y="44343"/>
                </a:lnTo>
                <a:lnTo>
                  <a:pt x="39583" y="45255"/>
                </a:lnTo>
                <a:lnTo>
                  <a:pt x="41964" y="44647"/>
                </a:lnTo>
                <a:lnTo>
                  <a:pt x="44345" y="42825"/>
                </a:lnTo>
                <a:lnTo>
                  <a:pt x="46130" y="40699"/>
                </a:lnTo>
                <a:lnTo>
                  <a:pt x="46726" y="37965"/>
                </a:lnTo>
                <a:lnTo>
                  <a:pt x="46726" y="7896"/>
                </a:lnTo>
                <a:lnTo>
                  <a:pt x="46130" y="5467"/>
                </a:lnTo>
                <a:lnTo>
                  <a:pt x="44345" y="3037"/>
                </a:lnTo>
                <a:lnTo>
                  <a:pt x="41964" y="1518"/>
                </a:lnTo>
                <a:lnTo>
                  <a:pt x="39583" y="911"/>
                </a:lnTo>
                <a:lnTo>
                  <a:pt x="6845" y="0"/>
                </a:lnTo>
                <a:lnTo>
                  <a:pt x="4761" y="607"/>
                </a:lnTo>
                <a:lnTo>
                  <a:pt x="2380" y="2126"/>
                </a:lnTo>
                <a:lnTo>
                  <a:pt x="595" y="4252"/>
                </a:lnTo>
                <a:lnTo>
                  <a:pt x="0" y="6985"/>
                </a:lnTo>
                <a:close/>
              </a:path>
            </a:pathLst>
          </a:custGeom>
          <a:solidFill>
            <a:srgbClr val="7E7E7E"/>
          </a:solidFill>
        </p:spPr>
        <p:txBody>
          <a:bodyPr wrap="square" lIns="0" tIns="0" rIns="0" bIns="0" rtlCol="0">
            <a:noAutofit/>
          </a:bodyPr>
          <a:lstStyle/>
          <a:p>
            <a:endParaRPr/>
          </a:p>
        </p:txBody>
      </p:sp>
      <p:sp>
        <p:nvSpPr>
          <p:cNvPr id="1393" name="object 1393"/>
          <p:cNvSpPr/>
          <p:nvPr/>
        </p:nvSpPr>
        <p:spPr>
          <a:xfrm>
            <a:off x="8381952" y="1312872"/>
            <a:ext cx="32737" cy="3948"/>
          </a:xfrm>
          <a:custGeom>
            <a:avLst/>
            <a:gdLst/>
            <a:ahLst/>
            <a:cxnLst/>
            <a:rect l="l" t="t" r="r" b="b"/>
            <a:pathLst>
              <a:path w="32737" h="3948">
                <a:moveTo>
                  <a:pt x="32737" y="911"/>
                </a:moveTo>
                <a:lnTo>
                  <a:pt x="0" y="0"/>
                </a:lnTo>
                <a:lnTo>
                  <a:pt x="0" y="3037"/>
                </a:lnTo>
                <a:lnTo>
                  <a:pt x="32737" y="3948"/>
                </a:lnTo>
                <a:lnTo>
                  <a:pt x="32737" y="911"/>
                </a:lnTo>
                <a:close/>
              </a:path>
            </a:pathLst>
          </a:custGeom>
          <a:solidFill>
            <a:srgbClr val="000000"/>
          </a:solidFill>
        </p:spPr>
        <p:txBody>
          <a:bodyPr wrap="square" lIns="0" tIns="0" rIns="0" bIns="0" rtlCol="0">
            <a:noAutofit/>
          </a:bodyPr>
          <a:lstStyle/>
          <a:p>
            <a:endParaRPr/>
          </a:p>
        </p:txBody>
      </p:sp>
      <p:sp>
        <p:nvSpPr>
          <p:cNvPr id="1394" name="object 1394"/>
          <p:cNvSpPr/>
          <p:nvPr/>
        </p:nvSpPr>
        <p:spPr>
          <a:xfrm>
            <a:off x="8414689" y="1313783"/>
            <a:ext cx="8630" cy="8504"/>
          </a:xfrm>
          <a:custGeom>
            <a:avLst/>
            <a:gdLst/>
            <a:ahLst/>
            <a:cxnLst/>
            <a:rect l="l" t="t" r="r" b="b"/>
            <a:pathLst>
              <a:path w="8630" h="8504">
                <a:moveTo>
                  <a:pt x="5654" y="2429"/>
                </a:moveTo>
                <a:lnTo>
                  <a:pt x="2976" y="607"/>
                </a:lnTo>
                <a:lnTo>
                  <a:pt x="0" y="0"/>
                </a:lnTo>
                <a:lnTo>
                  <a:pt x="0" y="3037"/>
                </a:lnTo>
                <a:lnTo>
                  <a:pt x="1785" y="3644"/>
                </a:lnTo>
                <a:lnTo>
                  <a:pt x="3869" y="4859"/>
                </a:lnTo>
                <a:lnTo>
                  <a:pt x="5357" y="6681"/>
                </a:lnTo>
                <a:lnTo>
                  <a:pt x="5654" y="8504"/>
                </a:lnTo>
                <a:lnTo>
                  <a:pt x="8630" y="8504"/>
                </a:lnTo>
                <a:lnTo>
                  <a:pt x="7738" y="5467"/>
                </a:lnTo>
                <a:lnTo>
                  <a:pt x="5654" y="2429"/>
                </a:lnTo>
                <a:close/>
              </a:path>
            </a:pathLst>
          </a:custGeom>
          <a:solidFill>
            <a:srgbClr val="000000"/>
          </a:solidFill>
        </p:spPr>
        <p:txBody>
          <a:bodyPr wrap="square" lIns="0" tIns="0" rIns="0" bIns="0" rtlCol="0">
            <a:noAutofit/>
          </a:bodyPr>
          <a:lstStyle/>
          <a:p>
            <a:endParaRPr/>
          </a:p>
        </p:txBody>
      </p:sp>
      <p:sp>
        <p:nvSpPr>
          <p:cNvPr id="1395" name="object 1395"/>
          <p:cNvSpPr/>
          <p:nvPr/>
        </p:nvSpPr>
        <p:spPr>
          <a:xfrm>
            <a:off x="8420343" y="1321653"/>
            <a:ext cx="2976" cy="31338"/>
          </a:xfrm>
          <a:custGeom>
            <a:avLst/>
            <a:gdLst/>
            <a:ahLst/>
            <a:cxnLst/>
            <a:rect l="l" t="t" r="r" b="b"/>
            <a:pathLst>
              <a:path w="2976" h="31338">
                <a:moveTo>
                  <a:pt x="0" y="31338"/>
                </a:moveTo>
                <a:lnTo>
                  <a:pt x="2976" y="31338"/>
                </a:lnTo>
                <a:lnTo>
                  <a:pt x="2976" y="0"/>
                </a:lnTo>
                <a:lnTo>
                  <a:pt x="0" y="0"/>
                </a:lnTo>
                <a:lnTo>
                  <a:pt x="0" y="31338"/>
                </a:lnTo>
                <a:close/>
              </a:path>
            </a:pathLst>
          </a:custGeom>
          <a:solidFill>
            <a:srgbClr val="000000"/>
          </a:solidFill>
        </p:spPr>
        <p:txBody>
          <a:bodyPr wrap="square" lIns="0" tIns="0" rIns="0" bIns="0" rtlCol="0">
            <a:noAutofit/>
          </a:bodyPr>
          <a:lstStyle/>
          <a:p>
            <a:endParaRPr/>
          </a:p>
        </p:txBody>
      </p:sp>
      <p:sp>
        <p:nvSpPr>
          <p:cNvPr id="1396" name="object 1396"/>
          <p:cNvSpPr/>
          <p:nvPr/>
        </p:nvSpPr>
        <p:spPr>
          <a:xfrm>
            <a:off x="8414689" y="1352356"/>
            <a:ext cx="8630" cy="8808"/>
          </a:xfrm>
          <a:custGeom>
            <a:avLst/>
            <a:gdLst/>
            <a:ahLst/>
            <a:cxnLst/>
            <a:rect l="l" t="t" r="r" b="b"/>
            <a:pathLst>
              <a:path w="8630" h="8808">
                <a:moveTo>
                  <a:pt x="0" y="5770"/>
                </a:moveTo>
                <a:lnTo>
                  <a:pt x="0" y="8808"/>
                </a:lnTo>
                <a:lnTo>
                  <a:pt x="2976" y="7896"/>
                </a:lnTo>
                <a:lnTo>
                  <a:pt x="5654" y="6074"/>
                </a:lnTo>
                <a:lnTo>
                  <a:pt x="7738" y="3340"/>
                </a:lnTo>
                <a:lnTo>
                  <a:pt x="8630" y="0"/>
                </a:lnTo>
                <a:lnTo>
                  <a:pt x="5654" y="0"/>
                </a:lnTo>
                <a:lnTo>
                  <a:pt x="5357" y="2126"/>
                </a:lnTo>
                <a:lnTo>
                  <a:pt x="3869" y="3644"/>
                </a:lnTo>
                <a:lnTo>
                  <a:pt x="1785" y="5467"/>
                </a:lnTo>
                <a:lnTo>
                  <a:pt x="0" y="5770"/>
                </a:lnTo>
                <a:close/>
              </a:path>
            </a:pathLst>
          </a:custGeom>
          <a:solidFill>
            <a:srgbClr val="000000"/>
          </a:solidFill>
        </p:spPr>
        <p:txBody>
          <a:bodyPr wrap="square" lIns="0" tIns="0" rIns="0" bIns="0" rtlCol="0">
            <a:noAutofit/>
          </a:bodyPr>
          <a:lstStyle/>
          <a:p>
            <a:endParaRPr/>
          </a:p>
        </p:txBody>
      </p:sp>
      <p:sp>
        <p:nvSpPr>
          <p:cNvPr id="1397" name="object 1397"/>
          <p:cNvSpPr/>
          <p:nvPr/>
        </p:nvSpPr>
        <p:spPr>
          <a:xfrm>
            <a:off x="8381952" y="1357216"/>
            <a:ext cx="32737" cy="3948"/>
          </a:xfrm>
          <a:custGeom>
            <a:avLst/>
            <a:gdLst/>
            <a:ahLst/>
            <a:cxnLst/>
            <a:rect l="l" t="t" r="r" b="b"/>
            <a:pathLst>
              <a:path w="32737" h="3948">
                <a:moveTo>
                  <a:pt x="0" y="3037"/>
                </a:moveTo>
                <a:lnTo>
                  <a:pt x="32737" y="3948"/>
                </a:lnTo>
                <a:lnTo>
                  <a:pt x="32737" y="911"/>
                </a:lnTo>
                <a:lnTo>
                  <a:pt x="0" y="0"/>
                </a:lnTo>
                <a:lnTo>
                  <a:pt x="0" y="3037"/>
                </a:lnTo>
                <a:close/>
              </a:path>
            </a:pathLst>
          </a:custGeom>
          <a:solidFill>
            <a:srgbClr val="000000"/>
          </a:solidFill>
        </p:spPr>
        <p:txBody>
          <a:bodyPr wrap="square" lIns="0" tIns="0" rIns="0" bIns="0" rtlCol="0">
            <a:noAutofit/>
          </a:bodyPr>
          <a:lstStyle/>
          <a:p>
            <a:endParaRPr/>
          </a:p>
        </p:txBody>
      </p:sp>
      <p:sp>
        <p:nvSpPr>
          <p:cNvPr id="1398" name="object 1398"/>
          <p:cNvSpPr/>
          <p:nvPr/>
        </p:nvSpPr>
        <p:spPr>
          <a:xfrm>
            <a:off x="8373618" y="1351445"/>
            <a:ext cx="8333" cy="8808"/>
          </a:xfrm>
          <a:custGeom>
            <a:avLst/>
            <a:gdLst/>
            <a:ahLst/>
            <a:cxnLst/>
            <a:rect l="l" t="t" r="r" b="b"/>
            <a:pathLst>
              <a:path w="8333" h="8808">
                <a:moveTo>
                  <a:pt x="6547" y="5163"/>
                </a:moveTo>
                <a:lnTo>
                  <a:pt x="4761" y="3948"/>
                </a:lnTo>
                <a:lnTo>
                  <a:pt x="3571" y="2126"/>
                </a:lnTo>
                <a:lnTo>
                  <a:pt x="2976" y="0"/>
                </a:lnTo>
                <a:lnTo>
                  <a:pt x="0" y="0"/>
                </a:lnTo>
                <a:lnTo>
                  <a:pt x="595" y="3340"/>
                </a:lnTo>
                <a:lnTo>
                  <a:pt x="2380" y="6378"/>
                </a:lnTo>
                <a:lnTo>
                  <a:pt x="5357" y="8200"/>
                </a:lnTo>
                <a:lnTo>
                  <a:pt x="8333" y="8808"/>
                </a:lnTo>
                <a:lnTo>
                  <a:pt x="8333" y="5770"/>
                </a:lnTo>
                <a:lnTo>
                  <a:pt x="6547" y="5163"/>
                </a:lnTo>
                <a:close/>
              </a:path>
            </a:pathLst>
          </a:custGeom>
          <a:solidFill>
            <a:srgbClr val="000000"/>
          </a:solidFill>
        </p:spPr>
        <p:txBody>
          <a:bodyPr wrap="square" lIns="0" tIns="0" rIns="0" bIns="0" rtlCol="0">
            <a:noAutofit/>
          </a:bodyPr>
          <a:lstStyle/>
          <a:p>
            <a:endParaRPr/>
          </a:p>
        </p:txBody>
      </p:sp>
      <p:sp>
        <p:nvSpPr>
          <p:cNvPr id="1399" name="object 1399"/>
          <p:cNvSpPr/>
          <p:nvPr/>
        </p:nvSpPr>
        <p:spPr>
          <a:xfrm>
            <a:off x="8373617" y="1320741"/>
            <a:ext cx="2976" cy="31338"/>
          </a:xfrm>
          <a:custGeom>
            <a:avLst/>
            <a:gdLst/>
            <a:ahLst/>
            <a:cxnLst/>
            <a:rect l="l" t="t" r="r" b="b"/>
            <a:pathLst>
              <a:path w="2976" h="31338">
                <a:moveTo>
                  <a:pt x="0" y="31338"/>
                </a:moveTo>
                <a:lnTo>
                  <a:pt x="2976" y="31338"/>
                </a:lnTo>
                <a:lnTo>
                  <a:pt x="2976" y="0"/>
                </a:lnTo>
                <a:lnTo>
                  <a:pt x="0" y="0"/>
                </a:lnTo>
                <a:lnTo>
                  <a:pt x="0" y="31338"/>
                </a:lnTo>
                <a:close/>
              </a:path>
            </a:pathLst>
          </a:custGeom>
          <a:solidFill>
            <a:srgbClr val="000000"/>
          </a:solidFill>
        </p:spPr>
        <p:txBody>
          <a:bodyPr wrap="square" lIns="0" tIns="0" rIns="0" bIns="0" rtlCol="0">
            <a:noAutofit/>
          </a:bodyPr>
          <a:lstStyle/>
          <a:p>
            <a:endParaRPr/>
          </a:p>
        </p:txBody>
      </p:sp>
      <p:sp>
        <p:nvSpPr>
          <p:cNvPr id="1400" name="object 1400"/>
          <p:cNvSpPr/>
          <p:nvPr/>
        </p:nvSpPr>
        <p:spPr>
          <a:xfrm>
            <a:off x="8373618" y="1312872"/>
            <a:ext cx="8333" cy="8504"/>
          </a:xfrm>
          <a:custGeom>
            <a:avLst/>
            <a:gdLst/>
            <a:ahLst/>
            <a:cxnLst/>
            <a:rect l="l" t="t" r="r" b="b"/>
            <a:pathLst>
              <a:path w="8333" h="8504">
                <a:moveTo>
                  <a:pt x="2976" y="8504"/>
                </a:moveTo>
                <a:lnTo>
                  <a:pt x="3273" y="6378"/>
                </a:lnTo>
                <a:lnTo>
                  <a:pt x="4761" y="4859"/>
                </a:lnTo>
                <a:lnTo>
                  <a:pt x="6845" y="3644"/>
                </a:lnTo>
                <a:lnTo>
                  <a:pt x="8333" y="3037"/>
                </a:lnTo>
                <a:lnTo>
                  <a:pt x="8333" y="0"/>
                </a:lnTo>
                <a:lnTo>
                  <a:pt x="5654" y="607"/>
                </a:lnTo>
                <a:lnTo>
                  <a:pt x="2976" y="2429"/>
                </a:lnTo>
                <a:lnTo>
                  <a:pt x="892" y="5163"/>
                </a:lnTo>
                <a:lnTo>
                  <a:pt x="0" y="8504"/>
                </a:lnTo>
                <a:lnTo>
                  <a:pt x="2976" y="8504"/>
                </a:lnTo>
                <a:close/>
              </a:path>
            </a:pathLst>
          </a:custGeom>
          <a:solidFill>
            <a:srgbClr val="000000"/>
          </a:solidFill>
        </p:spPr>
        <p:txBody>
          <a:bodyPr wrap="square" lIns="0" tIns="0" rIns="0" bIns="0" rtlCol="0">
            <a:noAutofit/>
          </a:bodyPr>
          <a:lstStyle/>
          <a:p>
            <a:endParaRPr/>
          </a:p>
        </p:txBody>
      </p:sp>
      <p:sp>
        <p:nvSpPr>
          <p:cNvPr id="1401" name="object 1401"/>
          <p:cNvSpPr/>
          <p:nvPr/>
        </p:nvSpPr>
        <p:spPr>
          <a:xfrm>
            <a:off x="8079273" y="1305583"/>
            <a:ext cx="30952" cy="3948"/>
          </a:xfrm>
          <a:custGeom>
            <a:avLst/>
            <a:gdLst/>
            <a:ahLst/>
            <a:cxnLst/>
            <a:rect l="l" t="t" r="r" b="b"/>
            <a:pathLst>
              <a:path w="30952" h="3948">
                <a:moveTo>
                  <a:pt x="30952" y="911"/>
                </a:moveTo>
                <a:lnTo>
                  <a:pt x="0" y="0"/>
                </a:lnTo>
                <a:lnTo>
                  <a:pt x="0" y="3037"/>
                </a:lnTo>
                <a:lnTo>
                  <a:pt x="30952" y="3948"/>
                </a:lnTo>
                <a:lnTo>
                  <a:pt x="30952" y="911"/>
                </a:lnTo>
                <a:close/>
              </a:path>
            </a:pathLst>
          </a:custGeom>
          <a:solidFill>
            <a:srgbClr val="000000"/>
          </a:solidFill>
        </p:spPr>
        <p:txBody>
          <a:bodyPr wrap="square" lIns="0" tIns="0" rIns="0" bIns="0" rtlCol="0">
            <a:noAutofit/>
          </a:bodyPr>
          <a:lstStyle/>
          <a:p>
            <a:endParaRPr/>
          </a:p>
        </p:txBody>
      </p:sp>
      <p:sp>
        <p:nvSpPr>
          <p:cNvPr id="1402" name="object 1402"/>
          <p:cNvSpPr/>
          <p:nvPr/>
        </p:nvSpPr>
        <p:spPr>
          <a:xfrm>
            <a:off x="8110226" y="1306494"/>
            <a:ext cx="8035" cy="8200"/>
          </a:xfrm>
          <a:custGeom>
            <a:avLst/>
            <a:gdLst/>
            <a:ahLst/>
            <a:cxnLst/>
            <a:rect l="l" t="t" r="r" b="b"/>
            <a:pathLst>
              <a:path w="8035" h="8200">
                <a:moveTo>
                  <a:pt x="5059" y="2429"/>
                </a:moveTo>
                <a:lnTo>
                  <a:pt x="2678" y="911"/>
                </a:lnTo>
                <a:lnTo>
                  <a:pt x="0" y="0"/>
                </a:lnTo>
                <a:lnTo>
                  <a:pt x="0" y="3037"/>
                </a:lnTo>
                <a:lnTo>
                  <a:pt x="1488" y="3340"/>
                </a:lnTo>
                <a:lnTo>
                  <a:pt x="3273" y="4859"/>
                </a:lnTo>
                <a:lnTo>
                  <a:pt x="4761" y="6378"/>
                </a:lnTo>
                <a:lnTo>
                  <a:pt x="5059" y="8200"/>
                </a:lnTo>
                <a:lnTo>
                  <a:pt x="8035" y="8200"/>
                </a:lnTo>
                <a:lnTo>
                  <a:pt x="7142" y="5163"/>
                </a:lnTo>
                <a:lnTo>
                  <a:pt x="5059" y="2429"/>
                </a:lnTo>
                <a:close/>
              </a:path>
            </a:pathLst>
          </a:custGeom>
          <a:solidFill>
            <a:srgbClr val="000000"/>
          </a:solidFill>
        </p:spPr>
        <p:txBody>
          <a:bodyPr wrap="square" lIns="0" tIns="0" rIns="0" bIns="0" rtlCol="0">
            <a:noAutofit/>
          </a:bodyPr>
          <a:lstStyle/>
          <a:p>
            <a:endParaRPr/>
          </a:p>
        </p:txBody>
      </p:sp>
      <p:sp>
        <p:nvSpPr>
          <p:cNvPr id="1403" name="object 1403"/>
          <p:cNvSpPr/>
          <p:nvPr/>
        </p:nvSpPr>
        <p:spPr>
          <a:xfrm>
            <a:off x="8115285" y="1314059"/>
            <a:ext cx="2976" cy="29212"/>
          </a:xfrm>
          <a:custGeom>
            <a:avLst/>
            <a:gdLst/>
            <a:ahLst/>
            <a:cxnLst/>
            <a:rect l="l" t="t" r="r" b="b"/>
            <a:pathLst>
              <a:path w="2976" h="29212">
                <a:moveTo>
                  <a:pt x="0" y="29212"/>
                </a:moveTo>
                <a:lnTo>
                  <a:pt x="2976" y="29212"/>
                </a:lnTo>
                <a:lnTo>
                  <a:pt x="2976" y="0"/>
                </a:lnTo>
                <a:lnTo>
                  <a:pt x="0" y="0"/>
                </a:lnTo>
                <a:lnTo>
                  <a:pt x="0" y="29212"/>
                </a:lnTo>
                <a:close/>
              </a:path>
            </a:pathLst>
          </a:custGeom>
          <a:solidFill>
            <a:srgbClr val="000000"/>
          </a:solidFill>
        </p:spPr>
        <p:txBody>
          <a:bodyPr wrap="square" lIns="0" tIns="0" rIns="0" bIns="0" rtlCol="0">
            <a:noAutofit/>
          </a:bodyPr>
          <a:lstStyle/>
          <a:p>
            <a:endParaRPr/>
          </a:p>
        </p:txBody>
      </p:sp>
      <p:sp>
        <p:nvSpPr>
          <p:cNvPr id="1404" name="object 1404"/>
          <p:cNvSpPr/>
          <p:nvPr/>
        </p:nvSpPr>
        <p:spPr>
          <a:xfrm>
            <a:off x="8110226" y="1342637"/>
            <a:ext cx="8035" cy="8504"/>
          </a:xfrm>
          <a:custGeom>
            <a:avLst/>
            <a:gdLst/>
            <a:ahLst/>
            <a:cxnLst/>
            <a:rect l="l" t="t" r="r" b="b"/>
            <a:pathLst>
              <a:path w="8035" h="8504">
                <a:moveTo>
                  <a:pt x="5654" y="6074"/>
                </a:moveTo>
                <a:lnTo>
                  <a:pt x="7440" y="3340"/>
                </a:lnTo>
                <a:lnTo>
                  <a:pt x="8035" y="0"/>
                </a:lnTo>
                <a:lnTo>
                  <a:pt x="5059" y="0"/>
                </a:lnTo>
                <a:lnTo>
                  <a:pt x="4464" y="2126"/>
                </a:lnTo>
                <a:lnTo>
                  <a:pt x="3273" y="3644"/>
                </a:lnTo>
                <a:lnTo>
                  <a:pt x="1785" y="4859"/>
                </a:lnTo>
                <a:lnTo>
                  <a:pt x="0" y="5467"/>
                </a:lnTo>
                <a:lnTo>
                  <a:pt x="0" y="8504"/>
                </a:lnTo>
                <a:lnTo>
                  <a:pt x="2976" y="7896"/>
                </a:lnTo>
                <a:lnTo>
                  <a:pt x="5654" y="6074"/>
                </a:lnTo>
                <a:close/>
              </a:path>
            </a:pathLst>
          </a:custGeom>
          <a:solidFill>
            <a:srgbClr val="000000"/>
          </a:solidFill>
        </p:spPr>
        <p:txBody>
          <a:bodyPr wrap="square" lIns="0" tIns="0" rIns="0" bIns="0" rtlCol="0">
            <a:noAutofit/>
          </a:bodyPr>
          <a:lstStyle/>
          <a:p>
            <a:endParaRPr/>
          </a:p>
        </p:txBody>
      </p:sp>
      <p:sp>
        <p:nvSpPr>
          <p:cNvPr id="1405" name="object 1405"/>
          <p:cNvSpPr/>
          <p:nvPr/>
        </p:nvSpPr>
        <p:spPr>
          <a:xfrm>
            <a:off x="8079273" y="1347193"/>
            <a:ext cx="30952" cy="3948"/>
          </a:xfrm>
          <a:custGeom>
            <a:avLst/>
            <a:gdLst/>
            <a:ahLst/>
            <a:cxnLst/>
            <a:rect l="l" t="t" r="r" b="b"/>
            <a:pathLst>
              <a:path w="30952" h="3948">
                <a:moveTo>
                  <a:pt x="0" y="3037"/>
                </a:moveTo>
                <a:lnTo>
                  <a:pt x="30952" y="3948"/>
                </a:lnTo>
                <a:lnTo>
                  <a:pt x="30952" y="911"/>
                </a:lnTo>
                <a:lnTo>
                  <a:pt x="0" y="0"/>
                </a:lnTo>
                <a:lnTo>
                  <a:pt x="0" y="3037"/>
                </a:lnTo>
                <a:close/>
              </a:path>
            </a:pathLst>
          </a:custGeom>
          <a:solidFill>
            <a:srgbClr val="000000"/>
          </a:solidFill>
        </p:spPr>
        <p:txBody>
          <a:bodyPr wrap="square" lIns="0" tIns="0" rIns="0" bIns="0" rtlCol="0">
            <a:noAutofit/>
          </a:bodyPr>
          <a:lstStyle/>
          <a:p>
            <a:endParaRPr/>
          </a:p>
        </p:txBody>
      </p:sp>
      <p:sp>
        <p:nvSpPr>
          <p:cNvPr id="1406" name="object 1406"/>
          <p:cNvSpPr/>
          <p:nvPr/>
        </p:nvSpPr>
        <p:spPr>
          <a:xfrm>
            <a:off x="8071238" y="1342030"/>
            <a:ext cx="8035" cy="8200"/>
          </a:xfrm>
          <a:custGeom>
            <a:avLst/>
            <a:gdLst/>
            <a:ahLst/>
            <a:cxnLst/>
            <a:rect l="l" t="t" r="r" b="b"/>
            <a:pathLst>
              <a:path w="8035" h="8200">
                <a:moveTo>
                  <a:pt x="595" y="3037"/>
                </a:moveTo>
                <a:lnTo>
                  <a:pt x="2380" y="5770"/>
                </a:lnTo>
                <a:lnTo>
                  <a:pt x="5059" y="7593"/>
                </a:lnTo>
                <a:lnTo>
                  <a:pt x="8035" y="8200"/>
                </a:lnTo>
                <a:lnTo>
                  <a:pt x="8035" y="5163"/>
                </a:lnTo>
                <a:lnTo>
                  <a:pt x="6249" y="4555"/>
                </a:lnTo>
                <a:lnTo>
                  <a:pt x="4761" y="3340"/>
                </a:lnTo>
                <a:lnTo>
                  <a:pt x="3571" y="1822"/>
                </a:lnTo>
                <a:lnTo>
                  <a:pt x="2976" y="0"/>
                </a:lnTo>
                <a:lnTo>
                  <a:pt x="0" y="0"/>
                </a:lnTo>
                <a:lnTo>
                  <a:pt x="595" y="3037"/>
                </a:lnTo>
                <a:close/>
              </a:path>
            </a:pathLst>
          </a:custGeom>
          <a:solidFill>
            <a:srgbClr val="000000"/>
          </a:solidFill>
        </p:spPr>
        <p:txBody>
          <a:bodyPr wrap="square" lIns="0" tIns="0" rIns="0" bIns="0" rtlCol="0">
            <a:noAutofit/>
          </a:bodyPr>
          <a:lstStyle/>
          <a:p>
            <a:endParaRPr/>
          </a:p>
        </p:txBody>
      </p:sp>
      <p:sp>
        <p:nvSpPr>
          <p:cNvPr id="1407" name="object 1407"/>
          <p:cNvSpPr/>
          <p:nvPr/>
        </p:nvSpPr>
        <p:spPr>
          <a:xfrm>
            <a:off x="8071237" y="1313148"/>
            <a:ext cx="2976" cy="29516"/>
          </a:xfrm>
          <a:custGeom>
            <a:avLst/>
            <a:gdLst/>
            <a:ahLst/>
            <a:cxnLst/>
            <a:rect l="l" t="t" r="r" b="b"/>
            <a:pathLst>
              <a:path w="2976" h="29516">
                <a:moveTo>
                  <a:pt x="0" y="29516"/>
                </a:moveTo>
                <a:lnTo>
                  <a:pt x="2976" y="29516"/>
                </a:lnTo>
                <a:lnTo>
                  <a:pt x="2976" y="0"/>
                </a:lnTo>
                <a:lnTo>
                  <a:pt x="0" y="0"/>
                </a:lnTo>
                <a:lnTo>
                  <a:pt x="0" y="29516"/>
                </a:lnTo>
                <a:close/>
              </a:path>
            </a:pathLst>
          </a:custGeom>
          <a:solidFill>
            <a:srgbClr val="000000"/>
          </a:solidFill>
        </p:spPr>
        <p:txBody>
          <a:bodyPr wrap="square" lIns="0" tIns="0" rIns="0" bIns="0" rtlCol="0">
            <a:noAutofit/>
          </a:bodyPr>
          <a:lstStyle/>
          <a:p>
            <a:endParaRPr/>
          </a:p>
        </p:txBody>
      </p:sp>
      <p:sp>
        <p:nvSpPr>
          <p:cNvPr id="1408" name="object 1408"/>
          <p:cNvSpPr/>
          <p:nvPr/>
        </p:nvSpPr>
        <p:spPr>
          <a:xfrm>
            <a:off x="8071238" y="1305583"/>
            <a:ext cx="8035" cy="8200"/>
          </a:xfrm>
          <a:custGeom>
            <a:avLst/>
            <a:gdLst/>
            <a:ahLst/>
            <a:cxnLst/>
            <a:rect l="l" t="t" r="r" b="b"/>
            <a:pathLst>
              <a:path w="8035" h="8200">
                <a:moveTo>
                  <a:pt x="2976" y="8200"/>
                </a:moveTo>
                <a:lnTo>
                  <a:pt x="3273" y="6074"/>
                </a:lnTo>
                <a:lnTo>
                  <a:pt x="4761" y="4555"/>
                </a:lnTo>
                <a:lnTo>
                  <a:pt x="6547" y="3644"/>
                </a:lnTo>
                <a:lnTo>
                  <a:pt x="8035" y="3037"/>
                </a:lnTo>
                <a:lnTo>
                  <a:pt x="8035" y="0"/>
                </a:lnTo>
                <a:lnTo>
                  <a:pt x="5357" y="607"/>
                </a:lnTo>
                <a:lnTo>
                  <a:pt x="2976" y="2126"/>
                </a:lnTo>
                <a:lnTo>
                  <a:pt x="892" y="4859"/>
                </a:lnTo>
                <a:lnTo>
                  <a:pt x="0" y="8200"/>
                </a:lnTo>
                <a:lnTo>
                  <a:pt x="2976" y="8200"/>
                </a:lnTo>
                <a:close/>
              </a:path>
            </a:pathLst>
          </a:custGeom>
          <a:solidFill>
            <a:srgbClr val="000000"/>
          </a:solidFill>
        </p:spPr>
        <p:txBody>
          <a:bodyPr wrap="square" lIns="0" tIns="0" rIns="0" bIns="0" rtlCol="0">
            <a:noAutofit/>
          </a:bodyPr>
          <a:lstStyle/>
          <a:p>
            <a:endParaRPr/>
          </a:p>
        </p:txBody>
      </p:sp>
      <p:sp>
        <p:nvSpPr>
          <p:cNvPr id="1409" name="object 1409"/>
          <p:cNvSpPr/>
          <p:nvPr/>
        </p:nvSpPr>
        <p:spPr>
          <a:xfrm>
            <a:off x="8381355" y="1316820"/>
            <a:ext cx="40476" cy="39180"/>
          </a:xfrm>
          <a:custGeom>
            <a:avLst/>
            <a:gdLst/>
            <a:ahLst/>
            <a:cxnLst/>
            <a:rect l="l" t="t" r="r" b="b"/>
            <a:pathLst>
              <a:path w="40476" h="39180">
                <a:moveTo>
                  <a:pt x="36607" y="38573"/>
                </a:moveTo>
                <a:lnTo>
                  <a:pt x="38392" y="37054"/>
                </a:lnTo>
                <a:lnTo>
                  <a:pt x="39880" y="34928"/>
                </a:lnTo>
                <a:lnTo>
                  <a:pt x="40476" y="32802"/>
                </a:lnTo>
                <a:lnTo>
                  <a:pt x="40476" y="6985"/>
                </a:lnTo>
                <a:lnTo>
                  <a:pt x="39880" y="4859"/>
                </a:lnTo>
                <a:lnTo>
                  <a:pt x="38392" y="2733"/>
                </a:lnTo>
                <a:lnTo>
                  <a:pt x="36309" y="1518"/>
                </a:lnTo>
                <a:lnTo>
                  <a:pt x="34226" y="911"/>
                </a:lnTo>
                <a:lnTo>
                  <a:pt x="6249" y="0"/>
                </a:lnTo>
                <a:lnTo>
                  <a:pt x="4166" y="607"/>
                </a:lnTo>
                <a:lnTo>
                  <a:pt x="2083" y="1822"/>
                </a:lnTo>
                <a:lnTo>
                  <a:pt x="595" y="3644"/>
                </a:lnTo>
                <a:lnTo>
                  <a:pt x="0" y="6074"/>
                </a:lnTo>
                <a:lnTo>
                  <a:pt x="0" y="32194"/>
                </a:lnTo>
                <a:lnTo>
                  <a:pt x="595" y="34624"/>
                </a:lnTo>
                <a:lnTo>
                  <a:pt x="2083" y="36447"/>
                </a:lnTo>
                <a:lnTo>
                  <a:pt x="4166" y="37661"/>
                </a:lnTo>
                <a:lnTo>
                  <a:pt x="6249" y="38269"/>
                </a:lnTo>
                <a:lnTo>
                  <a:pt x="34226" y="39180"/>
                </a:lnTo>
                <a:lnTo>
                  <a:pt x="36607" y="38573"/>
                </a:lnTo>
                <a:close/>
              </a:path>
            </a:pathLst>
          </a:custGeom>
          <a:solidFill>
            <a:srgbClr val="000000"/>
          </a:solidFill>
        </p:spPr>
        <p:txBody>
          <a:bodyPr wrap="square" lIns="0" tIns="0" rIns="0" bIns="0" rtlCol="0">
            <a:noAutofit/>
          </a:bodyPr>
          <a:lstStyle/>
          <a:p>
            <a:endParaRPr/>
          </a:p>
        </p:txBody>
      </p:sp>
      <p:sp>
        <p:nvSpPr>
          <p:cNvPr id="1410" name="object 1410"/>
          <p:cNvSpPr/>
          <p:nvPr/>
        </p:nvSpPr>
        <p:spPr>
          <a:xfrm>
            <a:off x="8078679" y="1309531"/>
            <a:ext cx="38095" cy="36750"/>
          </a:xfrm>
          <a:custGeom>
            <a:avLst/>
            <a:gdLst/>
            <a:ahLst/>
            <a:cxnLst/>
            <a:rect l="l" t="t" r="r" b="b"/>
            <a:pathLst>
              <a:path w="38095" h="36750">
                <a:moveTo>
                  <a:pt x="595" y="32194"/>
                </a:moveTo>
                <a:lnTo>
                  <a:pt x="1785" y="34017"/>
                </a:lnTo>
                <a:lnTo>
                  <a:pt x="3869" y="35232"/>
                </a:lnTo>
                <a:lnTo>
                  <a:pt x="5952" y="35839"/>
                </a:lnTo>
                <a:lnTo>
                  <a:pt x="32142" y="36750"/>
                </a:lnTo>
                <a:lnTo>
                  <a:pt x="34226" y="36143"/>
                </a:lnTo>
                <a:lnTo>
                  <a:pt x="36309" y="34928"/>
                </a:lnTo>
                <a:lnTo>
                  <a:pt x="37499" y="33106"/>
                </a:lnTo>
                <a:lnTo>
                  <a:pt x="38095" y="30980"/>
                </a:lnTo>
                <a:lnTo>
                  <a:pt x="38095" y="6378"/>
                </a:lnTo>
                <a:lnTo>
                  <a:pt x="37499" y="4252"/>
                </a:lnTo>
                <a:lnTo>
                  <a:pt x="36011" y="2429"/>
                </a:lnTo>
                <a:lnTo>
                  <a:pt x="34226" y="1214"/>
                </a:lnTo>
                <a:lnTo>
                  <a:pt x="32142" y="607"/>
                </a:lnTo>
                <a:lnTo>
                  <a:pt x="5952" y="0"/>
                </a:lnTo>
                <a:lnTo>
                  <a:pt x="3869" y="303"/>
                </a:lnTo>
                <a:lnTo>
                  <a:pt x="2083" y="1518"/>
                </a:lnTo>
                <a:lnTo>
                  <a:pt x="595" y="3340"/>
                </a:lnTo>
                <a:lnTo>
                  <a:pt x="0" y="5770"/>
                </a:lnTo>
                <a:lnTo>
                  <a:pt x="0" y="30068"/>
                </a:lnTo>
                <a:lnTo>
                  <a:pt x="595" y="32194"/>
                </a:lnTo>
                <a:close/>
              </a:path>
            </a:pathLst>
          </a:custGeom>
          <a:solidFill>
            <a:srgbClr val="000000"/>
          </a:solidFill>
        </p:spPr>
        <p:txBody>
          <a:bodyPr wrap="square" lIns="0" tIns="0" rIns="0" bIns="0" rtlCol="0">
            <a:noAutofit/>
          </a:bodyPr>
          <a:lstStyle/>
          <a:p>
            <a:endParaRPr/>
          </a:p>
        </p:txBody>
      </p:sp>
      <p:sp>
        <p:nvSpPr>
          <p:cNvPr id="1411" name="object 1411"/>
          <p:cNvSpPr/>
          <p:nvPr/>
        </p:nvSpPr>
        <p:spPr>
          <a:xfrm>
            <a:off x="8387605" y="1315302"/>
            <a:ext cx="27976" cy="3948"/>
          </a:xfrm>
          <a:custGeom>
            <a:avLst/>
            <a:gdLst/>
            <a:ahLst/>
            <a:cxnLst/>
            <a:rect l="l" t="t" r="r" b="b"/>
            <a:pathLst>
              <a:path w="27976" h="3948">
                <a:moveTo>
                  <a:pt x="27976" y="911"/>
                </a:moveTo>
                <a:lnTo>
                  <a:pt x="0" y="0"/>
                </a:lnTo>
                <a:lnTo>
                  <a:pt x="0" y="3037"/>
                </a:lnTo>
                <a:lnTo>
                  <a:pt x="27976" y="3948"/>
                </a:lnTo>
                <a:lnTo>
                  <a:pt x="27976" y="911"/>
                </a:lnTo>
                <a:close/>
              </a:path>
            </a:pathLst>
          </a:custGeom>
          <a:solidFill>
            <a:srgbClr val="000000"/>
          </a:solidFill>
        </p:spPr>
        <p:txBody>
          <a:bodyPr wrap="square" lIns="0" tIns="0" rIns="0" bIns="0" rtlCol="0">
            <a:noAutofit/>
          </a:bodyPr>
          <a:lstStyle/>
          <a:p>
            <a:endParaRPr/>
          </a:p>
        </p:txBody>
      </p:sp>
      <p:sp>
        <p:nvSpPr>
          <p:cNvPr id="1412" name="object 1412"/>
          <p:cNvSpPr/>
          <p:nvPr/>
        </p:nvSpPr>
        <p:spPr>
          <a:xfrm>
            <a:off x="8415582" y="1316214"/>
            <a:ext cx="7738" cy="7593"/>
          </a:xfrm>
          <a:custGeom>
            <a:avLst/>
            <a:gdLst/>
            <a:ahLst/>
            <a:cxnLst/>
            <a:rect l="l" t="t" r="r" b="b"/>
            <a:pathLst>
              <a:path w="7738" h="7593">
                <a:moveTo>
                  <a:pt x="5059" y="2126"/>
                </a:moveTo>
                <a:lnTo>
                  <a:pt x="2678" y="607"/>
                </a:lnTo>
                <a:lnTo>
                  <a:pt x="0" y="0"/>
                </a:lnTo>
                <a:lnTo>
                  <a:pt x="0" y="3037"/>
                </a:lnTo>
                <a:lnTo>
                  <a:pt x="1488" y="3644"/>
                </a:lnTo>
                <a:lnTo>
                  <a:pt x="3273" y="4555"/>
                </a:lnTo>
                <a:lnTo>
                  <a:pt x="4464" y="6074"/>
                </a:lnTo>
                <a:lnTo>
                  <a:pt x="4761" y="7593"/>
                </a:lnTo>
                <a:lnTo>
                  <a:pt x="7738" y="7593"/>
                </a:lnTo>
                <a:lnTo>
                  <a:pt x="6845" y="4859"/>
                </a:lnTo>
                <a:lnTo>
                  <a:pt x="5059" y="2126"/>
                </a:lnTo>
                <a:close/>
              </a:path>
            </a:pathLst>
          </a:custGeom>
          <a:solidFill>
            <a:srgbClr val="000000"/>
          </a:solidFill>
        </p:spPr>
        <p:txBody>
          <a:bodyPr wrap="square" lIns="0" tIns="0" rIns="0" bIns="0" rtlCol="0">
            <a:noAutofit/>
          </a:bodyPr>
          <a:lstStyle/>
          <a:p>
            <a:endParaRPr/>
          </a:p>
        </p:txBody>
      </p:sp>
      <p:sp>
        <p:nvSpPr>
          <p:cNvPr id="1413" name="object 1413"/>
          <p:cNvSpPr/>
          <p:nvPr/>
        </p:nvSpPr>
        <p:spPr>
          <a:xfrm>
            <a:off x="8420343" y="1323171"/>
            <a:ext cx="2976" cy="27086"/>
          </a:xfrm>
          <a:custGeom>
            <a:avLst/>
            <a:gdLst/>
            <a:ahLst/>
            <a:cxnLst/>
            <a:rect l="l" t="t" r="r" b="b"/>
            <a:pathLst>
              <a:path w="2976" h="27086">
                <a:moveTo>
                  <a:pt x="0" y="27086"/>
                </a:moveTo>
                <a:lnTo>
                  <a:pt x="2976" y="27086"/>
                </a:lnTo>
                <a:lnTo>
                  <a:pt x="2976" y="0"/>
                </a:lnTo>
                <a:lnTo>
                  <a:pt x="0" y="0"/>
                </a:lnTo>
                <a:lnTo>
                  <a:pt x="0" y="27086"/>
                </a:lnTo>
                <a:close/>
              </a:path>
            </a:pathLst>
          </a:custGeom>
          <a:solidFill>
            <a:srgbClr val="000000"/>
          </a:solidFill>
        </p:spPr>
        <p:txBody>
          <a:bodyPr wrap="square" lIns="0" tIns="0" rIns="0" bIns="0" rtlCol="0">
            <a:noAutofit/>
          </a:bodyPr>
          <a:lstStyle/>
          <a:p>
            <a:endParaRPr/>
          </a:p>
        </p:txBody>
      </p:sp>
      <p:sp>
        <p:nvSpPr>
          <p:cNvPr id="1414" name="object 1414"/>
          <p:cNvSpPr/>
          <p:nvPr/>
        </p:nvSpPr>
        <p:spPr>
          <a:xfrm>
            <a:off x="8415582" y="1349623"/>
            <a:ext cx="7738" cy="7896"/>
          </a:xfrm>
          <a:custGeom>
            <a:avLst/>
            <a:gdLst/>
            <a:ahLst/>
            <a:cxnLst/>
            <a:rect l="l" t="t" r="r" b="b"/>
            <a:pathLst>
              <a:path w="7738" h="7896">
                <a:moveTo>
                  <a:pt x="5357" y="5163"/>
                </a:moveTo>
                <a:lnTo>
                  <a:pt x="6845" y="2733"/>
                </a:lnTo>
                <a:lnTo>
                  <a:pt x="7738" y="0"/>
                </a:lnTo>
                <a:lnTo>
                  <a:pt x="4761" y="0"/>
                </a:lnTo>
                <a:lnTo>
                  <a:pt x="4464" y="1518"/>
                </a:lnTo>
                <a:lnTo>
                  <a:pt x="2976" y="3340"/>
                </a:lnTo>
                <a:lnTo>
                  <a:pt x="1785" y="4555"/>
                </a:lnTo>
                <a:lnTo>
                  <a:pt x="0" y="4859"/>
                </a:lnTo>
                <a:lnTo>
                  <a:pt x="0" y="7896"/>
                </a:lnTo>
                <a:lnTo>
                  <a:pt x="2976" y="6985"/>
                </a:lnTo>
                <a:lnTo>
                  <a:pt x="5357" y="5163"/>
                </a:lnTo>
                <a:close/>
              </a:path>
            </a:pathLst>
          </a:custGeom>
          <a:solidFill>
            <a:srgbClr val="000000"/>
          </a:solidFill>
        </p:spPr>
        <p:txBody>
          <a:bodyPr wrap="square" lIns="0" tIns="0" rIns="0" bIns="0" rtlCol="0">
            <a:noAutofit/>
          </a:bodyPr>
          <a:lstStyle/>
          <a:p>
            <a:endParaRPr/>
          </a:p>
        </p:txBody>
      </p:sp>
      <p:sp>
        <p:nvSpPr>
          <p:cNvPr id="1415" name="object 1415"/>
          <p:cNvSpPr/>
          <p:nvPr/>
        </p:nvSpPr>
        <p:spPr>
          <a:xfrm>
            <a:off x="8387605" y="1353571"/>
            <a:ext cx="27976" cy="3948"/>
          </a:xfrm>
          <a:custGeom>
            <a:avLst/>
            <a:gdLst/>
            <a:ahLst/>
            <a:cxnLst/>
            <a:rect l="l" t="t" r="r" b="b"/>
            <a:pathLst>
              <a:path w="27976" h="3948">
                <a:moveTo>
                  <a:pt x="0" y="3037"/>
                </a:moveTo>
                <a:lnTo>
                  <a:pt x="27976" y="3948"/>
                </a:lnTo>
                <a:lnTo>
                  <a:pt x="27976" y="911"/>
                </a:lnTo>
                <a:lnTo>
                  <a:pt x="0" y="0"/>
                </a:lnTo>
                <a:lnTo>
                  <a:pt x="0" y="3037"/>
                </a:lnTo>
                <a:close/>
              </a:path>
            </a:pathLst>
          </a:custGeom>
          <a:solidFill>
            <a:srgbClr val="000000"/>
          </a:solidFill>
        </p:spPr>
        <p:txBody>
          <a:bodyPr wrap="square" lIns="0" tIns="0" rIns="0" bIns="0" rtlCol="0">
            <a:noAutofit/>
          </a:bodyPr>
          <a:lstStyle/>
          <a:p>
            <a:endParaRPr/>
          </a:p>
        </p:txBody>
      </p:sp>
      <p:sp>
        <p:nvSpPr>
          <p:cNvPr id="1416" name="object 1416"/>
          <p:cNvSpPr/>
          <p:nvPr/>
        </p:nvSpPr>
        <p:spPr>
          <a:xfrm>
            <a:off x="8379867" y="1349016"/>
            <a:ext cx="7738" cy="7593"/>
          </a:xfrm>
          <a:custGeom>
            <a:avLst/>
            <a:gdLst/>
            <a:ahLst/>
            <a:cxnLst/>
            <a:rect l="l" t="t" r="r" b="b"/>
            <a:pathLst>
              <a:path w="7738" h="7593">
                <a:moveTo>
                  <a:pt x="6249" y="3948"/>
                </a:moveTo>
                <a:lnTo>
                  <a:pt x="4464" y="3037"/>
                </a:lnTo>
                <a:lnTo>
                  <a:pt x="3273" y="1822"/>
                </a:lnTo>
                <a:lnTo>
                  <a:pt x="2976" y="0"/>
                </a:lnTo>
                <a:lnTo>
                  <a:pt x="0" y="0"/>
                </a:lnTo>
                <a:lnTo>
                  <a:pt x="892" y="3037"/>
                </a:lnTo>
                <a:lnTo>
                  <a:pt x="2678" y="5467"/>
                </a:lnTo>
                <a:lnTo>
                  <a:pt x="5059" y="6985"/>
                </a:lnTo>
                <a:lnTo>
                  <a:pt x="7738" y="7593"/>
                </a:lnTo>
                <a:lnTo>
                  <a:pt x="7738" y="4555"/>
                </a:lnTo>
                <a:lnTo>
                  <a:pt x="6249" y="3948"/>
                </a:lnTo>
                <a:close/>
              </a:path>
            </a:pathLst>
          </a:custGeom>
          <a:solidFill>
            <a:srgbClr val="000000"/>
          </a:solidFill>
        </p:spPr>
        <p:txBody>
          <a:bodyPr wrap="square" lIns="0" tIns="0" rIns="0" bIns="0" rtlCol="0">
            <a:noAutofit/>
          </a:bodyPr>
          <a:lstStyle/>
          <a:p>
            <a:endParaRPr/>
          </a:p>
        </p:txBody>
      </p:sp>
      <p:sp>
        <p:nvSpPr>
          <p:cNvPr id="1417" name="object 1417"/>
          <p:cNvSpPr/>
          <p:nvPr/>
        </p:nvSpPr>
        <p:spPr>
          <a:xfrm>
            <a:off x="8379867" y="1322260"/>
            <a:ext cx="2976" cy="27390"/>
          </a:xfrm>
          <a:custGeom>
            <a:avLst/>
            <a:gdLst/>
            <a:ahLst/>
            <a:cxnLst/>
            <a:rect l="l" t="t" r="r" b="b"/>
            <a:pathLst>
              <a:path w="2976" h="27390">
                <a:moveTo>
                  <a:pt x="0" y="27390"/>
                </a:moveTo>
                <a:lnTo>
                  <a:pt x="2976" y="27390"/>
                </a:lnTo>
                <a:lnTo>
                  <a:pt x="2976" y="0"/>
                </a:lnTo>
                <a:lnTo>
                  <a:pt x="0" y="0"/>
                </a:lnTo>
                <a:lnTo>
                  <a:pt x="0" y="27390"/>
                </a:lnTo>
                <a:close/>
              </a:path>
            </a:pathLst>
          </a:custGeom>
          <a:solidFill>
            <a:srgbClr val="000000"/>
          </a:solidFill>
        </p:spPr>
        <p:txBody>
          <a:bodyPr wrap="square" lIns="0" tIns="0" rIns="0" bIns="0" rtlCol="0">
            <a:noAutofit/>
          </a:bodyPr>
          <a:lstStyle/>
          <a:p>
            <a:endParaRPr/>
          </a:p>
        </p:txBody>
      </p:sp>
      <p:sp>
        <p:nvSpPr>
          <p:cNvPr id="1418" name="object 1418"/>
          <p:cNvSpPr/>
          <p:nvPr/>
        </p:nvSpPr>
        <p:spPr>
          <a:xfrm>
            <a:off x="8379867" y="1315303"/>
            <a:ext cx="7738" cy="7593"/>
          </a:xfrm>
          <a:custGeom>
            <a:avLst/>
            <a:gdLst/>
            <a:ahLst/>
            <a:cxnLst/>
            <a:rect l="l" t="t" r="r" b="b"/>
            <a:pathLst>
              <a:path w="7738" h="7593">
                <a:moveTo>
                  <a:pt x="2976" y="7593"/>
                </a:moveTo>
                <a:lnTo>
                  <a:pt x="3273" y="5770"/>
                </a:lnTo>
                <a:lnTo>
                  <a:pt x="4464" y="4555"/>
                </a:lnTo>
                <a:lnTo>
                  <a:pt x="6249" y="3644"/>
                </a:lnTo>
                <a:lnTo>
                  <a:pt x="7738" y="3037"/>
                </a:lnTo>
                <a:lnTo>
                  <a:pt x="7738" y="0"/>
                </a:lnTo>
                <a:lnTo>
                  <a:pt x="5059" y="607"/>
                </a:lnTo>
                <a:lnTo>
                  <a:pt x="2678" y="2126"/>
                </a:lnTo>
                <a:lnTo>
                  <a:pt x="892" y="4555"/>
                </a:lnTo>
                <a:lnTo>
                  <a:pt x="0" y="7593"/>
                </a:lnTo>
                <a:lnTo>
                  <a:pt x="2976" y="7593"/>
                </a:lnTo>
                <a:close/>
              </a:path>
            </a:pathLst>
          </a:custGeom>
          <a:solidFill>
            <a:srgbClr val="000000"/>
          </a:solidFill>
        </p:spPr>
        <p:txBody>
          <a:bodyPr wrap="square" lIns="0" tIns="0" rIns="0" bIns="0" rtlCol="0">
            <a:noAutofit/>
          </a:bodyPr>
          <a:lstStyle/>
          <a:p>
            <a:endParaRPr/>
          </a:p>
        </p:txBody>
      </p:sp>
      <p:sp>
        <p:nvSpPr>
          <p:cNvPr id="1419" name="object 1419"/>
          <p:cNvSpPr/>
          <p:nvPr/>
        </p:nvSpPr>
        <p:spPr>
          <a:xfrm>
            <a:off x="8084630" y="1308012"/>
            <a:ext cx="26190" cy="3644"/>
          </a:xfrm>
          <a:custGeom>
            <a:avLst/>
            <a:gdLst/>
            <a:ahLst/>
            <a:cxnLst/>
            <a:rect l="l" t="t" r="r" b="b"/>
            <a:pathLst>
              <a:path w="26190" h="3644">
                <a:moveTo>
                  <a:pt x="26190" y="607"/>
                </a:moveTo>
                <a:lnTo>
                  <a:pt x="0" y="0"/>
                </a:lnTo>
                <a:lnTo>
                  <a:pt x="0" y="3037"/>
                </a:lnTo>
                <a:lnTo>
                  <a:pt x="26190" y="3644"/>
                </a:lnTo>
                <a:lnTo>
                  <a:pt x="26190" y="607"/>
                </a:lnTo>
                <a:close/>
              </a:path>
            </a:pathLst>
          </a:custGeom>
          <a:solidFill>
            <a:srgbClr val="000000"/>
          </a:solidFill>
        </p:spPr>
        <p:txBody>
          <a:bodyPr wrap="square" lIns="0" tIns="0" rIns="0" bIns="0" rtlCol="0">
            <a:noAutofit/>
          </a:bodyPr>
          <a:lstStyle/>
          <a:p>
            <a:endParaRPr/>
          </a:p>
        </p:txBody>
      </p:sp>
      <p:sp>
        <p:nvSpPr>
          <p:cNvPr id="1420" name="object 1420"/>
          <p:cNvSpPr/>
          <p:nvPr/>
        </p:nvSpPr>
        <p:spPr>
          <a:xfrm>
            <a:off x="8110821" y="1308621"/>
            <a:ext cx="7440" cy="7289"/>
          </a:xfrm>
          <a:custGeom>
            <a:avLst/>
            <a:gdLst/>
            <a:ahLst/>
            <a:cxnLst/>
            <a:rect l="l" t="t" r="r" b="b"/>
            <a:pathLst>
              <a:path w="7440" h="7289">
                <a:moveTo>
                  <a:pt x="4761" y="2126"/>
                </a:moveTo>
                <a:lnTo>
                  <a:pt x="2678" y="607"/>
                </a:lnTo>
                <a:lnTo>
                  <a:pt x="0" y="0"/>
                </a:lnTo>
                <a:lnTo>
                  <a:pt x="0" y="3037"/>
                </a:lnTo>
                <a:lnTo>
                  <a:pt x="1488" y="3644"/>
                </a:lnTo>
                <a:lnTo>
                  <a:pt x="2976" y="4555"/>
                </a:lnTo>
                <a:lnTo>
                  <a:pt x="4166" y="5770"/>
                </a:lnTo>
                <a:lnTo>
                  <a:pt x="4464" y="7289"/>
                </a:lnTo>
                <a:lnTo>
                  <a:pt x="7440" y="7289"/>
                </a:lnTo>
                <a:lnTo>
                  <a:pt x="6547" y="4555"/>
                </a:lnTo>
                <a:lnTo>
                  <a:pt x="4761" y="2126"/>
                </a:lnTo>
                <a:close/>
              </a:path>
            </a:pathLst>
          </a:custGeom>
          <a:solidFill>
            <a:srgbClr val="000000"/>
          </a:solidFill>
        </p:spPr>
        <p:txBody>
          <a:bodyPr wrap="square" lIns="0" tIns="0" rIns="0" bIns="0" rtlCol="0">
            <a:noAutofit/>
          </a:bodyPr>
          <a:lstStyle/>
          <a:p>
            <a:endParaRPr/>
          </a:p>
        </p:txBody>
      </p:sp>
      <p:sp>
        <p:nvSpPr>
          <p:cNvPr id="1421" name="object 1421"/>
          <p:cNvSpPr/>
          <p:nvPr/>
        </p:nvSpPr>
        <p:spPr>
          <a:xfrm>
            <a:off x="8115285" y="1315275"/>
            <a:ext cx="2976" cy="25871"/>
          </a:xfrm>
          <a:custGeom>
            <a:avLst/>
            <a:gdLst/>
            <a:ahLst/>
            <a:cxnLst/>
            <a:rect l="l" t="t" r="r" b="b"/>
            <a:pathLst>
              <a:path w="2976" h="25871">
                <a:moveTo>
                  <a:pt x="0" y="25871"/>
                </a:moveTo>
                <a:lnTo>
                  <a:pt x="2976" y="25871"/>
                </a:lnTo>
                <a:lnTo>
                  <a:pt x="2976" y="0"/>
                </a:lnTo>
                <a:lnTo>
                  <a:pt x="0" y="0"/>
                </a:lnTo>
                <a:lnTo>
                  <a:pt x="0" y="25871"/>
                </a:lnTo>
                <a:close/>
              </a:path>
            </a:pathLst>
          </a:custGeom>
          <a:solidFill>
            <a:srgbClr val="000000"/>
          </a:solidFill>
        </p:spPr>
        <p:txBody>
          <a:bodyPr wrap="square" lIns="0" tIns="0" rIns="0" bIns="0" rtlCol="0">
            <a:noAutofit/>
          </a:bodyPr>
          <a:lstStyle/>
          <a:p>
            <a:endParaRPr/>
          </a:p>
        </p:txBody>
      </p:sp>
      <p:sp>
        <p:nvSpPr>
          <p:cNvPr id="1422" name="object 1422"/>
          <p:cNvSpPr/>
          <p:nvPr/>
        </p:nvSpPr>
        <p:spPr>
          <a:xfrm>
            <a:off x="8110821" y="1340512"/>
            <a:ext cx="7440" cy="7289"/>
          </a:xfrm>
          <a:custGeom>
            <a:avLst/>
            <a:gdLst/>
            <a:ahLst/>
            <a:cxnLst/>
            <a:rect l="l" t="t" r="r" b="b"/>
            <a:pathLst>
              <a:path w="7440" h="7289">
                <a:moveTo>
                  <a:pt x="5059" y="5163"/>
                </a:moveTo>
                <a:lnTo>
                  <a:pt x="6845" y="2733"/>
                </a:lnTo>
                <a:lnTo>
                  <a:pt x="7440" y="0"/>
                </a:lnTo>
                <a:lnTo>
                  <a:pt x="4464" y="0"/>
                </a:lnTo>
                <a:lnTo>
                  <a:pt x="3869" y="1518"/>
                </a:lnTo>
                <a:lnTo>
                  <a:pt x="3273" y="2733"/>
                </a:lnTo>
                <a:lnTo>
                  <a:pt x="1488" y="3644"/>
                </a:lnTo>
                <a:lnTo>
                  <a:pt x="0" y="4252"/>
                </a:lnTo>
                <a:lnTo>
                  <a:pt x="0" y="7289"/>
                </a:lnTo>
                <a:lnTo>
                  <a:pt x="2678" y="6681"/>
                </a:lnTo>
                <a:lnTo>
                  <a:pt x="5059" y="5163"/>
                </a:lnTo>
                <a:close/>
              </a:path>
            </a:pathLst>
          </a:custGeom>
          <a:solidFill>
            <a:srgbClr val="000000"/>
          </a:solidFill>
        </p:spPr>
        <p:txBody>
          <a:bodyPr wrap="square" lIns="0" tIns="0" rIns="0" bIns="0" rtlCol="0">
            <a:noAutofit/>
          </a:bodyPr>
          <a:lstStyle/>
          <a:p>
            <a:endParaRPr/>
          </a:p>
        </p:txBody>
      </p:sp>
      <p:sp>
        <p:nvSpPr>
          <p:cNvPr id="1423" name="object 1423"/>
          <p:cNvSpPr/>
          <p:nvPr/>
        </p:nvSpPr>
        <p:spPr>
          <a:xfrm>
            <a:off x="8084630" y="1343852"/>
            <a:ext cx="26190" cy="3948"/>
          </a:xfrm>
          <a:custGeom>
            <a:avLst/>
            <a:gdLst/>
            <a:ahLst/>
            <a:cxnLst/>
            <a:rect l="l" t="t" r="r" b="b"/>
            <a:pathLst>
              <a:path w="26190" h="3948">
                <a:moveTo>
                  <a:pt x="0" y="3037"/>
                </a:moveTo>
                <a:lnTo>
                  <a:pt x="26190" y="3948"/>
                </a:lnTo>
                <a:lnTo>
                  <a:pt x="26190" y="911"/>
                </a:lnTo>
                <a:lnTo>
                  <a:pt x="0" y="0"/>
                </a:lnTo>
                <a:lnTo>
                  <a:pt x="0" y="3037"/>
                </a:lnTo>
                <a:close/>
              </a:path>
            </a:pathLst>
          </a:custGeom>
          <a:solidFill>
            <a:srgbClr val="000000"/>
          </a:solidFill>
        </p:spPr>
        <p:txBody>
          <a:bodyPr wrap="square" lIns="0" tIns="0" rIns="0" bIns="0" rtlCol="0">
            <a:noAutofit/>
          </a:bodyPr>
          <a:lstStyle/>
          <a:p>
            <a:endParaRPr/>
          </a:p>
        </p:txBody>
      </p:sp>
      <p:sp>
        <p:nvSpPr>
          <p:cNvPr id="1424" name="object 1424"/>
          <p:cNvSpPr/>
          <p:nvPr/>
        </p:nvSpPr>
        <p:spPr>
          <a:xfrm>
            <a:off x="8077190" y="1339601"/>
            <a:ext cx="7440" cy="7289"/>
          </a:xfrm>
          <a:custGeom>
            <a:avLst/>
            <a:gdLst/>
            <a:ahLst/>
            <a:cxnLst/>
            <a:rect l="l" t="t" r="r" b="b"/>
            <a:pathLst>
              <a:path w="7440" h="7289">
                <a:moveTo>
                  <a:pt x="595" y="2733"/>
                </a:moveTo>
                <a:lnTo>
                  <a:pt x="2380" y="5163"/>
                </a:lnTo>
                <a:lnTo>
                  <a:pt x="4761" y="6681"/>
                </a:lnTo>
                <a:lnTo>
                  <a:pt x="7440" y="7289"/>
                </a:lnTo>
                <a:lnTo>
                  <a:pt x="7440" y="4252"/>
                </a:lnTo>
                <a:lnTo>
                  <a:pt x="5952" y="3644"/>
                </a:lnTo>
                <a:lnTo>
                  <a:pt x="4166" y="2733"/>
                </a:lnTo>
                <a:lnTo>
                  <a:pt x="3571" y="1518"/>
                </a:lnTo>
                <a:lnTo>
                  <a:pt x="2976" y="0"/>
                </a:lnTo>
                <a:lnTo>
                  <a:pt x="0" y="0"/>
                </a:lnTo>
                <a:lnTo>
                  <a:pt x="595" y="2733"/>
                </a:lnTo>
                <a:close/>
              </a:path>
            </a:pathLst>
          </a:custGeom>
          <a:solidFill>
            <a:srgbClr val="000000"/>
          </a:solidFill>
        </p:spPr>
        <p:txBody>
          <a:bodyPr wrap="square" lIns="0" tIns="0" rIns="0" bIns="0" rtlCol="0">
            <a:noAutofit/>
          </a:bodyPr>
          <a:lstStyle/>
          <a:p>
            <a:endParaRPr/>
          </a:p>
        </p:txBody>
      </p:sp>
      <p:sp>
        <p:nvSpPr>
          <p:cNvPr id="1425" name="object 1425"/>
          <p:cNvSpPr/>
          <p:nvPr/>
        </p:nvSpPr>
        <p:spPr>
          <a:xfrm>
            <a:off x="8077190" y="1314667"/>
            <a:ext cx="2976" cy="25568"/>
          </a:xfrm>
          <a:custGeom>
            <a:avLst/>
            <a:gdLst/>
            <a:ahLst/>
            <a:cxnLst/>
            <a:rect l="l" t="t" r="r" b="b"/>
            <a:pathLst>
              <a:path w="2976" h="25568">
                <a:moveTo>
                  <a:pt x="0" y="25568"/>
                </a:moveTo>
                <a:lnTo>
                  <a:pt x="2976" y="25568"/>
                </a:lnTo>
                <a:lnTo>
                  <a:pt x="2976" y="0"/>
                </a:lnTo>
                <a:lnTo>
                  <a:pt x="0" y="0"/>
                </a:lnTo>
                <a:lnTo>
                  <a:pt x="0" y="25568"/>
                </a:lnTo>
                <a:close/>
              </a:path>
            </a:pathLst>
          </a:custGeom>
          <a:solidFill>
            <a:srgbClr val="000000"/>
          </a:solidFill>
        </p:spPr>
        <p:txBody>
          <a:bodyPr wrap="square" lIns="0" tIns="0" rIns="0" bIns="0" rtlCol="0">
            <a:noAutofit/>
          </a:bodyPr>
          <a:lstStyle/>
          <a:p>
            <a:endParaRPr/>
          </a:p>
        </p:txBody>
      </p:sp>
      <p:sp>
        <p:nvSpPr>
          <p:cNvPr id="1426" name="object 1426"/>
          <p:cNvSpPr/>
          <p:nvPr/>
        </p:nvSpPr>
        <p:spPr>
          <a:xfrm>
            <a:off x="8077190" y="1308013"/>
            <a:ext cx="7440" cy="7289"/>
          </a:xfrm>
          <a:custGeom>
            <a:avLst/>
            <a:gdLst/>
            <a:ahLst/>
            <a:cxnLst/>
            <a:rect l="l" t="t" r="r" b="b"/>
            <a:pathLst>
              <a:path w="7440" h="7289">
                <a:moveTo>
                  <a:pt x="2976" y="7289"/>
                </a:moveTo>
                <a:lnTo>
                  <a:pt x="3273" y="5467"/>
                </a:lnTo>
                <a:lnTo>
                  <a:pt x="4464" y="4252"/>
                </a:lnTo>
                <a:lnTo>
                  <a:pt x="5952" y="3340"/>
                </a:lnTo>
                <a:lnTo>
                  <a:pt x="7440" y="3037"/>
                </a:lnTo>
                <a:lnTo>
                  <a:pt x="7440" y="0"/>
                </a:lnTo>
                <a:lnTo>
                  <a:pt x="4761" y="303"/>
                </a:lnTo>
                <a:lnTo>
                  <a:pt x="2678" y="1822"/>
                </a:lnTo>
                <a:lnTo>
                  <a:pt x="892" y="4252"/>
                </a:lnTo>
                <a:lnTo>
                  <a:pt x="0" y="7289"/>
                </a:lnTo>
                <a:lnTo>
                  <a:pt x="2976" y="7289"/>
                </a:lnTo>
                <a:close/>
              </a:path>
            </a:pathLst>
          </a:custGeom>
          <a:solidFill>
            <a:srgbClr val="000000"/>
          </a:solidFill>
        </p:spPr>
        <p:txBody>
          <a:bodyPr wrap="square" lIns="0" tIns="0" rIns="0" bIns="0" rtlCol="0">
            <a:noAutofit/>
          </a:bodyPr>
          <a:lstStyle/>
          <a:p>
            <a:endParaRPr/>
          </a:p>
        </p:txBody>
      </p:sp>
      <p:sp>
        <p:nvSpPr>
          <p:cNvPr id="1427" name="object 1427"/>
          <p:cNvSpPr/>
          <p:nvPr/>
        </p:nvSpPr>
        <p:spPr>
          <a:xfrm>
            <a:off x="8345940" y="502228"/>
            <a:ext cx="155059" cy="55278"/>
          </a:xfrm>
          <a:custGeom>
            <a:avLst/>
            <a:gdLst/>
            <a:ahLst/>
            <a:cxnLst/>
            <a:rect l="l" t="t" r="r" b="b"/>
            <a:pathLst>
              <a:path w="155059" h="55278">
                <a:moveTo>
                  <a:pt x="155059" y="0"/>
                </a:moveTo>
                <a:lnTo>
                  <a:pt x="0" y="17919"/>
                </a:lnTo>
                <a:lnTo>
                  <a:pt x="0" y="55278"/>
                </a:lnTo>
                <a:lnTo>
                  <a:pt x="9821" y="54670"/>
                </a:lnTo>
                <a:lnTo>
                  <a:pt x="19345" y="54063"/>
                </a:lnTo>
                <a:lnTo>
                  <a:pt x="29166" y="53759"/>
                </a:lnTo>
                <a:lnTo>
                  <a:pt x="38987" y="53455"/>
                </a:lnTo>
                <a:lnTo>
                  <a:pt x="48511" y="53151"/>
                </a:lnTo>
                <a:lnTo>
                  <a:pt x="58333" y="52848"/>
                </a:lnTo>
                <a:lnTo>
                  <a:pt x="77678" y="52848"/>
                </a:lnTo>
                <a:lnTo>
                  <a:pt x="87202" y="52544"/>
                </a:lnTo>
                <a:lnTo>
                  <a:pt x="135713" y="52544"/>
                </a:lnTo>
                <a:lnTo>
                  <a:pt x="145237" y="52240"/>
                </a:lnTo>
                <a:lnTo>
                  <a:pt x="155059" y="52240"/>
                </a:lnTo>
                <a:lnTo>
                  <a:pt x="155059" y="0"/>
                </a:lnTo>
                <a:close/>
              </a:path>
            </a:pathLst>
          </a:custGeom>
          <a:solidFill>
            <a:srgbClr val="000000"/>
          </a:solidFill>
        </p:spPr>
        <p:txBody>
          <a:bodyPr wrap="square" lIns="0" tIns="0" rIns="0" bIns="0" rtlCol="0">
            <a:noAutofit/>
          </a:bodyPr>
          <a:lstStyle/>
          <a:p>
            <a:endParaRPr/>
          </a:p>
        </p:txBody>
      </p:sp>
      <p:sp>
        <p:nvSpPr>
          <p:cNvPr id="1428" name="object 1428"/>
          <p:cNvSpPr/>
          <p:nvPr/>
        </p:nvSpPr>
        <p:spPr>
          <a:xfrm>
            <a:off x="8345939" y="518631"/>
            <a:ext cx="1488" cy="3037"/>
          </a:xfrm>
          <a:custGeom>
            <a:avLst/>
            <a:gdLst/>
            <a:ahLst/>
            <a:cxnLst/>
            <a:rect l="l" t="t" r="r" b="b"/>
            <a:pathLst>
              <a:path w="1488" h="3037">
                <a:moveTo>
                  <a:pt x="892" y="607"/>
                </a:moveTo>
                <a:lnTo>
                  <a:pt x="0" y="0"/>
                </a:lnTo>
                <a:lnTo>
                  <a:pt x="297" y="3037"/>
                </a:lnTo>
                <a:lnTo>
                  <a:pt x="1488" y="1518"/>
                </a:lnTo>
                <a:lnTo>
                  <a:pt x="892" y="607"/>
                </a:lnTo>
                <a:close/>
              </a:path>
            </a:pathLst>
          </a:custGeom>
          <a:solidFill>
            <a:srgbClr val="000000"/>
          </a:solidFill>
        </p:spPr>
        <p:txBody>
          <a:bodyPr wrap="square" lIns="0" tIns="0" rIns="0" bIns="0" rtlCol="0">
            <a:noAutofit/>
          </a:bodyPr>
          <a:lstStyle/>
          <a:p>
            <a:endParaRPr/>
          </a:p>
        </p:txBody>
      </p:sp>
      <p:sp>
        <p:nvSpPr>
          <p:cNvPr id="1429" name="object 1429"/>
          <p:cNvSpPr/>
          <p:nvPr/>
        </p:nvSpPr>
        <p:spPr>
          <a:xfrm>
            <a:off x="8344451" y="518630"/>
            <a:ext cx="2976" cy="38876"/>
          </a:xfrm>
          <a:custGeom>
            <a:avLst/>
            <a:gdLst/>
            <a:ahLst/>
            <a:cxnLst/>
            <a:rect l="l" t="t" r="r" b="b"/>
            <a:pathLst>
              <a:path w="2976" h="38876">
                <a:moveTo>
                  <a:pt x="2976" y="38876"/>
                </a:moveTo>
                <a:lnTo>
                  <a:pt x="2976" y="1518"/>
                </a:lnTo>
                <a:lnTo>
                  <a:pt x="1785" y="3037"/>
                </a:lnTo>
                <a:lnTo>
                  <a:pt x="1488" y="0"/>
                </a:lnTo>
                <a:lnTo>
                  <a:pt x="850" y="433"/>
                </a:lnTo>
                <a:lnTo>
                  <a:pt x="595" y="607"/>
                </a:lnTo>
                <a:lnTo>
                  <a:pt x="0" y="1518"/>
                </a:lnTo>
                <a:lnTo>
                  <a:pt x="0" y="38876"/>
                </a:lnTo>
                <a:lnTo>
                  <a:pt x="2976" y="38876"/>
                </a:lnTo>
                <a:close/>
              </a:path>
            </a:pathLst>
          </a:custGeom>
          <a:solidFill>
            <a:srgbClr val="000000"/>
          </a:solidFill>
        </p:spPr>
        <p:txBody>
          <a:bodyPr wrap="square" lIns="0" tIns="0" rIns="0" bIns="0" rtlCol="0">
            <a:noAutofit/>
          </a:bodyPr>
          <a:lstStyle/>
          <a:p>
            <a:endParaRPr/>
          </a:p>
        </p:txBody>
      </p:sp>
      <p:sp>
        <p:nvSpPr>
          <p:cNvPr id="1430" name="object 1430"/>
          <p:cNvSpPr/>
          <p:nvPr/>
        </p:nvSpPr>
        <p:spPr>
          <a:xfrm>
            <a:off x="8345641" y="500711"/>
            <a:ext cx="156844" cy="20957"/>
          </a:xfrm>
          <a:custGeom>
            <a:avLst/>
            <a:gdLst/>
            <a:ahLst/>
            <a:cxnLst/>
            <a:rect l="l" t="t" r="r" b="b"/>
            <a:pathLst>
              <a:path w="156844" h="20957">
                <a:moveTo>
                  <a:pt x="156844" y="1214"/>
                </a:moveTo>
                <a:lnTo>
                  <a:pt x="156249" y="303"/>
                </a:lnTo>
                <a:lnTo>
                  <a:pt x="155059" y="0"/>
                </a:lnTo>
                <a:lnTo>
                  <a:pt x="153868" y="1518"/>
                </a:lnTo>
                <a:lnTo>
                  <a:pt x="155059" y="0"/>
                </a:lnTo>
                <a:lnTo>
                  <a:pt x="0" y="17919"/>
                </a:lnTo>
                <a:lnTo>
                  <a:pt x="595" y="20957"/>
                </a:lnTo>
                <a:lnTo>
                  <a:pt x="155654" y="3037"/>
                </a:lnTo>
                <a:lnTo>
                  <a:pt x="156547" y="2429"/>
                </a:lnTo>
                <a:lnTo>
                  <a:pt x="156783" y="1466"/>
                </a:lnTo>
                <a:lnTo>
                  <a:pt x="156844" y="1214"/>
                </a:lnTo>
                <a:close/>
              </a:path>
            </a:pathLst>
          </a:custGeom>
          <a:solidFill>
            <a:srgbClr val="000000"/>
          </a:solidFill>
        </p:spPr>
        <p:txBody>
          <a:bodyPr wrap="square" lIns="0" tIns="0" rIns="0" bIns="0" rtlCol="0">
            <a:noAutofit/>
          </a:bodyPr>
          <a:lstStyle/>
          <a:p>
            <a:endParaRPr/>
          </a:p>
        </p:txBody>
      </p:sp>
      <p:sp>
        <p:nvSpPr>
          <p:cNvPr id="1431" name="object 1431"/>
          <p:cNvSpPr/>
          <p:nvPr/>
        </p:nvSpPr>
        <p:spPr>
          <a:xfrm>
            <a:off x="8499510" y="502229"/>
            <a:ext cx="2976" cy="53303"/>
          </a:xfrm>
          <a:custGeom>
            <a:avLst/>
            <a:gdLst/>
            <a:ahLst/>
            <a:cxnLst/>
            <a:rect l="l" t="t" r="r" b="b"/>
            <a:pathLst>
              <a:path w="2976" h="53303">
                <a:moveTo>
                  <a:pt x="2380" y="53151"/>
                </a:moveTo>
                <a:lnTo>
                  <a:pt x="2976" y="52240"/>
                </a:lnTo>
                <a:lnTo>
                  <a:pt x="2976" y="0"/>
                </a:lnTo>
                <a:lnTo>
                  <a:pt x="0" y="0"/>
                </a:lnTo>
                <a:lnTo>
                  <a:pt x="0" y="52240"/>
                </a:lnTo>
                <a:lnTo>
                  <a:pt x="1488" y="50722"/>
                </a:lnTo>
                <a:lnTo>
                  <a:pt x="1934" y="53303"/>
                </a:lnTo>
                <a:lnTo>
                  <a:pt x="2380" y="53151"/>
                </a:lnTo>
                <a:close/>
              </a:path>
            </a:pathLst>
          </a:custGeom>
          <a:solidFill>
            <a:srgbClr val="000000"/>
          </a:solidFill>
        </p:spPr>
        <p:txBody>
          <a:bodyPr wrap="square" lIns="0" tIns="0" rIns="0" bIns="0" rtlCol="0">
            <a:noAutofit/>
          </a:bodyPr>
          <a:lstStyle/>
          <a:p>
            <a:endParaRPr/>
          </a:p>
        </p:txBody>
      </p:sp>
      <p:sp>
        <p:nvSpPr>
          <p:cNvPr id="1432" name="object 1432"/>
          <p:cNvSpPr/>
          <p:nvPr/>
        </p:nvSpPr>
        <p:spPr>
          <a:xfrm>
            <a:off x="8499510" y="552952"/>
            <a:ext cx="1934" cy="2733"/>
          </a:xfrm>
          <a:custGeom>
            <a:avLst/>
            <a:gdLst/>
            <a:ahLst/>
            <a:cxnLst/>
            <a:rect l="l" t="t" r="r" b="b"/>
            <a:pathLst>
              <a:path w="1934" h="2733">
                <a:moveTo>
                  <a:pt x="1488" y="0"/>
                </a:moveTo>
                <a:lnTo>
                  <a:pt x="0" y="1518"/>
                </a:lnTo>
                <a:lnTo>
                  <a:pt x="595" y="2429"/>
                </a:lnTo>
                <a:lnTo>
                  <a:pt x="1488" y="2733"/>
                </a:lnTo>
                <a:lnTo>
                  <a:pt x="1934" y="2581"/>
                </a:lnTo>
                <a:lnTo>
                  <a:pt x="1488" y="0"/>
                </a:lnTo>
                <a:close/>
              </a:path>
            </a:pathLst>
          </a:custGeom>
          <a:solidFill>
            <a:srgbClr val="000000"/>
          </a:solidFill>
        </p:spPr>
        <p:txBody>
          <a:bodyPr wrap="square" lIns="0" tIns="0" rIns="0" bIns="0" rtlCol="0">
            <a:noAutofit/>
          </a:bodyPr>
          <a:lstStyle/>
          <a:p>
            <a:endParaRPr/>
          </a:p>
        </p:txBody>
      </p:sp>
      <p:sp>
        <p:nvSpPr>
          <p:cNvPr id="1433" name="object 1433"/>
          <p:cNvSpPr/>
          <p:nvPr/>
        </p:nvSpPr>
        <p:spPr>
          <a:xfrm>
            <a:off x="8345940" y="555380"/>
            <a:ext cx="9821" cy="2126"/>
          </a:xfrm>
          <a:custGeom>
            <a:avLst/>
            <a:gdLst/>
            <a:ahLst/>
            <a:cxnLst/>
            <a:rect l="l" t="t" r="r" b="b"/>
            <a:pathLst>
              <a:path w="9821" h="2126">
                <a:moveTo>
                  <a:pt x="1488" y="2126"/>
                </a:moveTo>
                <a:lnTo>
                  <a:pt x="9821" y="0"/>
                </a:lnTo>
                <a:lnTo>
                  <a:pt x="0" y="607"/>
                </a:lnTo>
                <a:lnTo>
                  <a:pt x="1488" y="2126"/>
                </a:lnTo>
                <a:close/>
              </a:path>
            </a:pathLst>
          </a:custGeom>
          <a:solidFill>
            <a:srgbClr val="000000"/>
          </a:solidFill>
        </p:spPr>
        <p:txBody>
          <a:bodyPr wrap="square" lIns="0" tIns="0" rIns="0" bIns="0" rtlCol="0">
            <a:noAutofit/>
          </a:bodyPr>
          <a:lstStyle/>
          <a:p>
            <a:endParaRPr/>
          </a:p>
        </p:txBody>
      </p:sp>
      <p:sp>
        <p:nvSpPr>
          <p:cNvPr id="1434" name="object 1434"/>
          <p:cNvSpPr/>
          <p:nvPr/>
        </p:nvSpPr>
        <p:spPr>
          <a:xfrm>
            <a:off x="8344749" y="552951"/>
            <a:ext cx="156249" cy="6074"/>
          </a:xfrm>
          <a:custGeom>
            <a:avLst/>
            <a:gdLst/>
            <a:ahLst/>
            <a:cxnLst/>
            <a:rect l="l" t="t" r="r" b="b"/>
            <a:pathLst>
              <a:path w="156249" h="6074">
                <a:moveTo>
                  <a:pt x="1190" y="6074"/>
                </a:moveTo>
                <a:lnTo>
                  <a:pt x="11011" y="5467"/>
                </a:lnTo>
                <a:lnTo>
                  <a:pt x="20535" y="4859"/>
                </a:lnTo>
                <a:lnTo>
                  <a:pt x="30357" y="4555"/>
                </a:lnTo>
                <a:lnTo>
                  <a:pt x="40178" y="4252"/>
                </a:lnTo>
                <a:lnTo>
                  <a:pt x="49702" y="3948"/>
                </a:lnTo>
                <a:lnTo>
                  <a:pt x="59523" y="3644"/>
                </a:lnTo>
                <a:lnTo>
                  <a:pt x="78868" y="3644"/>
                </a:lnTo>
                <a:lnTo>
                  <a:pt x="88392" y="3340"/>
                </a:lnTo>
                <a:lnTo>
                  <a:pt x="136904" y="3340"/>
                </a:lnTo>
                <a:lnTo>
                  <a:pt x="146428" y="3037"/>
                </a:lnTo>
                <a:lnTo>
                  <a:pt x="156249" y="3037"/>
                </a:lnTo>
                <a:lnTo>
                  <a:pt x="156249" y="0"/>
                </a:lnTo>
                <a:lnTo>
                  <a:pt x="146428" y="0"/>
                </a:lnTo>
                <a:lnTo>
                  <a:pt x="136904" y="303"/>
                </a:lnTo>
                <a:lnTo>
                  <a:pt x="88392" y="303"/>
                </a:lnTo>
                <a:lnTo>
                  <a:pt x="78868" y="607"/>
                </a:lnTo>
                <a:lnTo>
                  <a:pt x="59523" y="607"/>
                </a:lnTo>
                <a:lnTo>
                  <a:pt x="49702" y="911"/>
                </a:lnTo>
                <a:lnTo>
                  <a:pt x="40178" y="1214"/>
                </a:lnTo>
                <a:lnTo>
                  <a:pt x="30357" y="1518"/>
                </a:lnTo>
                <a:lnTo>
                  <a:pt x="20535" y="1822"/>
                </a:lnTo>
                <a:lnTo>
                  <a:pt x="11011" y="2429"/>
                </a:lnTo>
                <a:lnTo>
                  <a:pt x="2678" y="4555"/>
                </a:lnTo>
                <a:lnTo>
                  <a:pt x="1190" y="3037"/>
                </a:lnTo>
                <a:lnTo>
                  <a:pt x="297" y="3644"/>
                </a:lnTo>
                <a:lnTo>
                  <a:pt x="0" y="4555"/>
                </a:lnTo>
                <a:lnTo>
                  <a:pt x="148" y="5011"/>
                </a:lnTo>
                <a:lnTo>
                  <a:pt x="297" y="5467"/>
                </a:lnTo>
                <a:lnTo>
                  <a:pt x="1190" y="6074"/>
                </a:lnTo>
                <a:close/>
              </a:path>
            </a:pathLst>
          </a:custGeom>
          <a:solidFill>
            <a:srgbClr val="000000"/>
          </a:solidFill>
        </p:spPr>
        <p:txBody>
          <a:bodyPr wrap="square" lIns="0" tIns="0" rIns="0" bIns="0" rtlCol="0">
            <a:noAutofit/>
          </a:bodyPr>
          <a:lstStyle/>
          <a:p>
            <a:endParaRPr/>
          </a:p>
        </p:txBody>
      </p:sp>
      <p:sp>
        <p:nvSpPr>
          <p:cNvPr id="206" name="object 206"/>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5" name="object 205"/>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4" name="object 204"/>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3" name="object 203"/>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2" name="object 202"/>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1" name="object 201"/>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0" name="object 200"/>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9" name="object 199"/>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8" name="object 198"/>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7" name="object 197"/>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6" name="object 196"/>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5" name="object 195"/>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4" name="object 194"/>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3" name="object 193"/>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2" name="object 192"/>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1" name="object 191"/>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0" name="object 190"/>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9" name="object 189"/>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8" name="object 188"/>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7" name="object 187"/>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6" name="object 186"/>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5" name="object 185"/>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4" name="object 184"/>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3" name="object 183"/>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2" name="object 182"/>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1" name="object 181"/>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0" name="object 180"/>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79" name="object 179"/>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78" name="object 178"/>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77" name="object 177"/>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76" name="object 176"/>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75" name="object 175"/>
          <p:cNvSpPr/>
          <p:nvPr/>
        </p:nvSpPr>
        <p:spPr>
          <a:xfrm>
            <a:off x="8001000" y="1600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69" name="object 169"/>
          <p:cNvSpPr/>
          <p:nvPr/>
        </p:nvSpPr>
        <p:spPr>
          <a:xfrm>
            <a:off x="4781550" y="5548313"/>
            <a:ext cx="2311400" cy="1004887"/>
          </a:xfrm>
          <a:custGeom>
            <a:avLst/>
            <a:gdLst/>
            <a:ahLst/>
            <a:cxnLst/>
            <a:rect l="l" t="t" r="r" b="b"/>
            <a:pathLst>
              <a:path w="2311400" h="1004887">
                <a:moveTo>
                  <a:pt x="0" y="1004887"/>
                </a:moveTo>
                <a:lnTo>
                  <a:pt x="2311400" y="1004887"/>
                </a:lnTo>
                <a:lnTo>
                  <a:pt x="2311400" y="0"/>
                </a:lnTo>
                <a:lnTo>
                  <a:pt x="0" y="0"/>
                </a:lnTo>
                <a:lnTo>
                  <a:pt x="0" y="1004887"/>
                </a:lnTo>
                <a:close/>
              </a:path>
            </a:pathLst>
          </a:custGeom>
          <a:solidFill>
            <a:srgbClr val="FFFF99"/>
          </a:solidFill>
        </p:spPr>
        <p:txBody>
          <a:bodyPr wrap="square" lIns="0" tIns="0" rIns="0" bIns="0" rtlCol="0">
            <a:noAutofit/>
          </a:bodyPr>
          <a:lstStyle/>
          <a:p>
            <a:endParaRPr/>
          </a:p>
        </p:txBody>
      </p:sp>
      <p:sp>
        <p:nvSpPr>
          <p:cNvPr id="170" name="object 170"/>
          <p:cNvSpPr/>
          <p:nvPr/>
        </p:nvSpPr>
        <p:spPr>
          <a:xfrm>
            <a:off x="4781550" y="5548313"/>
            <a:ext cx="2311400" cy="1004887"/>
          </a:xfrm>
          <a:custGeom>
            <a:avLst/>
            <a:gdLst/>
            <a:ahLst/>
            <a:cxnLst/>
            <a:rect l="l" t="t" r="r" b="b"/>
            <a:pathLst>
              <a:path w="2311400" h="1004887">
                <a:moveTo>
                  <a:pt x="0" y="1004887"/>
                </a:moveTo>
                <a:lnTo>
                  <a:pt x="2311400" y="1004887"/>
                </a:lnTo>
                <a:lnTo>
                  <a:pt x="2311400" y="0"/>
                </a:lnTo>
                <a:lnTo>
                  <a:pt x="0" y="0"/>
                </a:lnTo>
                <a:lnTo>
                  <a:pt x="0" y="1004887"/>
                </a:lnTo>
                <a:close/>
              </a:path>
            </a:pathLst>
          </a:custGeom>
          <a:ln w="12700">
            <a:solidFill>
              <a:srgbClr val="000000"/>
            </a:solidFill>
          </a:ln>
        </p:spPr>
        <p:txBody>
          <a:bodyPr wrap="square" lIns="0" tIns="0" rIns="0" bIns="0" rtlCol="0">
            <a:noAutofit/>
          </a:bodyPr>
          <a:lstStyle/>
          <a:p>
            <a:endParaRPr/>
          </a:p>
        </p:txBody>
      </p:sp>
      <p:sp>
        <p:nvSpPr>
          <p:cNvPr id="171" name="object 171"/>
          <p:cNvSpPr/>
          <p:nvPr/>
        </p:nvSpPr>
        <p:spPr>
          <a:xfrm>
            <a:off x="4978400" y="5884863"/>
            <a:ext cx="906526" cy="1587"/>
          </a:xfrm>
          <a:custGeom>
            <a:avLst/>
            <a:gdLst/>
            <a:ahLst/>
            <a:cxnLst/>
            <a:rect l="l" t="t" r="r" b="b"/>
            <a:pathLst>
              <a:path w="906526" h="1587">
                <a:moveTo>
                  <a:pt x="0" y="0"/>
                </a:moveTo>
                <a:lnTo>
                  <a:pt x="906526" y="1587"/>
                </a:lnTo>
              </a:path>
            </a:pathLst>
          </a:custGeom>
          <a:ln w="12700">
            <a:solidFill>
              <a:srgbClr val="000000"/>
            </a:solidFill>
          </a:ln>
        </p:spPr>
        <p:txBody>
          <a:bodyPr wrap="square" lIns="0" tIns="0" rIns="0" bIns="0" rtlCol="0">
            <a:noAutofit/>
          </a:bodyPr>
          <a:lstStyle/>
          <a:p>
            <a:endParaRPr/>
          </a:p>
        </p:txBody>
      </p:sp>
      <p:sp>
        <p:nvSpPr>
          <p:cNvPr id="172" name="object 172"/>
          <p:cNvSpPr/>
          <p:nvPr/>
        </p:nvSpPr>
        <p:spPr>
          <a:xfrm>
            <a:off x="5429250" y="5884863"/>
            <a:ext cx="1650" cy="560387"/>
          </a:xfrm>
          <a:custGeom>
            <a:avLst/>
            <a:gdLst/>
            <a:ahLst/>
            <a:cxnLst/>
            <a:rect l="l" t="t" r="r" b="b"/>
            <a:pathLst>
              <a:path w="1650" h="560387">
                <a:moveTo>
                  <a:pt x="0" y="0"/>
                </a:moveTo>
                <a:lnTo>
                  <a:pt x="1650" y="560387"/>
                </a:lnTo>
              </a:path>
            </a:pathLst>
          </a:custGeom>
          <a:ln w="12699">
            <a:solidFill>
              <a:srgbClr val="000000"/>
            </a:solidFill>
          </a:ln>
        </p:spPr>
        <p:txBody>
          <a:bodyPr wrap="square" lIns="0" tIns="0" rIns="0" bIns="0" rtlCol="0">
            <a:noAutofit/>
          </a:bodyPr>
          <a:lstStyle/>
          <a:p>
            <a:endParaRPr/>
          </a:p>
        </p:txBody>
      </p:sp>
      <p:sp>
        <p:nvSpPr>
          <p:cNvPr id="173" name="object 173"/>
          <p:cNvSpPr/>
          <p:nvPr/>
        </p:nvSpPr>
        <p:spPr>
          <a:xfrm>
            <a:off x="6113527" y="5884863"/>
            <a:ext cx="904875" cy="1587"/>
          </a:xfrm>
          <a:custGeom>
            <a:avLst/>
            <a:gdLst/>
            <a:ahLst/>
            <a:cxnLst/>
            <a:rect l="l" t="t" r="r" b="b"/>
            <a:pathLst>
              <a:path w="904875" h="1587">
                <a:moveTo>
                  <a:pt x="0" y="0"/>
                </a:moveTo>
                <a:lnTo>
                  <a:pt x="904875" y="1587"/>
                </a:lnTo>
              </a:path>
            </a:pathLst>
          </a:custGeom>
          <a:ln w="12700">
            <a:solidFill>
              <a:srgbClr val="000000"/>
            </a:solidFill>
          </a:ln>
        </p:spPr>
        <p:txBody>
          <a:bodyPr wrap="square" lIns="0" tIns="0" rIns="0" bIns="0" rtlCol="0">
            <a:noAutofit/>
          </a:bodyPr>
          <a:lstStyle/>
          <a:p>
            <a:endParaRPr/>
          </a:p>
        </p:txBody>
      </p:sp>
      <p:sp>
        <p:nvSpPr>
          <p:cNvPr id="174" name="object 174"/>
          <p:cNvSpPr/>
          <p:nvPr/>
        </p:nvSpPr>
        <p:spPr>
          <a:xfrm>
            <a:off x="6567551" y="5884863"/>
            <a:ext cx="1524" cy="560387"/>
          </a:xfrm>
          <a:custGeom>
            <a:avLst/>
            <a:gdLst/>
            <a:ahLst/>
            <a:cxnLst/>
            <a:rect l="l" t="t" r="r" b="b"/>
            <a:pathLst>
              <a:path w="1524" h="560387">
                <a:moveTo>
                  <a:pt x="0" y="0"/>
                </a:moveTo>
                <a:lnTo>
                  <a:pt x="1524" y="560387"/>
                </a:lnTo>
              </a:path>
            </a:pathLst>
          </a:custGeom>
          <a:ln w="12700">
            <a:solidFill>
              <a:srgbClr val="000000"/>
            </a:solidFill>
          </a:ln>
        </p:spPr>
        <p:txBody>
          <a:bodyPr wrap="square" lIns="0" tIns="0" rIns="0" bIns="0" rtlCol="0">
            <a:noAutofit/>
          </a:bodyPr>
          <a:lstStyle/>
          <a:p>
            <a:endParaRPr/>
          </a:p>
        </p:txBody>
      </p:sp>
      <p:sp>
        <p:nvSpPr>
          <p:cNvPr id="150" name="object 150"/>
          <p:cNvSpPr/>
          <p:nvPr/>
        </p:nvSpPr>
        <p:spPr>
          <a:xfrm>
            <a:off x="2691664" y="4940301"/>
            <a:ext cx="1088643" cy="1444625"/>
          </a:xfrm>
          <a:custGeom>
            <a:avLst/>
            <a:gdLst/>
            <a:ahLst/>
            <a:cxnLst/>
            <a:rect l="l" t="t" r="r" b="b"/>
            <a:pathLst>
              <a:path w="1088643" h="1444625">
                <a:moveTo>
                  <a:pt x="0" y="1444625"/>
                </a:moveTo>
                <a:lnTo>
                  <a:pt x="1088643" y="1444625"/>
                </a:lnTo>
                <a:lnTo>
                  <a:pt x="1088643" y="0"/>
                </a:lnTo>
                <a:lnTo>
                  <a:pt x="0" y="0"/>
                </a:lnTo>
                <a:lnTo>
                  <a:pt x="0" y="1444625"/>
                </a:lnTo>
                <a:close/>
              </a:path>
            </a:pathLst>
          </a:custGeom>
          <a:ln w="12700">
            <a:solidFill>
              <a:srgbClr val="000000"/>
            </a:solidFill>
          </a:ln>
        </p:spPr>
        <p:txBody>
          <a:bodyPr wrap="square" lIns="0" tIns="0" rIns="0" bIns="0" rtlCol="0">
            <a:noAutofit/>
          </a:bodyPr>
          <a:lstStyle/>
          <a:p>
            <a:endParaRPr/>
          </a:p>
        </p:txBody>
      </p:sp>
      <p:sp>
        <p:nvSpPr>
          <p:cNvPr id="151" name="object 151"/>
          <p:cNvSpPr/>
          <p:nvPr/>
        </p:nvSpPr>
        <p:spPr>
          <a:xfrm>
            <a:off x="2780996" y="5947892"/>
            <a:ext cx="134797" cy="0"/>
          </a:xfrm>
          <a:custGeom>
            <a:avLst/>
            <a:gdLst/>
            <a:ahLst/>
            <a:cxnLst/>
            <a:rect l="l" t="t" r="r" b="b"/>
            <a:pathLst>
              <a:path w="134797">
                <a:moveTo>
                  <a:pt x="0" y="0"/>
                </a:moveTo>
                <a:lnTo>
                  <a:pt x="134797" y="0"/>
                </a:lnTo>
              </a:path>
            </a:pathLst>
          </a:custGeom>
          <a:ln w="12700">
            <a:solidFill>
              <a:srgbClr val="000000"/>
            </a:solidFill>
          </a:ln>
        </p:spPr>
        <p:txBody>
          <a:bodyPr wrap="square" lIns="0" tIns="0" rIns="0" bIns="0" rtlCol="0">
            <a:noAutofit/>
          </a:bodyPr>
          <a:lstStyle/>
          <a:p>
            <a:endParaRPr/>
          </a:p>
        </p:txBody>
      </p:sp>
      <p:sp>
        <p:nvSpPr>
          <p:cNvPr id="152" name="object 152"/>
          <p:cNvSpPr/>
          <p:nvPr/>
        </p:nvSpPr>
        <p:spPr>
          <a:xfrm>
            <a:off x="3015743" y="5947892"/>
            <a:ext cx="510159" cy="0"/>
          </a:xfrm>
          <a:custGeom>
            <a:avLst/>
            <a:gdLst/>
            <a:ahLst/>
            <a:cxnLst/>
            <a:rect l="l" t="t" r="r" b="b"/>
            <a:pathLst>
              <a:path w="510159">
                <a:moveTo>
                  <a:pt x="0" y="0"/>
                </a:moveTo>
                <a:lnTo>
                  <a:pt x="510159" y="0"/>
                </a:lnTo>
              </a:path>
            </a:pathLst>
          </a:custGeom>
          <a:ln w="12700">
            <a:solidFill>
              <a:srgbClr val="000000"/>
            </a:solidFill>
          </a:ln>
        </p:spPr>
        <p:txBody>
          <a:bodyPr wrap="square" lIns="0" tIns="0" rIns="0" bIns="0" rtlCol="0">
            <a:noAutofit/>
          </a:bodyPr>
          <a:lstStyle/>
          <a:p>
            <a:endParaRPr/>
          </a:p>
        </p:txBody>
      </p:sp>
      <p:sp>
        <p:nvSpPr>
          <p:cNvPr id="153" name="object 153"/>
          <p:cNvSpPr/>
          <p:nvPr/>
        </p:nvSpPr>
        <p:spPr>
          <a:xfrm>
            <a:off x="3612262" y="5947892"/>
            <a:ext cx="118109" cy="0"/>
          </a:xfrm>
          <a:custGeom>
            <a:avLst/>
            <a:gdLst/>
            <a:ahLst/>
            <a:cxnLst/>
            <a:rect l="l" t="t" r="r" b="b"/>
            <a:pathLst>
              <a:path w="118109">
                <a:moveTo>
                  <a:pt x="0" y="0"/>
                </a:moveTo>
                <a:lnTo>
                  <a:pt x="118109" y="0"/>
                </a:lnTo>
              </a:path>
            </a:pathLst>
          </a:custGeom>
          <a:ln w="12700">
            <a:solidFill>
              <a:srgbClr val="000000"/>
            </a:solidFill>
          </a:ln>
        </p:spPr>
        <p:txBody>
          <a:bodyPr wrap="square" lIns="0" tIns="0" rIns="0" bIns="0" rtlCol="0">
            <a:noAutofit/>
          </a:bodyPr>
          <a:lstStyle/>
          <a:p>
            <a:endParaRPr/>
          </a:p>
        </p:txBody>
      </p:sp>
      <p:sp>
        <p:nvSpPr>
          <p:cNvPr id="154" name="object 154"/>
          <p:cNvSpPr/>
          <p:nvPr/>
        </p:nvSpPr>
        <p:spPr>
          <a:xfrm>
            <a:off x="2780996" y="6093574"/>
            <a:ext cx="134797" cy="0"/>
          </a:xfrm>
          <a:custGeom>
            <a:avLst/>
            <a:gdLst/>
            <a:ahLst/>
            <a:cxnLst/>
            <a:rect l="l" t="t" r="r" b="b"/>
            <a:pathLst>
              <a:path w="134797">
                <a:moveTo>
                  <a:pt x="0" y="0"/>
                </a:moveTo>
                <a:lnTo>
                  <a:pt x="134797" y="0"/>
                </a:lnTo>
              </a:path>
            </a:pathLst>
          </a:custGeom>
          <a:ln w="12700">
            <a:solidFill>
              <a:srgbClr val="000000"/>
            </a:solidFill>
          </a:ln>
        </p:spPr>
        <p:txBody>
          <a:bodyPr wrap="square" lIns="0" tIns="0" rIns="0" bIns="0" rtlCol="0">
            <a:noAutofit/>
          </a:bodyPr>
          <a:lstStyle/>
          <a:p>
            <a:endParaRPr/>
          </a:p>
        </p:txBody>
      </p:sp>
      <p:sp>
        <p:nvSpPr>
          <p:cNvPr id="155" name="object 155"/>
          <p:cNvSpPr/>
          <p:nvPr/>
        </p:nvSpPr>
        <p:spPr>
          <a:xfrm>
            <a:off x="3015743" y="6093574"/>
            <a:ext cx="510159" cy="0"/>
          </a:xfrm>
          <a:custGeom>
            <a:avLst/>
            <a:gdLst/>
            <a:ahLst/>
            <a:cxnLst/>
            <a:rect l="l" t="t" r="r" b="b"/>
            <a:pathLst>
              <a:path w="510159">
                <a:moveTo>
                  <a:pt x="0" y="0"/>
                </a:moveTo>
                <a:lnTo>
                  <a:pt x="510159" y="0"/>
                </a:lnTo>
              </a:path>
            </a:pathLst>
          </a:custGeom>
          <a:ln w="12700">
            <a:solidFill>
              <a:srgbClr val="000000"/>
            </a:solidFill>
          </a:ln>
        </p:spPr>
        <p:txBody>
          <a:bodyPr wrap="square" lIns="0" tIns="0" rIns="0" bIns="0" rtlCol="0">
            <a:noAutofit/>
          </a:bodyPr>
          <a:lstStyle/>
          <a:p>
            <a:endParaRPr/>
          </a:p>
        </p:txBody>
      </p:sp>
      <p:sp>
        <p:nvSpPr>
          <p:cNvPr id="156" name="object 156"/>
          <p:cNvSpPr/>
          <p:nvPr/>
        </p:nvSpPr>
        <p:spPr>
          <a:xfrm>
            <a:off x="3612262" y="6093574"/>
            <a:ext cx="118109" cy="0"/>
          </a:xfrm>
          <a:custGeom>
            <a:avLst/>
            <a:gdLst/>
            <a:ahLst/>
            <a:cxnLst/>
            <a:rect l="l" t="t" r="r" b="b"/>
            <a:pathLst>
              <a:path w="118109">
                <a:moveTo>
                  <a:pt x="0" y="0"/>
                </a:moveTo>
                <a:lnTo>
                  <a:pt x="118109" y="0"/>
                </a:lnTo>
              </a:path>
            </a:pathLst>
          </a:custGeom>
          <a:ln w="12700">
            <a:solidFill>
              <a:srgbClr val="000000"/>
            </a:solidFill>
          </a:ln>
        </p:spPr>
        <p:txBody>
          <a:bodyPr wrap="square" lIns="0" tIns="0" rIns="0" bIns="0" rtlCol="0">
            <a:noAutofit/>
          </a:bodyPr>
          <a:lstStyle/>
          <a:p>
            <a:endParaRPr/>
          </a:p>
        </p:txBody>
      </p:sp>
      <p:sp>
        <p:nvSpPr>
          <p:cNvPr id="157" name="object 157"/>
          <p:cNvSpPr/>
          <p:nvPr/>
        </p:nvSpPr>
        <p:spPr>
          <a:xfrm>
            <a:off x="2780996" y="6339395"/>
            <a:ext cx="134797" cy="0"/>
          </a:xfrm>
          <a:custGeom>
            <a:avLst/>
            <a:gdLst/>
            <a:ahLst/>
            <a:cxnLst/>
            <a:rect l="l" t="t" r="r" b="b"/>
            <a:pathLst>
              <a:path w="134797">
                <a:moveTo>
                  <a:pt x="0" y="0"/>
                </a:moveTo>
                <a:lnTo>
                  <a:pt x="134797" y="0"/>
                </a:lnTo>
              </a:path>
            </a:pathLst>
          </a:custGeom>
          <a:ln w="12700">
            <a:solidFill>
              <a:srgbClr val="000000"/>
            </a:solidFill>
          </a:ln>
        </p:spPr>
        <p:txBody>
          <a:bodyPr wrap="square" lIns="0" tIns="0" rIns="0" bIns="0" rtlCol="0">
            <a:noAutofit/>
          </a:bodyPr>
          <a:lstStyle/>
          <a:p>
            <a:endParaRPr/>
          </a:p>
        </p:txBody>
      </p:sp>
      <p:sp>
        <p:nvSpPr>
          <p:cNvPr id="158" name="object 158"/>
          <p:cNvSpPr/>
          <p:nvPr/>
        </p:nvSpPr>
        <p:spPr>
          <a:xfrm>
            <a:off x="3015743" y="6339395"/>
            <a:ext cx="510159" cy="0"/>
          </a:xfrm>
          <a:custGeom>
            <a:avLst/>
            <a:gdLst/>
            <a:ahLst/>
            <a:cxnLst/>
            <a:rect l="l" t="t" r="r" b="b"/>
            <a:pathLst>
              <a:path w="510159">
                <a:moveTo>
                  <a:pt x="0" y="0"/>
                </a:moveTo>
                <a:lnTo>
                  <a:pt x="510159" y="0"/>
                </a:lnTo>
              </a:path>
            </a:pathLst>
          </a:custGeom>
          <a:ln w="12700">
            <a:solidFill>
              <a:srgbClr val="000000"/>
            </a:solidFill>
          </a:ln>
        </p:spPr>
        <p:txBody>
          <a:bodyPr wrap="square" lIns="0" tIns="0" rIns="0" bIns="0" rtlCol="0">
            <a:noAutofit/>
          </a:bodyPr>
          <a:lstStyle/>
          <a:p>
            <a:endParaRPr/>
          </a:p>
        </p:txBody>
      </p:sp>
      <p:sp>
        <p:nvSpPr>
          <p:cNvPr id="159" name="object 159"/>
          <p:cNvSpPr/>
          <p:nvPr/>
        </p:nvSpPr>
        <p:spPr>
          <a:xfrm>
            <a:off x="3612262" y="6339395"/>
            <a:ext cx="118109" cy="0"/>
          </a:xfrm>
          <a:custGeom>
            <a:avLst/>
            <a:gdLst/>
            <a:ahLst/>
            <a:cxnLst/>
            <a:rect l="l" t="t" r="r" b="b"/>
            <a:pathLst>
              <a:path w="118109">
                <a:moveTo>
                  <a:pt x="0" y="0"/>
                </a:moveTo>
                <a:lnTo>
                  <a:pt x="118109" y="0"/>
                </a:lnTo>
              </a:path>
            </a:pathLst>
          </a:custGeom>
          <a:ln w="12700">
            <a:solidFill>
              <a:srgbClr val="000000"/>
            </a:solidFill>
          </a:ln>
        </p:spPr>
        <p:txBody>
          <a:bodyPr wrap="square" lIns="0" tIns="0" rIns="0" bIns="0" rtlCol="0">
            <a:noAutofit/>
          </a:bodyPr>
          <a:lstStyle/>
          <a:p>
            <a:endParaRPr/>
          </a:p>
        </p:txBody>
      </p:sp>
      <p:sp>
        <p:nvSpPr>
          <p:cNvPr id="160" name="object 160"/>
          <p:cNvSpPr/>
          <p:nvPr/>
        </p:nvSpPr>
        <p:spPr>
          <a:xfrm>
            <a:off x="2771915" y="6208903"/>
            <a:ext cx="928103" cy="0"/>
          </a:xfrm>
          <a:custGeom>
            <a:avLst/>
            <a:gdLst/>
            <a:ahLst/>
            <a:cxnLst/>
            <a:rect l="l" t="t" r="r" b="b"/>
            <a:pathLst>
              <a:path w="928103">
                <a:moveTo>
                  <a:pt x="0" y="0"/>
                </a:moveTo>
                <a:lnTo>
                  <a:pt x="928103" y="0"/>
                </a:lnTo>
              </a:path>
            </a:pathLst>
          </a:custGeom>
          <a:ln w="12700">
            <a:solidFill>
              <a:srgbClr val="000000"/>
            </a:solidFill>
          </a:ln>
        </p:spPr>
        <p:txBody>
          <a:bodyPr wrap="square" lIns="0" tIns="0" rIns="0" bIns="0" rtlCol="0">
            <a:noAutofit/>
          </a:bodyPr>
          <a:lstStyle/>
          <a:p>
            <a:endParaRPr/>
          </a:p>
        </p:txBody>
      </p:sp>
      <p:sp>
        <p:nvSpPr>
          <p:cNvPr id="161" name="object 161"/>
          <p:cNvSpPr/>
          <p:nvPr/>
        </p:nvSpPr>
        <p:spPr>
          <a:xfrm>
            <a:off x="2685606" y="5442585"/>
            <a:ext cx="1109789" cy="0"/>
          </a:xfrm>
          <a:custGeom>
            <a:avLst/>
            <a:gdLst/>
            <a:ahLst/>
            <a:cxnLst/>
            <a:rect l="l" t="t" r="r" b="b"/>
            <a:pathLst>
              <a:path w="1109789">
                <a:moveTo>
                  <a:pt x="0" y="0"/>
                </a:moveTo>
                <a:lnTo>
                  <a:pt x="1109789" y="0"/>
                </a:lnTo>
              </a:path>
            </a:pathLst>
          </a:custGeom>
          <a:ln w="25400">
            <a:solidFill>
              <a:srgbClr val="000000"/>
            </a:solidFill>
          </a:ln>
        </p:spPr>
        <p:txBody>
          <a:bodyPr wrap="square" lIns="0" tIns="0" rIns="0" bIns="0" rtlCol="0">
            <a:noAutofit/>
          </a:bodyPr>
          <a:lstStyle/>
          <a:p>
            <a:endParaRPr/>
          </a:p>
        </p:txBody>
      </p:sp>
      <p:sp>
        <p:nvSpPr>
          <p:cNvPr id="162" name="object 162"/>
          <p:cNvSpPr/>
          <p:nvPr/>
        </p:nvSpPr>
        <p:spPr>
          <a:xfrm>
            <a:off x="2780996" y="5554853"/>
            <a:ext cx="134797" cy="0"/>
          </a:xfrm>
          <a:custGeom>
            <a:avLst/>
            <a:gdLst/>
            <a:ahLst/>
            <a:cxnLst/>
            <a:rect l="l" t="t" r="r" b="b"/>
            <a:pathLst>
              <a:path w="134797">
                <a:moveTo>
                  <a:pt x="0" y="0"/>
                </a:moveTo>
                <a:lnTo>
                  <a:pt x="134797" y="0"/>
                </a:lnTo>
              </a:path>
            </a:pathLst>
          </a:custGeom>
          <a:ln w="12700">
            <a:solidFill>
              <a:srgbClr val="000000"/>
            </a:solidFill>
          </a:ln>
        </p:spPr>
        <p:txBody>
          <a:bodyPr wrap="square" lIns="0" tIns="0" rIns="0" bIns="0" rtlCol="0">
            <a:noAutofit/>
          </a:bodyPr>
          <a:lstStyle/>
          <a:p>
            <a:endParaRPr/>
          </a:p>
        </p:txBody>
      </p:sp>
      <p:sp>
        <p:nvSpPr>
          <p:cNvPr id="163" name="object 163"/>
          <p:cNvSpPr/>
          <p:nvPr/>
        </p:nvSpPr>
        <p:spPr>
          <a:xfrm>
            <a:off x="3015743" y="5554853"/>
            <a:ext cx="510159" cy="0"/>
          </a:xfrm>
          <a:custGeom>
            <a:avLst/>
            <a:gdLst/>
            <a:ahLst/>
            <a:cxnLst/>
            <a:rect l="l" t="t" r="r" b="b"/>
            <a:pathLst>
              <a:path w="510159">
                <a:moveTo>
                  <a:pt x="0" y="0"/>
                </a:moveTo>
                <a:lnTo>
                  <a:pt x="510159" y="0"/>
                </a:lnTo>
              </a:path>
            </a:pathLst>
          </a:custGeom>
          <a:ln w="12700">
            <a:solidFill>
              <a:srgbClr val="000000"/>
            </a:solidFill>
          </a:ln>
        </p:spPr>
        <p:txBody>
          <a:bodyPr wrap="square" lIns="0" tIns="0" rIns="0" bIns="0" rtlCol="0">
            <a:noAutofit/>
          </a:bodyPr>
          <a:lstStyle/>
          <a:p>
            <a:endParaRPr/>
          </a:p>
        </p:txBody>
      </p:sp>
      <p:sp>
        <p:nvSpPr>
          <p:cNvPr id="164" name="object 164"/>
          <p:cNvSpPr/>
          <p:nvPr/>
        </p:nvSpPr>
        <p:spPr>
          <a:xfrm>
            <a:off x="3612262" y="5554853"/>
            <a:ext cx="118109" cy="0"/>
          </a:xfrm>
          <a:custGeom>
            <a:avLst/>
            <a:gdLst/>
            <a:ahLst/>
            <a:cxnLst/>
            <a:rect l="l" t="t" r="r" b="b"/>
            <a:pathLst>
              <a:path w="118109">
                <a:moveTo>
                  <a:pt x="0" y="0"/>
                </a:moveTo>
                <a:lnTo>
                  <a:pt x="118109" y="0"/>
                </a:lnTo>
              </a:path>
            </a:pathLst>
          </a:custGeom>
          <a:ln w="12700">
            <a:solidFill>
              <a:srgbClr val="000000"/>
            </a:solidFill>
          </a:ln>
        </p:spPr>
        <p:txBody>
          <a:bodyPr wrap="square" lIns="0" tIns="0" rIns="0" bIns="0" rtlCol="0">
            <a:noAutofit/>
          </a:bodyPr>
          <a:lstStyle/>
          <a:p>
            <a:endParaRPr/>
          </a:p>
        </p:txBody>
      </p:sp>
      <p:sp>
        <p:nvSpPr>
          <p:cNvPr id="165" name="object 165"/>
          <p:cNvSpPr/>
          <p:nvPr/>
        </p:nvSpPr>
        <p:spPr>
          <a:xfrm>
            <a:off x="2780996" y="5799188"/>
            <a:ext cx="134797" cy="0"/>
          </a:xfrm>
          <a:custGeom>
            <a:avLst/>
            <a:gdLst/>
            <a:ahLst/>
            <a:cxnLst/>
            <a:rect l="l" t="t" r="r" b="b"/>
            <a:pathLst>
              <a:path w="134797">
                <a:moveTo>
                  <a:pt x="0" y="0"/>
                </a:moveTo>
                <a:lnTo>
                  <a:pt x="134797" y="0"/>
                </a:lnTo>
              </a:path>
            </a:pathLst>
          </a:custGeom>
          <a:ln w="12700">
            <a:solidFill>
              <a:srgbClr val="000000"/>
            </a:solidFill>
          </a:ln>
        </p:spPr>
        <p:txBody>
          <a:bodyPr wrap="square" lIns="0" tIns="0" rIns="0" bIns="0" rtlCol="0">
            <a:noAutofit/>
          </a:bodyPr>
          <a:lstStyle/>
          <a:p>
            <a:endParaRPr/>
          </a:p>
        </p:txBody>
      </p:sp>
      <p:sp>
        <p:nvSpPr>
          <p:cNvPr id="166" name="object 166"/>
          <p:cNvSpPr/>
          <p:nvPr/>
        </p:nvSpPr>
        <p:spPr>
          <a:xfrm>
            <a:off x="3015743" y="5799188"/>
            <a:ext cx="510159" cy="0"/>
          </a:xfrm>
          <a:custGeom>
            <a:avLst/>
            <a:gdLst/>
            <a:ahLst/>
            <a:cxnLst/>
            <a:rect l="l" t="t" r="r" b="b"/>
            <a:pathLst>
              <a:path w="510159">
                <a:moveTo>
                  <a:pt x="0" y="0"/>
                </a:moveTo>
                <a:lnTo>
                  <a:pt x="510159" y="0"/>
                </a:lnTo>
              </a:path>
            </a:pathLst>
          </a:custGeom>
          <a:ln w="12700">
            <a:solidFill>
              <a:srgbClr val="000000"/>
            </a:solidFill>
          </a:ln>
        </p:spPr>
        <p:txBody>
          <a:bodyPr wrap="square" lIns="0" tIns="0" rIns="0" bIns="0" rtlCol="0">
            <a:noAutofit/>
          </a:bodyPr>
          <a:lstStyle/>
          <a:p>
            <a:endParaRPr/>
          </a:p>
        </p:txBody>
      </p:sp>
      <p:sp>
        <p:nvSpPr>
          <p:cNvPr id="167" name="object 167"/>
          <p:cNvSpPr/>
          <p:nvPr/>
        </p:nvSpPr>
        <p:spPr>
          <a:xfrm>
            <a:off x="3612262" y="5799188"/>
            <a:ext cx="118109" cy="0"/>
          </a:xfrm>
          <a:custGeom>
            <a:avLst/>
            <a:gdLst/>
            <a:ahLst/>
            <a:cxnLst/>
            <a:rect l="l" t="t" r="r" b="b"/>
            <a:pathLst>
              <a:path w="118109">
                <a:moveTo>
                  <a:pt x="0" y="0"/>
                </a:moveTo>
                <a:lnTo>
                  <a:pt x="118109" y="0"/>
                </a:lnTo>
              </a:path>
            </a:pathLst>
          </a:custGeom>
          <a:ln w="12700">
            <a:solidFill>
              <a:srgbClr val="000000"/>
            </a:solidFill>
          </a:ln>
        </p:spPr>
        <p:txBody>
          <a:bodyPr wrap="square" lIns="0" tIns="0" rIns="0" bIns="0" rtlCol="0">
            <a:noAutofit/>
          </a:bodyPr>
          <a:lstStyle/>
          <a:p>
            <a:endParaRPr/>
          </a:p>
        </p:txBody>
      </p:sp>
      <p:sp>
        <p:nvSpPr>
          <p:cNvPr id="168" name="object 168"/>
          <p:cNvSpPr/>
          <p:nvPr/>
        </p:nvSpPr>
        <p:spPr>
          <a:xfrm>
            <a:off x="2771915" y="5671718"/>
            <a:ext cx="928103" cy="0"/>
          </a:xfrm>
          <a:custGeom>
            <a:avLst/>
            <a:gdLst/>
            <a:ahLst/>
            <a:cxnLst/>
            <a:rect l="l" t="t" r="r" b="b"/>
            <a:pathLst>
              <a:path w="928103">
                <a:moveTo>
                  <a:pt x="0" y="0"/>
                </a:moveTo>
                <a:lnTo>
                  <a:pt x="928103" y="0"/>
                </a:lnTo>
              </a:path>
            </a:pathLst>
          </a:custGeom>
          <a:ln w="12700">
            <a:solidFill>
              <a:srgbClr val="000000"/>
            </a:solidFill>
          </a:ln>
        </p:spPr>
        <p:txBody>
          <a:bodyPr wrap="square" lIns="0" tIns="0" rIns="0" bIns="0" rtlCol="0">
            <a:noAutofit/>
          </a:bodyPr>
          <a:lstStyle/>
          <a:p>
            <a:endParaRPr/>
          </a:p>
        </p:txBody>
      </p:sp>
      <p:sp>
        <p:nvSpPr>
          <p:cNvPr id="141" name="object 141"/>
          <p:cNvSpPr/>
          <p:nvPr/>
        </p:nvSpPr>
        <p:spPr>
          <a:xfrm>
            <a:off x="4700652" y="3605276"/>
            <a:ext cx="2385949" cy="1119124"/>
          </a:xfrm>
          <a:custGeom>
            <a:avLst/>
            <a:gdLst/>
            <a:ahLst/>
            <a:cxnLst/>
            <a:rect l="l" t="t" r="r" b="b"/>
            <a:pathLst>
              <a:path w="2385949" h="1119124">
                <a:moveTo>
                  <a:pt x="0" y="1119124"/>
                </a:moveTo>
                <a:lnTo>
                  <a:pt x="2385949" y="1119124"/>
                </a:lnTo>
                <a:lnTo>
                  <a:pt x="2385949" y="0"/>
                </a:lnTo>
                <a:lnTo>
                  <a:pt x="0" y="0"/>
                </a:lnTo>
                <a:lnTo>
                  <a:pt x="0" y="1119124"/>
                </a:lnTo>
                <a:close/>
              </a:path>
            </a:pathLst>
          </a:custGeom>
          <a:solidFill>
            <a:srgbClr val="FFFF99"/>
          </a:solidFill>
        </p:spPr>
        <p:txBody>
          <a:bodyPr wrap="square" lIns="0" tIns="0" rIns="0" bIns="0" rtlCol="0">
            <a:noAutofit/>
          </a:bodyPr>
          <a:lstStyle/>
          <a:p>
            <a:endParaRPr/>
          </a:p>
        </p:txBody>
      </p:sp>
      <p:sp>
        <p:nvSpPr>
          <p:cNvPr id="142" name="object 142"/>
          <p:cNvSpPr/>
          <p:nvPr/>
        </p:nvSpPr>
        <p:spPr>
          <a:xfrm>
            <a:off x="4700652" y="3568700"/>
            <a:ext cx="2385949" cy="1155700"/>
          </a:xfrm>
          <a:custGeom>
            <a:avLst/>
            <a:gdLst/>
            <a:ahLst/>
            <a:cxnLst/>
            <a:rect l="l" t="t" r="r" b="b"/>
            <a:pathLst>
              <a:path w="2385949" h="1155700">
                <a:moveTo>
                  <a:pt x="0" y="1155700"/>
                </a:moveTo>
                <a:lnTo>
                  <a:pt x="2385949" y="1155700"/>
                </a:lnTo>
                <a:lnTo>
                  <a:pt x="2385949" y="0"/>
                </a:lnTo>
                <a:lnTo>
                  <a:pt x="0" y="0"/>
                </a:lnTo>
                <a:lnTo>
                  <a:pt x="0" y="1155700"/>
                </a:lnTo>
                <a:close/>
              </a:path>
            </a:pathLst>
          </a:custGeom>
          <a:ln w="25400">
            <a:solidFill>
              <a:srgbClr val="000000"/>
            </a:solidFill>
          </a:ln>
        </p:spPr>
        <p:txBody>
          <a:bodyPr wrap="square" lIns="0" tIns="0" rIns="0" bIns="0" rtlCol="0">
            <a:noAutofit/>
          </a:bodyPr>
          <a:lstStyle/>
          <a:p>
            <a:endParaRPr/>
          </a:p>
        </p:txBody>
      </p:sp>
      <p:sp>
        <p:nvSpPr>
          <p:cNvPr id="143" name="object 143"/>
          <p:cNvSpPr/>
          <p:nvPr/>
        </p:nvSpPr>
        <p:spPr>
          <a:xfrm>
            <a:off x="4703826" y="3213163"/>
            <a:ext cx="2382774" cy="392112"/>
          </a:xfrm>
          <a:custGeom>
            <a:avLst/>
            <a:gdLst/>
            <a:ahLst/>
            <a:cxnLst/>
            <a:rect l="l" t="t" r="r" b="b"/>
            <a:pathLst>
              <a:path w="2382774" h="392112">
                <a:moveTo>
                  <a:pt x="0" y="392112"/>
                </a:moveTo>
                <a:lnTo>
                  <a:pt x="2382774" y="392112"/>
                </a:lnTo>
                <a:lnTo>
                  <a:pt x="2382774" y="0"/>
                </a:lnTo>
                <a:lnTo>
                  <a:pt x="0" y="0"/>
                </a:lnTo>
                <a:lnTo>
                  <a:pt x="0" y="392112"/>
                </a:lnTo>
                <a:close/>
              </a:path>
            </a:pathLst>
          </a:custGeom>
          <a:solidFill>
            <a:srgbClr val="B1B1B1"/>
          </a:solidFill>
        </p:spPr>
        <p:txBody>
          <a:bodyPr wrap="square" lIns="0" tIns="0" rIns="0" bIns="0" rtlCol="0">
            <a:noAutofit/>
          </a:bodyPr>
          <a:lstStyle/>
          <a:p>
            <a:endParaRPr/>
          </a:p>
        </p:txBody>
      </p:sp>
      <p:sp>
        <p:nvSpPr>
          <p:cNvPr id="144" name="object 144"/>
          <p:cNvSpPr/>
          <p:nvPr/>
        </p:nvSpPr>
        <p:spPr>
          <a:xfrm>
            <a:off x="4703826" y="3213163"/>
            <a:ext cx="2382774" cy="392112"/>
          </a:xfrm>
          <a:custGeom>
            <a:avLst/>
            <a:gdLst/>
            <a:ahLst/>
            <a:cxnLst/>
            <a:rect l="l" t="t" r="r" b="b"/>
            <a:pathLst>
              <a:path w="2382774" h="392112">
                <a:moveTo>
                  <a:pt x="0" y="392112"/>
                </a:moveTo>
                <a:lnTo>
                  <a:pt x="2382774" y="392112"/>
                </a:lnTo>
                <a:lnTo>
                  <a:pt x="2382774" y="0"/>
                </a:lnTo>
                <a:lnTo>
                  <a:pt x="0" y="0"/>
                </a:lnTo>
                <a:lnTo>
                  <a:pt x="0" y="392112"/>
                </a:lnTo>
                <a:close/>
              </a:path>
            </a:pathLst>
          </a:custGeom>
          <a:ln w="25400">
            <a:solidFill>
              <a:srgbClr val="000000"/>
            </a:solidFill>
          </a:ln>
        </p:spPr>
        <p:txBody>
          <a:bodyPr wrap="square" lIns="0" tIns="0" rIns="0" bIns="0" rtlCol="0">
            <a:noAutofit/>
          </a:bodyPr>
          <a:lstStyle/>
          <a:p>
            <a:endParaRPr/>
          </a:p>
        </p:txBody>
      </p:sp>
      <p:sp>
        <p:nvSpPr>
          <p:cNvPr id="145" name="object 145"/>
          <p:cNvSpPr/>
          <p:nvPr/>
        </p:nvSpPr>
        <p:spPr>
          <a:xfrm>
            <a:off x="4710177" y="4014724"/>
            <a:ext cx="2360549" cy="1650"/>
          </a:xfrm>
          <a:custGeom>
            <a:avLst/>
            <a:gdLst/>
            <a:ahLst/>
            <a:cxnLst/>
            <a:rect l="l" t="t" r="r" b="b"/>
            <a:pathLst>
              <a:path w="2360549" h="1650">
                <a:moveTo>
                  <a:pt x="0" y="0"/>
                </a:moveTo>
                <a:lnTo>
                  <a:pt x="2360549" y="1650"/>
                </a:lnTo>
              </a:path>
            </a:pathLst>
          </a:custGeom>
          <a:ln w="25399">
            <a:solidFill>
              <a:srgbClr val="000000"/>
            </a:solidFill>
          </a:ln>
        </p:spPr>
        <p:txBody>
          <a:bodyPr wrap="square" lIns="0" tIns="0" rIns="0" bIns="0" rtlCol="0">
            <a:noAutofit/>
          </a:bodyPr>
          <a:lstStyle/>
          <a:p>
            <a:endParaRPr/>
          </a:p>
        </p:txBody>
      </p:sp>
      <p:sp>
        <p:nvSpPr>
          <p:cNvPr id="146" name="object 146"/>
          <p:cNvSpPr/>
          <p:nvPr/>
        </p:nvSpPr>
        <p:spPr>
          <a:xfrm>
            <a:off x="2133600" y="3395726"/>
            <a:ext cx="2241550" cy="896874"/>
          </a:xfrm>
          <a:custGeom>
            <a:avLst/>
            <a:gdLst/>
            <a:ahLst/>
            <a:cxnLst/>
            <a:rect l="l" t="t" r="r" b="b"/>
            <a:pathLst>
              <a:path w="2241550" h="896874">
                <a:moveTo>
                  <a:pt x="1120775" y="896874"/>
                </a:moveTo>
                <a:lnTo>
                  <a:pt x="2241550" y="544322"/>
                </a:lnTo>
                <a:lnTo>
                  <a:pt x="1961514" y="544322"/>
                </a:lnTo>
                <a:lnTo>
                  <a:pt x="1961514" y="0"/>
                </a:lnTo>
                <a:lnTo>
                  <a:pt x="280098" y="0"/>
                </a:lnTo>
                <a:lnTo>
                  <a:pt x="280098" y="544322"/>
                </a:lnTo>
                <a:lnTo>
                  <a:pt x="0" y="544322"/>
                </a:lnTo>
                <a:lnTo>
                  <a:pt x="1120775" y="896874"/>
                </a:lnTo>
                <a:close/>
              </a:path>
            </a:pathLst>
          </a:custGeom>
          <a:solidFill>
            <a:srgbClr val="D39FFF"/>
          </a:solidFill>
        </p:spPr>
        <p:txBody>
          <a:bodyPr wrap="square" lIns="0" tIns="0" rIns="0" bIns="0" rtlCol="0">
            <a:noAutofit/>
          </a:bodyPr>
          <a:lstStyle/>
          <a:p>
            <a:endParaRPr/>
          </a:p>
        </p:txBody>
      </p:sp>
      <p:sp>
        <p:nvSpPr>
          <p:cNvPr id="147" name="object 147"/>
          <p:cNvSpPr/>
          <p:nvPr/>
        </p:nvSpPr>
        <p:spPr>
          <a:xfrm>
            <a:off x="2133600" y="3395726"/>
            <a:ext cx="2241550" cy="896874"/>
          </a:xfrm>
          <a:custGeom>
            <a:avLst/>
            <a:gdLst/>
            <a:ahLst/>
            <a:cxnLst/>
            <a:rect l="l" t="t" r="r" b="b"/>
            <a:pathLst>
              <a:path w="2241550" h="896874">
                <a:moveTo>
                  <a:pt x="0" y="544322"/>
                </a:moveTo>
                <a:lnTo>
                  <a:pt x="280098" y="544322"/>
                </a:lnTo>
                <a:lnTo>
                  <a:pt x="280098" y="0"/>
                </a:lnTo>
                <a:lnTo>
                  <a:pt x="1961514" y="0"/>
                </a:lnTo>
                <a:lnTo>
                  <a:pt x="1961514" y="544322"/>
                </a:lnTo>
                <a:lnTo>
                  <a:pt x="2241550" y="544322"/>
                </a:lnTo>
                <a:lnTo>
                  <a:pt x="1120775" y="896874"/>
                </a:lnTo>
                <a:lnTo>
                  <a:pt x="0" y="544322"/>
                </a:lnTo>
                <a:close/>
              </a:path>
            </a:pathLst>
          </a:custGeom>
          <a:ln w="25400">
            <a:solidFill>
              <a:srgbClr val="000000"/>
            </a:solidFill>
          </a:ln>
        </p:spPr>
        <p:txBody>
          <a:bodyPr wrap="square" lIns="0" tIns="0" rIns="0" bIns="0" rtlCol="0">
            <a:noAutofit/>
          </a:bodyPr>
          <a:lstStyle/>
          <a:p>
            <a:endParaRPr/>
          </a:p>
        </p:txBody>
      </p:sp>
      <p:sp>
        <p:nvSpPr>
          <p:cNvPr id="148" name="object 148"/>
          <p:cNvSpPr/>
          <p:nvPr/>
        </p:nvSpPr>
        <p:spPr>
          <a:xfrm>
            <a:off x="4121151" y="3638296"/>
            <a:ext cx="581025" cy="50926"/>
          </a:xfrm>
          <a:custGeom>
            <a:avLst/>
            <a:gdLst/>
            <a:ahLst/>
            <a:cxnLst/>
            <a:rect l="l" t="t" r="r" b="b"/>
            <a:pathLst>
              <a:path w="581025" h="50926">
                <a:moveTo>
                  <a:pt x="76200" y="0"/>
                </a:moveTo>
                <a:lnTo>
                  <a:pt x="0" y="12953"/>
                </a:lnTo>
                <a:lnTo>
                  <a:pt x="76200" y="25399"/>
                </a:lnTo>
                <a:lnTo>
                  <a:pt x="76200" y="0"/>
                </a:lnTo>
                <a:close/>
              </a:path>
              <a:path w="581025" h="50926">
                <a:moveTo>
                  <a:pt x="0" y="12953"/>
                </a:moveTo>
                <a:lnTo>
                  <a:pt x="127126" y="50672"/>
                </a:lnTo>
                <a:lnTo>
                  <a:pt x="93169" y="25352"/>
                </a:lnTo>
                <a:lnTo>
                  <a:pt x="581025" y="24002"/>
                </a:lnTo>
                <a:lnTo>
                  <a:pt x="581025" y="-1397"/>
                </a:lnTo>
                <a:lnTo>
                  <a:pt x="93096" y="-46"/>
                </a:lnTo>
                <a:lnTo>
                  <a:pt x="126873" y="-25527"/>
                </a:lnTo>
                <a:lnTo>
                  <a:pt x="0" y="12953"/>
                </a:lnTo>
                <a:lnTo>
                  <a:pt x="76200" y="0"/>
                </a:lnTo>
                <a:lnTo>
                  <a:pt x="76200" y="25399"/>
                </a:lnTo>
                <a:lnTo>
                  <a:pt x="0" y="12953"/>
                </a:lnTo>
                <a:close/>
              </a:path>
            </a:pathLst>
          </a:custGeom>
          <a:solidFill>
            <a:srgbClr val="000000"/>
          </a:solidFill>
        </p:spPr>
        <p:txBody>
          <a:bodyPr wrap="square" lIns="0" tIns="0" rIns="0" bIns="0" rtlCol="0">
            <a:noAutofit/>
          </a:bodyPr>
          <a:lstStyle/>
          <a:p>
            <a:endParaRPr/>
          </a:p>
        </p:txBody>
      </p:sp>
      <p:sp>
        <p:nvSpPr>
          <p:cNvPr id="149" name="object 149"/>
          <p:cNvSpPr/>
          <p:nvPr/>
        </p:nvSpPr>
        <p:spPr>
          <a:xfrm>
            <a:off x="7099301" y="3638297"/>
            <a:ext cx="434975" cy="51053"/>
          </a:xfrm>
          <a:custGeom>
            <a:avLst/>
            <a:gdLst/>
            <a:ahLst/>
            <a:cxnLst/>
            <a:rect l="l" t="t" r="r" b="b"/>
            <a:pathLst>
              <a:path w="434975" h="51053">
                <a:moveTo>
                  <a:pt x="358775" y="12699"/>
                </a:moveTo>
                <a:lnTo>
                  <a:pt x="358775" y="25399"/>
                </a:lnTo>
                <a:lnTo>
                  <a:pt x="434975" y="12953"/>
                </a:lnTo>
                <a:lnTo>
                  <a:pt x="358775" y="0"/>
                </a:lnTo>
                <a:lnTo>
                  <a:pt x="358775" y="12699"/>
                </a:lnTo>
                <a:close/>
              </a:path>
              <a:path w="434975" h="51053">
                <a:moveTo>
                  <a:pt x="434975" y="12953"/>
                </a:moveTo>
                <a:lnTo>
                  <a:pt x="308101" y="-25654"/>
                </a:lnTo>
                <a:lnTo>
                  <a:pt x="341908" y="-65"/>
                </a:lnTo>
                <a:lnTo>
                  <a:pt x="0" y="-1397"/>
                </a:lnTo>
                <a:lnTo>
                  <a:pt x="0" y="24002"/>
                </a:lnTo>
                <a:lnTo>
                  <a:pt x="341774" y="25333"/>
                </a:lnTo>
                <a:lnTo>
                  <a:pt x="307848" y="50545"/>
                </a:lnTo>
                <a:lnTo>
                  <a:pt x="434975" y="12953"/>
                </a:lnTo>
                <a:lnTo>
                  <a:pt x="358775" y="25399"/>
                </a:lnTo>
                <a:lnTo>
                  <a:pt x="358775" y="0"/>
                </a:lnTo>
                <a:lnTo>
                  <a:pt x="434975" y="12953"/>
                </a:lnTo>
                <a:close/>
              </a:path>
            </a:pathLst>
          </a:custGeom>
          <a:solidFill>
            <a:srgbClr val="000000"/>
          </a:solidFill>
        </p:spPr>
        <p:txBody>
          <a:bodyPr wrap="square" lIns="0" tIns="0" rIns="0" bIns="0" rtlCol="0">
            <a:noAutofit/>
          </a:bodyPr>
          <a:lstStyle/>
          <a:p>
            <a:endParaRPr/>
          </a:p>
        </p:txBody>
      </p:sp>
      <p:sp>
        <p:nvSpPr>
          <p:cNvPr id="108" name="object 108"/>
          <p:cNvSpPr/>
          <p:nvPr/>
        </p:nvSpPr>
        <p:spPr>
          <a:xfrm>
            <a:off x="7589139" y="3286126"/>
            <a:ext cx="367538" cy="1230757"/>
          </a:xfrm>
          <a:prstGeom prst="rect">
            <a:avLst/>
          </a:prstGeom>
          <a:blipFill>
            <a:blip r:embed="rId2" cstate="print"/>
            <a:stretch>
              <a:fillRect/>
            </a:stretch>
          </a:blipFill>
        </p:spPr>
        <p:txBody>
          <a:bodyPr wrap="square" lIns="0" tIns="0" rIns="0" bIns="0" rtlCol="0">
            <a:noAutofit/>
          </a:bodyPr>
          <a:lstStyle/>
          <a:p>
            <a:endParaRPr/>
          </a:p>
        </p:txBody>
      </p:sp>
      <p:sp>
        <p:nvSpPr>
          <p:cNvPr id="109" name="object 109"/>
          <p:cNvSpPr/>
          <p:nvPr/>
        </p:nvSpPr>
        <p:spPr>
          <a:xfrm>
            <a:off x="7589139" y="3286126"/>
            <a:ext cx="367538" cy="1230757"/>
          </a:xfrm>
          <a:custGeom>
            <a:avLst/>
            <a:gdLst/>
            <a:ahLst/>
            <a:cxnLst/>
            <a:rect l="l" t="t" r="r" b="b"/>
            <a:pathLst>
              <a:path w="367538" h="1230756">
                <a:moveTo>
                  <a:pt x="0" y="1230757"/>
                </a:moveTo>
                <a:lnTo>
                  <a:pt x="367538" y="1024382"/>
                </a:lnTo>
                <a:lnTo>
                  <a:pt x="367538" y="0"/>
                </a:lnTo>
                <a:lnTo>
                  <a:pt x="0" y="204850"/>
                </a:lnTo>
                <a:lnTo>
                  <a:pt x="0" y="1230757"/>
                </a:lnTo>
              </a:path>
            </a:pathLst>
          </a:custGeom>
          <a:ln w="25399">
            <a:solidFill>
              <a:srgbClr val="000000"/>
            </a:solidFill>
          </a:ln>
        </p:spPr>
        <p:txBody>
          <a:bodyPr wrap="square" lIns="0" tIns="0" rIns="0" bIns="0" rtlCol="0">
            <a:noAutofit/>
          </a:bodyPr>
          <a:lstStyle/>
          <a:p>
            <a:endParaRPr/>
          </a:p>
        </p:txBody>
      </p:sp>
      <p:sp>
        <p:nvSpPr>
          <p:cNvPr id="110" name="object 110"/>
          <p:cNvSpPr/>
          <p:nvPr/>
        </p:nvSpPr>
        <p:spPr>
          <a:xfrm>
            <a:off x="7882128" y="3445765"/>
            <a:ext cx="1037844" cy="960119"/>
          </a:xfrm>
          <a:prstGeom prst="rect">
            <a:avLst/>
          </a:prstGeom>
          <a:blipFill>
            <a:blip r:embed="rId3" cstate="print"/>
            <a:stretch>
              <a:fillRect/>
            </a:stretch>
          </a:blipFill>
        </p:spPr>
        <p:txBody>
          <a:bodyPr wrap="square" lIns="0" tIns="0" rIns="0" bIns="0" rtlCol="0">
            <a:noAutofit/>
          </a:bodyPr>
          <a:lstStyle/>
          <a:p>
            <a:endParaRPr/>
          </a:p>
        </p:txBody>
      </p:sp>
      <p:sp>
        <p:nvSpPr>
          <p:cNvPr id="111" name="object 111"/>
          <p:cNvSpPr/>
          <p:nvPr/>
        </p:nvSpPr>
        <p:spPr>
          <a:xfrm>
            <a:off x="7870445" y="3434868"/>
            <a:ext cx="1009129" cy="931773"/>
          </a:xfrm>
          <a:prstGeom prst="rect">
            <a:avLst/>
          </a:prstGeom>
          <a:blipFill>
            <a:blip r:embed="rId4" cstate="print"/>
            <a:stretch>
              <a:fillRect/>
            </a:stretch>
          </a:blipFill>
        </p:spPr>
        <p:txBody>
          <a:bodyPr wrap="square" lIns="0" tIns="0" rIns="0" bIns="0" rtlCol="0">
            <a:noAutofit/>
          </a:bodyPr>
          <a:lstStyle/>
          <a:p>
            <a:endParaRPr/>
          </a:p>
        </p:txBody>
      </p:sp>
      <p:sp>
        <p:nvSpPr>
          <p:cNvPr id="112" name="object 112"/>
          <p:cNvSpPr/>
          <p:nvPr/>
        </p:nvSpPr>
        <p:spPr>
          <a:xfrm>
            <a:off x="7870445" y="3434868"/>
            <a:ext cx="1009129" cy="931773"/>
          </a:xfrm>
          <a:custGeom>
            <a:avLst/>
            <a:gdLst/>
            <a:ahLst/>
            <a:cxnLst/>
            <a:rect l="l" t="t" r="r" b="b"/>
            <a:pathLst>
              <a:path w="1009129" h="931773">
                <a:moveTo>
                  <a:pt x="0" y="931773"/>
                </a:moveTo>
                <a:lnTo>
                  <a:pt x="1009129" y="931773"/>
                </a:lnTo>
                <a:lnTo>
                  <a:pt x="1009129" y="0"/>
                </a:lnTo>
                <a:lnTo>
                  <a:pt x="0" y="0"/>
                </a:lnTo>
                <a:lnTo>
                  <a:pt x="0" y="931773"/>
                </a:lnTo>
                <a:close/>
              </a:path>
            </a:pathLst>
          </a:custGeom>
          <a:ln w="25400">
            <a:solidFill>
              <a:srgbClr val="000000"/>
            </a:solidFill>
          </a:ln>
        </p:spPr>
        <p:txBody>
          <a:bodyPr wrap="square" lIns="0" tIns="0" rIns="0" bIns="0" rtlCol="0">
            <a:noAutofit/>
          </a:bodyPr>
          <a:lstStyle/>
          <a:p>
            <a:endParaRPr/>
          </a:p>
        </p:txBody>
      </p:sp>
      <p:sp>
        <p:nvSpPr>
          <p:cNvPr id="113" name="object 113"/>
          <p:cNvSpPr/>
          <p:nvPr/>
        </p:nvSpPr>
        <p:spPr>
          <a:xfrm>
            <a:off x="7574026" y="3981196"/>
            <a:ext cx="1528064" cy="180594"/>
          </a:xfrm>
          <a:custGeom>
            <a:avLst/>
            <a:gdLst/>
            <a:ahLst/>
            <a:cxnLst/>
            <a:rect l="l" t="t" r="r" b="b"/>
            <a:pathLst>
              <a:path w="1528064" h="180594">
                <a:moveTo>
                  <a:pt x="0" y="180593"/>
                </a:moveTo>
                <a:lnTo>
                  <a:pt x="1218438" y="180593"/>
                </a:lnTo>
                <a:lnTo>
                  <a:pt x="1528064" y="0"/>
                </a:lnTo>
                <a:lnTo>
                  <a:pt x="309499" y="0"/>
                </a:lnTo>
                <a:lnTo>
                  <a:pt x="0" y="180593"/>
                </a:lnTo>
                <a:close/>
              </a:path>
            </a:pathLst>
          </a:custGeom>
          <a:solidFill>
            <a:srgbClr val="000000"/>
          </a:solidFill>
        </p:spPr>
        <p:txBody>
          <a:bodyPr wrap="square" lIns="0" tIns="0" rIns="0" bIns="0" rtlCol="0">
            <a:noAutofit/>
          </a:bodyPr>
          <a:lstStyle/>
          <a:p>
            <a:endParaRPr/>
          </a:p>
        </p:txBody>
      </p:sp>
      <p:sp>
        <p:nvSpPr>
          <p:cNvPr id="114" name="object 114"/>
          <p:cNvSpPr/>
          <p:nvPr/>
        </p:nvSpPr>
        <p:spPr>
          <a:xfrm>
            <a:off x="7574026" y="3981196"/>
            <a:ext cx="1528064" cy="180594"/>
          </a:xfrm>
          <a:custGeom>
            <a:avLst/>
            <a:gdLst/>
            <a:ahLst/>
            <a:cxnLst/>
            <a:rect l="l" t="t" r="r" b="b"/>
            <a:pathLst>
              <a:path w="1528064" h="180594">
                <a:moveTo>
                  <a:pt x="0" y="180593"/>
                </a:moveTo>
                <a:lnTo>
                  <a:pt x="309499" y="0"/>
                </a:lnTo>
                <a:lnTo>
                  <a:pt x="1528064" y="0"/>
                </a:lnTo>
                <a:lnTo>
                  <a:pt x="1218438" y="180593"/>
                </a:lnTo>
                <a:lnTo>
                  <a:pt x="0" y="180593"/>
                </a:lnTo>
                <a:close/>
              </a:path>
            </a:pathLst>
          </a:custGeom>
          <a:ln w="25400">
            <a:solidFill>
              <a:srgbClr val="000000"/>
            </a:solidFill>
          </a:ln>
        </p:spPr>
        <p:txBody>
          <a:bodyPr wrap="square" lIns="0" tIns="0" rIns="0" bIns="0" rtlCol="0">
            <a:noAutofit/>
          </a:bodyPr>
          <a:lstStyle/>
          <a:p>
            <a:endParaRPr/>
          </a:p>
        </p:txBody>
      </p:sp>
      <p:sp>
        <p:nvSpPr>
          <p:cNvPr id="115" name="object 115"/>
          <p:cNvSpPr/>
          <p:nvPr/>
        </p:nvSpPr>
        <p:spPr>
          <a:xfrm>
            <a:off x="8294116" y="3857523"/>
            <a:ext cx="303110" cy="248132"/>
          </a:xfrm>
          <a:custGeom>
            <a:avLst/>
            <a:gdLst/>
            <a:ahLst/>
            <a:cxnLst/>
            <a:rect l="l" t="t" r="r" b="b"/>
            <a:pathLst>
              <a:path w="303110" h="248132">
                <a:moveTo>
                  <a:pt x="0" y="248132"/>
                </a:moveTo>
                <a:lnTo>
                  <a:pt x="303110" y="248132"/>
                </a:lnTo>
                <a:lnTo>
                  <a:pt x="303110" y="0"/>
                </a:lnTo>
                <a:lnTo>
                  <a:pt x="0" y="0"/>
                </a:lnTo>
                <a:lnTo>
                  <a:pt x="0" y="248132"/>
                </a:lnTo>
                <a:close/>
              </a:path>
            </a:pathLst>
          </a:custGeom>
          <a:solidFill>
            <a:srgbClr val="FCE2B9"/>
          </a:solidFill>
        </p:spPr>
        <p:txBody>
          <a:bodyPr wrap="square" lIns="0" tIns="0" rIns="0" bIns="0" rtlCol="0">
            <a:noAutofit/>
          </a:bodyPr>
          <a:lstStyle/>
          <a:p>
            <a:endParaRPr/>
          </a:p>
        </p:txBody>
      </p:sp>
      <p:sp>
        <p:nvSpPr>
          <p:cNvPr id="116" name="object 116"/>
          <p:cNvSpPr/>
          <p:nvPr/>
        </p:nvSpPr>
        <p:spPr>
          <a:xfrm>
            <a:off x="8597265" y="3774822"/>
            <a:ext cx="82676" cy="330835"/>
          </a:xfrm>
          <a:custGeom>
            <a:avLst/>
            <a:gdLst/>
            <a:ahLst/>
            <a:cxnLst/>
            <a:rect l="l" t="t" r="r" b="b"/>
            <a:pathLst>
              <a:path w="82676" h="330835">
                <a:moveTo>
                  <a:pt x="0" y="82676"/>
                </a:moveTo>
                <a:lnTo>
                  <a:pt x="0" y="330834"/>
                </a:lnTo>
                <a:lnTo>
                  <a:pt x="82676" y="248030"/>
                </a:lnTo>
                <a:lnTo>
                  <a:pt x="82676" y="0"/>
                </a:lnTo>
                <a:lnTo>
                  <a:pt x="0" y="82676"/>
                </a:lnTo>
                <a:close/>
              </a:path>
            </a:pathLst>
          </a:custGeom>
          <a:solidFill>
            <a:srgbClr val="CAB695"/>
          </a:solidFill>
        </p:spPr>
        <p:txBody>
          <a:bodyPr wrap="square" lIns="0" tIns="0" rIns="0" bIns="0" rtlCol="0">
            <a:noAutofit/>
          </a:bodyPr>
          <a:lstStyle/>
          <a:p>
            <a:endParaRPr/>
          </a:p>
        </p:txBody>
      </p:sp>
      <p:sp>
        <p:nvSpPr>
          <p:cNvPr id="117" name="object 117"/>
          <p:cNvSpPr/>
          <p:nvPr/>
        </p:nvSpPr>
        <p:spPr>
          <a:xfrm>
            <a:off x="8294117" y="3774822"/>
            <a:ext cx="385825" cy="82677"/>
          </a:xfrm>
          <a:custGeom>
            <a:avLst/>
            <a:gdLst/>
            <a:ahLst/>
            <a:cxnLst/>
            <a:rect l="l" t="t" r="r" b="b"/>
            <a:pathLst>
              <a:path w="385825" h="82676">
                <a:moveTo>
                  <a:pt x="0" y="82676"/>
                </a:moveTo>
                <a:lnTo>
                  <a:pt x="303149" y="82676"/>
                </a:lnTo>
                <a:lnTo>
                  <a:pt x="385825" y="0"/>
                </a:lnTo>
                <a:lnTo>
                  <a:pt x="82676" y="0"/>
                </a:lnTo>
                <a:lnTo>
                  <a:pt x="0" y="82676"/>
                </a:lnTo>
                <a:close/>
              </a:path>
            </a:pathLst>
          </a:custGeom>
          <a:solidFill>
            <a:srgbClr val="FCE8C7"/>
          </a:solidFill>
        </p:spPr>
        <p:txBody>
          <a:bodyPr wrap="square" lIns="0" tIns="0" rIns="0" bIns="0" rtlCol="0">
            <a:noAutofit/>
          </a:bodyPr>
          <a:lstStyle/>
          <a:p>
            <a:endParaRPr/>
          </a:p>
        </p:txBody>
      </p:sp>
      <p:sp>
        <p:nvSpPr>
          <p:cNvPr id="118" name="object 118"/>
          <p:cNvSpPr/>
          <p:nvPr/>
        </p:nvSpPr>
        <p:spPr>
          <a:xfrm>
            <a:off x="8294117" y="3774822"/>
            <a:ext cx="385825" cy="330835"/>
          </a:xfrm>
          <a:custGeom>
            <a:avLst/>
            <a:gdLst/>
            <a:ahLst/>
            <a:cxnLst/>
            <a:rect l="l" t="t" r="r" b="b"/>
            <a:pathLst>
              <a:path w="385825" h="330835">
                <a:moveTo>
                  <a:pt x="0" y="82676"/>
                </a:moveTo>
                <a:lnTo>
                  <a:pt x="82676" y="0"/>
                </a:lnTo>
                <a:lnTo>
                  <a:pt x="385825" y="0"/>
                </a:lnTo>
                <a:lnTo>
                  <a:pt x="385825" y="248030"/>
                </a:lnTo>
                <a:lnTo>
                  <a:pt x="303149" y="330834"/>
                </a:lnTo>
                <a:lnTo>
                  <a:pt x="0" y="330834"/>
                </a:lnTo>
                <a:lnTo>
                  <a:pt x="0" y="82676"/>
                </a:lnTo>
                <a:close/>
              </a:path>
            </a:pathLst>
          </a:custGeom>
          <a:ln w="12700">
            <a:solidFill>
              <a:srgbClr val="000000"/>
            </a:solidFill>
          </a:ln>
        </p:spPr>
        <p:txBody>
          <a:bodyPr wrap="square" lIns="0" tIns="0" rIns="0" bIns="0" rtlCol="0">
            <a:noAutofit/>
          </a:bodyPr>
          <a:lstStyle/>
          <a:p>
            <a:endParaRPr/>
          </a:p>
        </p:txBody>
      </p:sp>
      <p:sp>
        <p:nvSpPr>
          <p:cNvPr id="119" name="object 119"/>
          <p:cNvSpPr/>
          <p:nvPr/>
        </p:nvSpPr>
        <p:spPr>
          <a:xfrm>
            <a:off x="8294117" y="3774822"/>
            <a:ext cx="385825" cy="82677"/>
          </a:xfrm>
          <a:custGeom>
            <a:avLst/>
            <a:gdLst/>
            <a:ahLst/>
            <a:cxnLst/>
            <a:rect l="l" t="t" r="r" b="b"/>
            <a:pathLst>
              <a:path w="385825" h="82676">
                <a:moveTo>
                  <a:pt x="0" y="82676"/>
                </a:moveTo>
                <a:lnTo>
                  <a:pt x="303149" y="82676"/>
                </a:lnTo>
                <a:lnTo>
                  <a:pt x="385825" y="0"/>
                </a:lnTo>
              </a:path>
            </a:pathLst>
          </a:custGeom>
          <a:ln w="12700">
            <a:solidFill>
              <a:srgbClr val="000000"/>
            </a:solidFill>
          </a:ln>
        </p:spPr>
        <p:txBody>
          <a:bodyPr wrap="square" lIns="0" tIns="0" rIns="0" bIns="0" rtlCol="0">
            <a:noAutofit/>
          </a:bodyPr>
          <a:lstStyle/>
          <a:p>
            <a:endParaRPr/>
          </a:p>
        </p:txBody>
      </p:sp>
      <p:sp>
        <p:nvSpPr>
          <p:cNvPr id="120" name="object 120"/>
          <p:cNvSpPr/>
          <p:nvPr/>
        </p:nvSpPr>
        <p:spPr>
          <a:xfrm>
            <a:off x="8597265" y="3857499"/>
            <a:ext cx="0" cy="248157"/>
          </a:xfrm>
          <a:custGeom>
            <a:avLst/>
            <a:gdLst/>
            <a:ahLst/>
            <a:cxnLst/>
            <a:rect l="l" t="t" r="r" b="b"/>
            <a:pathLst>
              <a:path h="248157">
                <a:moveTo>
                  <a:pt x="0" y="0"/>
                </a:moveTo>
                <a:lnTo>
                  <a:pt x="0" y="248157"/>
                </a:lnTo>
              </a:path>
            </a:pathLst>
          </a:custGeom>
          <a:ln w="12700">
            <a:solidFill>
              <a:srgbClr val="000000"/>
            </a:solidFill>
          </a:ln>
        </p:spPr>
        <p:txBody>
          <a:bodyPr wrap="square" lIns="0" tIns="0" rIns="0" bIns="0" rtlCol="0">
            <a:noAutofit/>
          </a:bodyPr>
          <a:lstStyle/>
          <a:p>
            <a:endParaRPr/>
          </a:p>
        </p:txBody>
      </p:sp>
      <p:sp>
        <p:nvSpPr>
          <p:cNvPr id="121" name="object 121"/>
          <p:cNvSpPr/>
          <p:nvPr/>
        </p:nvSpPr>
        <p:spPr>
          <a:xfrm>
            <a:off x="8294117" y="3952367"/>
            <a:ext cx="288925" cy="153288"/>
          </a:xfrm>
          <a:custGeom>
            <a:avLst/>
            <a:gdLst/>
            <a:ahLst/>
            <a:cxnLst/>
            <a:rect l="l" t="t" r="r" b="b"/>
            <a:pathLst>
              <a:path w="288925" h="153288">
                <a:moveTo>
                  <a:pt x="0" y="153288"/>
                </a:moveTo>
                <a:lnTo>
                  <a:pt x="288925" y="153288"/>
                </a:lnTo>
                <a:lnTo>
                  <a:pt x="216788" y="0"/>
                </a:lnTo>
                <a:lnTo>
                  <a:pt x="72262" y="0"/>
                </a:lnTo>
                <a:lnTo>
                  <a:pt x="0" y="153288"/>
                </a:lnTo>
                <a:close/>
              </a:path>
            </a:pathLst>
          </a:custGeom>
          <a:solidFill>
            <a:srgbClr val="FCE2B9"/>
          </a:solidFill>
        </p:spPr>
        <p:txBody>
          <a:bodyPr wrap="square" lIns="0" tIns="0" rIns="0" bIns="0" rtlCol="0">
            <a:noAutofit/>
          </a:bodyPr>
          <a:lstStyle/>
          <a:p>
            <a:endParaRPr/>
          </a:p>
        </p:txBody>
      </p:sp>
      <p:sp>
        <p:nvSpPr>
          <p:cNvPr id="122" name="object 122"/>
          <p:cNvSpPr/>
          <p:nvPr/>
        </p:nvSpPr>
        <p:spPr>
          <a:xfrm>
            <a:off x="8294117" y="3952367"/>
            <a:ext cx="288925" cy="153288"/>
          </a:xfrm>
          <a:custGeom>
            <a:avLst/>
            <a:gdLst/>
            <a:ahLst/>
            <a:cxnLst/>
            <a:rect l="l" t="t" r="r" b="b"/>
            <a:pathLst>
              <a:path w="288925" h="153288">
                <a:moveTo>
                  <a:pt x="0" y="153288"/>
                </a:moveTo>
                <a:lnTo>
                  <a:pt x="72262" y="0"/>
                </a:lnTo>
                <a:lnTo>
                  <a:pt x="216788" y="0"/>
                </a:lnTo>
                <a:lnTo>
                  <a:pt x="288925" y="153288"/>
                </a:lnTo>
                <a:lnTo>
                  <a:pt x="0" y="153288"/>
                </a:lnTo>
                <a:close/>
              </a:path>
            </a:pathLst>
          </a:custGeom>
          <a:ln w="12700">
            <a:solidFill>
              <a:srgbClr val="000000"/>
            </a:solidFill>
          </a:ln>
        </p:spPr>
        <p:txBody>
          <a:bodyPr wrap="square" lIns="0" tIns="0" rIns="0" bIns="0" rtlCol="0">
            <a:noAutofit/>
          </a:bodyPr>
          <a:lstStyle/>
          <a:p>
            <a:endParaRPr/>
          </a:p>
        </p:txBody>
      </p:sp>
      <p:sp>
        <p:nvSpPr>
          <p:cNvPr id="123" name="object 123"/>
          <p:cNvSpPr/>
          <p:nvPr/>
        </p:nvSpPr>
        <p:spPr>
          <a:xfrm>
            <a:off x="8312278" y="3855213"/>
            <a:ext cx="261747" cy="156337"/>
          </a:xfrm>
          <a:custGeom>
            <a:avLst/>
            <a:gdLst/>
            <a:ahLst/>
            <a:cxnLst/>
            <a:rect l="l" t="t" r="r" b="b"/>
            <a:pathLst>
              <a:path w="261747" h="156337">
                <a:moveTo>
                  <a:pt x="0" y="0"/>
                </a:moveTo>
                <a:lnTo>
                  <a:pt x="65404" y="156337"/>
                </a:lnTo>
                <a:lnTo>
                  <a:pt x="196342" y="156337"/>
                </a:lnTo>
                <a:lnTo>
                  <a:pt x="261747" y="0"/>
                </a:lnTo>
                <a:lnTo>
                  <a:pt x="0" y="0"/>
                </a:lnTo>
                <a:close/>
              </a:path>
            </a:pathLst>
          </a:custGeom>
          <a:solidFill>
            <a:srgbClr val="FCE2B9"/>
          </a:solidFill>
        </p:spPr>
        <p:txBody>
          <a:bodyPr wrap="square" lIns="0" tIns="0" rIns="0" bIns="0" rtlCol="0">
            <a:noAutofit/>
          </a:bodyPr>
          <a:lstStyle/>
          <a:p>
            <a:endParaRPr/>
          </a:p>
        </p:txBody>
      </p:sp>
      <p:sp>
        <p:nvSpPr>
          <p:cNvPr id="124" name="object 124"/>
          <p:cNvSpPr/>
          <p:nvPr/>
        </p:nvSpPr>
        <p:spPr>
          <a:xfrm>
            <a:off x="8312278" y="3855213"/>
            <a:ext cx="261747" cy="156337"/>
          </a:xfrm>
          <a:custGeom>
            <a:avLst/>
            <a:gdLst/>
            <a:ahLst/>
            <a:cxnLst/>
            <a:rect l="l" t="t" r="r" b="b"/>
            <a:pathLst>
              <a:path w="261747" h="156337">
                <a:moveTo>
                  <a:pt x="0" y="0"/>
                </a:moveTo>
                <a:lnTo>
                  <a:pt x="65404" y="156337"/>
                </a:lnTo>
                <a:lnTo>
                  <a:pt x="196342" y="156337"/>
                </a:lnTo>
                <a:lnTo>
                  <a:pt x="261747" y="0"/>
                </a:lnTo>
                <a:lnTo>
                  <a:pt x="0" y="0"/>
                </a:lnTo>
                <a:close/>
              </a:path>
            </a:pathLst>
          </a:custGeom>
          <a:ln w="12700">
            <a:solidFill>
              <a:srgbClr val="000000"/>
            </a:solidFill>
          </a:ln>
        </p:spPr>
        <p:txBody>
          <a:bodyPr wrap="square" lIns="0" tIns="0" rIns="0" bIns="0" rtlCol="0">
            <a:noAutofit/>
          </a:bodyPr>
          <a:lstStyle/>
          <a:p>
            <a:endParaRPr/>
          </a:p>
        </p:txBody>
      </p:sp>
      <p:sp>
        <p:nvSpPr>
          <p:cNvPr id="125" name="object 125"/>
          <p:cNvSpPr/>
          <p:nvPr/>
        </p:nvSpPr>
        <p:spPr>
          <a:xfrm>
            <a:off x="7574026" y="4322573"/>
            <a:ext cx="1528064" cy="182117"/>
          </a:xfrm>
          <a:custGeom>
            <a:avLst/>
            <a:gdLst/>
            <a:ahLst/>
            <a:cxnLst/>
            <a:rect l="l" t="t" r="r" b="b"/>
            <a:pathLst>
              <a:path w="1528064" h="182117">
                <a:moveTo>
                  <a:pt x="0" y="182117"/>
                </a:moveTo>
                <a:lnTo>
                  <a:pt x="1227708" y="182117"/>
                </a:lnTo>
                <a:lnTo>
                  <a:pt x="1528064" y="0"/>
                </a:lnTo>
                <a:lnTo>
                  <a:pt x="300227" y="0"/>
                </a:lnTo>
                <a:lnTo>
                  <a:pt x="0" y="182117"/>
                </a:lnTo>
                <a:close/>
              </a:path>
            </a:pathLst>
          </a:custGeom>
          <a:solidFill>
            <a:srgbClr val="000000"/>
          </a:solidFill>
        </p:spPr>
        <p:txBody>
          <a:bodyPr wrap="square" lIns="0" tIns="0" rIns="0" bIns="0" rtlCol="0">
            <a:noAutofit/>
          </a:bodyPr>
          <a:lstStyle/>
          <a:p>
            <a:endParaRPr/>
          </a:p>
        </p:txBody>
      </p:sp>
      <p:sp>
        <p:nvSpPr>
          <p:cNvPr id="126" name="object 126"/>
          <p:cNvSpPr/>
          <p:nvPr/>
        </p:nvSpPr>
        <p:spPr>
          <a:xfrm>
            <a:off x="7574026" y="4322573"/>
            <a:ext cx="1528064" cy="182117"/>
          </a:xfrm>
          <a:custGeom>
            <a:avLst/>
            <a:gdLst/>
            <a:ahLst/>
            <a:cxnLst/>
            <a:rect l="l" t="t" r="r" b="b"/>
            <a:pathLst>
              <a:path w="1528064" h="182117">
                <a:moveTo>
                  <a:pt x="0" y="182117"/>
                </a:moveTo>
                <a:lnTo>
                  <a:pt x="300227" y="0"/>
                </a:lnTo>
                <a:lnTo>
                  <a:pt x="1528064" y="0"/>
                </a:lnTo>
                <a:lnTo>
                  <a:pt x="1227708" y="182117"/>
                </a:lnTo>
                <a:lnTo>
                  <a:pt x="0" y="182117"/>
                </a:lnTo>
                <a:close/>
              </a:path>
            </a:pathLst>
          </a:custGeom>
          <a:ln w="25400">
            <a:solidFill>
              <a:srgbClr val="000000"/>
            </a:solidFill>
          </a:ln>
        </p:spPr>
        <p:txBody>
          <a:bodyPr wrap="square" lIns="0" tIns="0" rIns="0" bIns="0" rtlCol="0">
            <a:noAutofit/>
          </a:bodyPr>
          <a:lstStyle/>
          <a:p>
            <a:endParaRPr/>
          </a:p>
        </p:txBody>
      </p:sp>
      <p:sp>
        <p:nvSpPr>
          <p:cNvPr id="127" name="object 127"/>
          <p:cNvSpPr/>
          <p:nvPr/>
        </p:nvSpPr>
        <p:spPr>
          <a:xfrm>
            <a:off x="7574026" y="3639693"/>
            <a:ext cx="1528064" cy="180594"/>
          </a:xfrm>
          <a:custGeom>
            <a:avLst/>
            <a:gdLst/>
            <a:ahLst/>
            <a:cxnLst/>
            <a:rect l="l" t="t" r="r" b="b"/>
            <a:pathLst>
              <a:path w="1528064" h="180594">
                <a:moveTo>
                  <a:pt x="0" y="180593"/>
                </a:moveTo>
                <a:lnTo>
                  <a:pt x="1209294" y="180593"/>
                </a:lnTo>
                <a:lnTo>
                  <a:pt x="1528064" y="0"/>
                </a:lnTo>
                <a:lnTo>
                  <a:pt x="318643" y="0"/>
                </a:lnTo>
                <a:lnTo>
                  <a:pt x="0" y="180593"/>
                </a:lnTo>
                <a:close/>
              </a:path>
            </a:pathLst>
          </a:custGeom>
          <a:solidFill>
            <a:srgbClr val="000000"/>
          </a:solidFill>
        </p:spPr>
        <p:txBody>
          <a:bodyPr wrap="square" lIns="0" tIns="0" rIns="0" bIns="0" rtlCol="0">
            <a:noAutofit/>
          </a:bodyPr>
          <a:lstStyle/>
          <a:p>
            <a:endParaRPr/>
          </a:p>
        </p:txBody>
      </p:sp>
      <p:sp>
        <p:nvSpPr>
          <p:cNvPr id="128" name="object 128"/>
          <p:cNvSpPr/>
          <p:nvPr/>
        </p:nvSpPr>
        <p:spPr>
          <a:xfrm>
            <a:off x="7574026" y="3639693"/>
            <a:ext cx="1528064" cy="180594"/>
          </a:xfrm>
          <a:custGeom>
            <a:avLst/>
            <a:gdLst/>
            <a:ahLst/>
            <a:cxnLst/>
            <a:rect l="l" t="t" r="r" b="b"/>
            <a:pathLst>
              <a:path w="1528064" h="180594">
                <a:moveTo>
                  <a:pt x="0" y="180593"/>
                </a:moveTo>
                <a:lnTo>
                  <a:pt x="318643" y="0"/>
                </a:lnTo>
                <a:lnTo>
                  <a:pt x="1528064" y="0"/>
                </a:lnTo>
                <a:lnTo>
                  <a:pt x="1209294" y="180593"/>
                </a:lnTo>
                <a:lnTo>
                  <a:pt x="0" y="180593"/>
                </a:lnTo>
                <a:close/>
              </a:path>
            </a:pathLst>
          </a:custGeom>
          <a:ln w="25400">
            <a:solidFill>
              <a:srgbClr val="000000"/>
            </a:solidFill>
          </a:ln>
        </p:spPr>
        <p:txBody>
          <a:bodyPr wrap="square" lIns="0" tIns="0" rIns="0" bIns="0" rtlCol="0">
            <a:noAutofit/>
          </a:bodyPr>
          <a:lstStyle/>
          <a:p>
            <a:endParaRPr/>
          </a:p>
        </p:txBody>
      </p:sp>
      <p:sp>
        <p:nvSpPr>
          <p:cNvPr id="129" name="object 129"/>
          <p:cNvSpPr/>
          <p:nvPr/>
        </p:nvSpPr>
        <p:spPr>
          <a:xfrm>
            <a:off x="8778240" y="3286126"/>
            <a:ext cx="334390" cy="1238377"/>
          </a:xfrm>
          <a:prstGeom prst="rect">
            <a:avLst/>
          </a:prstGeom>
          <a:blipFill>
            <a:blip r:embed="rId5" cstate="print"/>
            <a:stretch>
              <a:fillRect/>
            </a:stretch>
          </a:blipFill>
        </p:spPr>
        <p:txBody>
          <a:bodyPr wrap="square" lIns="0" tIns="0" rIns="0" bIns="0" rtlCol="0">
            <a:noAutofit/>
          </a:bodyPr>
          <a:lstStyle/>
          <a:p>
            <a:endParaRPr/>
          </a:p>
        </p:txBody>
      </p:sp>
      <p:sp>
        <p:nvSpPr>
          <p:cNvPr id="130" name="object 130"/>
          <p:cNvSpPr/>
          <p:nvPr/>
        </p:nvSpPr>
        <p:spPr>
          <a:xfrm>
            <a:off x="8778240" y="3286126"/>
            <a:ext cx="334390" cy="1238377"/>
          </a:xfrm>
          <a:custGeom>
            <a:avLst/>
            <a:gdLst/>
            <a:ahLst/>
            <a:cxnLst/>
            <a:rect l="l" t="t" r="r" b="b"/>
            <a:pathLst>
              <a:path w="334390" h="1238377">
                <a:moveTo>
                  <a:pt x="0" y="1238377"/>
                </a:moveTo>
                <a:lnTo>
                  <a:pt x="334390" y="1031875"/>
                </a:lnTo>
                <a:lnTo>
                  <a:pt x="334390" y="0"/>
                </a:lnTo>
                <a:lnTo>
                  <a:pt x="0" y="206375"/>
                </a:lnTo>
                <a:lnTo>
                  <a:pt x="0" y="1238377"/>
                </a:lnTo>
              </a:path>
            </a:pathLst>
          </a:custGeom>
          <a:ln w="25400">
            <a:solidFill>
              <a:srgbClr val="000000"/>
            </a:solidFill>
          </a:ln>
        </p:spPr>
        <p:txBody>
          <a:bodyPr wrap="square" lIns="0" tIns="0" rIns="0" bIns="0" rtlCol="0">
            <a:noAutofit/>
          </a:bodyPr>
          <a:lstStyle/>
          <a:p>
            <a:endParaRPr/>
          </a:p>
        </p:txBody>
      </p:sp>
      <p:sp>
        <p:nvSpPr>
          <p:cNvPr id="131" name="object 131"/>
          <p:cNvSpPr/>
          <p:nvPr/>
        </p:nvSpPr>
        <p:spPr>
          <a:xfrm>
            <a:off x="7971918" y="3735325"/>
            <a:ext cx="254127" cy="50037"/>
          </a:xfrm>
          <a:prstGeom prst="rect">
            <a:avLst/>
          </a:prstGeom>
          <a:blipFill>
            <a:blip r:embed="rId6" cstate="print"/>
            <a:stretch>
              <a:fillRect/>
            </a:stretch>
          </a:blipFill>
        </p:spPr>
        <p:txBody>
          <a:bodyPr wrap="square" lIns="0" tIns="0" rIns="0" bIns="0" rtlCol="0">
            <a:noAutofit/>
          </a:bodyPr>
          <a:lstStyle/>
          <a:p>
            <a:endParaRPr/>
          </a:p>
        </p:txBody>
      </p:sp>
      <p:sp>
        <p:nvSpPr>
          <p:cNvPr id="132" name="object 132"/>
          <p:cNvSpPr/>
          <p:nvPr/>
        </p:nvSpPr>
        <p:spPr>
          <a:xfrm>
            <a:off x="7970393" y="3492462"/>
            <a:ext cx="257200" cy="261023"/>
          </a:xfrm>
          <a:prstGeom prst="rect">
            <a:avLst/>
          </a:prstGeom>
          <a:blipFill>
            <a:blip r:embed="rId7" cstate="print"/>
            <a:stretch>
              <a:fillRect/>
            </a:stretch>
          </a:blipFill>
        </p:spPr>
        <p:txBody>
          <a:bodyPr wrap="square" lIns="0" tIns="0" rIns="0" bIns="0" rtlCol="0">
            <a:noAutofit/>
          </a:bodyPr>
          <a:lstStyle/>
          <a:p>
            <a:endParaRPr/>
          </a:p>
        </p:txBody>
      </p:sp>
      <p:sp>
        <p:nvSpPr>
          <p:cNvPr id="133" name="object 133"/>
          <p:cNvSpPr/>
          <p:nvPr/>
        </p:nvSpPr>
        <p:spPr>
          <a:xfrm>
            <a:off x="7979411" y="3474339"/>
            <a:ext cx="240537" cy="37846"/>
          </a:xfrm>
          <a:prstGeom prst="rect">
            <a:avLst/>
          </a:prstGeom>
          <a:blipFill>
            <a:blip r:embed="rId8" cstate="print"/>
            <a:stretch>
              <a:fillRect/>
            </a:stretch>
          </a:blipFill>
        </p:spPr>
        <p:txBody>
          <a:bodyPr wrap="square" lIns="0" tIns="0" rIns="0" bIns="0" rtlCol="0">
            <a:noAutofit/>
          </a:bodyPr>
          <a:lstStyle/>
          <a:p>
            <a:endParaRPr/>
          </a:p>
        </p:txBody>
      </p:sp>
      <p:sp>
        <p:nvSpPr>
          <p:cNvPr id="134" name="object 134"/>
          <p:cNvSpPr/>
          <p:nvPr/>
        </p:nvSpPr>
        <p:spPr>
          <a:xfrm>
            <a:off x="7979411" y="3474339"/>
            <a:ext cx="240537" cy="37846"/>
          </a:xfrm>
          <a:custGeom>
            <a:avLst/>
            <a:gdLst/>
            <a:ahLst/>
            <a:cxnLst/>
            <a:rect l="l" t="t" r="r" b="b"/>
            <a:pathLst>
              <a:path w="240537" h="37846">
                <a:moveTo>
                  <a:pt x="0" y="18923"/>
                </a:moveTo>
                <a:lnTo>
                  <a:pt x="6656" y="12713"/>
                </a:lnTo>
                <a:lnTo>
                  <a:pt x="14555" y="9908"/>
                </a:lnTo>
                <a:lnTo>
                  <a:pt x="25126" y="7361"/>
                </a:lnTo>
                <a:lnTo>
                  <a:pt x="38088" y="5119"/>
                </a:lnTo>
                <a:lnTo>
                  <a:pt x="53161" y="3227"/>
                </a:lnTo>
                <a:lnTo>
                  <a:pt x="70062" y="1728"/>
                </a:lnTo>
                <a:lnTo>
                  <a:pt x="88512" y="669"/>
                </a:lnTo>
                <a:lnTo>
                  <a:pt x="108228" y="94"/>
                </a:lnTo>
                <a:lnTo>
                  <a:pt x="120268" y="0"/>
                </a:lnTo>
                <a:lnTo>
                  <a:pt x="140597" y="270"/>
                </a:lnTo>
                <a:lnTo>
                  <a:pt x="159824" y="1051"/>
                </a:lnTo>
                <a:lnTo>
                  <a:pt x="177667" y="2297"/>
                </a:lnTo>
                <a:lnTo>
                  <a:pt x="193846" y="3964"/>
                </a:lnTo>
                <a:lnTo>
                  <a:pt x="208080" y="6007"/>
                </a:lnTo>
                <a:lnTo>
                  <a:pt x="220088" y="8380"/>
                </a:lnTo>
                <a:lnTo>
                  <a:pt x="229588" y="11039"/>
                </a:lnTo>
                <a:lnTo>
                  <a:pt x="236300" y="13939"/>
                </a:lnTo>
                <a:lnTo>
                  <a:pt x="239942" y="17034"/>
                </a:lnTo>
                <a:lnTo>
                  <a:pt x="240537" y="18923"/>
                </a:lnTo>
                <a:lnTo>
                  <a:pt x="238827" y="22144"/>
                </a:lnTo>
                <a:lnTo>
                  <a:pt x="233881" y="25181"/>
                </a:lnTo>
                <a:lnTo>
                  <a:pt x="225982" y="27994"/>
                </a:lnTo>
                <a:lnTo>
                  <a:pt x="215411" y="30538"/>
                </a:lnTo>
                <a:lnTo>
                  <a:pt x="202449" y="32771"/>
                </a:lnTo>
                <a:lnTo>
                  <a:pt x="187376" y="34652"/>
                </a:lnTo>
                <a:lnTo>
                  <a:pt x="170475" y="36137"/>
                </a:lnTo>
                <a:lnTo>
                  <a:pt x="152025" y="37185"/>
                </a:lnTo>
                <a:lnTo>
                  <a:pt x="132309" y="37753"/>
                </a:lnTo>
                <a:lnTo>
                  <a:pt x="120268" y="37846"/>
                </a:lnTo>
                <a:lnTo>
                  <a:pt x="99940" y="37579"/>
                </a:lnTo>
                <a:lnTo>
                  <a:pt x="80713" y="36808"/>
                </a:lnTo>
                <a:lnTo>
                  <a:pt x="62870" y="35574"/>
                </a:lnTo>
                <a:lnTo>
                  <a:pt x="46691" y="33920"/>
                </a:lnTo>
                <a:lnTo>
                  <a:pt x="32457" y="31888"/>
                </a:lnTo>
                <a:lnTo>
                  <a:pt x="20449" y="29521"/>
                </a:lnTo>
                <a:lnTo>
                  <a:pt x="10949" y="26861"/>
                </a:lnTo>
                <a:lnTo>
                  <a:pt x="4237" y="23950"/>
                </a:lnTo>
                <a:lnTo>
                  <a:pt x="595" y="20832"/>
                </a:lnTo>
                <a:lnTo>
                  <a:pt x="0" y="18923"/>
                </a:lnTo>
                <a:close/>
              </a:path>
            </a:pathLst>
          </a:custGeom>
          <a:ln w="12699">
            <a:solidFill>
              <a:srgbClr val="E2BDFF"/>
            </a:solidFill>
          </a:ln>
        </p:spPr>
        <p:txBody>
          <a:bodyPr wrap="square" lIns="0" tIns="0" rIns="0" bIns="0" rtlCol="0">
            <a:noAutofit/>
          </a:bodyPr>
          <a:lstStyle/>
          <a:p>
            <a:endParaRPr/>
          </a:p>
        </p:txBody>
      </p:sp>
      <p:sp>
        <p:nvSpPr>
          <p:cNvPr id="135" name="object 135"/>
          <p:cNvSpPr/>
          <p:nvPr/>
        </p:nvSpPr>
        <p:spPr>
          <a:xfrm>
            <a:off x="7927849" y="3281173"/>
            <a:ext cx="368807" cy="382523"/>
          </a:xfrm>
          <a:prstGeom prst="rect">
            <a:avLst/>
          </a:prstGeom>
          <a:blipFill>
            <a:blip r:embed="rId9" cstate="print"/>
            <a:stretch>
              <a:fillRect/>
            </a:stretch>
          </a:blipFill>
        </p:spPr>
        <p:txBody>
          <a:bodyPr wrap="square" lIns="0" tIns="0" rIns="0" bIns="0" rtlCol="0">
            <a:noAutofit/>
          </a:bodyPr>
          <a:lstStyle/>
          <a:p>
            <a:endParaRPr/>
          </a:p>
        </p:txBody>
      </p:sp>
      <p:sp>
        <p:nvSpPr>
          <p:cNvPr id="136" name="object 136"/>
          <p:cNvSpPr/>
          <p:nvPr/>
        </p:nvSpPr>
        <p:spPr>
          <a:xfrm>
            <a:off x="7982712" y="3281173"/>
            <a:ext cx="371856" cy="382523"/>
          </a:xfrm>
          <a:prstGeom prst="rect">
            <a:avLst/>
          </a:prstGeom>
          <a:blipFill>
            <a:blip r:embed="rId9" cstate="print"/>
            <a:stretch>
              <a:fillRect/>
            </a:stretch>
          </a:blipFill>
        </p:spPr>
        <p:txBody>
          <a:bodyPr wrap="square" lIns="0" tIns="0" rIns="0" bIns="0" rtlCol="0">
            <a:noAutofit/>
          </a:bodyPr>
          <a:lstStyle/>
          <a:p>
            <a:endParaRPr/>
          </a:p>
        </p:txBody>
      </p:sp>
      <p:sp>
        <p:nvSpPr>
          <p:cNvPr id="137" name="object 137"/>
          <p:cNvSpPr/>
          <p:nvPr/>
        </p:nvSpPr>
        <p:spPr>
          <a:xfrm>
            <a:off x="7574027" y="3298316"/>
            <a:ext cx="1546225" cy="180594"/>
          </a:xfrm>
          <a:custGeom>
            <a:avLst/>
            <a:gdLst/>
            <a:ahLst/>
            <a:cxnLst/>
            <a:rect l="l" t="t" r="r" b="b"/>
            <a:pathLst>
              <a:path w="1546225" h="180594">
                <a:moveTo>
                  <a:pt x="0" y="180594"/>
                </a:moveTo>
                <a:lnTo>
                  <a:pt x="1183385" y="180594"/>
                </a:lnTo>
                <a:lnTo>
                  <a:pt x="1546225" y="0"/>
                </a:lnTo>
                <a:lnTo>
                  <a:pt x="362712" y="0"/>
                </a:lnTo>
                <a:lnTo>
                  <a:pt x="0" y="180594"/>
                </a:lnTo>
                <a:close/>
              </a:path>
            </a:pathLst>
          </a:custGeom>
          <a:solidFill>
            <a:srgbClr val="000000"/>
          </a:solidFill>
        </p:spPr>
        <p:txBody>
          <a:bodyPr wrap="square" lIns="0" tIns="0" rIns="0" bIns="0" rtlCol="0">
            <a:noAutofit/>
          </a:bodyPr>
          <a:lstStyle/>
          <a:p>
            <a:endParaRPr/>
          </a:p>
        </p:txBody>
      </p:sp>
      <p:sp>
        <p:nvSpPr>
          <p:cNvPr id="138" name="object 138"/>
          <p:cNvSpPr/>
          <p:nvPr/>
        </p:nvSpPr>
        <p:spPr>
          <a:xfrm>
            <a:off x="7574027" y="3298316"/>
            <a:ext cx="1546225" cy="180594"/>
          </a:xfrm>
          <a:custGeom>
            <a:avLst/>
            <a:gdLst/>
            <a:ahLst/>
            <a:cxnLst/>
            <a:rect l="l" t="t" r="r" b="b"/>
            <a:pathLst>
              <a:path w="1546225" h="180594">
                <a:moveTo>
                  <a:pt x="0" y="180594"/>
                </a:moveTo>
                <a:lnTo>
                  <a:pt x="362712" y="0"/>
                </a:lnTo>
                <a:lnTo>
                  <a:pt x="1546225" y="0"/>
                </a:lnTo>
                <a:lnTo>
                  <a:pt x="1183385" y="180594"/>
                </a:lnTo>
                <a:lnTo>
                  <a:pt x="0" y="180594"/>
                </a:lnTo>
                <a:close/>
              </a:path>
            </a:pathLst>
          </a:custGeom>
          <a:ln w="25400">
            <a:solidFill>
              <a:srgbClr val="000000"/>
            </a:solidFill>
          </a:ln>
        </p:spPr>
        <p:txBody>
          <a:bodyPr wrap="square" lIns="0" tIns="0" rIns="0" bIns="0" rtlCol="0">
            <a:noAutofit/>
          </a:bodyPr>
          <a:lstStyle/>
          <a:p>
            <a:endParaRPr/>
          </a:p>
        </p:txBody>
      </p:sp>
      <p:sp>
        <p:nvSpPr>
          <p:cNvPr id="139" name="object 139"/>
          <p:cNvSpPr/>
          <p:nvPr/>
        </p:nvSpPr>
        <p:spPr>
          <a:xfrm>
            <a:off x="8969375" y="3389376"/>
            <a:ext cx="1060450" cy="909574"/>
          </a:xfrm>
          <a:custGeom>
            <a:avLst/>
            <a:gdLst/>
            <a:ahLst/>
            <a:cxnLst/>
            <a:rect l="l" t="t" r="r" b="b"/>
            <a:pathLst>
              <a:path w="1060450" h="909574">
                <a:moveTo>
                  <a:pt x="530225" y="909574"/>
                </a:moveTo>
                <a:lnTo>
                  <a:pt x="1060450" y="537463"/>
                </a:lnTo>
                <a:lnTo>
                  <a:pt x="927989" y="537463"/>
                </a:lnTo>
                <a:lnTo>
                  <a:pt x="927989" y="0"/>
                </a:lnTo>
                <a:lnTo>
                  <a:pt x="132460" y="0"/>
                </a:lnTo>
                <a:lnTo>
                  <a:pt x="132460" y="537463"/>
                </a:lnTo>
                <a:lnTo>
                  <a:pt x="0" y="537463"/>
                </a:lnTo>
                <a:lnTo>
                  <a:pt x="530225" y="909574"/>
                </a:lnTo>
                <a:close/>
              </a:path>
            </a:pathLst>
          </a:custGeom>
          <a:solidFill>
            <a:srgbClr val="D39FFF"/>
          </a:solidFill>
        </p:spPr>
        <p:txBody>
          <a:bodyPr wrap="square" lIns="0" tIns="0" rIns="0" bIns="0" rtlCol="0">
            <a:noAutofit/>
          </a:bodyPr>
          <a:lstStyle/>
          <a:p>
            <a:endParaRPr/>
          </a:p>
        </p:txBody>
      </p:sp>
      <p:sp>
        <p:nvSpPr>
          <p:cNvPr id="140" name="object 140"/>
          <p:cNvSpPr/>
          <p:nvPr/>
        </p:nvSpPr>
        <p:spPr>
          <a:xfrm>
            <a:off x="8969375" y="3389376"/>
            <a:ext cx="1060450" cy="909574"/>
          </a:xfrm>
          <a:custGeom>
            <a:avLst/>
            <a:gdLst/>
            <a:ahLst/>
            <a:cxnLst/>
            <a:rect l="l" t="t" r="r" b="b"/>
            <a:pathLst>
              <a:path w="1060450" h="909574">
                <a:moveTo>
                  <a:pt x="0" y="537463"/>
                </a:moveTo>
                <a:lnTo>
                  <a:pt x="132460" y="537463"/>
                </a:lnTo>
                <a:lnTo>
                  <a:pt x="132460" y="0"/>
                </a:lnTo>
                <a:lnTo>
                  <a:pt x="927989" y="0"/>
                </a:lnTo>
                <a:lnTo>
                  <a:pt x="927989" y="537463"/>
                </a:lnTo>
                <a:lnTo>
                  <a:pt x="1060450" y="537463"/>
                </a:lnTo>
                <a:lnTo>
                  <a:pt x="530225" y="909574"/>
                </a:lnTo>
                <a:lnTo>
                  <a:pt x="0" y="537463"/>
                </a:lnTo>
                <a:close/>
              </a:path>
            </a:pathLst>
          </a:custGeom>
          <a:ln w="25400">
            <a:solidFill>
              <a:srgbClr val="000000"/>
            </a:solidFill>
          </a:ln>
        </p:spPr>
        <p:txBody>
          <a:bodyPr wrap="square" lIns="0" tIns="0" rIns="0" bIns="0" rtlCol="0">
            <a:noAutofit/>
          </a:bodyPr>
          <a:lstStyle/>
          <a:p>
            <a:endParaRPr/>
          </a:p>
        </p:txBody>
      </p:sp>
      <p:sp>
        <p:nvSpPr>
          <p:cNvPr id="107" name="object 107"/>
          <p:cNvSpPr/>
          <p:nvPr/>
        </p:nvSpPr>
        <p:spPr>
          <a:xfrm>
            <a:off x="5905500" y="4876800"/>
            <a:ext cx="76200" cy="457200"/>
          </a:xfrm>
          <a:custGeom>
            <a:avLst/>
            <a:gdLst/>
            <a:ahLst/>
            <a:cxnLst/>
            <a:rect l="l" t="t" r="r" b="b"/>
            <a:pathLst>
              <a:path w="76200" h="457200">
                <a:moveTo>
                  <a:pt x="76200" y="330200"/>
                </a:moveTo>
                <a:lnTo>
                  <a:pt x="50800" y="364066"/>
                </a:lnTo>
                <a:lnTo>
                  <a:pt x="38100" y="381000"/>
                </a:lnTo>
                <a:lnTo>
                  <a:pt x="25400" y="381000"/>
                </a:lnTo>
                <a:lnTo>
                  <a:pt x="25400" y="364066"/>
                </a:lnTo>
                <a:lnTo>
                  <a:pt x="0" y="330200"/>
                </a:lnTo>
                <a:lnTo>
                  <a:pt x="38100" y="457200"/>
                </a:lnTo>
                <a:lnTo>
                  <a:pt x="50800" y="381000"/>
                </a:lnTo>
                <a:lnTo>
                  <a:pt x="76200" y="330200"/>
                </a:lnTo>
                <a:close/>
              </a:path>
              <a:path w="76200" h="457200">
                <a:moveTo>
                  <a:pt x="38100" y="381000"/>
                </a:moveTo>
                <a:lnTo>
                  <a:pt x="50800" y="364066"/>
                </a:lnTo>
                <a:lnTo>
                  <a:pt x="50800" y="0"/>
                </a:lnTo>
                <a:lnTo>
                  <a:pt x="25400" y="0"/>
                </a:lnTo>
                <a:lnTo>
                  <a:pt x="25400" y="381000"/>
                </a:lnTo>
                <a:lnTo>
                  <a:pt x="38100" y="381000"/>
                </a:lnTo>
                <a:close/>
              </a:path>
              <a:path w="76200" h="457200">
                <a:moveTo>
                  <a:pt x="50800" y="381000"/>
                </a:moveTo>
                <a:lnTo>
                  <a:pt x="38100" y="457200"/>
                </a:lnTo>
                <a:lnTo>
                  <a:pt x="76200" y="330200"/>
                </a:lnTo>
                <a:lnTo>
                  <a:pt x="50800" y="381000"/>
                </a:lnTo>
                <a:close/>
              </a:path>
            </a:pathLst>
          </a:custGeom>
          <a:solidFill>
            <a:srgbClr val="000000"/>
          </a:solidFill>
        </p:spPr>
        <p:txBody>
          <a:bodyPr wrap="square" lIns="0" tIns="0" rIns="0" bIns="0" rtlCol="0">
            <a:noAutofit/>
          </a:bodyPr>
          <a:lstStyle/>
          <a:p>
            <a:endParaRPr/>
          </a:p>
        </p:txBody>
      </p:sp>
      <p:sp>
        <p:nvSpPr>
          <p:cNvPr id="106" name="object 106"/>
          <p:cNvSpPr/>
          <p:nvPr/>
        </p:nvSpPr>
        <p:spPr>
          <a:xfrm>
            <a:off x="4135375" y="4806696"/>
            <a:ext cx="444753" cy="374904"/>
          </a:xfrm>
          <a:custGeom>
            <a:avLst/>
            <a:gdLst/>
            <a:ahLst/>
            <a:cxnLst/>
            <a:rect l="l" t="t" r="r" b="b"/>
            <a:pathLst>
              <a:path w="444753" h="374903">
                <a:moveTo>
                  <a:pt x="0" y="374903"/>
                </a:moveTo>
                <a:lnTo>
                  <a:pt x="121919" y="322706"/>
                </a:lnTo>
                <a:lnTo>
                  <a:pt x="79683" y="324907"/>
                </a:lnTo>
                <a:lnTo>
                  <a:pt x="444753" y="19557"/>
                </a:lnTo>
                <a:lnTo>
                  <a:pt x="428498" y="0"/>
                </a:lnTo>
                <a:lnTo>
                  <a:pt x="63372" y="305395"/>
                </a:lnTo>
                <a:lnTo>
                  <a:pt x="50418" y="316229"/>
                </a:lnTo>
                <a:lnTo>
                  <a:pt x="0" y="374903"/>
                </a:lnTo>
                <a:lnTo>
                  <a:pt x="66675" y="335787"/>
                </a:lnTo>
                <a:lnTo>
                  <a:pt x="58546" y="326008"/>
                </a:lnTo>
                <a:lnTo>
                  <a:pt x="66675" y="335787"/>
                </a:lnTo>
                <a:lnTo>
                  <a:pt x="0" y="374903"/>
                </a:lnTo>
                <a:close/>
              </a:path>
              <a:path w="444753" h="374903">
                <a:moveTo>
                  <a:pt x="73025" y="264159"/>
                </a:moveTo>
                <a:lnTo>
                  <a:pt x="0" y="374903"/>
                </a:lnTo>
                <a:lnTo>
                  <a:pt x="50418" y="316229"/>
                </a:lnTo>
                <a:lnTo>
                  <a:pt x="63372" y="305395"/>
                </a:lnTo>
                <a:lnTo>
                  <a:pt x="73025" y="264159"/>
                </a:lnTo>
                <a:close/>
              </a:path>
            </a:pathLst>
          </a:custGeom>
          <a:solidFill>
            <a:srgbClr val="000000"/>
          </a:solidFill>
        </p:spPr>
        <p:txBody>
          <a:bodyPr wrap="square" lIns="0" tIns="0" rIns="0" bIns="0" rtlCol="0">
            <a:noAutofit/>
          </a:bodyPr>
          <a:lstStyle/>
          <a:p>
            <a:endParaRPr/>
          </a:p>
        </p:txBody>
      </p:sp>
      <p:sp>
        <p:nvSpPr>
          <p:cNvPr id="105" name="object 105"/>
          <p:cNvSpPr/>
          <p:nvPr/>
        </p:nvSpPr>
        <p:spPr>
          <a:xfrm>
            <a:off x="7162547" y="4806696"/>
            <a:ext cx="444753" cy="374904"/>
          </a:xfrm>
          <a:custGeom>
            <a:avLst/>
            <a:gdLst/>
            <a:ahLst/>
            <a:cxnLst/>
            <a:rect l="l" t="t" r="r" b="b"/>
            <a:pathLst>
              <a:path w="444753" h="374903">
                <a:moveTo>
                  <a:pt x="378205" y="335787"/>
                </a:moveTo>
                <a:lnTo>
                  <a:pt x="444753" y="374903"/>
                </a:lnTo>
                <a:lnTo>
                  <a:pt x="394462" y="316229"/>
                </a:lnTo>
                <a:lnTo>
                  <a:pt x="386333" y="326008"/>
                </a:lnTo>
                <a:lnTo>
                  <a:pt x="378205" y="335787"/>
                </a:lnTo>
                <a:close/>
              </a:path>
              <a:path w="444753" h="374903">
                <a:moveTo>
                  <a:pt x="444753" y="374903"/>
                </a:moveTo>
                <a:lnTo>
                  <a:pt x="371728" y="264159"/>
                </a:lnTo>
                <a:lnTo>
                  <a:pt x="381456" y="305351"/>
                </a:lnTo>
                <a:lnTo>
                  <a:pt x="16382" y="0"/>
                </a:lnTo>
                <a:lnTo>
                  <a:pt x="0" y="19557"/>
                </a:lnTo>
                <a:lnTo>
                  <a:pt x="365195" y="324909"/>
                </a:lnTo>
                <a:lnTo>
                  <a:pt x="322833" y="322706"/>
                </a:lnTo>
                <a:lnTo>
                  <a:pt x="444753" y="374903"/>
                </a:lnTo>
                <a:lnTo>
                  <a:pt x="378205" y="335787"/>
                </a:lnTo>
                <a:lnTo>
                  <a:pt x="386333" y="326008"/>
                </a:lnTo>
                <a:lnTo>
                  <a:pt x="394462" y="316229"/>
                </a:lnTo>
                <a:lnTo>
                  <a:pt x="444753" y="374903"/>
                </a:lnTo>
                <a:close/>
              </a:path>
            </a:pathLst>
          </a:custGeom>
          <a:solidFill>
            <a:srgbClr val="000000"/>
          </a:solidFill>
        </p:spPr>
        <p:txBody>
          <a:bodyPr wrap="square" lIns="0" tIns="0" rIns="0" bIns="0" rtlCol="0">
            <a:noAutofit/>
          </a:bodyPr>
          <a:lstStyle/>
          <a:p>
            <a:endParaRPr/>
          </a:p>
        </p:txBody>
      </p:sp>
      <p:sp>
        <p:nvSpPr>
          <p:cNvPr id="101" name="object 101"/>
          <p:cNvSpPr txBox="1"/>
          <p:nvPr/>
        </p:nvSpPr>
        <p:spPr>
          <a:xfrm>
            <a:off x="2140576" y="1286350"/>
            <a:ext cx="5485425" cy="241561"/>
          </a:xfrm>
          <a:prstGeom prst="rect">
            <a:avLst/>
          </a:prstGeom>
        </p:spPr>
        <p:txBody>
          <a:bodyPr wrap="square" lIns="0" tIns="0" rIns="0" bIns="0" rtlCol="0">
            <a:noAutofit/>
          </a:bodyPr>
          <a:lstStyle/>
          <a:p>
            <a:pPr marL="298450" indent="-285750">
              <a:lnSpc>
                <a:spcPts val="1730"/>
              </a:lnSpc>
              <a:spcBef>
                <a:spcPts val="86"/>
              </a:spcBef>
              <a:buClr>
                <a:srgbClr val="00B0F0"/>
              </a:buClr>
              <a:buFont typeface="Wingdings" panose="05000000000000000000" pitchFamily="2" charset="2"/>
              <a:buChar char="§"/>
            </a:pPr>
            <a:r>
              <a:rPr dirty="0">
                <a:cs typeface="Arial"/>
              </a:rPr>
              <a:t>Posti</a:t>
            </a:r>
            <a:r>
              <a:rPr spc="-4" dirty="0">
                <a:cs typeface="Arial"/>
              </a:rPr>
              <a:t>n</a:t>
            </a:r>
            <a:r>
              <a:rPr dirty="0">
                <a:cs typeface="Arial"/>
              </a:rPr>
              <a:t>g</a:t>
            </a:r>
            <a:r>
              <a:rPr spc="-48" dirty="0">
                <a:cs typeface="Arial"/>
              </a:rPr>
              <a:t> </a:t>
            </a:r>
            <a:r>
              <a:rPr dirty="0">
                <a:cs typeface="Arial"/>
              </a:rPr>
              <a:t>t</a:t>
            </a:r>
            <a:r>
              <a:rPr spc="-4" dirty="0">
                <a:cs typeface="Arial"/>
              </a:rPr>
              <a:t>h</a:t>
            </a:r>
            <a:r>
              <a:rPr dirty="0">
                <a:cs typeface="Arial"/>
              </a:rPr>
              <a:t>e g</a:t>
            </a:r>
            <a:r>
              <a:rPr spc="-4" dirty="0">
                <a:cs typeface="Arial"/>
              </a:rPr>
              <a:t>o</a:t>
            </a:r>
            <a:r>
              <a:rPr dirty="0">
                <a:cs typeface="Arial"/>
              </a:rPr>
              <a:t>o</a:t>
            </a:r>
            <a:r>
              <a:rPr spc="-4" dirty="0">
                <a:cs typeface="Arial"/>
              </a:rPr>
              <a:t>d</a:t>
            </a:r>
            <a:r>
              <a:rPr dirty="0">
                <a:cs typeface="Arial"/>
              </a:rPr>
              <a:t>s</a:t>
            </a:r>
            <a:r>
              <a:rPr spc="-37" dirty="0">
                <a:cs typeface="Arial"/>
              </a:rPr>
              <a:t> </a:t>
            </a:r>
            <a:r>
              <a:rPr dirty="0">
                <a:cs typeface="Arial"/>
              </a:rPr>
              <a:t>issue</a:t>
            </a:r>
            <a:r>
              <a:rPr spc="-30" dirty="0">
                <a:cs typeface="Arial"/>
              </a:rPr>
              <a:t> </a:t>
            </a:r>
            <a:r>
              <a:rPr dirty="0">
                <a:cs typeface="Arial"/>
              </a:rPr>
              <a:t>f</a:t>
            </a:r>
            <a:r>
              <a:rPr spc="-4" dirty="0">
                <a:cs typeface="Arial"/>
              </a:rPr>
              <a:t>o</a:t>
            </a:r>
            <a:r>
              <a:rPr dirty="0">
                <a:cs typeface="Arial"/>
              </a:rPr>
              <a:t>r</a:t>
            </a:r>
            <a:r>
              <a:rPr spc="3" dirty="0">
                <a:cs typeface="Arial"/>
              </a:rPr>
              <a:t> </a:t>
            </a:r>
            <a:r>
              <a:rPr dirty="0">
                <a:cs typeface="Arial"/>
              </a:rPr>
              <a:t>a</a:t>
            </a:r>
            <a:r>
              <a:rPr spc="-8" dirty="0">
                <a:cs typeface="Arial"/>
              </a:rPr>
              <a:t> </a:t>
            </a:r>
            <a:r>
              <a:rPr dirty="0">
                <a:cs typeface="Arial"/>
              </a:rPr>
              <a:t>deli</a:t>
            </a:r>
            <a:r>
              <a:rPr spc="-34" dirty="0">
                <a:cs typeface="Arial"/>
              </a:rPr>
              <a:t>v</a:t>
            </a:r>
            <a:r>
              <a:rPr dirty="0">
                <a:cs typeface="Arial"/>
              </a:rPr>
              <a:t>e</a:t>
            </a:r>
            <a:r>
              <a:rPr spc="14" dirty="0">
                <a:cs typeface="Arial"/>
              </a:rPr>
              <a:t>r</a:t>
            </a:r>
            <a:r>
              <a:rPr dirty="0">
                <a:cs typeface="Arial"/>
              </a:rPr>
              <a:t>y:</a:t>
            </a:r>
          </a:p>
        </p:txBody>
      </p:sp>
      <p:sp>
        <p:nvSpPr>
          <p:cNvPr id="99" name="object 99"/>
          <p:cNvSpPr txBox="1"/>
          <p:nvPr/>
        </p:nvSpPr>
        <p:spPr>
          <a:xfrm>
            <a:off x="1981201" y="1553119"/>
            <a:ext cx="9443391" cy="5011808"/>
          </a:xfrm>
          <a:prstGeom prst="rect">
            <a:avLst/>
          </a:prstGeom>
        </p:spPr>
        <p:txBody>
          <a:bodyPr wrap="square" lIns="0" tIns="0" rIns="0" bIns="0" rtlCol="0">
            <a:noAutofit/>
          </a:bodyPr>
          <a:lstStyle/>
          <a:p>
            <a:pPr marL="812800" lvl="1" indent="-342900">
              <a:lnSpc>
                <a:spcPts val="2150"/>
              </a:lnSpc>
              <a:spcBef>
                <a:spcPts val="107"/>
              </a:spcBef>
              <a:buClr>
                <a:srgbClr val="C00000"/>
              </a:buClr>
              <a:buFont typeface="Wingdings" panose="05000000000000000000" pitchFamily="2" charset="2"/>
              <a:buChar char="§"/>
            </a:pPr>
            <a:r>
              <a:rPr spc="-9" dirty="0">
                <a:cs typeface="Arial"/>
              </a:rPr>
              <a:t>Reduces warehouse stock</a:t>
            </a:r>
            <a:endParaRPr lang="en-US" spc="-9" dirty="0">
              <a:cs typeface="Arial"/>
            </a:endParaRPr>
          </a:p>
          <a:p>
            <a:pPr marL="812800" lvl="1" indent="-342900">
              <a:lnSpc>
                <a:spcPts val="2150"/>
              </a:lnSpc>
              <a:spcBef>
                <a:spcPts val="107"/>
              </a:spcBef>
              <a:buClr>
                <a:srgbClr val="C00000"/>
              </a:buClr>
              <a:buFont typeface="Wingdings" panose="05000000000000000000" pitchFamily="2" charset="2"/>
              <a:buChar char="§"/>
            </a:pPr>
            <a:r>
              <a:rPr lang="en-US" spc="-9" dirty="0">
                <a:cs typeface="Arial"/>
              </a:rPr>
              <a:t>Posts value changes in balance sheet accounts for inventory accounting</a:t>
            </a:r>
          </a:p>
          <a:p>
            <a:pPr marL="812800" marR="1779389" lvl="1" indent="-342900">
              <a:lnSpc>
                <a:spcPts val="2150"/>
              </a:lnSpc>
              <a:spcBef>
                <a:spcPts val="107"/>
              </a:spcBef>
              <a:buClr>
                <a:srgbClr val="C00000"/>
              </a:buClr>
              <a:buFont typeface="Wingdings" panose="05000000000000000000" pitchFamily="2" charset="2"/>
              <a:buChar char="§"/>
            </a:pPr>
            <a:r>
              <a:rPr lang="en-US" spc="-9" dirty="0">
                <a:cs typeface="Arial"/>
              </a:rPr>
              <a:t>Reduces delivery requirements in materials planning</a:t>
            </a:r>
          </a:p>
          <a:p>
            <a:pPr marL="812800" marR="1779389" lvl="1" indent="-342900">
              <a:lnSpc>
                <a:spcPts val="2150"/>
              </a:lnSpc>
              <a:spcBef>
                <a:spcPts val="107"/>
              </a:spcBef>
              <a:buClr>
                <a:srgbClr val="C00000"/>
              </a:buClr>
              <a:buFont typeface="Wingdings" panose="05000000000000000000" pitchFamily="2" charset="2"/>
              <a:buChar char="§"/>
            </a:pPr>
            <a:r>
              <a:rPr lang="en-US" spc="-9" dirty="0">
                <a:cs typeface="Arial"/>
              </a:rPr>
              <a:t>Updates document status in relevant sales documents</a:t>
            </a:r>
          </a:p>
          <a:p>
            <a:pPr marL="812800" marR="1779389" lvl="1" indent="-342900">
              <a:lnSpc>
                <a:spcPts val="2150"/>
              </a:lnSpc>
              <a:spcBef>
                <a:spcPts val="107"/>
              </a:spcBef>
              <a:buClr>
                <a:srgbClr val="C00000"/>
              </a:buClr>
              <a:buFont typeface="Wingdings" panose="05000000000000000000" pitchFamily="2" charset="2"/>
              <a:buChar char="§"/>
            </a:pPr>
            <a:r>
              <a:rPr lang="en-US" spc="-9" dirty="0">
                <a:cs typeface="Arial"/>
              </a:rPr>
              <a:t>Generates work list for billing (billing due list)</a:t>
            </a:r>
          </a:p>
          <a:p>
            <a:pPr marL="812800" lvl="1" indent="-342900">
              <a:lnSpc>
                <a:spcPts val="2150"/>
              </a:lnSpc>
              <a:spcBef>
                <a:spcPts val="107"/>
              </a:spcBef>
              <a:buClr>
                <a:srgbClr val="C00000"/>
              </a:buClr>
              <a:buFont typeface="Wingdings" panose="05000000000000000000" pitchFamily="2" charset="2"/>
              <a:buChar char="§"/>
            </a:pPr>
            <a:endParaRPr spc="-9" dirty="0">
              <a:latin typeface="Arial"/>
              <a:cs typeface="Arial"/>
            </a:endParaRPr>
          </a:p>
        </p:txBody>
      </p:sp>
      <p:sp>
        <p:nvSpPr>
          <p:cNvPr id="97" name="object 97"/>
          <p:cNvSpPr txBox="1"/>
          <p:nvPr/>
        </p:nvSpPr>
        <p:spPr>
          <a:xfrm>
            <a:off x="9240140" y="3460552"/>
            <a:ext cx="537921" cy="528319"/>
          </a:xfrm>
          <a:prstGeom prst="rect">
            <a:avLst/>
          </a:prstGeom>
        </p:spPr>
        <p:txBody>
          <a:bodyPr wrap="square" lIns="0" tIns="0" rIns="0" bIns="0" rtlCol="0">
            <a:noAutofit/>
          </a:bodyPr>
          <a:lstStyle/>
          <a:p>
            <a:pPr algn="ctr">
              <a:lnSpc>
                <a:spcPts val="1939"/>
              </a:lnSpc>
              <a:spcBef>
                <a:spcPts val="97"/>
              </a:spcBef>
            </a:pPr>
            <a:r>
              <a:rPr b="1" dirty="0">
                <a:latin typeface="Arial"/>
                <a:cs typeface="Arial"/>
              </a:rPr>
              <a:t>Stoc</a:t>
            </a:r>
            <a:endParaRPr>
              <a:latin typeface="Arial"/>
              <a:cs typeface="Arial"/>
            </a:endParaRPr>
          </a:p>
          <a:p>
            <a:pPr marL="167258" marR="183870" algn="ctr">
              <a:lnSpc>
                <a:spcPct val="95825"/>
              </a:lnSpc>
            </a:pPr>
            <a:r>
              <a:rPr b="1" dirty="0">
                <a:latin typeface="Arial"/>
                <a:cs typeface="Arial"/>
              </a:rPr>
              <a:t>k</a:t>
            </a:r>
            <a:endParaRPr>
              <a:latin typeface="Arial"/>
              <a:cs typeface="Arial"/>
            </a:endParaRPr>
          </a:p>
        </p:txBody>
      </p:sp>
      <p:sp>
        <p:nvSpPr>
          <p:cNvPr id="96" name="object 96"/>
          <p:cNvSpPr txBox="1"/>
          <p:nvPr/>
        </p:nvSpPr>
        <p:spPr>
          <a:xfrm>
            <a:off x="2480868" y="3467029"/>
            <a:ext cx="1564792" cy="528319"/>
          </a:xfrm>
          <a:prstGeom prst="rect">
            <a:avLst/>
          </a:prstGeom>
        </p:spPr>
        <p:txBody>
          <a:bodyPr wrap="square" lIns="0" tIns="0" rIns="0" bIns="0" rtlCol="0">
            <a:noAutofit/>
          </a:bodyPr>
          <a:lstStyle/>
          <a:p>
            <a:pPr marL="302844" marR="319633" algn="ctr">
              <a:lnSpc>
                <a:spcPts val="1939"/>
              </a:lnSpc>
              <a:spcBef>
                <a:spcPts val="97"/>
              </a:spcBef>
            </a:pPr>
            <a:r>
              <a:rPr b="1" dirty="0">
                <a:latin typeface="Arial"/>
                <a:cs typeface="Arial"/>
              </a:rPr>
              <a:t>D</a:t>
            </a:r>
            <a:r>
              <a:rPr b="1" spc="-9" dirty="0">
                <a:latin typeface="Arial"/>
                <a:cs typeface="Arial"/>
              </a:rPr>
              <a:t>e</a:t>
            </a:r>
            <a:r>
              <a:rPr b="1" dirty="0">
                <a:latin typeface="Arial"/>
                <a:cs typeface="Arial"/>
              </a:rPr>
              <a:t>l</a:t>
            </a:r>
            <a:r>
              <a:rPr b="1" spc="4" dirty="0">
                <a:latin typeface="Arial"/>
                <a:cs typeface="Arial"/>
              </a:rPr>
              <a:t>i</a:t>
            </a:r>
            <a:r>
              <a:rPr b="1" spc="-39" dirty="0">
                <a:latin typeface="Arial"/>
                <a:cs typeface="Arial"/>
              </a:rPr>
              <a:t>v</a:t>
            </a:r>
            <a:r>
              <a:rPr b="1" dirty="0">
                <a:latin typeface="Arial"/>
                <a:cs typeface="Arial"/>
              </a:rPr>
              <a:t>e</a:t>
            </a:r>
            <a:r>
              <a:rPr b="1" spc="-9" dirty="0">
                <a:latin typeface="Arial"/>
                <a:cs typeface="Arial"/>
              </a:rPr>
              <a:t>r</a:t>
            </a:r>
            <a:r>
              <a:rPr b="1" dirty="0">
                <a:latin typeface="Arial"/>
                <a:cs typeface="Arial"/>
              </a:rPr>
              <a:t>y</a:t>
            </a:r>
            <a:endParaRPr>
              <a:latin typeface="Arial"/>
              <a:cs typeface="Arial"/>
            </a:endParaRPr>
          </a:p>
          <a:p>
            <a:pPr algn="ctr">
              <a:lnSpc>
                <a:spcPct val="95825"/>
              </a:lnSpc>
            </a:pPr>
            <a:r>
              <a:rPr b="1" dirty="0">
                <a:latin typeface="Arial"/>
                <a:cs typeface="Arial"/>
              </a:rPr>
              <a:t>R</a:t>
            </a:r>
            <a:r>
              <a:rPr b="1" spc="-9" dirty="0">
                <a:latin typeface="Arial"/>
                <a:cs typeface="Arial"/>
              </a:rPr>
              <a:t>e</a:t>
            </a:r>
            <a:r>
              <a:rPr b="1" dirty="0">
                <a:latin typeface="Arial"/>
                <a:cs typeface="Arial"/>
              </a:rPr>
              <a:t>q</a:t>
            </a:r>
            <a:r>
              <a:rPr b="1" spc="4" dirty="0">
                <a:latin typeface="Arial"/>
                <a:cs typeface="Arial"/>
              </a:rPr>
              <a:t>u</a:t>
            </a:r>
            <a:r>
              <a:rPr b="1" dirty="0">
                <a:latin typeface="Arial"/>
                <a:cs typeface="Arial"/>
              </a:rPr>
              <a:t>ir</a:t>
            </a:r>
            <a:r>
              <a:rPr b="1" spc="-4" dirty="0">
                <a:latin typeface="Arial"/>
                <a:cs typeface="Arial"/>
              </a:rPr>
              <a:t>e</a:t>
            </a:r>
            <a:r>
              <a:rPr b="1" dirty="0">
                <a:latin typeface="Arial"/>
                <a:cs typeface="Arial"/>
              </a:rPr>
              <a:t>m</a:t>
            </a:r>
            <a:r>
              <a:rPr b="1" spc="-9" dirty="0">
                <a:latin typeface="Arial"/>
                <a:cs typeface="Arial"/>
              </a:rPr>
              <a:t>e</a:t>
            </a:r>
            <a:r>
              <a:rPr b="1" dirty="0">
                <a:latin typeface="Arial"/>
                <a:cs typeface="Arial"/>
              </a:rPr>
              <a:t>nts</a:t>
            </a:r>
            <a:endParaRPr>
              <a:latin typeface="Arial"/>
              <a:cs typeface="Arial"/>
            </a:endParaRPr>
          </a:p>
        </p:txBody>
      </p:sp>
      <p:sp>
        <p:nvSpPr>
          <p:cNvPr id="95" name="object 95"/>
          <p:cNvSpPr txBox="1"/>
          <p:nvPr/>
        </p:nvSpPr>
        <p:spPr>
          <a:xfrm>
            <a:off x="8362950" y="5576802"/>
            <a:ext cx="974090" cy="254000"/>
          </a:xfrm>
          <a:prstGeom prst="rect">
            <a:avLst/>
          </a:prstGeom>
        </p:spPr>
        <p:txBody>
          <a:bodyPr wrap="square" lIns="0" tIns="0" rIns="0" bIns="0" rtlCol="0">
            <a:noAutofit/>
          </a:bodyPr>
          <a:lstStyle/>
          <a:p>
            <a:pPr marL="12700">
              <a:lnSpc>
                <a:spcPts val="1939"/>
              </a:lnSpc>
              <a:spcBef>
                <a:spcPts val="97"/>
              </a:spcBef>
            </a:pPr>
            <a:r>
              <a:rPr b="1" dirty="0">
                <a:solidFill>
                  <a:srgbClr val="FFFFFF"/>
                </a:solidFill>
                <a:latin typeface="Arial"/>
                <a:cs typeface="Arial"/>
              </a:rPr>
              <a:t>Updated</a:t>
            </a:r>
            <a:endParaRPr>
              <a:latin typeface="Arial"/>
              <a:cs typeface="Arial"/>
            </a:endParaRPr>
          </a:p>
        </p:txBody>
      </p:sp>
      <p:sp>
        <p:nvSpPr>
          <p:cNvPr id="93" name="object 93"/>
          <p:cNvSpPr txBox="1"/>
          <p:nvPr/>
        </p:nvSpPr>
        <p:spPr>
          <a:xfrm>
            <a:off x="4781550" y="5548313"/>
            <a:ext cx="2330246" cy="1004887"/>
          </a:xfrm>
          <a:prstGeom prst="rect">
            <a:avLst/>
          </a:prstGeom>
        </p:spPr>
        <p:txBody>
          <a:bodyPr wrap="square" lIns="0" tIns="0" rIns="0" bIns="0" rtlCol="0">
            <a:noAutofit/>
          </a:bodyPr>
          <a:lstStyle/>
          <a:p>
            <a:pPr marR="18846">
              <a:lnSpc>
                <a:spcPts val="650"/>
              </a:lnSpc>
              <a:spcBef>
                <a:spcPts val="27"/>
              </a:spcBef>
            </a:pPr>
            <a:endParaRPr sz="650"/>
          </a:p>
          <a:p>
            <a:pPr marL="245237" marR="18846">
              <a:lnSpc>
                <a:spcPct val="95825"/>
              </a:lnSpc>
            </a:pPr>
            <a:r>
              <a:rPr sz="2000" b="1" dirty="0">
                <a:solidFill>
                  <a:srgbClr val="808080"/>
                </a:solidFill>
                <a:latin typeface="Arial"/>
                <a:cs typeface="Arial"/>
              </a:rPr>
              <a:t>B</a:t>
            </a:r>
            <a:r>
              <a:rPr sz="2000" b="1" spc="4" dirty="0">
                <a:solidFill>
                  <a:srgbClr val="808080"/>
                </a:solidFill>
                <a:latin typeface="Arial"/>
                <a:cs typeface="Arial"/>
              </a:rPr>
              <a:t>a</a:t>
            </a:r>
            <a:r>
              <a:rPr sz="2000" b="1" dirty="0">
                <a:solidFill>
                  <a:srgbClr val="808080"/>
                </a:solidFill>
                <a:latin typeface="Arial"/>
                <a:cs typeface="Arial"/>
              </a:rPr>
              <a:t>lance</a:t>
            </a:r>
            <a:r>
              <a:rPr sz="2000" b="1" spc="-39" dirty="0">
                <a:solidFill>
                  <a:srgbClr val="808080"/>
                </a:solidFill>
                <a:latin typeface="Arial"/>
                <a:cs typeface="Arial"/>
              </a:rPr>
              <a:t> </a:t>
            </a:r>
            <a:r>
              <a:rPr sz="2000" b="1" dirty="0">
                <a:solidFill>
                  <a:srgbClr val="808080"/>
                </a:solidFill>
                <a:latin typeface="Arial"/>
                <a:cs typeface="Arial"/>
              </a:rPr>
              <a:t>Sheet</a:t>
            </a:r>
            <a:endParaRPr sz="2000">
              <a:latin typeface="Arial"/>
              <a:cs typeface="Arial"/>
            </a:endParaRPr>
          </a:p>
          <a:p>
            <a:pPr marL="216535">
              <a:lnSpc>
                <a:spcPct val="95825"/>
              </a:lnSpc>
              <a:spcBef>
                <a:spcPts val="160"/>
              </a:spcBef>
            </a:pPr>
            <a:r>
              <a:rPr sz="2000" b="1" spc="-4" dirty="0">
                <a:solidFill>
                  <a:srgbClr val="808080"/>
                </a:solidFill>
                <a:latin typeface="Arial"/>
                <a:cs typeface="Arial"/>
              </a:rPr>
              <a:t>X</a:t>
            </a:r>
            <a:r>
              <a:rPr sz="2000" b="1" dirty="0">
                <a:solidFill>
                  <a:srgbClr val="808080"/>
                </a:solidFill>
                <a:latin typeface="Arial"/>
                <a:cs typeface="Arial"/>
              </a:rPr>
              <a:t>X                  </a:t>
            </a:r>
            <a:r>
              <a:rPr sz="2000" b="1" spc="383" dirty="0">
                <a:solidFill>
                  <a:srgbClr val="808080"/>
                </a:solidFill>
                <a:latin typeface="Arial"/>
                <a:cs typeface="Arial"/>
              </a:rPr>
              <a:t> </a:t>
            </a:r>
            <a:r>
              <a:rPr sz="2000" b="1" spc="-4" dirty="0">
                <a:solidFill>
                  <a:srgbClr val="808080"/>
                </a:solidFill>
                <a:latin typeface="Arial"/>
                <a:cs typeface="Arial"/>
              </a:rPr>
              <a:t>XX</a:t>
            </a:r>
            <a:endParaRPr sz="2000">
              <a:latin typeface="Arial"/>
              <a:cs typeface="Arial"/>
            </a:endParaRPr>
          </a:p>
        </p:txBody>
      </p:sp>
      <p:sp>
        <p:nvSpPr>
          <p:cNvPr id="92" name="object 92"/>
          <p:cNvSpPr txBox="1"/>
          <p:nvPr/>
        </p:nvSpPr>
        <p:spPr>
          <a:xfrm>
            <a:off x="2691664" y="4940300"/>
            <a:ext cx="1088643" cy="502284"/>
          </a:xfrm>
          <a:prstGeom prst="rect">
            <a:avLst/>
          </a:prstGeom>
        </p:spPr>
        <p:txBody>
          <a:bodyPr wrap="square" lIns="0" tIns="0" rIns="0" bIns="0" rtlCol="0">
            <a:noAutofit/>
          </a:bodyPr>
          <a:lstStyle/>
          <a:p>
            <a:pPr marL="218797" marR="189971" algn="ctr">
              <a:lnSpc>
                <a:spcPct val="95825"/>
              </a:lnSpc>
              <a:spcBef>
                <a:spcPts val="484"/>
              </a:spcBef>
            </a:pPr>
            <a:r>
              <a:rPr sz="1600" b="1" dirty="0">
                <a:latin typeface="Arial"/>
                <a:cs typeface="Arial"/>
              </a:rPr>
              <a:t>Billing</a:t>
            </a:r>
            <a:endParaRPr sz="1600">
              <a:latin typeface="Arial"/>
              <a:cs typeface="Arial"/>
            </a:endParaRPr>
          </a:p>
          <a:p>
            <a:pPr marL="131203" marR="102827" algn="ctr">
              <a:lnSpc>
                <a:spcPts val="1545"/>
              </a:lnSpc>
              <a:spcBef>
                <a:spcPts val="157"/>
              </a:spcBef>
            </a:pPr>
            <a:r>
              <a:rPr sz="2400" b="1" baseline="-9058" dirty="0">
                <a:latin typeface="Arial"/>
                <a:cs typeface="Arial"/>
              </a:rPr>
              <a:t>Due</a:t>
            </a:r>
            <a:r>
              <a:rPr sz="2400" b="1" spc="-30" baseline="-9058" dirty="0">
                <a:latin typeface="Arial"/>
                <a:cs typeface="Arial"/>
              </a:rPr>
              <a:t> </a:t>
            </a:r>
            <a:r>
              <a:rPr sz="2400" b="1" spc="-4" baseline="-9058" dirty="0">
                <a:latin typeface="Arial"/>
                <a:cs typeface="Arial"/>
              </a:rPr>
              <a:t>L</a:t>
            </a:r>
            <a:r>
              <a:rPr sz="2400" b="1" baseline="-9058" dirty="0">
                <a:latin typeface="Arial"/>
                <a:cs typeface="Arial"/>
              </a:rPr>
              <a:t>ist</a:t>
            </a:r>
            <a:endParaRPr sz="1600">
              <a:latin typeface="Arial"/>
              <a:cs typeface="Arial"/>
            </a:endParaRPr>
          </a:p>
        </p:txBody>
      </p:sp>
      <p:sp>
        <p:nvSpPr>
          <p:cNvPr id="91" name="object 91"/>
          <p:cNvSpPr txBox="1"/>
          <p:nvPr/>
        </p:nvSpPr>
        <p:spPr>
          <a:xfrm>
            <a:off x="2691664" y="5442585"/>
            <a:ext cx="1088643" cy="942340"/>
          </a:xfrm>
          <a:prstGeom prst="rect">
            <a:avLst/>
          </a:prstGeom>
        </p:spPr>
        <p:txBody>
          <a:bodyPr wrap="square" lIns="0" tIns="0" rIns="0" bIns="0" rtlCol="0">
            <a:noAutofit/>
          </a:bodyPr>
          <a:lstStyle/>
          <a:p>
            <a:pPr marL="25400">
              <a:lnSpc>
                <a:spcPts val="1000"/>
              </a:lnSpc>
            </a:pPr>
            <a:endParaRPr sz="1000"/>
          </a:p>
        </p:txBody>
      </p:sp>
      <p:sp>
        <p:nvSpPr>
          <p:cNvPr id="90" name="object 90"/>
          <p:cNvSpPr txBox="1"/>
          <p:nvPr/>
        </p:nvSpPr>
        <p:spPr>
          <a:xfrm>
            <a:off x="7837297" y="4651426"/>
            <a:ext cx="871474" cy="218579"/>
          </a:xfrm>
          <a:prstGeom prst="rect">
            <a:avLst/>
          </a:prstGeom>
        </p:spPr>
        <p:txBody>
          <a:bodyPr wrap="square" lIns="0" tIns="0" rIns="0" bIns="0" rtlCol="0">
            <a:noAutofit/>
          </a:bodyPr>
          <a:lstStyle/>
          <a:p>
            <a:pPr marL="25400">
              <a:lnSpc>
                <a:spcPts val="1000"/>
              </a:lnSpc>
            </a:pPr>
            <a:endParaRPr sz="1000"/>
          </a:p>
        </p:txBody>
      </p:sp>
      <p:sp>
        <p:nvSpPr>
          <p:cNvPr id="89" name="object 89"/>
          <p:cNvSpPr txBox="1"/>
          <p:nvPr/>
        </p:nvSpPr>
        <p:spPr>
          <a:xfrm>
            <a:off x="8708771" y="4651426"/>
            <a:ext cx="1040980" cy="218579"/>
          </a:xfrm>
          <a:prstGeom prst="rect">
            <a:avLst/>
          </a:prstGeom>
        </p:spPr>
        <p:txBody>
          <a:bodyPr wrap="square" lIns="0" tIns="0" rIns="0" bIns="0" rtlCol="0">
            <a:noAutofit/>
          </a:bodyPr>
          <a:lstStyle/>
          <a:p>
            <a:pPr marL="25400">
              <a:lnSpc>
                <a:spcPts val="1000"/>
              </a:lnSpc>
            </a:pPr>
            <a:endParaRPr sz="1000"/>
          </a:p>
        </p:txBody>
      </p:sp>
      <p:sp>
        <p:nvSpPr>
          <p:cNvPr id="88" name="object 88"/>
          <p:cNvSpPr txBox="1"/>
          <p:nvPr/>
        </p:nvSpPr>
        <p:spPr>
          <a:xfrm>
            <a:off x="7837297" y="4870005"/>
            <a:ext cx="871474" cy="152654"/>
          </a:xfrm>
          <a:prstGeom prst="rect">
            <a:avLst/>
          </a:prstGeom>
        </p:spPr>
        <p:txBody>
          <a:bodyPr wrap="square" lIns="0" tIns="0" rIns="0" bIns="0" rtlCol="0">
            <a:noAutofit/>
          </a:bodyPr>
          <a:lstStyle/>
          <a:p>
            <a:pPr marL="25400">
              <a:lnSpc>
                <a:spcPts val="1000"/>
              </a:lnSpc>
            </a:pPr>
            <a:endParaRPr sz="1000"/>
          </a:p>
        </p:txBody>
      </p:sp>
      <p:sp>
        <p:nvSpPr>
          <p:cNvPr id="87" name="object 87"/>
          <p:cNvSpPr txBox="1"/>
          <p:nvPr/>
        </p:nvSpPr>
        <p:spPr>
          <a:xfrm>
            <a:off x="8708771" y="4870005"/>
            <a:ext cx="169506" cy="152654"/>
          </a:xfrm>
          <a:prstGeom prst="rect">
            <a:avLst/>
          </a:prstGeom>
        </p:spPr>
        <p:txBody>
          <a:bodyPr wrap="square" lIns="0" tIns="0" rIns="0" bIns="0" rtlCol="0">
            <a:noAutofit/>
          </a:bodyPr>
          <a:lstStyle/>
          <a:p>
            <a:pPr marL="25400">
              <a:lnSpc>
                <a:spcPts val="1000"/>
              </a:lnSpc>
            </a:pPr>
            <a:endParaRPr sz="1000"/>
          </a:p>
        </p:txBody>
      </p:sp>
      <p:sp>
        <p:nvSpPr>
          <p:cNvPr id="86" name="object 86"/>
          <p:cNvSpPr txBox="1"/>
          <p:nvPr/>
        </p:nvSpPr>
        <p:spPr>
          <a:xfrm>
            <a:off x="8878277" y="4870005"/>
            <a:ext cx="871474" cy="152654"/>
          </a:xfrm>
          <a:prstGeom prst="rect">
            <a:avLst/>
          </a:prstGeom>
        </p:spPr>
        <p:txBody>
          <a:bodyPr wrap="square" lIns="0" tIns="0" rIns="0" bIns="0" rtlCol="0">
            <a:noAutofit/>
          </a:bodyPr>
          <a:lstStyle/>
          <a:p>
            <a:pPr marL="25400">
              <a:lnSpc>
                <a:spcPts val="1000"/>
              </a:lnSpc>
            </a:pPr>
            <a:endParaRPr sz="1000"/>
          </a:p>
        </p:txBody>
      </p:sp>
      <p:sp>
        <p:nvSpPr>
          <p:cNvPr id="85" name="object 85"/>
          <p:cNvSpPr txBox="1"/>
          <p:nvPr/>
        </p:nvSpPr>
        <p:spPr>
          <a:xfrm>
            <a:off x="7837297" y="5022660"/>
            <a:ext cx="653542" cy="219265"/>
          </a:xfrm>
          <a:prstGeom prst="rect">
            <a:avLst/>
          </a:prstGeom>
        </p:spPr>
        <p:txBody>
          <a:bodyPr wrap="square" lIns="0" tIns="0" rIns="0" bIns="0" rtlCol="0">
            <a:noAutofit/>
          </a:bodyPr>
          <a:lstStyle/>
          <a:p>
            <a:pPr marL="25400">
              <a:lnSpc>
                <a:spcPts val="1000"/>
              </a:lnSpc>
            </a:pPr>
            <a:endParaRPr sz="1000"/>
          </a:p>
        </p:txBody>
      </p:sp>
      <p:sp>
        <p:nvSpPr>
          <p:cNvPr id="84" name="object 84"/>
          <p:cNvSpPr txBox="1"/>
          <p:nvPr/>
        </p:nvSpPr>
        <p:spPr>
          <a:xfrm>
            <a:off x="8490840" y="5022660"/>
            <a:ext cx="217931" cy="219265"/>
          </a:xfrm>
          <a:prstGeom prst="rect">
            <a:avLst/>
          </a:prstGeom>
        </p:spPr>
        <p:txBody>
          <a:bodyPr wrap="square" lIns="0" tIns="0" rIns="0" bIns="0" rtlCol="0">
            <a:noAutofit/>
          </a:bodyPr>
          <a:lstStyle/>
          <a:p>
            <a:pPr marL="25400">
              <a:lnSpc>
                <a:spcPts val="1000"/>
              </a:lnSpc>
            </a:pPr>
            <a:endParaRPr sz="1000"/>
          </a:p>
        </p:txBody>
      </p:sp>
      <p:sp>
        <p:nvSpPr>
          <p:cNvPr id="83" name="object 83"/>
          <p:cNvSpPr txBox="1"/>
          <p:nvPr/>
        </p:nvSpPr>
        <p:spPr>
          <a:xfrm>
            <a:off x="8708771" y="5022660"/>
            <a:ext cx="169506" cy="219265"/>
          </a:xfrm>
          <a:prstGeom prst="rect">
            <a:avLst/>
          </a:prstGeom>
        </p:spPr>
        <p:txBody>
          <a:bodyPr wrap="square" lIns="0" tIns="0" rIns="0" bIns="0" rtlCol="0">
            <a:noAutofit/>
          </a:bodyPr>
          <a:lstStyle/>
          <a:p>
            <a:pPr marL="25400">
              <a:lnSpc>
                <a:spcPts val="1000"/>
              </a:lnSpc>
            </a:pPr>
            <a:endParaRPr sz="1000"/>
          </a:p>
        </p:txBody>
      </p:sp>
      <p:sp>
        <p:nvSpPr>
          <p:cNvPr id="82" name="object 82"/>
          <p:cNvSpPr txBox="1"/>
          <p:nvPr/>
        </p:nvSpPr>
        <p:spPr>
          <a:xfrm>
            <a:off x="8878277" y="5022659"/>
            <a:ext cx="653542" cy="349122"/>
          </a:xfrm>
          <a:prstGeom prst="rect">
            <a:avLst/>
          </a:prstGeom>
        </p:spPr>
        <p:txBody>
          <a:bodyPr wrap="square" lIns="0" tIns="0" rIns="0" bIns="0" rtlCol="0">
            <a:noAutofit/>
          </a:bodyPr>
          <a:lstStyle/>
          <a:p>
            <a:pPr marL="25400">
              <a:lnSpc>
                <a:spcPts val="1000"/>
              </a:lnSpc>
            </a:pPr>
            <a:endParaRPr sz="1000"/>
          </a:p>
        </p:txBody>
      </p:sp>
      <p:sp>
        <p:nvSpPr>
          <p:cNvPr id="81" name="object 81"/>
          <p:cNvSpPr txBox="1"/>
          <p:nvPr/>
        </p:nvSpPr>
        <p:spPr>
          <a:xfrm>
            <a:off x="9531820" y="5022659"/>
            <a:ext cx="217931" cy="220662"/>
          </a:xfrm>
          <a:prstGeom prst="rect">
            <a:avLst/>
          </a:prstGeom>
        </p:spPr>
        <p:txBody>
          <a:bodyPr wrap="square" lIns="0" tIns="0" rIns="0" bIns="0" rtlCol="0">
            <a:noAutofit/>
          </a:bodyPr>
          <a:lstStyle/>
          <a:p>
            <a:pPr marL="25400">
              <a:lnSpc>
                <a:spcPts val="1000"/>
              </a:lnSpc>
            </a:pPr>
            <a:endParaRPr sz="1000"/>
          </a:p>
        </p:txBody>
      </p:sp>
      <p:sp>
        <p:nvSpPr>
          <p:cNvPr id="80" name="object 80"/>
          <p:cNvSpPr txBox="1"/>
          <p:nvPr/>
        </p:nvSpPr>
        <p:spPr>
          <a:xfrm>
            <a:off x="9531820" y="5243322"/>
            <a:ext cx="217931" cy="516178"/>
          </a:xfrm>
          <a:prstGeom prst="rect">
            <a:avLst/>
          </a:prstGeom>
        </p:spPr>
        <p:txBody>
          <a:bodyPr wrap="square" lIns="0" tIns="0" rIns="0" bIns="0" rtlCol="0">
            <a:noAutofit/>
          </a:bodyPr>
          <a:lstStyle/>
          <a:p>
            <a:pPr>
              <a:lnSpc>
                <a:spcPts val="1000"/>
              </a:lnSpc>
            </a:pPr>
            <a:endParaRPr sz="1000"/>
          </a:p>
          <a:p>
            <a:pPr marL="62141">
              <a:lnSpc>
                <a:spcPts val="1570"/>
              </a:lnSpc>
              <a:spcBef>
                <a:spcPts val="1496"/>
              </a:spcBef>
            </a:pPr>
            <a:r>
              <a:rPr sz="2700" b="1" u="sng" baseline="-14493" dirty="0">
                <a:solidFill>
                  <a:srgbClr val="FFFFFF"/>
                </a:solidFill>
                <a:latin typeface="Arial"/>
                <a:cs typeface="Arial"/>
              </a:rPr>
              <a:t> </a:t>
            </a:r>
            <a:r>
              <a:rPr sz="2700" b="1" u="sng" spc="-104" baseline="-14493" dirty="0">
                <a:solidFill>
                  <a:srgbClr val="FFFFFF"/>
                </a:solidFill>
                <a:latin typeface="Arial"/>
                <a:cs typeface="Arial"/>
              </a:rPr>
              <a:t> </a:t>
            </a:r>
            <a:endParaRPr>
              <a:latin typeface="Arial"/>
              <a:cs typeface="Arial"/>
            </a:endParaRPr>
          </a:p>
        </p:txBody>
      </p:sp>
      <p:sp>
        <p:nvSpPr>
          <p:cNvPr id="79" name="object 79"/>
          <p:cNvSpPr txBox="1"/>
          <p:nvPr/>
        </p:nvSpPr>
        <p:spPr>
          <a:xfrm>
            <a:off x="7837298" y="5241925"/>
            <a:ext cx="311657" cy="220090"/>
          </a:xfrm>
          <a:prstGeom prst="rect">
            <a:avLst/>
          </a:prstGeom>
        </p:spPr>
        <p:txBody>
          <a:bodyPr wrap="square" lIns="0" tIns="0" rIns="0" bIns="0" rtlCol="0">
            <a:noAutofit/>
          </a:bodyPr>
          <a:lstStyle/>
          <a:p>
            <a:pPr marL="25400">
              <a:lnSpc>
                <a:spcPts val="1000"/>
              </a:lnSpc>
            </a:pPr>
            <a:endParaRPr sz="1000"/>
          </a:p>
        </p:txBody>
      </p:sp>
      <p:sp>
        <p:nvSpPr>
          <p:cNvPr id="78" name="object 78"/>
          <p:cNvSpPr txBox="1"/>
          <p:nvPr/>
        </p:nvSpPr>
        <p:spPr>
          <a:xfrm>
            <a:off x="8148955" y="5241926"/>
            <a:ext cx="341884" cy="129857"/>
          </a:xfrm>
          <a:prstGeom prst="rect">
            <a:avLst/>
          </a:prstGeom>
        </p:spPr>
        <p:txBody>
          <a:bodyPr wrap="square" lIns="0" tIns="0" rIns="0" bIns="0" rtlCol="0">
            <a:noAutofit/>
          </a:bodyPr>
          <a:lstStyle/>
          <a:p>
            <a:pPr marL="25400">
              <a:lnSpc>
                <a:spcPts val="1000"/>
              </a:lnSpc>
            </a:pPr>
            <a:endParaRPr sz="1000"/>
          </a:p>
        </p:txBody>
      </p:sp>
      <p:sp>
        <p:nvSpPr>
          <p:cNvPr id="77" name="object 77"/>
          <p:cNvSpPr txBox="1"/>
          <p:nvPr/>
        </p:nvSpPr>
        <p:spPr>
          <a:xfrm>
            <a:off x="8490840" y="5241926"/>
            <a:ext cx="217931" cy="129857"/>
          </a:xfrm>
          <a:prstGeom prst="rect">
            <a:avLst/>
          </a:prstGeom>
        </p:spPr>
        <p:txBody>
          <a:bodyPr wrap="square" lIns="0" tIns="0" rIns="0" bIns="0" rtlCol="0">
            <a:noAutofit/>
          </a:bodyPr>
          <a:lstStyle/>
          <a:p>
            <a:pPr marL="25400">
              <a:lnSpc>
                <a:spcPts val="1000"/>
              </a:lnSpc>
            </a:pPr>
            <a:endParaRPr sz="1000"/>
          </a:p>
        </p:txBody>
      </p:sp>
      <p:sp>
        <p:nvSpPr>
          <p:cNvPr id="76" name="object 76"/>
          <p:cNvSpPr txBox="1"/>
          <p:nvPr/>
        </p:nvSpPr>
        <p:spPr>
          <a:xfrm>
            <a:off x="8708771" y="5241926"/>
            <a:ext cx="169506" cy="129857"/>
          </a:xfrm>
          <a:prstGeom prst="rect">
            <a:avLst/>
          </a:prstGeom>
        </p:spPr>
        <p:txBody>
          <a:bodyPr wrap="square" lIns="0" tIns="0" rIns="0" bIns="0" rtlCol="0">
            <a:noAutofit/>
          </a:bodyPr>
          <a:lstStyle/>
          <a:p>
            <a:pPr marL="25400">
              <a:lnSpc>
                <a:spcPts val="1000"/>
              </a:lnSpc>
            </a:pPr>
            <a:endParaRPr sz="1000"/>
          </a:p>
        </p:txBody>
      </p:sp>
      <p:sp>
        <p:nvSpPr>
          <p:cNvPr id="75" name="object 75"/>
          <p:cNvSpPr txBox="1"/>
          <p:nvPr/>
        </p:nvSpPr>
        <p:spPr>
          <a:xfrm>
            <a:off x="8148955" y="5371783"/>
            <a:ext cx="341884" cy="90233"/>
          </a:xfrm>
          <a:prstGeom prst="rect">
            <a:avLst/>
          </a:prstGeom>
        </p:spPr>
        <p:txBody>
          <a:bodyPr wrap="square" lIns="0" tIns="0" rIns="0" bIns="0" rtlCol="0">
            <a:noAutofit/>
          </a:bodyPr>
          <a:lstStyle/>
          <a:p>
            <a:pPr marL="25400">
              <a:lnSpc>
                <a:spcPts val="700"/>
              </a:lnSpc>
              <a:spcBef>
                <a:spcPts val="10"/>
              </a:spcBef>
            </a:pPr>
            <a:endParaRPr sz="700"/>
          </a:p>
        </p:txBody>
      </p:sp>
      <p:sp>
        <p:nvSpPr>
          <p:cNvPr id="74" name="object 74"/>
          <p:cNvSpPr txBox="1"/>
          <p:nvPr/>
        </p:nvSpPr>
        <p:spPr>
          <a:xfrm>
            <a:off x="8490840" y="5371783"/>
            <a:ext cx="217931" cy="90233"/>
          </a:xfrm>
          <a:prstGeom prst="rect">
            <a:avLst/>
          </a:prstGeom>
        </p:spPr>
        <p:txBody>
          <a:bodyPr wrap="square" lIns="0" tIns="0" rIns="0" bIns="0" rtlCol="0">
            <a:noAutofit/>
          </a:bodyPr>
          <a:lstStyle/>
          <a:p>
            <a:pPr marL="25400">
              <a:lnSpc>
                <a:spcPts val="700"/>
              </a:lnSpc>
              <a:spcBef>
                <a:spcPts val="10"/>
              </a:spcBef>
            </a:pPr>
            <a:endParaRPr sz="700"/>
          </a:p>
        </p:txBody>
      </p:sp>
      <p:sp>
        <p:nvSpPr>
          <p:cNvPr id="73" name="object 73"/>
          <p:cNvSpPr txBox="1"/>
          <p:nvPr/>
        </p:nvSpPr>
        <p:spPr>
          <a:xfrm>
            <a:off x="8708771" y="5371783"/>
            <a:ext cx="169506" cy="90233"/>
          </a:xfrm>
          <a:prstGeom prst="rect">
            <a:avLst/>
          </a:prstGeom>
        </p:spPr>
        <p:txBody>
          <a:bodyPr wrap="square" lIns="0" tIns="0" rIns="0" bIns="0" rtlCol="0">
            <a:noAutofit/>
          </a:bodyPr>
          <a:lstStyle/>
          <a:p>
            <a:pPr marL="25400">
              <a:lnSpc>
                <a:spcPts val="700"/>
              </a:lnSpc>
              <a:spcBef>
                <a:spcPts val="10"/>
              </a:spcBef>
            </a:pPr>
            <a:endParaRPr sz="700"/>
          </a:p>
        </p:txBody>
      </p:sp>
      <p:sp>
        <p:nvSpPr>
          <p:cNvPr id="72" name="object 72"/>
          <p:cNvSpPr txBox="1"/>
          <p:nvPr/>
        </p:nvSpPr>
        <p:spPr>
          <a:xfrm>
            <a:off x="8878277" y="5371783"/>
            <a:ext cx="414566" cy="90233"/>
          </a:xfrm>
          <a:prstGeom prst="rect">
            <a:avLst/>
          </a:prstGeom>
        </p:spPr>
        <p:txBody>
          <a:bodyPr wrap="square" lIns="0" tIns="0" rIns="0" bIns="0" rtlCol="0">
            <a:noAutofit/>
          </a:bodyPr>
          <a:lstStyle/>
          <a:p>
            <a:pPr marL="25400">
              <a:lnSpc>
                <a:spcPts val="700"/>
              </a:lnSpc>
              <a:spcBef>
                <a:spcPts val="10"/>
              </a:spcBef>
            </a:pPr>
            <a:endParaRPr sz="700"/>
          </a:p>
        </p:txBody>
      </p:sp>
      <p:sp>
        <p:nvSpPr>
          <p:cNvPr id="71" name="object 71"/>
          <p:cNvSpPr txBox="1"/>
          <p:nvPr/>
        </p:nvSpPr>
        <p:spPr>
          <a:xfrm>
            <a:off x="9292845" y="5371782"/>
            <a:ext cx="238975" cy="223780"/>
          </a:xfrm>
          <a:prstGeom prst="rect">
            <a:avLst/>
          </a:prstGeom>
        </p:spPr>
        <p:txBody>
          <a:bodyPr wrap="square" lIns="0" tIns="0" rIns="0" bIns="0" rtlCol="0">
            <a:noAutofit/>
          </a:bodyPr>
          <a:lstStyle/>
          <a:p>
            <a:pPr marL="25400">
              <a:lnSpc>
                <a:spcPts val="1000"/>
              </a:lnSpc>
            </a:pPr>
            <a:endParaRPr sz="1000"/>
          </a:p>
        </p:txBody>
      </p:sp>
      <p:sp>
        <p:nvSpPr>
          <p:cNvPr id="70" name="object 70"/>
          <p:cNvSpPr txBox="1"/>
          <p:nvPr/>
        </p:nvSpPr>
        <p:spPr>
          <a:xfrm>
            <a:off x="7837298" y="5462017"/>
            <a:ext cx="311657" cy="502405"/>
          </a:xfrm>
          <a:prstGeom prst="rect">
            <a:avLst/>
          </a:prstGeom>
        </p:spPr>
        <p:txBody>
          <a:bodyPr wrap="square" lIns="0" tIns="0" rIns="0" bIns="0" rtlCol="0">
            <a:noAutofit/>
          </a:bodyPr>
          <a:lstStyle/>
          <a:p>
            <a:pPr marL="25400">
              <a:lnSpc>
                <a:spcPts val="1000"/>
              </a:lnSpc>
            </a:pPr>
            <a:endParaRPr sz="1000"/>
          </a:p>
        </p:txBody>
      </p:sp>
      <p:sp>
        <p:nvSpPr>
          <p:cNvPr id="69" name="object 69"/>
          <p:cNvSpPr txBox="1"/>
          <p:nvPr/>
        </p:nvSpPr>
        <p:spPr>
          <a:xfrm>
            <a:off x="8148955" y="5462016"/>
            <a:ext cx="341884" cy="133546"/>
          </a:xfrm>
          <a:prstGeom prst="rect">
            <a:avLst/>
          </a:prstGeom>
        </p:spPr>
        <p:txBody>
          <a:bodyPr wrap="square" lIns="0" tIns="0" rIns="0" bIns="0" rtlCol="0">
            <a:noAutofit/>
          </a:bodyPr>
          <a:lstStyle/>
          <a:p>
            <a:pPr marL="25400">
              <a:lnSpc>
                <a:spcPts val="1000"/>
              </a:lnSpc>
            </a:pPr>
            <a:endParaRPr sz="1000"/>
          </a:p>
        </p:txBody>
      </p:sp>
      <p:sp>
        <p:nvSpPr>
          <p:cNvPr id="68" name="object 68"/>
          <p:cNvSpPr txBox="1"/>
          <p:nvPr/>
        </p:nvSpPr>
        <p:spPr>
          <a:xfrm>
            <a:off x="8490840" y="5462016"/>
            <a:ext cx="217931" cy="133546"/>
          </a:xfrm>
          <a:prstGeom prst="rect">
            <a:avLst/>
          </a:prstGeom>
        </p:spPr>
        <p:txBody>
          <a:bodyPr wrap="square" lIns="0" tIns="0" rIns="0" bIns="0" rtlCol="0">
            <a:noAutofit/>
          </a:bodyPr>
          <a:lstStyle/>
          <a:p>
            <a:pPr marL="25400">
              <a:lnSpc>
                <a:spcPts val="1000"/>
              </a:lnSpc>
            </a:pPr>
            <a:endParaRPr sz="1000"/>
          </a:p>
        </p:txBody>
      </p:sp>
      <p:sp>
        <p:nvSpPr>
          <p:cNvPr id="67" name="object 67"/>
          <p:cNvSpPr txBox="1"/>
          <p:nvPr/>
        </p:nvSpPr>
        <p:spPr>
          <a:xfrm>
            <a:off x="8708771" y="5462016"/>
            <a:ext cx="169506" cy="133546"/>
          </a:xfrm>
          <a:prstGeom prst="rect">
            <a:avLst/>
          </a:prstGeom>
        </p:spPr>
        <p:txBody>
          <a:bodyPr wrap="square" lIns="0" tIns="0" rIns="0" bIns="0" rtlCol="0">
            <a:noAutofit/>
          </a:bodyPr>
          <a:lstStyle/>
          <a:p>
            <a:pPr marL="25400">
              <a:lnSpc>
                <a:spcPts val="1000"/>
              </a:lnSpc>
            </a:pPr>
            <a:endParaRPr sz="1000"/>
          </a:p>
        </p:txBody>
      </p:sp>
      <p:sp>
        <p:nvSpPr>
          <p:cNvPr id="66" name="object 66"/>
          <p:cNvSpPr txBox="1"/>
          <p:nvPr/>
        </p:nvSpPr>
        <p:spPr>
          <a:xfrm>
            <a:off x="8878277" y="5462016"/>
            <a:ext cx="414566" cy="133546"/>
          </a:xfrm>
          <a:prstGeom prst="rect">
            <a:avLst/>
          </a:prstGeom>
        </p:spPr>
        <p:txBody>
          <a:bodyPr wrap="square" lIns="0" tIns="0" rIns="0" bIns="0" rtlCol="0">
            <a:noAutofit/>
          </a:bodyPr>
          <a:lstStyle/>
          <a:p>
            <a:pPr marL="25400">
              <a:lnSpc>
                <a:spcPts val="1000"/>
              </a:lnSpc>
            </a:pPr>
            <a:endParaRPr sz="1000"/>
          </a:p>
        </p:txBody>
      </p:sp>
      <p:sp>
        <p:nvSpPr>
          <p:cNvPr id="65" name="object 65"/>
          <p:cNvSpPr txBox="1"/>
          <p:nvPr/>
        </p:nvSpPr>
        <p:spPr>
          <a:xfrm>
            <a:off x="8148955" y="5595562"/>
            <a:ext cx="341884" cy="132054"/>
          </a:xfrm>
          <a:prstGeom prst="rect">
            <a:avLst/>
          </a:prstGeom>
        </p:spPr>
        <p:txBody>
          <a:bodyPr wrap="square" lIns="0" tIns="0" rIns="0" bIns="0" rtlCol="0">
            <a:noAutofit/>
          </a:bodyPr>
          <a:lstStyle/>
          <a:p>
            <a:pPr marL="25400">
              <a:lnSpc>
                <a:spcPts val="1000"/>
              </a:lnSpc>
            </a:pPr>
            <a:endParaRPr sz="1000"/>
          </a:p>
        </p:txBody>
      </p:sp>
      <p:sp>
        <p:nvSpPr>
          <p:cNvPr id="64" name="object 64"/>
          <p:cNvSpPr txBox="1"/>
          <p:nvPr/>
        </p:nvSpPr>
        <p:spPr>
          <a:xfrm>
            <a:off x="8490840" y="5595562"/>
            <a:ext cx="217931" cy="132054"/>
          </a:xfrm>
          <a:prstGeom prst="rect">
            <a:avLst/>
          </a:prstGeom>
        </p:spPr>
        <p:txBody>
          <a:bodyPr wrap="square" lIns="0" tIns="0" rIns="0" bIns="0" rtlCol="0">
            <a:noAutofit/>
          </a:bodyPr>
          <a:lstStyle/>
          <a:p>
            <a:pPr marL="25400">
              <a:lnSpc>
                <a:spcPts val="1000"/>
              </a:lnSpc>
            </a:pPr>
            <a:endParaRPr sz="1000"/>
          </a:p>
        </p:txBody>
      </p:sp>
      <p:sp>
        <p:nvSpPr>
          <p:cNvPr id="63" name="object 63"/>
          <p:cNvSpPr txBox="1"/>
          <p:nvPr/>
        </p:nvSpPr>
        <p:spPr>
          <a:xfrm>
            <a:off x="8708771" y="5595562"/>
            <a:ext cx="169506" cy="132054"/>
          </a:xfrm>
          <a:prstGeom prst="rect">
            <a:avLst/>
          </a:prstGeom>
        </p:spPr>
        <p:txBody>
          <a:bodyPr wrap="square" lIns="0" tIns="0" rIns="0" bIns="0" rtlCol="0">
            <a:noAutofit/>
          </a:bodyPr>
          <a:lstStyle/>
          <a:p>
            <a:pPr marL="25400">
              <a:lnSpc>
                <a:spcPts val="1000"/>
              </a:lnSpc>
            </a:pPr>
            <a:endParaRPr sz="1000"/>
          </a:p>
        </p:txBody>
      </p:sp>
      <p:sp>
        <p:nvSpPr>
          <p:cNvPr id="62" name="object 62"/>
          <p:cNvSpPr txBox="1"/>
          <p:nvPr/>
        </p:nvSpPr>
        <p:spPr>
          <a:xfrm>
            <a:off x="8878277" y="5595562"/>
            <a:ext cx="414566" cy="132054"/>
          </a:xfrm>
          <a:prstGeom prst="rect">
            <a:avLst/>
          </a:prstGeom>
        </p:spPr>
        <p:txBody>
          <a:bodyPr wrap="square" lIns="0" tIns="0" rIns="0" bIns="0" rtlCol="0">
            <a:noAutofit/>
          </a:bodyPr>
          <a:lstStyle/>
          <a:p>
            <a:pPr marL="25400">
              <a:lnSpc>
                <a:spcPts val="1000"/>
              </a:lnSpc>
            </a:pPr>
            <a:endParaRPr sz="1000"/>
          </a:p>
        </p:txBody>
      </p:sp>
      <p:sp>
        <p:nvSpPr>
          <p:cNvPr id="61" name="object 61"/>
          <p:cNvSpPr txBox="1"/>
          <p:nvPr/>
        </p:nvSpPr>
        <p:spPr>
          <a:xfrm>
            <a:off x="9292845" y="5595562"/>
            <a:ext cx="238975" cy="368858"/>
          </a:xfrm>
          <a:prstGeom prst="rect">
            <a:avLst/>
          </a:prstGeom>
        </p:spPr>
        <p:txBody>
          <a:bodyPr wrap="square" lIns="0" tIns="0" rIns="0" bIns="0" rtlCol="0">
            <a:noAutofit/>
          </a:bodyPr>
          <a:lstStyle/>
          <a:p>
            <a:pPr marL="83184">
              <a:lnSpc>
                <a:spcPts val="1789"/>
              </a:lnSpc>
            </a:pPr>
            <a:r>
              <a:rPr b="1" u="sng" dirty="0">
                <a:solidFill>
                  <a:srgbClr val="FFFFFF"/>
                </a:solidFill>
                <a:latin typeface="Arial"/>
                <a:cs typeface="Arial"/>
              </a:rPr>
              <a:t> </a:t>
            </a:r>
            <a:r>
              <a:rPr b="1" u="sng" spc="-104" dirty="0">
                <a:solidFill>
                  <a:srgbClr val="FFFFFF"/>
                </a:solidFill>
                <a:latin typeface="Arial"/>
                <a:cs typeface="Arial"/>
              </a:rPr>
              <a:t> </a:t>
            </a:r>
            <a:endParaRPr>
              <a:latin typeface="Arial"/>
              <a:cs typeface="Arial"/>
            </a:endParaRPr>
          </a:p>
        </p:txBody>
      </p:sp>
      <p:sp>
        <p:nvSpPr>
          <p:cNvPr id="60" name="object 60"/>
          <p:cNvSpPr txBox="1"/>
          <p:nvPr/>
        </p:nvSpPr>
        <p:spPr>
          <a:xfrm>
            <a:off x="8148955" y="5727618"/>
            <a:ext cx="341884" cy="141173"/>
          </a:xfrm>
          <a:prstGeom prst="rect">
            <a:avLst/>
          </a:prstGeom>
        </p:spPr>
        <p:txBody>
          <a:bodyPr wrap="square" lIns="0" tIns="0" rIns="0" bIns="0" rtlCol="0">
            <a:noAutofit/>
          </a:bodyPr>
          <a:lstStyle/>
          <a:p>
            <a:pPr marL="25400">
              <a:lnSpc>
                <a:spcPts val="1000"/>
              </a:lnSpc>
            </a:pPr>
            <a:endParaRPr sz="1000"/>
          </a:p>
        </p:txBody>
      </p:sp>
      <p:sp>
        <p:nvSpPr>
          <p:cNvPr id="59" name="object 59"/>
          <p:cNvSpPr txBox="1"/>
          <p:nvPr/>
        </p:nvSpPr>
        <p:spPr>
          <a:xfrm>
            <a:off x="8490840" y="5727618"/>
            <a:ext cx="217931" cy="141173"/>
          </a:xfrm>
          <a:prstGeom prst="rect">
            <a:avLst/>
          </a:prstGeom>
        </p:spPr>
        <p:txBody>
          <a:bodyPr wrap="square" lIns="0" tIns="0" rIns="0" bIns="0" rtlCol="0">
            <a:noAutofit/>
          </a:bodyPr>
          <a:lstStyle/>
          <a:p>
            <a:pPr marL="25400">
              <a:lnSpc>
                <a:spcPts val="1000"/>
              </a:lnSpc>
            </a:pPr>
            <a:endParaRPr sz="1000"/>
          </a:p>
        </p:txBody>
      </p:sp>
      <p:sp>
        <p:nvSpPr>
          <p:cNvPr id="58" name="object 58"/>
          <p:cNvSpPr txBox="1"/>
          <p:nvPr/>
        </p:nvSpPr>
        <p:spPr>
          <a:xfrm>
            <a:off x="8708771" y="5727618"/>
            <a:ext cx="169506" cy="141173"/>
          </a:xfrm>
          <a:prstGeom prst="rect">
            <a:avLst/>
          </a:prstGeom>
        </p:spPr>
        <p:txBody>
          <a:bodyPr wrap="square" lIns="0" tIns="0" rIns="0" bIns="0" rtlCol="0">
            <a:noAutofit/>
          </a:bodyPr>
          <a:lstStyle/>
          <a:p>
            <a:pPr marL="25400">
              <a:lnSpc>
                <a:spcPts val="1000"/>
              </a:lnSpc>
            </a:pPr>
            <a:endParaRPr sz="1000"/>
          </a:p>
        </p:txBody>
      </p:sp>
      <p:sp>
        <p:nvSpPr>
          <p:cNvPr id="57" name="object 57"/>
          <p:cNvSpPr txBox="1"/>
          <p:nvPr/>
        </p:nvSpPr>
        <p:spPr>
          <a:xfrm>
            <a:off x="8878277" y="5727618"/>
            <a:ext cx="414566" cy="141173"/>
          </a:xfrm>
          <a:prstGeom prst="rect">
            <a:avLst/>
          </a:prstGeom>
        </p:spPr>
        <p:txBody>
          <a:bodyPr wrap="square" lIns="0" tIns="0" rIns="0" bIns="0" rtlCol="0">
            <a:noAutofit/>
          </a:bodyPr>
          <a:lstStyle/>
          <a:p>
            <a:pPr marL="25400">
              <a:lnSpc>
                <a:spcPts val="1000"/>
              </a:lnSpc>
            </a:pPr>
            <a:endParaRPr sz="1000"/>
          </a:p>
        </p:txBody>
      </p:sp>
      <p:sp>
        <p:nvSpPr>
          <p:cNvPr id="56" name="object 56"/>
          <p:cNvSpPr txBox="1"/>
          <p:nvPr/>
        </p:nvSpPr>
        <p:spPr>
          <a:xfrm>
            <a:off x="9531820" y="5759500"/>
            <a:ext cx="217931" cy="204920"/>
          </a:xfrm>
          <a:prstGeom prst="rect">
            <a:avLst/>
          </a:prstGeom>
        </p:spPr>
        <p:txBody>
          <a:bodyPr wrap="square" lIns="0" tIns="0" rIns="0" bIns="0" rtlCol="0">
            <a:noAutofit/>
          </a:bodyPr>
          <a:lstStyle/>
          <a:p>
            <a:pPr marL="25400">
              <a:lnSpc>
                <a:spcPts val="1000"/>
              </a:lnSpc>
            </a:pPr>
            <a:endParaRPr sz="1000"/>
          </a:p>
        </p:txBody>
      </p:sp>
      <p:sp>
        <p:nvSpPr>
          <p:cNvPr id="55" name="object 55"/>
          <p:cNvSpPr txBox="1"/>
          <p:nvPr/>
        </p:nvSpPr>
        <p:spPr>
          <a:xfrm>
            <a:off x="8148955" y="5868791"/>
            <a:ext cx="341884" cy="95631"/>
          </a:xfrm>
          <a:prstGeom prst="rect">
            <a:avLst/>
          </a:prstGeom>
        </p:spPr>
        <p:txBody>
          <a:bodyPr wrap="square" lIns="0" tIns="0" rIns="0" bIns="0" rtlCol="0">
            <a:noAutofit/>
          </a:bodyPr>
          <a:lstStyle/>
          <a:p>
            <a:pPr marL="25400">
              <a:lnSpc>
                <a:spcPts val="750"/>
              </a:lnSpc>
              <a:spcBef>
                <a:spcPts val="3"/>
              </a:spcBef>
            </a:pPr>
            <a:endParaRPr sz="750"/>
          </a:p>
        </p:txBody>
      </p:sp>
      <p:sp>
        <p:nvSpPr>
          <p:cNvPr id="54" name="object 54"/>
          <p:cNvSpPr txBox="1"/>
          <p:nvPr/>
        </p:nvSpPr>
        <p:spPr>
          <a:xfrm>
            <a:off x="8490840" y="5868791"/>
            <a:ext cx="217931" cy="95631"/>
          </a:xfrm>
          <a:prstGeom prst="rect">
            <a:avLst/>
          </a:prstGeom>
        </p:spPr>
        <p:txBody>
          <a:bodyPr wrap="square" lIns="0" tIns="0" rIns="0" bIns="0" rtlCol="0">
            <a:noAutofit/>
          </a:bodyPr>
          <a:lstStyle/>
          <a:p>
            <a:pPr marL="25400">
              <a:lnSpc>
                <a:spcPts val="750"/>
              </a:lnSpc>
              <a:spcBef>
                <a:spcPts val="3"/>
              </a:spcBef>
            </a:pPr>
            <a:endParaRPr sz="750"/>
          </a:p>
        </p:txBody>
      </p:sp>
      <p:sp>
        <p:nvSpPr>
          <p:cNvPr id="53" name="object 53"/>
          <p:cNvSpPr txBox="1"/>
          <p:nvPr/>
        </p:nvSpPr>
        <p:spPr>
          <a:xfrm>
            <a:off x="8708771" y="5868791"/>
            <a:ext cx="169506" cy="95631"/>
          </a:xfrm>
          <a:prstGeom prst="rect">
            <a:avLst/>
          </a:prstGeom>
        </p:spPr>
        <p:txBody>
          <a:bodyPr wrap="square" lIns="0" tIns="0" rIns="0" bIns="0" rtlCol="0">
            <a:noAutofit/>
          </a:bodyPr>
          <a:lstStyle/>
          <a:p>
            <a:pPr marL="25400">
              <a:lnSpc>
                <a:spcPts val="750"/>
              </a:lnSpc>
              <a:spcBef>
                <a:spcPts val="3"/>
              </a:spcBef>
            </a:pPr>
            <a:endParaRPr sz="750"/>
          </a:p>
        </p:txBody>
      </p:sp>
      <p:sp>
        <p:nvSpPr>
          <p:cNvPr id="52" name="object 52"/>
          <p:cNvSpPr txBox="1"/>
          <p:nvPr/>
        </p:nvSpPr>
        <p:spPr>
          <a:xfrm>
            <a:off x="8878277" y="5868791"/>
            <a:ext cx="414566" cy="95631"/>
          </a:xfrm>
          <a:prstGeom prst="rect">
            <a:avLst/>
          </a:prstGeom>
        </p:spPr>
        <p:txBody>
          <a:bodyPr wrap="square" lIns="0" tIns="0" rIns="0" bIns="0" rtlCol="0">
            <a:noAutofit/>
          </a:bodyPr>
          <a:lstStyle/>
          <a:p>
            <a:pPr marL="25400">
              <a:lnSpc>
                <a:spcPts val="750"/>
              </a:lnSpc>
              <a:spcBef>
                <a:spcPts val="3"/>
              </a:spcBef>
            </a:pPr>
            <a:endParaRPr sz="750"/>
          </a:p>
        </p:txBody>
      </p:sp>
      <p:sp>
        <p:nvSpPr>
          <p:cNvPr id="51" name="object 51"/>
          <p:cNvSpPr txBox="1"/>
          <p:nvPr/>
        </p:nvSpPr>
        <p:spPr>
          <a:xfrm>
            <a:off x="7837298" y="5964421"/>
            <a:ext cx="311657" cy="204920"/>
          </a:xfrm>
          <a:prstGeom prst="rect">
            <a:avLst/>
          </a:prstGeom>
        </p:spPr>
        <p:txBody>
          <a:bodyPr wrap="square" lIns="0" tIns="0" rIns="0" bIns="0" rtlCol="0">
            <a:noAutofit/>
          </a:bodyPr>
          <a:lstStyle/>
          <a:p>
            <a:pPr marL="25400">
              <a:lnSpc>
                <a:spcPts val="1000"/>
              </a:lnSpc>
            </a:pPr>
            <a:endParaRPr sz="1000"/>
          </a:p>
        </p:txBody>
      </p:sp>
      <p:sp>
        <p:nvSpPr>
          <p:cNvPr id="50" name="object 50"/>
          <p:cNvSpPr txBox="1"/>
          <p:nvPr/>
        </p:nvSpPr>
        <p:spPr>
          <a:xfrm>
            <a:off x="8148955" y="5964422"/>
            <a:ext cx="341884" cy="138131"/>
          </a:xfrm>
          <a:prstGeom prst="rect">
            <a:avLst/>
          </a:prstGeom>
        </p:spPr>
        <p:txBody>
          <a:bodyPr wrap="square" lIns="0" tIns="0" rIns="0" bIns="0" rtlCol="0">
            <a:noAutofit/>
          </a:bodyPr>
          <a:lstStyle/>
          <a:p>
            <a:pPr marL="25400">
              <a:lnSpc>
                <a:spcPts val="1000"/>
              </a:lnSpc>
            </a:pPr>
            <a:endParaRPr sz="1000"/>
          </a:p>
        </p:txBody>
      </p:sp>
      <p:sp>
        <p:nvSpPr>
          <p:cNvPr id="49" name="object 49"/>
          <p:cNvSpPr txBox="1"/>
          <p:nvPr/>
        </p:nvSpPr>
        <p:spPr>
          <a:xfrm>
            <a:off x="8490840" y="5964422"/>
            <a:ext cx="148335" cy="138131"/>
          </a:xfrm>
          <a:prstGeom prst="rect">
            <a:avLst/>
          </a:prstGeom>
        </p:spPr>
        <p:txBody>
          <a:bodyPr wrap="square" lIns="0" tIns="0" rIns="0" bIns="0" rtlCol="0">
            <a:noAutofit/>
          </a:bodyPr>
          <a:lstStyle/>
          <a:p>
            <a:pPr marL="25400">
              <a:lnSpc>
                <a:spcPts val="1000"/>
              </a:lnSpc>
            </a:pPr>
            <a:endParaRPr sz="1000"/>
          </a:p>
        </p:txBody>
      </p:sp>
      <p:sp>
        <p:nvSpPr>
          <p:cNvPr id="48" name="object 48"/>
          <p:cNvSpPr txBox="1"/>
          <p:nvPr/>
        </p:nvSpPr>
        <p:spPr>
          <a:xfrm>
            <a:off x="8639175" y="5964421"/>
            <a:ext cx="239102" cy="204920"/>
          </a:xfrm>
          <a:prstGeom prst="rect">
            <a:avLst/>
          </a:prstGeom>
        </p:spPr>
        <p:txBody>
          <a:bodyPr wrap="square" lIns="0" tIns="0" rIns="0" bIns="0" rtlCol="0">
            <a:noAutofit/>
          </a:bodyPr>
          <a:lstStyle/>
          <a:p>
            <a:pPr marL="25400">
              <a:lnSpc>
                <a:spcPts val="1000"/>
              </a:lnSpc>
            </a:pPr>
            <a:endParaRPr sz="1000"/>
          </a:p>
        </p:txBody>
      </p:sp>
      <p:sp>
        <p:nvSpPr>
          <p:cNvPr id="47" name="object 47"/>
          <p:cNvSpPr txBox="1"/>
          <p:nvPr/>
        </p:nvSpPr>
        <p:spPr>
          <a:xfrm>
            <a:off x="8878277" y="5964422"/>
            <a:ext cx="414566" cy="47059"/>
          </a:xfrm>
          <a:prstGeom prst="rect">
            <a:avLst/>
          </a:prstGeom>
        </p:spPr>
        <p:txBody>
          <a:bodyPr wrap="square" lIns="0" tIns="0" rIns="0" bIns="0" rtlCol="0">
            <a:noAutofit/>
          </a:bodyPr>
          <a:lstStyle/>
          <a:p>
            <a:endParaRPr/>
          </a:p>
        </p:txBody>
      </p:sp>
      <p:sp>
        <p:nvSpPr>
          <p:cNvPr id="46" name="object 46"/>
          <p:cNvSpPr txBox="1"/>
          <p:nvPr/>
        </p:nvSpPr>
        <p:spPr>
          <a:xfrm>
            <a:off x="9292845" y="5964422"/>
            <a:ext cx="238975" cy="159391"/>
          </a:xfrm>
          <a:prstGeom prst="rect">
            <a:avLst/>
          </a:prstGeom>
        </p:spPr>
        <p:txBody>
          <a:bodyPr wrap="square" lIns="0" tIns="0" rIns="0" bIns="0" rtlCol="0">
            <a:noAutofit/>
          </a:bodyPr>
          <a:lstStyle/>
          <a:p>
            <a:pPr marL="25400">
              <a:lnSpc>
                <a:spcPts val="1000"/>
              </a:lnSpc>
            </a:pPr>
            <a:endParaRPr sz="1000"/>
          </a:p>
        </p:txBody>
      </p:sp>
      <p:sp>
        <p:nvSpPr>
          <p:cNvPr id="45" name="object 45"/>
          <p:cNvSpPr txBox="1"/>
          <p:nvPr/>
        </p:nvSpPr>
        <p:spPr>
          <a:xfrm>
            <a:off x="9531820" y="5964422"/>
            <a:ext cx="217931" cy="350653"/>
          </a:xfrm>
          <a:prstGeom prst="rect">
            <a:avLst/>
          </a:prstGeom>
        </p:spPr>
        <p:txBody>
          <a:bodyPr wrap="square" lIns="0" tIns="0" rIns="0" bIns="0" rtlCol="0">
            <a:noAutofit/>
          </a:bodyPr>
          <a:lstStyle/>
          <a:p>
            <a:pPr marL="25400">
              <a:lnSpc>
                <a:spcPts val="1000"/>
              </a:lnSpc>
            </a:pPr>
            <a:endParaRPr sz="1000"/>
          </a:p>
        </p:txBody>
      </p:sp>
      <p:sp>
        <p:nvSpPr>
          <p:cNvPr id="44" name="object 44"/>
          <p:cNvSpPr txBox="1"/>
          <p:nvPr/>
        </p:nvSpPr>
        <p:spPr>
          <a:xfrm>
            <a:off x="8878277" y="6011482"/>
            <a:ext cx="414566" cy="112331"/>
          </a:xfrm>
          <a:prstGeom prst="rect">
            <a:avLst/>
          </a:prstGeom>
        </p:spPr>
        <p:txBody>
          <a:bodyPr wrap="square" lIns="0" tIns="0" rIns="0" bIns="0" rtlCol="0">
            <a:noAutofit/>
          </a:bodyPr>
          <a:lstStyle/>
          <a:p>
            <a:pPr marL="25400">
              <a:lnSpc>
                <a:spcPts val="850"/>
              </a:lnSpc>
              <a:spcBef>
                <a:spcPts val="34"/>
              </a:spcBef>
            </a:pPr>
            <a:endParaRPr sz="850"/>
          </a:p>
        </p:txBody>
      </p:sp>
      <p:sp>
        <p:nvSpPr>
          <p:cNvPr id="43" name="object 43"/>
          <p:cNvSpPr txBox="1"/>
          <p:nvPr/>
        </p:nvSpPr>
        <p:spPr>
          <a:xfrm>
            <a:off x="8878277" y="6123814"/>
            <a:ext cx="653542" cy="45529"/>
          </a:xfrm>
          <a:prstGeom prst="rect">
            <a:avLst/>
          </a:prstGeom>
        </p:spPr>
        <p:txBody>
          <a:bodyPr wrap="square" lIns="0" tIns="0" rIns="0" bIns="0" rtlCol="0">
            <a:noAutofit/>
          </a:bodyPr>
          <a:lstStyle/>
          <a:p>
            <a:endParaRPr/>
          </a:p>
        </p:txBody>
      </p:sp>
      <p:sp>
        <p:nvSpPr>
          <p:cNvPr id="42" name="object 42"/>
          <p:cNvSpPr txBox="1"/>
          <p:nvPr/>
        </p:nvSpPr>
        <p:spPr>
          <a:xfrm>
            <a:off x="8148955" y="6102554"/>
            <a:ext cx="341884" cy="66789"/>
          </a:xfrm>
          <a:prstGeom prst="rect">
            <a:avLst/>
          </a:prstGeom>
        </p:spPr>
        <p:txBody>
          <a:bodyPr wrap="square" lIns="0" tIns="0" rIns="0" bIns="0" rtlCol="0">
            <a:noAutofit/>
          </a:bodyPr>
          <a:lstStyle/>
          <a:p>
            <a:pPr marL="25400">
              <a:lnSpc>
                <a:spcPts val="500"/>
              </a:lnSpc>
              <a:spcBef>
                <a:spcPts val="25"/>
              </a:spcBef>
            </a:pPr>
            <a:endParaRPr sz="500"/>
          </a:p>
        </p:txBody>
      </p:sp>
      <p:sp>
        <p:nvSpPr>
          <p:cNvPr id="41" name="object 41"/>
          <p:cNvSpPr txBox="1"/>
          <p:nvPr/>
        </p:nvSpPr>
        <p:spPr>
          <a:xfrm>
            <a:off x="8490840" y="6102554"/>
            <a:ext cx="148335" cy="66789"/>
          </a:xfrm>
          <a:prstGeom prst="rect">
            <a:avLst/>
          </a:prstGeom>
        </p:spPr>
        <p:txBody>
          <a:bodyPr wrap="square" lIns="0" tIns="0" rIns="0" bIns="0" rtlCol="0">
            <a:noAutofit/>
          </a:bodyPr>
          <a:lstStyle/>
          <a:p>
            <a:pPr marL="25400">
              <a:lnSpc>
                <a:spcPts val="500"/>
              </a:lnSpc>
              <a:spcBef>
                <a:spcPts val="25"/>
              </a:spcBef>
            </a:pPr>
            <a:endParaRPr sz="500"/>
          </a:p>
        </p:txBody>
      </p:sp>
      <p:sp>
        <p:nvSpPr>
          <p:cNvPr id="40" name="object 40"/>
          <p:cNvSpPr txBox="1"/>
          <p:nvPr/>
        </p:nvSpPr>
        <p:spPr>
          <a:xfrm>
            <a:off x="7837297" y="6169342"/>
            <a:ext cx="653542" cy="145732"/>
          </a:xfrm>
          <a:prstGeom prst="rect">
            <a:avLst/>
          </a:prstGeom>
        </p:spPr>
        <p:txBody>
          <a:bodyPr wrap="square" lIns="0" tIns="0" rIns="0" bIns="0" rtlCol="0">
            <a:noAutofit/>
          </a:bodyPr>
          <a:lstStyle/>
          <a:p>
            <a:pPr marL="25400">
              <a:lnSpc>
                <a:spcPts val="1000"/>
              </a:lnSpc>
            </a:pPr>
            <a:endParaRPr sz="1000"/>
          </a:p>
        </p:txBody>
      </p:sp>
      <p:sp>
        <p:nvSpPr>
          <p:cNvPr id="39" name="object 39"/>
          <p:cNvSpPr txBox="1"/>
          <p:nvPr/>
        </p:nvSpPr>
        <p:spPr>
          <a:xfrm>
            <a:off x="8490839" y="6169342"/>
            <a:ext cx="1040980" cy="145732"/>
          </a:xfrm>
          <a:prstGeom prst="rect">
            <a:avLst/>
          </a:prstGeom>
        </p:spPr>
        <p:txBody>
          <a:bodyPr wrap="square" lIns="0" tIns="0" rIns="0" bIns="0" rtlCol="0">
            <a:noAutofit/>
          </a:bodyPr>
          <a:lstStyle/>
          <a:p>
            <a:pPr marL="25400">
              <a:lnSpc>
                <a:spcPts val="1000"/>
              </a:lnSpc>
            </a:pPr>
            <a:endParaRPr sz="1000"/>
          </a:p>
        </p:txBody>
      </p:sp>
      <p:sp>
        <p:nvSpPr>
          <p:cNvPr id="38" name="object 38"/>
          <p:cNvSpPr txBox="1"/>
          <p:nvPr/>
        </p:nvSpPr>
        <p:spPr>
          <a:xfrm>
            <a:off x="8294117" y="3857523"/>
            <a:ext cx="303149" cy="248132"/>
          </a:xfrm>
          <a:prstGeom prst="rect">
            <a:avLst/>
          </a:prstGeom>
        </p:spPr>
        <p:txBody>
          <a:bodyPr wrap="square" lIns="0" tIns="0" rIns="0" bIns="0" rtlCol="0">
            <a:noAutofit/>
          </a:bodyPr>
          <a:lstStyle/>
          <a:p>
            <a:pPr marL="25400">
              <a:lnSpc>
                <a:spcPts val="1000"/>
              </a:lnSpc>
            </a:pPr>
            <a:endParaRPr sz="1000"/>
          </a:p>
        </p:txBody>
      </p:sp>
      <p:sp>
        <p:nvSpPr>
          <p:cNvPr id="37" name="object 37"/>
          <p:cNvSpPr txBox="1"/>
          <p:nvPr/>
        </p:nvSpPr>
        <p:spPr>
          <a:xfrm>
            <a:off x="7870445" y="3434868"/>
            <a:ext cx="1009129" cy="931773"/>
          </a:xfrm>
          <a:prstGeom prst="rect">
            <a:avLst/>
          </a:prstGeom>
        </p:spPr>
        <p:txBody>
          <a:bodyPr wrap="square" lIns="0" tIns="0" rIns="0" bIns="0" rtlCol="0">
            <a:noAutofit/>
          </a:bodyPr>
          <a:lstStyle/>
          <a:p>
            <a:pPr marL="25400">
              <a:lnSpc>
                <a:spcPts val="1000"/>
              </a:lnSpc>
            </a:pPr>
            <a:endParaRPr sz="1000"/>
          </a:p>
        </p:txBody>
      </p:sp>
      <p:sp>
        <p:nvSpPr>
          <p:cNvPr id="36" name="object 36"/>
          <p:cNvSpPr txBox="1"/>
          <p:nvPr/>
        </p:nvSpPr>
        <p:spPr>
          <a:xfrm>
            <a:off x="4700652" y="3213163"/>
            <a:ext cx="2385949" cy="373824"/>
          </a:xfrm>
          <a:prstGeom prst="rect">
            <a:avLst/>
          </a:prstGeom>
        </p:spPr>
        <p:txBody>
          <a:bodyPr wrap="square" lIns="0" tIns="0" rIns="0" bIns="0" rtlCol="0">
            <a:noAutofit/>
          </a:bodyPr>
          <a:lstStyle/>
          <a:p>
            <a:pPr marL="537083">
              <a:lnSpc>
                <a:spcPct val="95825"/>
              </a:lnSpc>
              <a:spcBef>
                <a:spcPts val="430"/>
              </a:spcBef>
            </a:pPr>
            <a:r>
              <a:rPr b="1" dirty="0">
                <a:latin typeface="Arial"/>
                <a:cs typeface="Arial"/>
              </a:rPr>
              <a:t>Order</a:t>
            </a:r>
            <a:r>
              <a:rPr b="1" spc="-14" dirty="0">
                <a:latin typeface="Arial"/>
                <a:cs typeface="Arial"/>
              </a:rPr>
              <a:t> </a:t>
            </a:r>
            <a:r>
              <a:rPr b="1" dirty="0">
                <a:latin typeface="Arial"/>
                <a:cs typeface="Arial"/>
              </a:rPr>
              <a:t>#</a:t>
            </a:r>
            <a:r>
              <a:rPr b="1" spc="-9" dirty="0">
                <a:latin typeface="Arial"/>
                <a:cs typeface="Arial"/>
              </a:rPr>
              <a:t>2</a:t>
            </a:r>
            <a:r>
              <a:rPr b="1" dirty="0">
                <a:latin typeface="Arial"/>
                <a:cs typeface="Arial"/>
              </a:rPr>
              <a:t>0</a:t>
            </a:r>
            <a:r>
              <a:rPr b="1" spc="-9" dirty="0">
                <a:latin typeface="Arial"/>
                <a:cs typeface="Arial"/>
              </a:rPr>
              <a:t>7</a:t>
            </a:r>
            <a:r>
              <a:rPr b="1" dirty="0">
                <a:latin typeface="Arial"/>
                <a:cs typeface="Arial"/>
              </a:rPr>
              <a:t>7</a:t>
            </a:r>
            <a:endParaRPr>
              <a:latin typeface="Arial"/>
              <a:cs typeface="Arial"/>
            </a:endParaRPr>
          </a:p>
        </p:txBody>
      </p:sp>
      <p:sp>
        <p:nvSpPr>
          <p:cNvPr id="35" name="object 35"/>
          <p:cNvSpPr txBox="1"/>
          <p:nvPr/>
        </p:nvSpPr>
        <p:spPr>
          <a:xfrm>
            <a:off x="4700652" y="3586988"/>
            <a:ext cx="2385949" cy="1137412"/>
          </a:xfrm>
          <a:prstGeom prst="rect">
            <a:avLst/>
          </a:prstGeom>
        </p:spPr>
        <p:txBody>
          <a:bodyPr wrap="square" lIns="0" tIns="0" rIns="0" bIns="0" rtlCol="0">
            <a:noAutofit/>
          </a:bodyPr>
          <a:lstStyle/>
          <a:p>
            <a:pPr marL="92583">
              <a:lnSpc>
                <a:spcPct val="95825"/>
              </a:lnSpc>
              <a:spcBef>
                <a:spcPts val="285"/>
              </a:spcBef>
            </a:pPr>
            <a:r>
              <a:rPr b="1" dirty="0">
                <a:latin typeface="Arial"/>
                <a:cs typeface="Arial"/>
              </a:rPr>
              <a:t>XYZ            </a:t>
            </a:r>
            <a:r>
              <a:rPr b="1" spc="373" dirty="0">
                <a:latin typeface="Arial"/>
                <a:cs typeface="Arial"/>
              </a:rPr>
              <a:t> </a:t>
            </a:r>
            <a:r>
              <a:rPr b="1" dirty="0">
                <a:latin typeface="Arial"/>
                <a:cs typeface="Arial"/>
              </a:rPr>
              <a:t>6</a:t>
            </a:r>
            <a:r>
              <a:rPr b="1" spc="-9" dirty="0">
                <a:latin typeface="Arial"/>
                <a:cs typeface="Arial"/>
              </a:rPr>
              <a:t>0</a:t>
            </a:r>
            <a:r>
              <a:rPr b="1" dirty="0">
                <a:latin typeface="Arial"/>
                <a:cs typeface="Arial"/>
              </a:rPr>
              <a:t>PC</a:t>
            </a:r>
            <a:endParaRPr>
              <a:latin typeface="Arial"/>
              <a:cs typeface="Arial"/>
            </a:endParaRPr>
          </a:p>
          <a:p>
            <a:pPr marL="92583" marR="121999">
              <a:lnSpc>
                <a:spcPct val="100041"/>
              </a:lnSpc>
              <a:spcBef>
                <a:spcPts val="2245"/>
              </a:spcBef>
            </a:pPr>
            <a:r>
              <a:rPr sz="1600" b="1" dirty="0">
                <a:latin typeface="Arial"/>
                <a:cs typeface="Arial"/>
              </a:rPr>
              <a:t>Sal</a:t>
            </a:r>
            <a:r>
              <a:rPr sz="1600" b="1" spc="4" dirty="0">
                <a:latin typeface="Arial"/>
                <a:cs typeface="Arial"/>
              </a:rPr>
              <a:t>e</a:t>
            </a:r>
            <a:r>
              <a:rPr sz="1600" b="1" dirty="0">
                <a:latin typeface="Arial"/>
                <a:cs typeface="Arial"/>
              </a:rPr>
              <a:t>s</a:t>
            </a:r>
            <a:r>
              <a:rPr sz="1600" b="1" spc="-51" dirty="0">
                <a:latin typeface="Arial"/>
                <a:cs typeface="Arial"/>
              </a:rPr>
              <a:t> </a:t>
            </a:r>
            <a:r>
              <a:rPr sz="1600" b="1" dirty="0">
                <a:latin typeface="Arial"/>
                <a:cs typeface="Arial"/>
              </a:rPr>
              <a:t>P</a:t>
            </a:r>
            <a:r>
              <a:rPr sz="1600" b="1" spc="4" dirty="0">
                <a:latin typeface="Arial"/>
                <a:cs typeface="Arial"/>
              </a:rPr>
              <a:t>r</a:t>
            </a:r>
            <a:r>
              <a:rPr sz="1600" b="1" dirty="0">
                <a:latin typeface="Arial"/>
                <a:cs typeface="Arial"/>
              </a:rPr>
              <a:t>ice   </a:t>
            </a:r>
            <a:r>
              <a:rPr sz="1600" b="1" spc="30" dirty="0">
                <a:latin typeface="Arial"/>
                <a:cs typeface="Arial"/>
              </a:rPr>
              <a:t> </a:t>
            </a:r>
            <a:r>
              <a:rPr sz="1600" b="1" dirty="0">
                <a:latin typeface="Arial"/>
                <a:cs typeface="Arial"/>
              </a:rPr>
              <a:t>300</a:t>
            </a:r>
            <a:r>
              <a:rPr sz="1600" b="1" spc="-36" dirty="0">
                <a:latin typeface="Arial"/>
                <a:cs typeface="Arial"/>
              </a:rPr>
              <a:t> </a:t>
            </a:r>
            <a:r>
              <a:rPr sz="1600" b="1" dirty="0">
                <a:latin typeface="Arial"/>
                <a:cs typeface="Arial"/>
              </a:rPr>
              <a:t>USD Cost              </a:t>
            </a:r>
            <a:r>
              <a:rPr sz="1600" b="1" spc="124" dirty="0">
                <a:latin typeface="Arial"/>
                <a:cs typeface="Arial"/>
              </a:rPr>
              <a:t> </a:t>
            </a:r>
            <a:r>
              <a:rPr sz="1600" b="1" dirty="0">
                <a:latin typeface="Arial"/>
                <a:cs typeface="Arial"/>
              </a:rPr>
              <a:t>100</a:t>
            </a:r>
            <a:r>
              <a:rPr sz="1600" b="1" spc="-36" dirty="0">
                <a:latin typeface="Arial"/>
                <a:cs typeface="Arial"/>
              </a:rPr>
              <a:t> </a:t>
            </a:r>
            <a:r>
              <a:rPr sz="1600" b="1" dirty="0">
                <a:latin typeface="Arial"/>
                <a:cs typeface="Arial"/>
              </a:rPr>
              <a:t>USD</a:t>
            </a:r>
            <a:endParaRPr sz="1600">
              <a:latin typeface="Arial"/>
              <a:cs typeface="Arial"/>
            </a:endParaRPr>
          </a:p>
        </p:txBody>
      </p:sp>
      <p:sp>
        <p:nvSpPr>
          <p:cNvPr id="34" name="object 34"/>
          <p:cNvSpPr txBox="1"/>
          <p:nvPr/>
        </p:nvSpPr>
        <p:spPr>
          <a:xfrm>
            <a:off x="9312901" y="1168300"/>
            <a:ext cx="182439" cy="66515"/>
          </a:xfrm>
          <a:prstGeom prst="rect">
            <a:avLst/>
          </a:prstGeom>
        </p:spPr>
        <p:txBody>
          <a:bodyPr wrap="square" lIns="0" tIns="0" rIns="0" bIns="0" rtlCol="0">
            <a:noAutofit/>
          </a:bodyPr>
          <a:lstStyle/>
          <a:p>
            <a:pPr marL="25400">
              <a:lnSpc>
                <a:spcPts val="500"/>
              </a:lnSpc>
              <a:spcBef>
                <a:spcPts val="23"/>
              </a:spcBef>
            </a:pPr>
            <a:endParaRPr sz="500"/>
          </a:p>
        </p:txBody>
      </p:sp>
      <p:sp>
        <p:nvSpPr>
          <p:cNvPr id="33" name="object 33"/>
          <p:cNvSpPr txBox="1"/>
          <p:nvPr/>
        </p:nvSpPr>
        <p:spPr>
          <a:xfrm>
            <a:off x="9312901" y="1234816"/>
            <a:ext cx="182439" cy="195599"/>
          </a:xfrm>
          <a:prstGeom prst="rect">
            <a:avLst/>
          </a:prstGeom>
        </p:spPr>
        <p:txBody>
          <a:bodyPr wrap="square" lIns="0" tIns="0" rIns="0" bIns="0" rtlCol="0">
            <a:noAutofit/>
          </a:bodyPr>
          <a:lstStyle/>
          <a:p>
            <a:pPr marL="25400">
              <a:lnSpc>
                <a:spcPts val="1000"/>
              </a:lnSpc>
            </a:pPr>
            <a:endParaRPr sz="1000"/>
          </a:p>
        </p:txBody>
      </p:sp>
      <p:sp>
        <p:nvSpPr>
          <p:cNvPr id="32" name="object 32"/>
          <p:cNvSpPr txBox="1"/>
          <p:nvPr/>
        </p:nvSpPr>
        <p:spPr>
          <a:xfrm>
            <a:off x="9593961" y="4991354"/>
            <a:ext cx="113411" cy="152400"/>
          </a:xfrm>
          <a:prstGeom prst="rect">
            <a:avLst/>
          </a:prstGeom>
        </p:spPr>
        <p:txBody>
          <a:bodyPr wrap="square" lIns="0" tIns="0" rIns="0" bIns="0" rtlCol="0">
            <a:noAutofit/>
          </a:bodyPr>
          <a:lstStyle/>
          <a:p>
            <a:pPr marL="25400">
              <a:lnSpc>
                <a:spcPts val="1000"/>
              </a:lnSpc>
            </a:pPr>
            <a:endParaRPr sz="1000"/>
          </a:p>
        </p:txBody>
      </p:sp>
      <p:sp>
        <p:nvSpPr>
          <p:cNvPr id="31" name="object 31"/>
          <p:cNvSpPr txBox="1"/>
          <p:nvPr/>
        </p:nvSpPr>
        <p:spPr>
          <a:xfrm>
            <a:off x="7923530" y="5209922"/>
            <a:ext cx="130048" cy="152399"/>
          </a:xfrm>
          <a:prstGeom prst="rect">
            <a:avLst/>
          </a:prstGeom>
        </p:spPr>
        <p:txBody>
          <a:bodyPr wrap="square" lIns="0" tIns="0" rIns="0" bIns="0" rtlCol="0">
            <a:noAutofit/>
          </a:bodyPr>
          <a:lstStyle/>
          <a:p>
            <a:pPr marL="25400">
              <a:lnSpc>
                <a:spcPts val="1000"/>
              </a:lnSpc>
            </a:pPr>
            <a:endParaRPr sz="1000"/>
          </a:p>
        </p:txBody>
      </p:sp>
      <p:sp>
        <p:nvSpPr>
          <p:cNvPr id="30" name="object 30"/>
          <p:cNvSpPr txBox="1"/>
          <p:nvPr/>
        </p:nvSpPr>
        <p:spPr>
          <a:xfrm>
            <a:off x="9593961" y="5225161"/>
            <a:ext cx="113411" cy="152400"/>
          </a:xfrm>
          <a:prstGeom prst="rect">
            <a:avLst/>
          </a:prstGeom>
        </p:spPr>
        <p:txBody>
          <a:bodyPr wrap="square" lIns="0" tIns="0" rIns="0" bIns="0" rtlCol="0">
            <a:noAutofit/>
          </a:bodyPr>
          <a:lstStyle/>
          <a:p>
            <a:pPr marL="25400">
              <a:lnSpc>
                <a:spcPts val="1000"/>
              </a:lnSpc>
            </a:pPr>
            <a:endParaRPr sz="1000"/>
          </a:p>
        </p:txBody>
      </p:sp>
      <p:sp>
        <p:nvSpPr>
          <p:cNvPr id="29" name="object 29"/>
          <p:cNvSpPr txBox="1"/>
          <p:nvPr/>
        </p:nvSpPr>
        <p:spPr>
          <a:xfrm>
            <a:off x="9376029" y="5355717"/>
            <a:ext cx="113538" cy="152400"/>
          </a:xfrm>
          <a:prstGeom prst="rect">
            <a:avLst/>
          </a:prstGeom>
        </p:spPr>
        <p:txBody>
          <a:bodyPr wrap="square" lIns="0" tIns="0" rIns="0" bIns="0" rtlCol="0">
            <a:noAutofit/>
          </a:bodyPr>
          <a:lstStyle/>
          <a:p>
            <a:pPr marL="25400">
              <a:lnSpc>
                <a:spcPts val="1000"/>
              </a:lnSpc>
            </a:pPr>
            <a:endParaRPr sz="1000"/>
          </a:p>
        </p:txBody>
      </p:sp>
      <p:sp>
        <p:nvSpPr>
          <p:cNvPr id="28" name="object 28"/>
          <p:cNvSpPr txBox="1"/>
          <p:nvPr/>
        </p:nvSpPr>
        <p:spPr>
          <a:xfrm>
            <a:off x="2780996" y="5415153"/>
            <a:ext cx="134797" cy="152400"/>
          </a:xfrm>
          <a:prstGeom prst="rect">
            <a:avLst/>
          </a:prstGeom>
        </p:spPr>
        <p:txBody>
          <a:bodyPr wrap="square" lIns="0" tIns="0" rIns="0" bIns="0" rtlCol="0">
            <a:noAutofit/>
          </a:bodyPr>
          <a:lstStyle/>
          <a:p>
            <a:pPr marL="25400">
              <a:lnSpc>
                <a:spcPts val="1000"/>
              </a:lnSpc>
            </a:pPr>
            <a:endParaRPr sz="1000"/>
          </a:p>
        </p:txBody>
      </p:sp>
      <p:sp>
        <p:nvSpPr>
          <p:cNvPr id="27" name="object 27"/>
          <p:cNvSpPr txBox="1"/>
          <p:nvPr/>
        </p:nvSpPr>
        <p:spPr>
          <a:xfrm>
            <a:off x="3015743" y="5415153"/>
            <a:ext cx="510159" cy="152400"/>
          </a:xfrm>
          <a:prstGeom prst="rect">
            <a:avLst/>
          </a:prstGeom>
        </p:spPr>
        <p:txBody>
          <a:bodyPr wrap="square" lIns="0" tIns="0" rIns="0" bIns="0" rtlCol="0">
            <a:noAutofit/>
          </a:bodyPr>
          <a:lstStyle/>
          <a:p>
            <a:pPr marL="25400">
              <a:lnSpc>
                <a:spcPts val="1000"/>
              </a:lnSpc>
            </a:pPr>
            <a:endParaRPr sz="1000"/>
          </a:p>
        </p:txBody>
      </p:sp>
      <p:sp>
        <p:nvSpPr>
          <p:cNvPr id="26" name="object 26"/>
          <p:cNvSpPr txBox="1"/>
          <p:nvPr/>
        </p:nvSpPr>
        <p:spPr>
          <a:xfrm>
            <a:off x="3612262" y="5415153"/>
            <a:ext cx="118109" cy="152400"/>
          </a:xfrm>
          <a:prstGeom prst="rect">
            <a:avLst/>
          </a:prstGeom>
        </p:spPr>
        <p:txBody>
          <a:bodyPr wrap="square" lIns="0" tIns="0" rIns="0" bIns="0" rtlCol="0">
            <a:noAutofit/>
          </a:bodyPr>
          <a:lstStyle/>
          <a:p>
            <a:pPr marL="25400">
              <a:lnSpc>
                <a:spcPts val="1000"/>
              </a:lnSpc>
            </a:pPr>
            <a:endParaRPr sz="1000"/>
          </a:p>
        </p:txBody>
      </p:sp>
      <p:sp>
        <p:nvSpPr>
          <p:cNvPr id="25" name="object 25"/>
          <p:cNvSpPr txBox="1"/>
          <p:nvPr/>
        </p:nvSpPr>
        <p:spPr>
          <a:xfrm>
            <a:off x="2771915" y="5532018"/>
            <a:ext cx="928103" cy="152400"/>
          </a:xfrm>
          <a:prstGeom prst="rect">
            <a:avLst/>
          </a:prstGeom>
        </p:spPr>
        <p:txBody>
          <a:bodyPr wrap="square" lIns="0" tIns="0" rIns="0" bIns="0" rtlCol="0">
            <a:noAutofit/>
          </a:bodyPr>
          <a:lstStyle/>
          <a:p>
            <a:pPr marL="25400">
              <a:lnSpc>
                <a:spcPts val="1000"/>
              </a:lnSpc>
            </a:pPr>
            <a:endParaRPr sz="1000"/>
          </a:p>
        </p:txBody>
      </p:sp>
      <p:sp>
        <p:nvSpPr>
          <p:cNvPr id="24" name="object 24"/>
          <p:cNvSpPr txBox="1"/>
          <p:nvPr/>
        </p:nvSpPr>
        <p:spPr>
          <a:xfrm>
            <a:off x="9376029" y="5589435"/>
            <a:ext cx="113538" cy="152400"/>
          </a:xfrm>
          <a:prstGeom prst="rect">
            <a:avLst/>
          </a:prstGeom>
        </p:spPr>
        <p:txBody>
          <a:bodyPr wrap="square" lIns="0" tIns="0" rIns="0" bIns="0" rtlCol="0">
            <a:noAutofit/>
          </a:bodyPr>
          <a:lstStyle/>
          <a:p>
            <a:pPr marL="25400">
              <a:lnSpc>
                <a:spcPts val="1000"/>
              </a:lnSpc>
            </a:pPr>
            <a:endParaRPr sz="1000"/>
          </a:p>
        </p:txBody>
      </p:sp>
      <p:sp>
        <p:nvSpPr>
          <p:cNvPr id="23" name="object 23"/>
          <p:cNvSpPr txBox="1"/>
          <p:nvPr/>
        </p:nvSpPr>
        <p:spPr>
          <a:xfrm>
            <a:off x="2780996" y="5659488"/>
            <a:ext cx="134797" cy="152400"/>
          </a:xfrm>
          <a:prstGeom prst="rect">
            <a:avLst/>
          </a:prstGeom>
        </p:spPr>
        <p:txBody>
          <a:bodyPr wrap="square" lIns="0" tIns="0" rIns="0" bIns="0" rtlCol="0">
            <a:noAutofit/>
          </a:bodyPr>
          <a:lstStyle/>
          <a:p>
            <a:pPr marL="25400">
              <a:lnSpc>
                <a:spcPts val="1000"/>
              </a:lnSpc>
            </a:pPr>
            <a:endParaRPr sz="1000"/>
          </a:p>
        </p:txBody>
      </p:sp>
      <p:sp>
        <p:nvSpPr>
          <p:cNvPr id="22" name="object 22"/>
          <p:cNvSpPr txBox="1"/>
          <p:nvPr/>
        </p:nvSpPr>
        <p:spPr>
          <a:xfrm>
            <a:off x="3015743" y="5659488"/>
            <a:ext cx="510159" cy="152400"/>
          </a:xfrm>
          <a:prstGeom prst="rect">
            <a:avLst/>
          </a:prstGeom>
        </p:spPr>
        <p:txBody>
          <a:bodyPr wrap="square" lIns="0" tIns="0" rIns="0" bIns="0" rtlCol="0">
            <a:noAutofit/>
          </a:bodyPr>
          <a:lstStyle/>
          <a:p>
            <a:pPr marL="25400">
              <a:lnSpc>
                <a:spcPts val="1000"/>
              </a:lnSpc>
            </a:pPr>
            <a:endParaRPr sz="1000"/>
          </a:p>
        </p:txBody>
      </p:sp>
      <p:sp>
        <p:nvSpPr>
          <p:cNvPr id="21" name="object 21"/>
          <p:cNvSpPr txBox="1"/>
          <p:nvPr/>
        </p:nvSpPr>
        <p:spPr>
          <a:xfrm>
            <a:off x="3612262" y="5659488"/>
            <a:ext cx="118109" cy="152400"/>
          </a:xfrm>
          <a:prstGeom prst="rect">
            <a:avLst/>
          </a:prstGeom>
        </p:spPr>
        <p:txBody>
          <a:bodyPr wrap="square" lIns="0" tIns="0" rIns="0" bIns="0" rtlCol="0">
            <a:noAutofit/>
          </a:bodyPr>
          <a:lstStyle/>
          <a:p>
            <a:pPr marL="25400">
              <a:lnSpc>
                <a:spcPts val="1000"/>
              </a:lnSpc>
            </a:pPr>
            <a:endParaRPr sz="1000"/>
          </a:p>
        </p:txBody>
      </p:sp>
      <p:sp>
        <p:nvSpPr>
          <p:cNvPr id="20" name="object 20"/>
          <p:cNvSpPr txBox="1"/>
          <p:nvPr/>
        </p:nvSpPr>
        <p:spPr>
          <a:xfrm>
            <a:off x="9376029" y="5635040"/>
            <a:ext cx="113538" cy="152400"/>
          </a:xfrm>
          <a:prstGeom prst="rect">
            <a:avLst/>
          </a:prstGeom>
        </p:spPr>
        <p:txBody>
          <a:bodyPr wrap="square" lIns="0" tIns="0" rIns="0" bIns="0" rtlCol="0">
            <a:noAutofit/>
          </a:bodyPr>
          <a:lstStyle/>
          <a:p>
            <a:pPr marL="25400">
              <a:lnSpc>
                <a:spcPts val="1000"/>
              </a:lnSpc>
            </a:pPr>
            <a:endParaRPr sz="1000"/>
          </a:p>
        </p:txBody>
      </p:sp>
      <p:sp>
        <p:nvSpPr>
          <p:cNvPr id="19" name="object 19"/>
          <p:cNvSpPr txBox="1"/>
          <p:nvPr/>
        </p:nvSpPr>
        <p:spPr>
          <a:xfrm>
            <a:off x="9593961" y="5635040"/>
            <a:ext cx="113411" cy="152400"/>
          </a:xfrm>
          <a:prstGeom prst="rect">
            <a:avLst/>
          </a:prstGeom>
        </p:spPr>
        <p:txBody>
          <a:bodyPr wrap="square" lIns="0" tIns="0" rIns="0" bIns="0" rtlCol="0">
            <a:noAutofit/>
          </a:bodyPr>
          <a:lstStyle/>
          <a:p>
            <a:pPr marL="25400">
              <a:lnSpc>
                <a:spcPts val="1000"/>
              </a:lnSpc>
            </a:pPr>
            <a:endParaRPr sz="1000"/>
          </a:p>
        </p:txBody>
      </p:sp>
      <p:sp>
        <p:nvSpPr>
          <p:cNvPr id="18" name="object 18"/>
          <p:cNvSpPr txBox="1"/>
          <p:nvPr/>
        </p:nvSpPr>
        <p:spPr>
          <a:xfrm>
            <a:off x="7923530" y="5726049"/>
            <a:ext cx="130048" cy="152400"/>
          </a:xfrm>
          <a:prstGeom prst="rect">
            <a:avLst/>
          </a:prstGeom>
        </p:spPr>
        <p:txBody>
          <a:bodyPr wrap="square" lIns="0" tIns="0" rIns="0" bIns="0" rtlCol="0">
            <a:noAutofit/>
          </a:bodyPr>
          <a:lstStyle/>
          <a:p>
            <a:pPr marL="25400">
              <a:lnSpc>
                <a:spcPts val="1000"/>
              </a:lnSpc>
            </a:pPr>
            <a:endParaRPr sz="1000"/>
          </a:p>
        </p:txBody>
      </p:sp>
      <p:sp>
        <p:nvSpPr>
          <p:cNvPr id="17" name="object 17"/>
          <p:cNvSpPr txBox="1"/>
          <p:nvPr/>
        </p:nvSpPr>
        <p:spPr>
          <a:xfrm>
            <a:off x="2780996" y="5808192"/>
            <a:ext cx="134797" cy="152400"/>
          </a:xfrm>
          <a:prstGeom prst="rect">
            <a:avLst/>
          </a:prstGeom>
        </p:spPr>
        <p:txBody>
          <a:bodyPr wrap="square" lIns="0" tIns="0" rIns="0" bIns="0" rtlCol="0">
            <a:noAutofit/>
          </a:bodyPr>
          <a:lstStyle/>
          <a:p>
            <a:pPr marL="25400">
              <a:lnSpc>
                <a:spcPts val="1000"/>
              </a:lnSpc>
            </a:pPr>
            <a:endParaRPr sz="1000"/>
          </a:p>
        </p:txBody>
      </p:sp>
      <p:sp>
        <p:nvSpPr>
          <p:cNvPr id="16" name="object 16"/>
          <p:cNvSpPr txBox="1"/>
          <p:nvPr/>
        </p:nvSpPr>
        <p:spPr>
          <a:xfrm>
            <a:off x="3015743" y="5808192"/>
            <a:ext cx="510159" cy="152400"/>
          </a:xfrm>
          <a:prstGeom prst="rect">
            <a:avLst/>
          </a:prstGeom>
        </p:spPr>
        <p:txBody>
          <a:bodyPr wrap="square" lIns="0" tIns="0" rIns="0" bIns="0" rtlCol="0">
            <a:noAutofit/>
          </a:bodyPr>
          <a:lstStyle/>
          <a:p>
            <a:pPr marL="25400">
              <a:lnSpc>
                <a:spcPts val="1000"/>
              </a:lnSpc>
            </a:pPr>
            <a:endParaRPr sz="1000"/>
          </a:p>
        </p:txBody>
      </p:sp>
      <p:sp>
        <p:nvSpPr>
          <p:cNvPr id="15" name="object 15"/>
          <p:cNvSpPr txBox="1"/>
          <p:nvPr/>
        </p:nvSpPr>
        <p:spPr>
          <a:xfrm>
            <a:off x="3612262" y="5808192"/>
            <a:ext cx="118109" cy="152400"/>
          </a:xfrm>
          <a:prstGeom prst="rect">
            <a:avLst/>
          </a:prstGeom>
        </p:spPr>
        <p:txBody>
          <a:bodyPr wrap="square" lIns="0" tIns="0" rIns="0" bIns="0" rtlCol="0">
            <a:noAutofit/>
          </a:bodyPr>
          <a:lstStyle/>
          <a:p>
            <a:pPr marL="25400">
              <a:lnSpc>
                <a:spcPts val="1000"/>
              </a:lnSpc>
            </a:pPr>
            <a:endParaRPr sz="1000"/>
          </a:p>
        </p:txBody>
      </p:sp>
      <p:sp>
        <p:nvSpPr>
          <p:cNvPr id="14" name="object 14"/>
          <p:cNvSpPr txBox="1"/>
          <p:nvPr/>
        </p:nvSpPr>
        <p:spPr>
          <a:xfrm>
            <a:off x="9376029" y="5871781"/>
            <a:ext cx="113538" cy="152400"/>
          </a:xfrm>
          <a:prstGeom prst="rect">
            <a:avLst/>
          </a:prstGeom>
        </p:spPr>
        <p:txBody>
          <a:bodyPr wrap="square" lIns="0" tIns="0" rIns="0" bIns="0" rtlCol="0">
            <a:noAutofit/>
          </a:bodyPr>
          <a:lstStyle/>
          <a:p>
            <a:pPr marL="25400">
              <a:lnSpc>
                <a:spcPts val="1000"/>
              </a:lnSpc>
            </a:pPr>
            <a:endParaRPr sz="1000"/>
          </a:p>
        </p:txBody>
      </p:sp>
      <p:sp>
        <p:nvSpPr>
          <p:cNvPr id="13" name="object 13"/>
          <p:cNvSpPr txBox="1"/>
          <p:nvPr/>
        </p:nvSpPr>
        <p:spPr>
          <a:xfrm>
            <a:off x="2780996" y="5953874"/>
            <a:ext cx="134797" cy="152400"/>
          </a:xfrm>
          <a:prstGeom prst="rect">
            <a:avLst/>
          </a:prstGeom>
        </p:spPr>
        <p:txBody>
          <a:bodyPr wrap="square" lIns="0" tIns="0" rIns="0" bIns="0" rtlCol="0">
            <a:noAutofit/>
          </a:bodyPr>
          <a:lstStyle/>
          <a:p>
            <a:pPr marL="25400">
              <a:lnSpc>
                <a:spcPts val="1000"/>
              </a:lnSpc>
            </a:pPr>
            <a:endParaRPr sz="1000"/>
          </a:p>
        </p:txBody>
      </p:sp>
      <p:sp>
        <p:nvSpPr>
          <p:cNvPr id="12" name="object 12"/>
          <p:cNvSpPr txBox="1"/>
          <p:nvPr/>
        </p:nvSpPr>
        <p:spPr>
          <a:xfrm>
            <a:off x="3015743" y="5953874"/>
            <a:ext cx="510159" cy="152400"/>
          </a:xfrm>
          <a:prstGeom prst="rect">
            <a:avLst/>
          </a:prstGeom>
        </p:spPr>
        <p:txBody>
          <a:bodyPr wrap="square" lIns="0" tIns="0" rIns="0" bIns="0" rtlCol="0">
            <a:noAutofit/>
          </a:bodyPr>
          <a:lstStyle/>
          <a:p>
            <a:pPr marL="25400">
              <a:lnSpc>
                <a:spcPts val="1000"/>
              </a:lnSpc>
            </a:pPr>
            <a:endParaRPr sz="1000"/>
          </a:p>
        </p:txBody>
      </p:sp>
      <p:sp>
        <p:nvSpPr>
          <p:cNvPr id="11" name="object 11"/>
          <p:cNvSpPr txBox="1"/>
          <p:nvPr/>
        </p:nvSpPr>
        <p:spPr>
          <a:xfrm>
            <a:off x="3612262" y="5953874"/>
            <a:ext cx="118109" cy="152400"/>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7923530" y="5962853"/>
            <a:ext cx="130048" cy="152400"/>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8722359" y="5962853"/>
            <a:ext cx="113538" cy="152400"/>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2771915" y="6069203"/>
            <a:ext cx="928103" cy="152400"/>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8577199" y="6108585"/>
            <a:ext cx="130048" cy="152400"/>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8802624" y="6108585"/>
            <a:ext cx="490220" cy="152400"/>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9376029" y="6108585"/>
            <a:ext cx="113538" cy="152400"/>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2780996" y="6199695"/>
            <a:ext cx="134797" cy="152400"/>
          </a:xfrm>
          <a:prstGeom prst="rect">
            <a:avLst/>
          </a:prstGeom>
        </p:spPr>
        <p:txBody>
          <a:bodyPr wrap="square" lIns="0" tIns="0" rIns="0" bIns="0" rtlCol="0">
            <a:noAutofit/>
          </a:bodyPr>
          <a:lstStyle/>
          <a:p>
            <a:pPr marL="25400">
              <a:lnSpc>
                <a:spcPts val="1000"/>
              </a:lnSpc>
            </a:pPr>
            <a:endParaRPr sz="1000"/>
          </a:p>
        </p:txBody>
      </p:sp>
      <p:sp>
        <p:nvSpPr>
          <p:cNvPr id="3" name="object 3"/>
          <p:cNvSpPr txBox="1"/>
          <p:nvPr/>
        </p:nvSpPr>
        <p:spPr>
          <a:xfrm>
            <a:off x="3015743" y="6199695"/>
            <a:ext cx="510159" cy="152400"/>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3612262" y="6199695"/>
            <a:ext cx="118109" cy="152400"/>
          </a:xfrm>
          <a:prstGeom prst="rect">
            <a:avLst/>
          </a:prstGeom>
        </p:spPr>
        <p:txBody>
          <a:bodyPr wrap="square" lIns="0" tIns="0" rIns="0" bIns="0" rtlCol="0">
            <a:noAutofit/>
          </a:bodyPr>
          <a:lstStyle/>
          <a:p>
            <a:pPr marL="25400">
              <a:lnSpc>
                <a:spcPts val="1000"/>
              </a:lnSpc>
            </a:pPr>
            <a:endParaRPr sz="1000"/>
          </a:p>
        </p:txBody>
      </p:sp>
      <p:sp>
        <p:nvSpPr>
          <p:cNvPr id="1435" name="Title 1434"/>
          <p:cNvSpPr>
            <a:spLocks noGrp="1"/>
          </p:cNvSpPr>
          <p:nvPr>
            <p:ph type="title"/>
          </p:nvPr>
        </p:nvSpPr>
        <p:spPr>
          <a:xfrm>
            <a:off x="1788047" y="329872"/>
            <a:ext cx="8509933" cy="557177"/>
          </a:xfrm>
        </p:spPr>
        <p:txBody>
          <a:bodyPr>
            <a:normAutofit fontScale="90000"/>
          </a:bodyPr>
          <a:lstStyle/>
          <a:p>
            <a:r>
              <a:rPr lang="en-US" sz="2700" dirty="0">
                <a:latin typeface="+mn-lt"/>
                <a:cs typeface="Arial"/>
              </a:rPr>
              <a:t>Post Goods Issue</a:t>
            </a:r>
            <a:br>
              <a:rPr lang="en-US" sz="2800" dirty="0">
                <a:latin typeface="Arial"/>
                <a:cs typeface="Arial"/>
              </a:rPr>
            </a:b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bject 59"/>
          <p:cNvSpPr/>
          <p:nvPr/>
        </p:nvSpPr>
        <p:spPr>
          <a:xfrm>
            <a:off x="3608451" y="1549401"/>
            <a:ext cx="1950974" cy="269875"/>
          </a:xfrm>
          <a:prstGeom prst="rect">
            <a:avLst/>
          </a:prstGeom>
          <a:blipFill>
            <a:blip r:embed="rId2" cstate="print"/>
            <a:stretch>
              <a:fillRect/>
            </a:stretch>
          </a:blipFill>
        </p:spPr>
        <p:txBody>
          <a:bodyPr wrap="square" lIns="0" tIns="0" rIns="0" bIns="0" rtlCol="0">
            <a:noAutofit/>
          </a:bodyPr>
          <a:lstStyle/>
          <a:p>
            <a:endParaRPr/>
          </a:p>
        </p:txBody>
      </p:sp>
      <p:sp>
        <p:nvSpPr>
          <p:cNvPr id="60" name="object 60"/>
          <p:cNvSpPr/>
          <p:nvPr/>
        </p:nvSpPr>
        <p:spPr>
          <a:xfrm>
            <a:off x="3608451" y="1549401"/>
            <a:ext cx="1950974" cy="269875"/>
          </a:xfrm>
          <a:custGeom>
            <a:avLst/>
            <a:gdLst/>
            <a:ahLst/>
            <a:cxnLst/>
            <a:rect l="l" t="t" r="r" b="b"/>
            <a:pathLst>
              <a:path w="1950974" h="269875">
                <a:moveTo>
                  <a:pt x="0" y="0"/>
                </a:moveTo>
                <a:lnTo>
                  <a:pt x="1598295" y="0"/>
                </a:lnTo>
                <a:lnTo>
                  <a:pt x="1950974" y="135000"/>
                </a:lnTo>
                <a:lnTo>
                  <a:pt x="1598295" y="269875"/>
                </a:lnTo>
                <a:lnTo>
                  <a:pt x="0" y="269875"/>
                </a:lnTo>
                <a:lnTo>
                  <a:pt x="0" y="0"/>
                </a:lnTo>
                <a:close/>
              </a:path>
            </a:pathLst>
          </a:custGeom>
          <a:ln w="25400">
            <a:solidFill>
              <a:srgbClr val="000000"/>
            </a:solidFill>
          </a:ln>
        </p:spPr>
        <p:txBody>
          <a:bodyPr wrap="square" lIns="0" tIns="0" rIns="0" bIns="0" rtlCol="0">
            <a:noAutofit/>
          </a:bodyPr>
          <a:lstStyle/>
          <a:p>
            <a:endParaRPr/>
          </a:p>
        </p:txBody>
      </p:sp>
      <p:sp>
        <p:nvSpPr>
          <p:cNvPr id="61" name="object 61"/>
          <p:cNvSpPr/>
          <p:nvPr/>
        </p:nvSpPr>
        <p:spPr>
          <a:xfrm>
            <a:off x="2298700" y="1449451"/>
            <a:ext cx="2284476" cy="520700"/>
          </a:xfrm>
          <a:prstGeom prst="rect">
            <a:avLst/>
          </a:prstGeom>
          <a:blipFill>
            <a:blip r:embed="rId3" cstate="print"/>
            <a:stretch>
              <a:fillRect/>
            </a:stretch>
          </a:blipFill>
        </p:spPr>
        <p:txBody>
          <a:bodyPr wrap="square" lIns="0" tIns="0" rIns="0" bIns="0" rtlCol="0">
            <a:noAutofit/>
          </a:bodyPr>
          <a:lstStyle/>
          <a:p>
            <a:endParaRPr/>
          </a:p>
        </p:txBody>
      </p:sp>
      <p:sp>
        <p:nvSpPr>
          <p:cNvPr id="62" name="object 62"/>
          <p:cNvSpPr/>
          <p:nvPr/>
        </p:nvSpPr>
        <p:spPr>
          <a:xfrm>
            <a:off x="2298700" y="1449451"/>
            <a:ext cx="2284476" cy="520700"/>
          </a:xfrm>
          <a:custGeom>
            <a:avLst/>
            <a:gdLst/>
            <a:ahLst/>
            <a:cxnLst/>
            <a:rect l="l" t="t" r="r" b="b"/>
            <a:pathLst>
              <a:path w="2284476" h="520700">
                <a:moveTo>
                  <a:pt x="0" y="520700"/>
                </a:moveTo>
                <a:lnTo>
                  <a:pt x="2284476" y="520700"/>
                </a:lnTo>
                <a:lnTo>
                  <a:pt x="2284476" y="0"/>
                </a:lnTo>
                <a:lnTo>
                  <a:pt x="0" y="0"/>
                </a:lnTo>
                <a:lnTo>
                  <a:pt x="0" y="520700"/>
                </a:lnTo>
                <a:close/>
              </a:path>
            </a:pathLst>
          </a:custGeom>
          <a:ln w="25399">
            <a:solidFill>
              <a:srgbClr val="000000"/>
            </a:solidFill>
          </a:ln>
        </p:spPr>
        <p:txBody>
          <a:bodyPr wrap="square" lIns="0" tIns="0" rIns="0" bIns="0" rtlCol="0">
            <a:noAutofit/>
          </a:bodyPr>
          <a:lstStyle/>
          <a:p>
            <a:endParaRPr/>
          </a:p>
        </p:txBody>
      </p:sp>
      <p:sp>
        <p:nvSpPr>
          <p:cNvPr id="63" name="object 63"/>
          <p:cNvSpPr/>
          <p:nvPr/>
        </p:nvSpPr>
        <p:spPr>
          <a:xfrm>
            <a:off x="2450591" y="1450848"/>
            <a:ext cx="2007108" cy="461772"/>
          </a:xfrm>
          <a:prstGeom prst="rect">
            <a:avLst/>
          </a:prstGeom>
          <a:blipFill>
            <a:blip r:embed="rId4" cstate="print"/>
            <a:stretch>
              <a:fillRect/>
            </a:stretch>
          </a:blipFill>
        </p:spPr>
        <p:txBody>
          <a:bodyPr wrap="square" lIns="0" tIns="0" rIns="0" bIns="0" rtlCol="0">
            <a:noAutofit/>
          </a:bodyPr>
          <a:lstStyle/>
          <a:p>
            <a:endParaRPr/>
          </a:p>
        </p:txBody>
      </p:sp>
      <p:sp>
        <p:nvSpPr>
          <p:cNvPr id="64" name="object 64"/>
          <p:cNvSpPr/>
          <p:nvPr/>
        </p:nvSpPr>
        <p:spPr>
          <a:xfrm>
            <a:off x="4079749" y="1450848"/>
            <a:ext cx="455675" cy="461772"/>
          </a:xfrm>
          <a:prstGeom prst="rect">
            <a:avLst/>
          </a:prstGeom>
          <a:blipFill>
            <a:blip r:embed="rId5" cstate="print"/>
            <a:stretch>
              <a:fillRect/>
            </a:stretch>
          </a:blipFill>
        </p:spPr>
        <p:txBody>
          <a:bodyPr wrap="square" lIns="0" tIns="0" rIns="0" bIns="0" rtlCol="0">
            <a:noAutofit/>
          </a:bodyPr>
          <a:lstStyle/>
          <a:p>
            <a:endParaRPr/>
          </a:p>
        </p:txBody>
      </p:sp>
      <p:sp>
        <p:nvSpPr>
          <p:cNvPr id="39" name="object 39"/>
          <p:cNvSpPr/>
          <p:nvPr/>
        </p:nvSpPr>
        <p:spPr>
          <a:xfrm>
            <a:off x="3036951" y="2227327"/>
            <a:ext cx="831850" cy="3014599"/>
          </a:xfrm>
          <a:prstGeom prst="rect">
            <a:avLst/>
          </a:prstGeom>
          <a:blipFill>
            <a:blip r:embed="rId6" cstate="print"/>
            <a:stretch>
              <a:fillRect/>
            </a:stretch>
          </a:blipFill>
        </p:spPr>
        <p:txBody>
          <a:bodyPr wrap="square" lIns="0" tIns="0" rIns="0" bIns="0" rtlCol="0">
            <a:noAutofit/>
          </a:bodyPr>
          <a:lstStyle/>
          <a:p>
            <a:endParaRPr/>
          </a:p>
        </p:txBody>
      </p:sp>
      <p:sp>
        <p:nvSpPr>
          <p:cNvPr id="40" name="object 40"/>
          <p:cNvSpPr/>
          <p:nvPr/>
        </p:nvSpPr>
        <p:spPr>
          <a:xfrm>
            <a:off x="3036951" y="2227327"/>
            <a:ext cx="831850" cy="3014599"/>
          </a:xfrm>
          <a:custGeom>
            <a:avLst/>
            <a:gdLst/>
            <a:ahLst/>
            <a:cxnLst/>
            <a:rect l="l" t="t" r="r" b="b"/>
            <a:pathLst>
              <a:path w="831850" h="3014599">
                <a:moveTo>
                  <a:pt x="0" y="3014599"/>
                </a:moveTo>
                <a:lnTo>
                  <a:pt x="831850" y="3014599"/>
                </a:lnTo>
                <a:lnTo>
                  <a:pt x="831850" y="0"/>
                </a:lnTo>
                <a:lnTo>
                  <a:pt x="0" y="0"/>
                </a:lnTo>
                <a:lnTo>
                  <a:pt x="0" y="3014599"/>
                </a:lnTo>
                <a:close/>
              </a:path>
            </a:pathLst>
          </a:custGeom>
          <a:ln w="25400">
            <a:solidFill>
              <a:srgbClr val="000000"/>
            </a:solidFill>
          </a:ln>
        </p:spPr>
        <p:txBody>
          <a:bodyPr wrap="square" lIns="0" tIns="0" rIns="0" bIns="0" rtlCol="0">
            <a:noAutofit/>
          </a:bodyPr>
          <a:lstStyle/>
          <a:p>
            <a:endParaRPr/>
          </a:p>
        </p:txBody>
      </p:sp>
      <p:sp>
        <p:nvSpPr>
          <p:cNvPr id="41" name="object 41"/>
          <p:cNvSpPr/>
          <p:nvPr/>
        </p:nvSpPr>
        <p:spPr>
          <a:xfrm>
            <a:off x="3608451" y="3681476"/>
            <a:ext cx="1950974" cy="269748"/>
          </a:xfrm>
          <a:prstGeom prst="rect">
            <a:avLst/>
          </a:prstGeom>
          <a:blipFill>
            <a:blip r:embed="rId7" cstate="print"/>
            <a:stretch>
              <a:fillRect/>
            </a:stretch>
          </a:blipFill>
        </p:spPr>
        <p:txBody>
          <a:bodyPr wrap="square" lIns="0" tIns="0" rIns="0" bIns="0" rtlCol="0">
            <a:noAutofit/>
          </a:bodyPr>
          <a:lstStyle/>
          <a:p>
            <a:endParaRPr/>
          </a:p>
        </p:txBody>
      </p:sp>
      <p:sp>
        <p:nvSpPr>
          <p:cNvPr id="42" name="object 42"/>
          <p:cNvSpPr/>
          <p:nvPr/>
        </p:nvSpPr>
        <p:spPr>
          <a:xfrm>
            <a:off x="3608451" y="3681476"/>
            <a:ext cx="1950974" cy="269748"/>
          </a:xfrm>
          <a:custGeom>
            <a:avLst/>
            <a:gdLst/>
            <a:ahLst/>
            <a:cxnLst/>
            <a:rect l="l" t="t" r="r" b="b"/>
            <a:pathLst>
              <a:path w="1950974" h="269748">
                <a:moveTo>
                  <a:pt x="0" y="0"/>
                </a:moveTo>
                <a:lnTo>
                  <a:pt x="1598295" y="0"/>
                </a:lnTo>
                <a:lnTo>
                  <a:pt x="1950974" y="134874"/>
                </a:lnTo>
                <a:lnTo>
                  <a:pt x="1598295" y="269748"/>
                </a:lnTo>
                <a:lnTo>
                  <a:pt x="0" y="269748"/>
                </a:lnTo>
                <a:lnTo>
                  <a:pt x="0" y="0"/>
                </a:lnTo>
                <a:close/>
              </a:path>
            </a:pathLst>
          </a:custGeom>
          <a:ln w="25400">
            <a:solidFill>
              <a:srgbClr val="000000"/>
            </a:solidFill>
          </a:ln>
        </p:spPr>
        <p:txBody>
          <a:bodyPr wrap="square" lIns="0" tIns="0" rIns="0" bIns="0" rtlCol="0">
            <a:noAutofit/>
          </a:bodyPr>
          <a:lstStyle/>
          <a:p>
            <a:endParaRPr/>
          </a:p>
        </p:txBody>
      </p:sp>
      <p:sp>
        <p:nvSpPr>
          <p:cNvPr id="43" name="object 43"/>
          <p:cNvSpPr/>
          <p:nvPr/>
        </p:nvSpPr>
        <p:spPr>
          <a:xfrm>
            <a:off x="3608451" y="4490975"/>
            <a:ext cx="1950974" cy="269875"/>
          </a:xfrm>
          <a:prstGeom prst="rect">
            <a:avLst/>
          </a:prstGeom>
          <a:blipFill>
            <a:blip r:embed="rId8" cstate="print"/>
            <a:stretch>
              <a:fillRect/>
            </a:stretch>
          </a:blipFill>
        </p:spPr>
        <p:txBody>
          <a:bodyPr wrap="square" lIns="0" tIns="0" rIns="0" bIns="0" rtlCol="0">
            <a:noAutofit/>
          </a:bodyPr>
          <a:lstStyle/>
          <a:p>
            <a:endParaRPr/>
          </a:p>
        </p:txBody>
      </p:sp>
      <p:sp>
        <p:nvSpPr>
          <p:cNvPr id="44" name="object 44"/>
          <p:cNvSpPr/>
          <p:nvPr/>
        </p:nvSpPr>
        <p:spPr>
          <a:xfrm>
            <a:off x="3608451" y="4490975"/>
            <a:ext cx="1950974" cy="269875"/>
          </a:xfrm>
          <a:custGeom>
            <a:avLst/>
            <a:gdLst/>
            <a:ahLst/>
            <a:cxnLst/>
            <a:rect l="l" t="t" r="r" b="b"/>
            <a:pathLst>
              <a:path w="1950974" h="269875">
                <a:moveTo>
                  <a:pt x="0" y="0"/>
                </a:moveTo>
                <a:lnTo>
                  <a:pt x="1598295" y="0"/>
                </a:lnTo>
                <a:lnTo>
                  <a:pt x="1950974" y="135000"/>
                </a:lnTo>
                <a:lnTo>
                  <a:pt x="1598295" y="269875"/>
                </a:lnTo>
                <a:lnTo>
                  <a:pt x="0" y="269875"/>
                </a:lnTo>
                <a:lnTo>
                  <a:pt x="0" y="0"/>
                </a:lnTo>
                <a:close/>
              </a:path>
            </a:pathLst>
          </a:custGeom>
          <a:ln w="25400">
            <a:solidFill>
              <a:srgbClr val="000000"/>
            </a:solidFill>
          </a:ln>
        </p:spPr>
        <p:txBody>
          <a:bodyPr wrap="square" lIns="0" tIns="0" rIns="0" bIns="0" rtlCol="0">
            <a:noAutofit/>
          </a:bodyPr>
          <a:lstStyle/>
          <a:p>
            <a:endParaRPr/>
          </a:p>
        </p:txBody>
      </p:sp>
      <p:sp>
        <p:nvSpPr>
          <p:cNvPr id="45" name="object 45"/>
          <p:cNvSpPr/>
          <p:nvPr/>
        </p:nvSpPr>
        <p:spPr>
          <a:xfrm>
            <a:off x="2608262" y="3557524"/>
            <a:ext cx="1665224" cy="520700"/>
          </a:xfrm>
          <a:prstGeom prst="rect">
            <a:avLst/>
          </a:prstGeom>
          <a:blipFill>
            <a:blip r:embed="rId9" cstate="print"/>
            <a:stretch>
              <a:fillRect/>
            </a:stretch>
          </a:blipFill>
        </p:spPr>
        <p:txBody>
          <a:bodyPr wrap="square" lIns="0" tIns="0" rIns="0" bIns="0" rtlCol="0">
            <a:noAutofit/>
          </a:bodyPr>
          <a:lstStyle/>
          <a:p>
            <a:endParaRPr/>
          </a:p>
        </p:txBody>
      </p:sp>
      <p:sp>
        <p:nvSpPr>
          <p:cNvPr id="46" name="object 46"/>
          <p:cNvSpPr/>
          <p:nvPr/>
        </p:nvSpPr>
        <p:spPr>
          <a:xfrm>
            <a:off x="2608262" y="3557524"/>
            <a:ext cx="1665224" cy="520700"/>
          </a:xfrm>
          <a:custGeom>
            <a:avLst/>
            <a:gdLst/>
            <a:ahLst/>
            <a:cxnLst/>
            <a:rect l="l" t="t" r="r" b="b"/>
            <a:pathLst>
              <a:path w="1665224" h="520700">
                <a:moveTo>
                  <a:pt x="0" y="520700"/>
                </a:moveTo>
                <a:lnTo>
                  <a:pt x="1665224" y="520700"/>
                </a:lnTo>
                <a:lnTo>
                  <a:pt x="1665224" y="0"/>
                </a:lnTo>
                <a:lnTo>
                  <a:pt x="0" y="0"/>
                </a:lnTo>
                <a:lnTo>
                  <a:pt x="0" y="520700"/>
                </a:lnTo>
                <a:close/>
              </a:path>
            </a:pathLst>
          </a:custGeom>
          <a:ln w="25400">
            <a:solidFill>
              <a:srgbClr val="000000"/>
            </a:solidFill>
          </a:ln>
        </p:spPr>
        <p:txBody>
          <a:bodyPr wrap="square" lIns="0" tIns="0" rIns="0" bIns="0" rtlCol="0">
            <a:noAutofit/>
          </a:bodyPr>
          <a:lstStyle/>
          <a:p>
            <a:endParaRPr/>
          </a:p>
        </p:txBody>
      </p:sp>
      <p:sp>
        <p:nvSpPr>
          <p:cNvPr id="47" name="object 47"/>
          <p:cNvSpPr/>
          <p:nvPr/>
        </p:nvSpPr>
        <p:spPr>
          <a:xfrm>
            <a:off x="2785872" y="3558540"/>
            <a:ext cx="1339596" cy="461772"/>
          </a:xfrm>
          <a:prstGeom prst="rect">
            <a:avLst/>
          </a:prstGeom>
          <a:blipFill>
            <a:blip r:embed="rId10" cstate="print"/>
            <a:stretch>
              <a:fillRect/>
            </a:stretch>
          </a:blipFill>
        </p:spPr>
        <p:txBody>
          <a:bodyPr wrap="square" lIns="0" tIns="0" rIns="0" bIns="0" rtlCol="0">
            <a:noAutofit/>
          </a:bodyPr>
          <a:lstStyle/>
          <a:p>
            <a:endParaRPr/>
          </a:p>
        </p:txBody>
      </p:sp>
      <p:sp>
        <p:nvSpPr>
          <p:cNvPr id="48" name="object 48"/>
          <p:cNvSpPr/>
          <p:nvPr/>
        </p:nvSpPr>
        <p:spPr>
          <a:xfrm>
            <a:off x="3747517" y="3558540"/>
            <a:ext cx="455675" cy="461772"/>
          </a:xfrm>
          <a:prstGeom prst="rect">
            <a:avLst/>
          </a:prstGeom>
          <a:blipFill>
            <a:blip r:embed="rId5" cstate="print"/>
            <a:stretch>
              <a:fillRect/>
            </a:stretch>
          </a:blipFill>
        </p:spPr>
        <p:txBody>
          <a:bodyPr wrap="square" lIns="0" tIns="0" rIns="0" bIns="0" rtlCol="0">
            <a:noAutofit/>
          </a:bodyPr>
          <a:lstStyle/>
          <a:p>
            <a:endParaRPr/>
          </a:p>
        </p:txBody>
      </p:sp>
      <p:sp>
        <p:nvSpPr>
          <p:cNvPr id="49" name="object 49"/>
          <p:cNvSpPr/>
          <p:nvPr/>
        </p:nvSpPr>
        <p:spPr>
          <a:xfrm>
            <a:off x="2608262" y="4367149"/>
            <a:ext cx="1665224" cy="520700"/>
          </a:xfrm>
          <a:prstGeom prst="rect">
            <a:avLst/>
          </a:prstGeom>
          <a:blipFill>
            <a:blip r:embed="rId11" cstate="print"/>
            <a:stretch>
              <a:fillRect/>
            </a:stretch>
          </a:blipFill>
        </p:spPr>
        <p:txBody>
          <a:bodyPr wrap="square" lIns="0" tIns="0" rIns="0" bIns="0" rtlCol="0">
            <a:noAutofit/>
          </a:bodyPr>
          <a:lstStyle/>
          <a:p>
            <a:endParaRPr/>
          </a:p>
        </p:txBody>
      </p:sp>
      <p:sp>
        <p:nvSpPr>
          <p:cNvPr id="50" name="object 50"/>
          <p:cNvSpPr/>
          <p:nvPr/>
        </p:nvSpPr>
        <p:spPr>
          <a:xfrm>
            <a:off x="2608262" y="4367149"/>
            <a:ext cx="1665224" cy="520700"/>
          </a:xfrm>
          <a:custGeom>
            <a:avLst/>
            <a:gdLst/>
            <a:ahLst/>
            <a:cxnLst/>
            <a:rect l="l" t="t" r="r" b="b"/>
            <a:pathLst>
              <a:path w="1665224" h="520700">
                <a:moveTo>
                  <a:pt x="0" y="520700"/>
                </a:moveTo>
                <a:lnTo>
                  <a:pt x="1665224" y="520700"/>
                </a:lnTo>
                <a:lnTo>
                  <a:pt x="1665224" y="0"/>
                </a:lnTo>
                <a:lnTo>
                  <a:pt x="0" y="0"/>
                </a:lnTo>
                <a:lnTo>
                  <a:pt x="0" y="520700"/>
                </a:lnTo>
                <a:close/>
              </a:path>
            </a:pathLst>
          </a:custGeom>
          <a:ln w="25400">
            <a:solidFill>
              <a:srgbClr val="000000"/>
            </a:solidFill>
          </a:ln>
        </p:spPr>
        <p:txBody>
          <a:bodyPr wrap="square" lIns="0" tIns="0" rIns="0" bIns="0" rtlCol="0">
            <a:noAutofit/>
          </a:bodyPr>
          <a:lstStyle/>
          <a:p>
            <a:endParaRPr/>
          </a:p>
        </p:txBody>
      </p:sp>
      <p:sp>
        <p:nvSpPr>
          <p:cNvPr id="51" name="object 51"/>
          <p:cNvSpPr/>
          <p:nvPr/>
        </p:nvSpPr>
        <p:spPr>
          <a:xfrm>
            <a:off x="2785872" y="4369309"/>
            <a:ext cx="1339596" cy="461771"/>
          </a:xfrm>
          <a:prstGeom prst="rect">
            <a:avLst/>
          </a:prstGeom>
          <a:blipFill>
            <a:blip r:embed="rId12" cstate="print"/>
            <a:stretch>
              <a:fillRect/>
            </a:stretch>
          </a:blipFill>
        </p:spPr>
        <p:txBody>
          <a:bodyPr wrap="square" lIns="0" tIns="0" rIns="0" bIns="0" rtlCol="0">
            <a:noAutofit/>
          </a:bodyPr>
          <a:lstStyle/>
          <a:p>
            <a:endParaRPr/>
          </a:p>
        </p:txBody>
      </p:sp>
      <p:sp>
        <p:nvSpPr>
          <p:cNvPr id="52" name="object 52"/>
          <p:cNvSpPr/>
          <p:nvPr/>
        </p:nvSpPr>
        <p:spPr>
          <a:xfrm>
            <a:off x="3747517" y="4369309"/>
            <a:ext cx="455675" cy="461771"/>
          </a:xfrm>
          <a:prstGeom prst="rect">
            <a:avLst/>
          </a:prstGeom>
          <a:blipFill>
            <a:blip r:embed="rId5" cstate="print"/>
            <a:stretch>
              <a:fillRect/>
            </a:stretch>
          </a:blipFill>
        </p:spPr>
        <p:txBody>
          <a:bodyPr wrap="square" lIns="0" tIns="0" rIns="0" bIns="0" rtlCol="0">
            <a:noAutofit/>
          </a:bodyPr>
          <a:lstStyle/>
          <a:p>
            <a:endParaRPr/>
          </a:p>
        </p:txBody>
      </p:sp>
      <p:sp>
        <p:nvSpPr>
          <p:cNvPr id="53" name="object 53"/>
          <p:cNvSpPr/>
          <p:nvPr/>
        </p:nvSpPr>
        <p:spPr>
          <a:xfrm>
            <a:off x="3608451" y="5300727"/>
            <a:ext cx="1950974" cy="269875"/>
          </a:xfrm>
          <a:prstGeom prst="rect">
            <a:avLst/>
          </a:prstGeom>
          <a:blipFill>
            <a:blip r:embed="rId13" cstate="print"/>
            <a:stretch>
              <a:fillRect/>
            </a:stretch>
          </a:blipFill>
        </p:spPr>
        <p:txBody>
          <a:bodyPr wrap="square" lIns="0" tIns="0" rIns="0" bIns="0" rtlCol="0">
            <a:noAutofit/>
          </a:bodyPr>
          <a:lstStyle/>
          <a:p>
            <a:endParaRPr/>
          </a:p>
        </p:txBody>
      </p:sp>
      <p:sp>
        <p:nvSpPr>
          <p:cNvPr id="54" name="object 54"/>
          <p:cNvSpPr/>
          <p:nvPr/>
        </p:nvSpPr>
        <p:spPr>
          <a:xfrm>
            <a:off x="3608451" y="5300727"/>
            <a:ext cx="1950974" cy="269875"/>
          </a:xfrm>
          <a:custGeom>
            <a:avLst/>
            <a:gdLst/>
            <a:ahLst/>
            <a:cxnLst/>
            <a:rect l="l" t="t" r="r" b="b"/>
            <a:pathLst>
              <a:path w="1950974" h="269875">
                <a:moveTo>
                  <a:pt x="0" y="0"/>
                </a:moveTo>
                <a:lnTo>
                  <a:pt x="1598295" y="0"/>
                </a:lnTo>
                <a:lnTo>
                  <a:pt x="1950974" y="134874"/>
                </a:lnTo>
                <a:lnTo>
                  <a:pt x="1598295" y="269875"/>
                </a:lnTo>
                <a:lnTo>
                  <a:pt x="0" y="269875"/>
                </a:lnTo>
                <a:lnTo>
                  <a:pt x="0" y="0"/>
                </a:lnTo>
                <a:close/>
              </a:path>
            </a:pathLst>
          </a:custGeom>
          <a:ln w="25400">
            <a:solidFill>
              <a:srgbClr val="000000"/>
            </a:solidFill>
          </a:ln>
        </p:spPr>
        <p:txBody>
          <a:bodyPr wrap="square" lIns="0" tIns="0" rIns="0" bIns="0" rtlCol="0">
            <a:noAutofit/>
          </a:bodyPr>
          <a:lstStyle/>
          <a:p>
            <a:endParaRPr/>
          </a:p>
        </p:txBody>
      </p:sp>
      <p:sp>
        <p:nvSpPr>
          <p:cNvPr id="55" name="object 55"/>
          <p:cNvSpPr/>
          <p:nvPr/>
        </p:nvSpPr>
        <p:spPr>
          <a:xfrm>
            <a:off x="2608262" y="5176837"/>
            <a:ext cx="1665224" cy="520700"/>
          </a:xfrm>
          <a:prstGeom prst="rect">
            <a:avLst/>
          </a:prstGeom>
          <a:blipFill>
            <a:blip r:embed="rId14" cstate="print"/>
            <a:stretch>
              <a:fillRect/>
            </a:stretch>
          </a:blipFill>
        </p:spPr>
        <p:txBody>
          <a:bodyPr wrap="square" lIns="0" tIns="0" rIns="0" bIns="0" rtlCol="0">
            <a:noAutofit/>
          </a:bodyPr>
          <a:lstStyle/>
          <a:p>
            <a:endParaRPr/>
          </a:p>
        </p:txBody>
      </p:sp>
      <p:sp>
        <p:nvSpPr>
          <p:cNvPr id="56" name="object 56"/>
          <p:cNvSpPr/>
          <p:nvPr/>
        </p:nvSpPr>
        <p:spPr>
          <a:xfrm>
            <a:off x="2608262" y="5176837"/>
            <a:ext cx="1665224" cy="520700"/>
          </a:xfrm>
          <a:custGeom>
            <a:avLst/>
            <a:gdLst/>
            <a:ahLst/>
            <a:cxnLst/>
            <a:rect l="l" t="t" r="r" b="b"/>
            <a:pathLst>
              <a:path w="1665224" h="520700">
                <a:moveTo>
                  <a:pt x="0" y="520700"/>
                </a:moveTo>
                <a:lnTo>
                  <a:pt x="1665224" y="520700"/>
                </a:lnTo>
                <a:lnTo>
                  <a:pt x="1665224" y="0"/>
                </a:lnTo>
                <a:lnTo>
                  <a:pt x="0" y="0"/>
                </a:lnTo>
                <a:lnTo>
                  <a:pt x="0" y="520700"/>
                </a:lnTo>
                <a:close/>
              </a:path>
            </a:pathLst>
          </a:custGeom>
          <a:ln w="25400">
            <a:solidFill>
              <a:srgbClr val="000000"/>
            </a:solidFill>
          </a:ln>
        </p:spPr>
        <p:txBody>
          <a:bodyPr wrap="square" lIns="0" tIns="0" rIns="0" bIns="0" rtlCol="0">
            <a:noAutofit/>
          </a:bodyPr>
          <a:lstStyle/>
          <a:p>
            <a:endParaRPr/>
          </a:p>
        </p:txBody>
      </p:sp>
      <p:sp>
        <p:nvSpPr>
          <p:cNvPr id="57" name="object 57"/>
          <p:cNvSpPr/>
          <p:nvPr/>
        </p:nvSpPr>
        <p:spPr>
          <a:xfrm>
            <a:off x="2785872" y="5178552"/>
            <a:ext cx="1339596" cy="461772"/>
          </a:xfrm>
          <a:prstGeom prst="rect">
            <a:avLst/>
          </a:prstGeom>
          <a:blipFill>
            <a:blip r:embed="rId15" cstate="print"/>
            <a:stretch>
              <a:fillRect/>
            </a:stretch>
          </a:blipFill>
        </p:spPr>
        <p:txBody>
          <a:bodyPr wrap="square" lIns="0" tIns="0" rIns="0" bIns="0" rtlCol="0">
            <a:noAutofit/>
          </a:bodyPr>
          <a:lstStyle/>
          <a:p>
            <a:endParaRPr/>
          </a:p>
        </p:txBody>
      </p:sp>
      <p:sp>
        <p:nvSpPr>
          <p:cNvPr id="58" name="object 58"/>
          <p:cNvSpPr/>
          <p:nvPr/>
        </p:nvSpPr>
        <p:spPr>
          <a:xfrm>
            <a:off x="3747517" y="5178552"/>
            <a:ext cx="455675" cy="461772"/>
          </a:xfrm>
          <a:prstGeom prst="rect">
            <a:avLst/>
          </a:prstGeom>
          <a:blipFill>
            <a:blip r:embed="rId5" cstate="print"/>
            <a:stretch>
              <a:fillRect/>
            </a:stretch>
          </a:blipFill>
        </p:spPr>
        <p:txBody>
          <a:bodyPr wrap="square" lIns="0" tIns="0" rIns="0" bIns="0" rtlCol="0">
            <a:noAutofit/>
          </a:bodyPr>
          <a:lstStyle/>
          <a:p>
            <a:endParaRPr/>
          </a:p>
        </p:txBody>
      </p:sp>
      <p:sp>
        <p:nvSpPr>
          <p:cNvPr id="37" name="object 37"/>
          <p:cNvSpPr/>
          <p:nvPr/>
        </p:nvSpPr>
        <p:spPr>
          <a:xfrm>
            <a:off x="5775325" y="1295400"/>
            <a:ext cx="4189476" cy="2127246"/>
          </a:xfrm>
          <a:custGeom>
            <a:avLst/>
            <a:gdLst/>
            <a:ahLst/>
            <a:cxnLst/>
            <a:rect l="l" t="t" r="r" b="b"/>
            <a:pathLst>
              <a:path w="4189476" h="1981200">
                <a:moveTo>
                  <a:pt x="0" y="1981200"/>
                </a:moveTo>
                <a:lnTo>
                  <a:pt x="4189476" y="1981200"/>
                </a:lnTo>
                <a:lnTo>
                  <a:pt x="4189476" y="0"/>
                </a:lnTo>
                <a:lnTo>
                  <a:pt x="0" y="0"/>
                </a:lnTo>
                <a:lnTo>
                  <a:pt x="0" y="1981200"/>
                </a:lnTo>
                <a:close/>
              </a:path>
            </a:pathLst>
          </a:custGeom>
          <a:solidFill>
            <a:srgbClr val="FDC5FD"/>
          </a:solidFill>
        </p:spPr>
        <p:txBody>
          <a:bodyPr wrap="square" lIns="0" tIns="0" rIns="0" bIns="0" rtlCol="0">
            <a:noAutofit/>
          </a:bodyPr>
          <a:lstStyle/>
          <a:p>
            <a:endParaRPr/>
          </a:p>
        </p:txBody>
      </p:sp>
      <p:sp>
        <p:nvSpPr>
          <p:cNvPr id="38" name="object 38"/>
          <p:cNvSpPr/>
          <p:nvPr/>
        </p:nvSpPr>
        <p:spPr>
          <a:xfrm>
            <a:off x="5775325" y="1295400"/>
            <a:ext cx="4189476" cy="2127246"/>
          </a:xfrm>
          <a:custGeom>
            <a:avLst/>
            <a:gdLst/>
            <a:ahLst/>
            <a:cxnLst/>
            <a:rect l="l" t="t" r="r" b="b"/>
            <a:pathLst>
              <a:path w="4189476" h="1981200">
                <a:moveTo>
                  <a:pt x="0" y="1981200"/>
                </a:moveTo>
                <a:lnTo>
                  <a:pt x="4189476" y="1981200"/>
                </a:lnTo>
                <a:lnTo>
                  <a:pt x="4189476" y="0"/>
                </a:lnTo>
                <a:lnTo>
                  <a:pt x="0" y="0"/>
                </a:lnTo>
                <a:lnTo>
                  <a:pt x="0" y="1981200"/>
                </a:lnTo>
                <a:close/>
              </a:path>
            </a:pathLst>
          </a:custGeom>
          <a:ln w="25400">
            <a:solidFill>
              <a:srgbClr val="000000"/>
            </a:solidFill>
          </a:ln>
        </p:spPr>
        <p:txBody>
          <a:bodyPr wrap="square" lIns="0" tIns="0" rIns="0" bIns="0" rtlCol="0">
            <a:noAutofit/>
          </a:bodyPr>
          <a:lstStyle/>
          <a:p>
            <a:endParaRPr/>
          </a:p>
        </p:txBody>
      </p:sp>
      <p:sp>
        <p:nvSpPr>
          <p:cNvPr id="35" name="object 35"/>
          <p:cNvSpPr/>
          <p:nvPr/>
        </p:nvSpPr>
        <p:spPr>
          <a:xfrm>
            <a:off x="5775325" y="3570352"/>
            <a:ext cx="4189476" cy="2144649"/>
          </a:xfrm>
          <a:custGeom>
            <a:avLst/>
            <a:gdLst/>
            <a:ahLst/>
            <a:cxnLst/>
            <a:rect l="l" t="t" r="r" b="b"/>
            <a:pathLst>
              <a:path w="4189476" h="2144649">
                <a:moveTo>
                  <a:pt x="0" y="2144649"/>
                </a:moveTo>
                <a:lnTo>
                  <a:pt x="4189476" y="2144649"/>
                </a:lnTo>
                <a:lnTo>
                  <a:pt x="4189476" y="0"/>
                </a:lnTo>
                <a:lnTo>
                  <a:pt x="0" y="0"/>
                </a:lnTo>
                <a:lnTo>
                  <a:pt x="0" y="2144649"/>
                </a:lnTo>
                <a:close/>
              </a:path>
            </a:pathLst>
          </a:custGeom>
          <a:solidFill>
            <a:srgbClr val="FDC5FD"/>
          </a:solidFill>
        </p:spPr>
        <p:txBody>
          <a:bodyPr wrap="square" lIns="0" tIns="0" rIns="0" bIns="0" rtlCol="0">
            <a:noAutofit/>
          </a:bodyPr>
          <a:lstStyle/>
          <a:p>
            <a:endParaRPr/>
          </a:p>
        </p:txBody>
      </p:sp>
      <p:sp>
        <p:nvSpPr>
          <p:cNvPr id="36" name="object 36"/>
          <p:cNvSpPr/>
          <p:nvPr/>
        </p:nvSpPr>
        <p:spPr>
          <a:xfrm>
            <a:off x="5775325" y="3570352"/>
            <a:ext cx="4189476" cy="2144649"/>
          </a:xfrm>
          <a:custGeom>
            <a:avLst/>
            <a:gdLst/>
            <a:ahLst/>
            <a:cxnLst/>
            <a:rect l="l" t="t" r="r" b="b"/>
            <a:pathLst>
              <a:path w="4189476" h="2144649">
                <a:moveTo>
                  <a:pt x="0" y="2144649"/>
                </a:moveTo>
                <a:lnTo>
                  <a:pt x="4189476" y="2144649"/>
                </a:lnTo>
                <a:lnTo>
                  <a:pt x="4189476" y="0"/>
                </a:lnTo>
                <a:lnTo>
                  <a:pt x="0" y="0"/>
                </a:lnTo>
                <a:lnTo>
                  <a:pt x="0" y="2144649"/>
                </a:lnTo>
                <a:close/>
              </a:path>
            </a:pathLst>
          </a:custGeom>
          <a:ln w="25399">
            <a:solidFill>
              <a:srgbClr val="000000"/>
            </a:solidFill>
          </a:ln>
        </p:spPr>
        <p:txBody>
          <a:bodyPr wrap="square" lIns="0" tIns="0" rIns="0" bIns="0" rtlCol="0">
            <a:noAutofit/>
          </a:bodyPr>
          <a:lstStyle/>
          <a:p>
            <a:endParaRPr/>
          </a:p>
        </p:txBody>
      </p:sp>
      <p:sp>
        <p:nvSpPr>
          <p:cNvPr id="30" name="object 30"/>
          <p:cNvSpPr txBox="1"/>
          <p:nvPr/>
        </p:nvSpPr>
        <p:spPr>
          <a:xfrm>
            <a:off x="3025414" y="3683584"/>
            <a:ext cx="950937" cy="304596"/>
          </a:xfrm>
          <a:prstGeom prst="rect">
            <a:avLst/>
          </a:prstGeom>
        </p:spPr>
        <p:txBody>
          <a:bodyPr wrap="square" lIns="0" tIns="0" rIns="0" bIns="0" rtlCol="0">
            <a:noAutofit/>
          </a:bodyPr>
          <a:lstStyle/>
          <a:p>
            <a:pPr marL="12700">
              <a:lnSpc>
                <a:spcPts val="2350"/>
              </a:lnSpc>
              <a:spcBef>
                <a:spcPts val="117"/>
              </a:spcBef>
            </a:pPr>
            <a:r>
              <a:rPr sz="2200" b="1" dirty="0">
                <a:solidFill>
                  <a:srgbClr val="FFFFFF"/>
                </a:solidFill>
                <a:latin typeface="Arial"/>
                <a:cs typeface="Arial"/>
              </a:rPr>
              <a:t>tem</a:t>
            </a:r>
            <a:r>
              <a:rPr sz="2200" b="1" spc="-39" dirty="0">
                <a:solidFill>
                  <a:srgbClr val="FFFFFF"/>
                </a:solidFill>
                <a:latin typeface="Arial"/>
                <a:cs typeface="Arial"/>
              </a:rPr>
              <a:t> </a:t>
            </a:r>
            <a:r>
              <a:rPr sz="2200" b="1" dirty="0">
                <a:solidFill>
                  <a:srgbClr val="FFFFFF"/>
                </a:solidFill>
                <a:latin typeface="Arial"/>
                <a:cs typeface="Arial"/>
              </a:rPr>
              <a:t>10</a:t>
            </a:r>
            <a:endParaRPr sz="2200">
              <a:latin typeface="Arial"/>
              <a:cs typeface="Arial"/>
            </a:endParaRPr>
          </a:p>
        </p:txBody>
      </p:sp>
      <p:sp>
        <p:nvSpPr>
          <p:cNvPr id="29" name="object 29"/>
          <p:cNvSpPr txBox="1"/>
          <p:nvPr/>
        </p:nvSpPr>
        <p:spPr>
          <a:xfrm>
            <a:off x="3025329" y="4493329"/>
            <a:ext cx="950205" cy="304292"/>
          </a:xfrm>
          <a:prstGeom prst="rect">
            <a:avLst/>
          </a:prstGeom>
        </p:spPr>
        <p:txBody>
          <a:bodyPr wrap="square" lIns="0" tIns="0" rIns="0" bIns="0" rtlCol="0">
            <a:noAutofit/>
          </a:bodyPr>
          <a:lstStyle/>
          <a:p>
            <a:pPr marL="12700">
              <a:lnSpc>
                <a:spcPts val="2345"/>
              </a:lnSpc>
              <a:spcBef>
                <a:spcPts val="117"/>
              </a:spcBef>
            </a:pPr>
            <a:r>
              <a:rPr sz="2200" b="1" dirty="0">
                <a:solidFill>
                  <a:srgbClr val="FFFFFF"/>
                </a:solidFill>
                <a:latin typeface="Arial"/>
                <a:cs typeface="Arial"/>
              </a:rPr>
              <a:t>tem</a:t>
            </a:r>
            <a:r>
              <a:rPr sz="2200" b="1" spc="-39" dirty="0">
                <a:solidFill>
                  <a:srgbClr val="FFFFFF"/>
                </a:solidFill>
                <a:latin typeface="Arial"/>
                <a:cs typeface="Arial"/>
              </a:rPr>
              <a:t> </a:t>
            </a:r>
            <a:r>
              <a:rPr sz="2200" b="1" dirty="0">
                <a:solidFill>
                  <a:srgbClr val="FFFFFF"/>
                </a:solidFill>
                <a:latin typeface="Arial"/>
                <a:cs typeface="Arial"/>
              </a:rPr>
              <a:t>20</a:t>
            </a:r>
            <a:endParaRPr sz="2200">
              <a:latin typeface="Arial"/>
              <a:cs typeface="Arial"/>
            </a:endParaRPr>
          </a:p>
        </p:txBody>
      </p:sp>
      <p:sp>
        <p:nvSpPr>
          <p:cNvPr id="28" name="object 28"/>
          <p:cNvSpPr txBox="1"/>
          <p:nvPr/>
        </p:nvSpPr>
        <p:spPr>
          <a:xfrm>
            <a:off x="1815490" y="5862705"/>
            <a:ext cx="2547086" cy="254000"/>
          </a:xfrm>
          <a:prstGeom prst="rect">
            <a:avLst/>
          </a:prstGeom>
        </p:spPr>
        <p:txBody>
          <a:bodyPr wrap="square" lIns="0" tIns="0" rIns="0" bIns="0" rtlCol="0">
            <a:noAutofit/>
          </a:bodyPr>
          <a:lstStyle/>
          <a:p>
            <a:pPr marL="12700">
              <a:lnSpc>
                <a:spcPts val="1939"/>
              </a:lnSpc>
              <a:spcBef>
                <a:spcPts val="97"/>
              </a:spcBef>
            </a:pPr>
            <a:r>
              <a:rPr sz="1600" dirty="0">
                <a:cs typeface="Arial"/>
              </a:rPr>
              <a:t>T</a:t>
            </a:r>
            <a:r>
              <a:rPr sz="1600" spc="4" dirty="0">
                <a:cs typeface="Arial"/>
              </a:rPr>
              <a:t>h</a:t>
            </a:r>
            <a:r>
              <a:rPr sz="1600" dirty="0">
                <a:cs typeface="Arial"/>
              </a:rPr>
              <a:t>e</a:t>
            </a:r>
            <a:r>
              <a:rPr sz="1600" spc="-24" dirty="0">
                <a:cs typeface="Arial"/>
              </a:rPr>
              <a:t> </a:t>
            </a:r>
            <a:r>
              <a:rPr sz="1600" dirty="0">
                <a:cs typeface="Arial"/>
              </a:rPr>
              <a:t>del</a:t>
            </a:r>
            <a:r>
              <a:rPr sz="1600" spc="4" dirty="0">
                <a:cs typeface="Arial"/>
              </a:rPr>
              <a:t>i</a:t>
            </a:r>
            <a:r>
              <a:rPr sz="1600" spc="-39" dirty="0">
                <a:cs typeface="Arial"/>
              </a:rPr>
              <a:t>v</a:t>
            </a:r>
            <a:r>
              <a:rPr sz="1600" dirty="0">
                <a:cs typeface="Arial"/>
              </a:rPr>
              <a:t>ery</a:t>
            </a:r>
            <a:r>
              <a:rPr sz="1600" spc="39" dirty="0">
                <a:cs typeface="Arial"/>
              </a:rPr>
              <a:t> </a:t>
            </a:r>
            <a:r>
              <a:rPr sz="1600" dirty="0">
                <a:cs typeface="Arial"/>
              </a:rPr>
              <a:t>d</a:t>
            </a:r>
            <a:r>
              <a:rPr sz="1600" spc="4" dirty="0">
                <a:cs typeface="Arial"/>
              </a:rPr>
              <a:t>o</a:t>
            </a:r>
            <a:r>
              <a:rPr sz="1600" dirty="0">
                <a:cs typeface="Arial"/>
              </a:rPr>
              <a:t>cum</a:t>
            </a:r>
            <a:r>
              <a:rPr sz="1600" spc="-9" dirty="0">
                <a:cs typeface="Arial"/>
              </a:rPr>
              <a:t>e</a:t>
            </a:r>
            <a:r>
              <a:rPr sz="1600" dirty="0">
                <a:cs typeface="Arial"/>
              </a:rPr>
              <a:t>nt</a:t>
            </a:r>
          </a:p>
        </p:txBody>
      </p:sp>
      <p:sp>
        <p:nvSpPr>
          <p:cNvPr id="27" name="object 27"/>
          <p:cNvSpPr txBox="1"/>
          <p:nvPr/>
        </p:nvSpPr>
        <p:spPr>
          <a:xfrm>
            <a:off x="4291815" y="5862705"/>
            <a:ext cx="5251881" cy="254000"/>
          </a:xfrm>
          <a:prstGeom prst="rect">
            <a:avLst/>
          </a:prstGeom>
        </p:spPr>
        <p:txBody>
          <a:bodyPr wrap="square" lIns="0" tIns="0" rIns="0" bIns="0" rtlCol="0">
            <a:noAutofit/>
          </a:bodyPr>
          <a:lstStyle/>
          <a:p>
            <a:pPr marL="12700">
              <a:lnSpc>
                <a:spcPts val="1939"/>
              </a:lnSpc>
              <a:spcBef>
                <a:spcPts val="97"/>
              </a:spcBef>
            </a:pPr>
            <a:r>
              <a:rPr sz="1600" dirty="0">
                <a:cs typeface="Arial"/>
              </a:rPr>
              <a:t>does n</a:t>
            </a:r>
            <a:r>
              <a:rPr sz="1600" spc="4" dirty="0">
                <a:cs typeface="Arial"/>
              </a:rPr>
              <a:t>o</a:t>
            </a:r>
            <a:r>
              <a:rPr sz="1600" dirty="0">
                <a:cs typeface="Arial"/>
              </a:rPr>
              <a:t>t</a:t>
            </a:r>
            <a:r>
              <a:rPr sz="1600" spc="-4" dirty="0">
                <a:cs typeface="Arial"/>
              </a:rPr>
              <a:t> </a:t>
            </a:r>
            <a:r>
              <a:rPr sz="1600" dirty="0">
                <a:cs typeface="Arial"/>
              </a:rPr>
              <a:t>contain s</a:t>
            </a:r>
            <a:r>
              <a:rPr sz="1600" spc="-9" dirty="0">
                <a:cs typeface="Arial"/>
              </a:rPr>
              <a:t>c</a:t>
            </a:r>
            <a:r>
              <a:rPr sz="1600" dirty="0">
                <a:cs typeface="Arial"/>
              </a:rPr>
              <a:t>hed</a:t>
            </a:r>
            <a:r>
              <a:rPr sz="1600" spc="4" dirty="0">
                <a:cs typeface="Arial"/>
              </a:rPr>
              <a:t>u</a:t>
            </a:r>
            <a:r>
              <a:rPr sz="1600" dirty="0">
                <a:cs typeface="Arial"/>
              </a:rPr>
              <a:t>le</a:t>
            </a:r>
            <a:r>
              <a:rPr sz="1600" spc="-4" dirty="0">
                <a:cs typeface="Arial"/>
              </a:rPr>
              <a:t> </a:t>
            </a:r>
            <a:r>
              <a:rPr sz="1600" dirty="0">
                <a:cs typeface="Arial"/>
              </a:rPr>
              <a:t>l</a:t>
            </a:r>
            <a:r>
              <a:rPr sz="1600" spc="4" dirty="0">
                <a:cs typeface="Arial"/>
              </a:rPr>
              <a:t>i</a:t>
            </a:r>
            <a:r>
              <a:rPr sz="1600" dirty="0">
                <a:cs typeface="Arial"/>
              </a:rPr>
              <a:t>ne</a:t>
            </a:r>
            <a:r>
              <a:rPr sz="1600" spc="-4" dirty="0">
                <a:cs typeface="Arial"/>
              </a:rPr>
              <a:t>s</a:t>
            </a:r>
            <a:r>
              <a:rPr sz="1600" dirty="0">
                <a:cs typeface="Arial"/>
              </a:rPr>
              <a:t>. </a:t>
            </a:r>
            <a:r>
              <a:rPr sz="1600" spc="-4" dirty="0">
                <a:cs typeface="Arial"/>
              </a:rPr>
              <a:t>E</a:t>
            </a:r>
            <a:r>
              <a:rPr sz="1600" dirty="0">
                <a:cs typeface="Arial"/>
              </a:rPr>
              <a:t>a</a:t>
            </a:r>
            <a:r>
              <a:rPr sz="1600" spc="-9" dirty="0">
                <a:cs typeface="Arial"/>
              </a:rPr>
              <a:t>c</a:t>
            </a:r>
            <a:r>
              <a:rPr sz="1600" dirty="0">
                <a:cs typeface="Arial"/>
              </a:rPr>
              <a:t>h</a:t>
            </a:r>
            <a:r>
              <a:rPr sz="1600" spc="4" dirty="0">
                <a:cs typeface="Arial"/>
              </a:rPr>
              <a:t> </a:t>
            </a:r>
            <a:r>
              <a:rPr sz="1600" dirty="0">
                <a:cs typeface="Arial"/>
              </a:rPr>
              <a:t>s</a:t>
            </a:r>
            <a:r>
              <a:rPr sz="1600" spc="-9" dirty="0">
                <a:cs typeface="Arial"/>
              </a:rPr>
              <a:t>c</a:t>
            </a:r>
            <a:r>
              <a:rPr sz="1600" dirty="0">
                <a:cs typeface="Arial"/>
              </a:rPr>
              <a:t>hed</a:t>
            </a:r>
            <a:r>
              <a:rPr sz="1600" spc="4" dirty="0">
                <a:cs typeface="Arial"/>
              </a:rPr>
              <a:t>u</a:t>
            </a:r>
            <a:r>
              <a:rPr sz="1600" dirty="0">
                <a:cs typeface="Arial"/>
              </a:rPr>
              <a:t>le</a:t>
            </a:r>
          </a:p>
        </p:txBody>
      </p:sp>
      <p:sp>
        <p:nvSpPr>
          <p:cNvPr id="26" name="object 26"/>
          <p:cNvSpPr txBox="1"/>
          <p:nvPr/>
        </p:nvSpPr>
        <p:spPr>
          <a:xfrm>
            <a:off x="9153017" y="5850776"/>
            <a:ext cx="454710" cy="254000"/>
          </a:xfrm>
          <a:prstGeom prst="rect">
            <a:avLst/>
          </a:prstGeom>
        </p:spPr>
        <p:txBody>
          <a:bodyPr wrap="square" lIns="0" tIns="0" rIns="0" bIns="0" rtlCol="0">
            <a:noAutofit/>
          </a:bodyPr>
          <a:lstStyle/>
          <a:p>
            <a:pPr marL="12700">
              <a:lnSpc>
                <a:spcPts val="1939"/>
              </a:lnSpc>
              <a:spcBef>
                <a:spcPts val="97"/>
              </a:spcBef>
            </a:pPr>
            <a:r>
              <a:rPr sz="1600" spc="4" dirty="0">
                <a:cs typeface="Arial"/>
              </a:rPr>
              <a:t>l</a:t>
            </a:r>
            <a:r>
              <a:rPr sz="1600" dirty="0">
                <a:cs typeface="Arial"/>
              </a:rPr>
              <a:t>i</a:t>
            </a:r>
            <a:r>
              <a:rPr sz="1600" spc="4" dirty="0">
                <a:cs typeface="Arial"/>
              </a:rPr>
              <a:t>n</a:t>
            </a:r>
            <a:r>
              <a:rPr sz="1600" dirty="0">
                <a:cs typeface="Arial"/>
              </a:rPr>
              <a:t>e</a:t>
            </a:r>
          </a:p>
        </p:txBody>
      </p:sp>
      <p:sp>
        <p:nvSpPr>
          <p:cNvPr id="25" name="object 25"/>
          <p:cNvSpPr txBox="1"/>
          <p:nvPr/>
        </p:nvSpPr>
        <p:spPr>
          <a:xfrm>
            <a:off x="1815490" y="6137025"/>
            <a:ext cx="7524394" cy="254000"/>
          </a:xfrm>
          <a:prstGeom prst="rect">
            <a:avLst/>
          </a:prstGeom>
        </p:spPr>
        <p:txBody>
          <a:bodyPr wrap="square" lIns="0" tIns="0" rIns="0" bIns="0" rtlCol="0">
            <a:noAutofit/>
          </a:bodyPr>
          <a:lstStyle/>
          <a:p>
            <a:pPr marL="12700">
              <a:lnSpc>
                <a:spcPts val="1939"/>
              </a:lnSpc>
              <a:spcBef>
                <a:spcPts val="97"/>
              </a:spcBef>
            </a:pPr>
            <a:r>
              <a:rPr dirty="0">
                <a:cs typeface="Arial"/>
              </a:rPr>
              <a:t>In</a:t>
            </a:r>
            <a:r>
              <a:rPr spc="-14" dirty="0">
                <a:cs typeface="Arial"/>
              </a:rPr>
              <a:t> </a:t>
            </a:r>
            <a:r>
              <a:rPr dirty="0">
                <a:cs typeface="Arial"/>
              </a:rPr>
              <a:t>the s</a:t>
            </a:r>
            <a:r>
              <a:rPr spc="-4" dirty="0">
                <a:cs typeface="Arial"/>
              </a:rPr>
              <a:t>a</a:t>
            </a:r>
            <a:r>
              <a:rPr dirty="0">
                <a:cs typeface="Arial"/>
              </a:rPr>
              <a:t>les </a:t>
            </a:r>
            <a:r>
              <a:rPr spc="4" dirty="0">
                <a:cs typeface="Arial"/>
              </a:rPr>
              <a:t>d</a:t>
            </a:r>
            <a:r>
              <a:rPr dirty="0">
                <a:cs typeface="Arial"/>
              </a:rPr>
              <a:t>ocum</a:t>
            </a:r>
            <a:r>
              <a:rPr spc="-4" dirty="0">
                <a:cs typeface="Arial"/>
              </a:rPr>
              <a:t>e</a:t>
            </a:r>
            <a:r>
              <a:rPr dirty="0">
                <a:cs typeface="Arial"/>
              </a:rPr>
              <a:t>nt</a:t>
            </a:r>
            <a:r>
              <a:rPr spc="9" dirty="0">
                <a:cs typeface="Arial"/>
              </a:rPr>
              <a:t> </a:t>
            </a:r>
            <a:r>
              <a:rPr dirty="0">
                <a:cs typeface="Arial"/>
              </a:rPr>
              <a:t>c</a:t>
            </a:r>
            <a:r>
              <a:rPr spc="-9" dirty="0">
                <a:cs typeface="Arial"/>
              </a:rPr>
              <a:t>a</a:t>
            </a:r>
            <a:r>
              <a:rPr dirty="0">
                <a:cs typeface="Arial"/>
              </a:rPr>
              <a:t>n</a:t>
            </a:r>
            <a:r>
              <a:rPr spc="4" dirty="0">
                <a:cs typeface="Arial"/>
              </a:rPr>
              <a:t> </a:t>
            </a:r>
            <a:r>
              <a:rPr dirty="0">
                <a:cs typeface="Arial"/>
              </a:rPr>
              <a:t>be</a:t>
            </a:r>
            <a:r>
              <a:rPr spc="-4" dirty="0">
                <a:cs typeface="Arial"/>
              </a:rPr>
              <a:t>c</a:t>
            </a:r>
            <a:r>
              <a:rPr dirty="0">
                <a:cs typeface="Arial"/>
              </a:rPr>
              <a:t>ome </a:t>
            </a:r>
            <a:r>
              <a:rPr spc="-4" dirty="0">
                <a:cs typeface="Arial"/>
              </a:rPr>
              <a:t>a</a:t>
            </a:r>
            <a:r>
              <a:rPr dirty="0">
                <a:cs typeface="Arial"/>
              </a:rPr>
              <a:t>n</a:t>
            </a:r>
            <a:r>
              <a:rPr spc="4" dirty="0">
                <a:cs typeface="Arial"/>
              </a:rPr>
              <a:t> </a:t>
            </a:r>
            <a:r>
              <a:rPr dirty="0">
                <a:cs typeface="Arial"/>
              </a:rPr>
              <a:t>item in the</a:t>
            </a:r>
            <a:r>
              <a:rPr spc="-4" dirty="0">
                <a:cs typeface="Arial"/>
              </a:rPr>
              <a:t> </a:t>
            </a:r>
            <a:r>
              <a:rPr dirty="0">
                <a:cs typeface="Arial"/>
              </a:rPr>
              <a:t>del</a:t>
            </a:r>
            <a:r>
              <a:rPr spc="4" dirty="0">
                <a:cs typeface="Arial"/>
              </a:rPr>
              <a:t>i</a:t>
            </a:r>
            <a:r>
              <a:rPr spc="-39" dirty="0">
                <a:cs typeface="Arial"/>
              </a:rPr>
              <a:t>v</a:t>
            </a:r>
            <a:r>
              <a:rPr dirty="0">
                <a:cs typeface="Arial"/>
              </a:rPr>
              <a:t>ery</a:t>
            </a:r>
            <a:r>
              <a:rPr spc="39" dirty="0">
                <a:cs typeface="Arial"/>
              </a:rPr>
              <a:t> </a:t>
            </a:r>
            <a:r>
              <a:rPr dirty="0">
                <a:cs typeface="Arial"/>
              </a:rPr>
              <a:t>d</a:t>
            </a:r>
            <a:r>
              <a:rPr spc="4" dirty="0">
                <a:cs typeface="Arial"/>
              </a:rPr>
              <a:t>o</a:t>
            </a:r>
            <a:r>
              <a:rPr dirty="0">
                <a:cs typeface="Arial"/>
              </a:rPr>
              <a:t>cum</a:t>
            </a:r>
            <a:r>
              <a:rPr spc="-9" dirty="0">
                <a:cs typeface="Arial"/>
              </a:rPr>
              <a:t>e</a:t>
            </a:r>
            <a:r>
              <a:rPr dirty="0">
                <a:cs typeface="Arial"/>
              </a:rPr>
              <a:t>nt</a:t>
            </a:r>
            <a:r>
              <a:rPr b="1" dirty="0">
                <a:latin typeface="Arial"/>
                <a:cs typeface="Arial"/>
              </a:rPr>
              <a:t>.</a:t>
            </a:r>
            <a:endParaRPr dirty="0">
              <a:latin typeface="Arial"/>
              <a:cs typeface="Arial"/>
            </a:endParaRPr>
          </a:p>
        </p:txBody>
      </p:sp>
      <p:sp>
        <p:nvSpPr>
          <p:cNvPr id="23" name="object 23"/>
          <p:cNvSpPr txBox="1"/>
          <p:nvPr/>
        </p:nvSpPr>
        <p:spPr>
          <a:xfrm>
            <a:off x="5991225" y="3570352"/>
            <a:ext cx="4189476" cy="2144649"/>
          </a:xfrm>
          <a:prstGeom prst="rect">
            <a:avLst/>
          </a:prstGeom>
        </p:spPr>
        <p:txBody>
          <a:bodyPr wrap="square" lIns="0" tIns="0" rIns="0" bIns="0" rtlCol="0">
            <a:noAutofit/>
          </a:bodyPr>
          <a:lstStyle/>
          <a:p>
            <a:pPr>
              <a:lnSpc>
                <a:spcPts val="500"/>
              </a:lnSpc>
              <a:spcBef>
                <a:spcPts val="37"/>
              </a:spcBef>
            </a:pPr>
            <a:endParaRPr sz="500" dirty="0"/>
          </a:p>
          <a:p>
            <a:pPr marL="92710">
              <a:lnSpc>
                <a:spcPts val="2190"/>
              </a:lnSpc>
              <a:spcBef>
                <a:spcPts val="109"/>
              </a:spcBef>
            </a:pPr>
            <a:r>
              <a:rPr sz="2200" spc="-109" dirty="0">
                <a:latin typeface="Arial"/>
                <a:cs typeface="Arial"/>
              </a:rPr>
              <a:t>Valid for Each Item:</a:t>
            </a:r>
          </a:p>
          <a:p>
            <a:pPr marL="92710" indent="-342900">
              <a:lnSpc>
                <a:spcPct val="95825"/>
              </a:lnSpc>
              <a:spcBef>
                <a:spcPts val="340"/>
              </a:spcBef>
              <a:buClr>
                <a:srgbClr val="C00000"/>
              </a:buClr>
              <a:buFont typeface="Wingdings" panose="05000000000000000000" pitchFamily="2" charset="2"/>
              <a:buChar char="§"/>
            </a:pPr>
            <a:r>
              <a:rPr dirty="0">
                <a:latin typeface="Arial"/>
                <a:cs typeface="Arial"/>
              </a:rPr>
              <a:t>Material</a:t>
            </a:r>
          </a:p>
          <a:p>
            <a:pPr marL="92710" indent="-342900">
              <a:lnSpc>
                <a:spcPct val="95825"/>
              </a:lnSpc>
              <a:spcBef>
                <a:spcPts val="340"/>
              </a:spcBef>
              <a:buClr>
                <a:srgbClr val="C00000"/>
              </a:buClr>
              <a:buFont typeface="Wingdings" panose="05000000000000000000" pitchFamily="2" charset="2"/>
              <a:buChar char="§"/>
            </a:pPr>
            <a:r>
              <a:rPr dirty="0">
                <a:latin typeface="Arial"/>
                <a:cs typeface="Arial"/>
              </a:rPr>
              <a:t>Quantity to be delivered</a:t>
            </a:r>
          </a:p>
          <a:p>
            <a:pPr marL="92710" indent="-342900">
              <a:lnSpc>
                <a:spcPct val="95825"/>
              </a:lnSpc>
              <a:spcBef>
                <a:spcPts val="340"/>
              </a:spcBef>
              <a:buClr>
                <a:srgbClr val="C00000"/>
              </a:buClr>
              <a:buFont typeface="Wingdings" panose="05000000000000000000" pitchFamily="2" charset="2"/>
              <a:buChar char="§"/>
            </a:pPr>
            <a:r>
              <a:rPr dirty="0">
                <a:latin typeface="Arial"/>
                <a:cs typeface="Arial"/>
              </a:rPr>
              <a:t>Plant and storage location</a:t>
            </a:r>
          </a:p>
          <a:p>
            <a:pPr marL="92710" indent="-342900">
              <a:lnSpc>
                <a:spcPct val="95825"/>
              </a:lnSpc>
              <a:spcBef>
                <a:spcPts val="340"/>
              </a:spcBef>
              <a:buClr>
                <a:srgbClr val="C00000"/>
              </a:buClr>
              <a:buFont typeface="Wingdings" panose="05000000000000000000" pitchFamily="2" charset="2"/>
              <a:buChar char="§"/>
            </a:pPr>
            <a:r>
              <a:rPr dirty="0">
                <a:latin typeface="Arial"/>
                <a:cs typeface="Arial"/>
              </a:rPr>
              <a:t>Transportation information</a:t>
            </a:r>
          </a:p>
          <a:p>
            <a:pPr marL="92710" indent="-342900">
              <a:lnSpc>
                <a:spcPct val="95825"/>
              </a:lnSpc>
              <a:spcBef>
                <a:spcPts val="340"/>
              </a:spcBef>
              <a:buClr>
                <a:srgbClr val="C00000"/>
              </a:buClr>
              <a:buFont typeface="Wingdings" panose="05000000000000000000" pitchFamily="2" charset="2"/>
              <a:buChar char="§"/>
            </a:pPr>
            <a:r>
              <a:rPr dirty="0">
                <a:latin typeface="Arial"/>
                <a:cs typeface="Arial"/>
              </a:rPr>
              <a:t>Picking Specifications</a:t>
            </a:r>
          </a:p>
        </p:txBody>
      </p:sp>
      <p:sp>
        <p:nvSpPr>
          <p:cNvPr id="22" name="object 22"/>
          <p:cNvSpPr txBox="1"/>
          <p:nvPr/>
        </p:nvSpPr>
        <p:spPr>
          <a:xfrm>
            <a:off x="2608262" y="2227326"/>
            <a:ext cx="428688" cy="1330198"/>
          </a:xfrm>
          <a:prstGeom prst="rect">
            <a:avLst/>
          </a:prstGeom>
        </p:spPr>
        <p:txBody>
          <a:bodyPr wrap="square" lIns="0" tIns="0" rIns="0" bIns="0" rtlCol="0">
            <a:noAutofit/>
          </a:bodyPr>
          <a:lstStyle/>
          <a:p>
            <a:pPr marL="25400">
              <a:lnSpc>
                <a:spcPts val="1000"/>
              </a:lnSpc>
            </a:pPr>
            <a:endParaRPr sz="1000"/>
          </a:p>
        </p:txBody>
      </p:sp>
      <p:sp>
        <p:nvSpPr>
          <p:cNvPr id="21" name="object 21"/>
          <p:cNvSpPr txBox="1"/>
          <p:nvPr/>
        </p:nvSpPr>
        <p:spPr>
          <a:xfrm>
            <a:off x="3036951" y="2227326"/>
            <a:ext cx="831850" cy="1330198"/>
          </a:xfrm>
          <a:prstGeom prst="rect">
            <a:avLst/>
          </a:prstGeom>
        </p:spPr>
        <p:txBody>
          <a:bodyPr wrap="square" lIns="0" tIns="0" rIns="0" bIns="0" rtlCol="0">
            <a:noAutofit/>
          </a:bodyPr>
          <a:lstStyle/>
          <a:p>
            <a:pPr marL="25400">
              <a:lnSpc>
                <a:spcPts val="1000"/>
              </a:lnSpc>
            </a:pPr>
            <a:endParaRPr sz="1000"/>
          </a:p>
        </p:txBody>
      </p:sp>
      <p:sp>
        <p:nvSpPr>
          <p:cNvPr id="20" name="object 20"/>
          <p:cNvSpPr txBox="1"/>
          <p:nvPr/>
        </p:nvSpPr>
        <p:spPr>
          <a:xfrm>
            <a:off x="3868802" y="2227326"/>
            <a:ext cx="404685" cy="1330198"/>
          </a:xfrm>
          <a:prstGeom prst="rect">
            <a:avLst/>
          </a:prstGeom>
        </p:spPr>
        <p:txBody>
          <a:bodyPr wrap="square" lIns="0" tIns="0" rIns="0" bIns="0" rtlCol="0">
            <a:noAutofit/>
          </a:bodyPr>
          <a:lstStyle/>
          <a:p>
            <a:pPr marL="25400">
              <a:lnSpc>
                <a:spcPts val="1000"/>
              </a:lnSpc>
            </a:pPr>
            <a:endParaRPr sz="1000"/>
          </a:p>
        </p:txBody>
      </p:sp>
      <p:sp>
        <p:nvSpPr>
          <p:cNvPr id="19" name="object 19"/>
          <p:cNvSpPr txBox="1"/>
          <p:nvPr/>
        </p:nvSpPr>
        <p:spPr>
          <a:xfrm>
            <a:off x="2608263" y="3557524"/>
            <a:ext cx="522823" cy="520700"/>
          </a:xfrm>
          <a:prstGeom prst="rect">
            <a:avLst/>
          </a:prstGeom>
        </p:spPr>
        <p:txBody>
          <a:bodyPr wrap="square" lIns="0" tIns="0" rIns="0" bIns="0" rtlCol="0">
            <a:noAutofit/>
          </a:bodyPr>
          <a:lstStyle/>
          <a:p>
            <a:pPr marR="94135">
              <a:lnSpc>
                <a:spcPts val="800"/>
              </a:lnSpc>
              <a:spcBef>
                <a:spcPts val="10"/>
              </a:spcBef>
            </a:pPr>
            <a:endParaRPr sz="800"/>
          </a:p>
          <a:p>
            <a:pPr algn="r">
              <a:lnSpc>
                <a:spcPct val="95825"/>
              </a:lnSpc>
            </a:pPr>
            <a:r>
              <a:rPr sz="2200" b="1" dirty="0">
                <a:solidFill>
                  <a:srgbClr val="FFFFFF"/>
                </a:solidFill>
                <a:latin typeface="Arial"/>
                <a:cs typeface="Arial"/>
              </a:rPr>
              <a:t>I</a:t>
            </a:r>
            <a:endParaRPr sz="2200">
              <a:latin typeface="Arial"/>
              <a:cs typeface="Arial"/>
            </a:endParaRPr>
          </a:p>
        </p:txBody>
      </p:sp>
      <p:sp>
        <p:nvSpPr>
          <p:cNvPr id="18" name="object 18"/>
          <p:cNvSpPr txBox="1"/>
          <p:nvPr/>
        </p:nvSpPr>
        <p:spPr>
          <a:xfrm>
            <a:off x="3036951" y="3557524"/>
            <a:ext cx="831850" cy="520700"/>
          </a:xfrm>
          <a:prstGeom prst="rect">
            <a:avLst/>
          </a:prstGeom>
        </p:spPr>
        <p:txBody>
          <a:bodyPr wrap="square" lIns="0" tIns="0" rIns="0" bIns="0" rtlCol="0">
            <a:noAutofit/>
          </a:bodyPr>
          <a:lstStyle/>
          <a:p>
            <a:pPr>
              <a:lnSpc>
                <a:spcPts val="800"/>
              </a:lnSpc>
              <a:spcBef>
                <a:spcPts val="10"/>
              </a:spcBef>
            </a:pPr>
            <a:endParaRPr sz="800"/>
          </a:p>
          <a:p>
            <a:pPr marL="1162">
              <a:lnSpc>
                <a:spcPct val="95825"/>
              </a:lnSpc>
            </a:pPr>
            <a:r>
              <a:rPr sz="2200" b="1" dirty="0">
                <a:solidFill>
                  <a:srgbClr val="FFFFFF"/>
                </a:solidFill>
                <a:latin typeface="Arial"/>
                <a:cs typeface="Arial"/>
              </a:rPr>
              <a:t>tem</a:t>
            </a:r>
            <a:endParaRPr sz="2200">
              <a:latin typeface="Arial"/>
              <a:cs typeface="Arial"/>
            </a:endParaRPr>
          </a:p>
        </p:txBody>
      </p:sp>
      <p:sp>
        <p:nvSpPr>
          <p:cNvPr id="17" name="object 17"/>
          <p:cNvSpPr txBox="1"/>
          <p:nvPr/>
        </p:nvSpPr>
        <p:spPr>
          <a:xfrm>
            <a:off x="3868802" y="3557524"/>
            <a:ext cx="404685" cy="520700"/>
          </a:xfrm>
          <a:prstGeom prst="rect">
            <a:avLst/>
          </a:prstGeom>
        </p:spPr>
        <p:txBody>
          <a:bodyPr wrap="square" lIns="0" tIns="0" rIns="0" bIns="0" rtlCol="0">
            <a:noAutofit/>
          </a:bodyPr>
          <a:lstStyle/>
          <a:p>
            <a:pPr marL="25400">
              <a:lnSpc>
                <a:spcPts val="1000"/>
              </a:lnSpc>
            </a:pPr>
            <a:endParaRPr sz="1000"/>
          </a:p>
        </p:txBody>
      </p:sp>
      <p:sp>
        <p:nvSpPr>
          <p:cNvPr id="16" name="object 16"/>
          <p:cNvSpPr txBox="1"/>
          <p:nvPr/>
        </p:nvSpPr>
        <p:spPr>
          <a:xfrm>
            <a:off x="2608262" y="4078225"/>
            <a:ext cx="428688" cy="288925"/>
          </a:xfrm>
          <a:prstGeom prst="rect">
            <a:avLst/>
          </a:prstGeom>
        </p:spPr>
        <p:txBody>
          <a:bodyPr wrap="square" lIns="0" tIns="0" rIns="0" bIns="0" rtlCol="0">
            <a:noAutofit/>
          </a:bodyPr>
          <a:lstStyle/>
          <a:p>
            <a:pPr marL="25400">
              <a:lnSpc>
                <a:spcPts val="1000"/>
              </a:lnSpc>
            </a:pPr>
            <a:endParaRPr sz="1000"/>
          </a:p>
        </p:txBody>
      </p:sp>
      <p:sp>
        <p:nvSpPr>
          <p:cNvPr id="15" name="object 15"/>
          <p:cNvSpPr txBox="1"/>
          <p:nvPr/>
        </p:nvSpPr>
        <p:spPr>
          <a:xfrm>
            <a:off x="3036951" y="4078225"/>
            <a:ext cx="831850" cy="288925"/>
          </a:xfrm>
          <a:prstGeom prst="rect">
            <a:avLst/>
          </a:prstGeom>
        </p:spPr>
        <p:txBody>
          <a:bodyPr wrap="square" lIns="0" tIns="0" rIns="0" bIns="0" rtlCol="0">
            <a:noAutofit/>
          </a:bodyPr>
          <a:lstStyle/>
          <a:p>
            <a:pPr marL="25400">
              <a:lnSpc>
                <a:spcPts val="1000"/>
              </a:lnSpc>
            </a:pPr>
            <a:endParaRPr sz="1000"/>
          </a:p>
        </p:txBody>
      </p:sp>
      <p:sp>
        <p:nvSpPr>
          <p:cNvPr id="14" name="object 14"/>
          <p:cNvSpPr txBox="1"/>
          <p:nvPr/>
        </p:nvSpPr>
        <p:spPr>
          <a:xfrm>
            <a:off x="3868802" y="4078225"/>
            <a:ext cx="404685" cy="288925"/>
          </a:xfrm>
          <a:prstGeom prst="rect">
            <a:avLst/>
          </a:prstGeom>
        </p:spPr>
        <p:txBody>
          <a:bodyPr wrap="square" lIns="0" tIns="0" rIns="0" bIns="0" rtlCol="0">
            <a:noAutofit/>
          </a:bodyPr>
          <a:lstStyle/>
          <a:p>
            <a:pPr marL="25400">
              <a:lnSpc>
                <a:spcPts val="1000"/>
              </a:lnSpc>
            </a:pPr>
            <a:endParaRPr sz="1000"/>
          </a:p>
        </p:txBody>
      </p:sp>
      <p:sp>
        <p:nvSpPr>
          <p:cNvPr id="13" name="object 13"/>
          <p:cNvSpPr txBox="1"/>
          <p:nvPr/>
        </p:nvSpPr>
        <p:spPr>
          <a:xfrm>
            <a:off x="2608263" y="4367149"/>
            <a:ext cx="522637" cy="520700"/>
          </a:xfrm>
          <a:prstGeom prst="rect">
            <a:avLst/>
          </a:prstGeom>
        </p:spPr>
        <p:txBody>
          <a:bodyPr wrap="square" lIns="0" tIns="0" rIns="0" bIns="0" rtlCol="0">
            <a:noAutofit/>
          </a:bodyPr>
          <a:lstStyle/>
          <a:p>
            <a:pPr marR="93949">
              <a:lnSpc>
                <a:spcPts val="800"/>
              </a:lnSpc>
              <a:spcBef>
                <a:spcPts val="9"/>
              </a:spcBef>
            </a:pPr>
            <a:endParaRPr sz="800"/>
          </a:p>
          <a:p>
            <a:pPr algn="r">
              <a:lnSpc>
                <a:spcPct val="95825"/>
              </a:lnSpc>
            </a:pPr>
            <a:r>
              <a:rPr sz="2200" b="1" dirty="0">
                <a:solidFill>
                  <a:srgbClr val="FFFFFF"/>
                </a:solidFill>
                <a:latin typeface="Arial"/>
                <a:cs typeface="Arial"/>
              </a:rPr>
              <a:t>I</a:t>
            </a:r>
            <a:endParaRPr sz="2200">
              <a:latin typeface="Arial"/>
              <a:cs typeface="Arial"/>
            </a:endParaRPr>
          </a:p>
        </p:txBody>
      </p:sp>
      <p:sp>
        <p:nvSpPr>
          <p:cNvPr id="12" name="object 12"/>
          <p:cNvSpPr txBox="1"/>
          <p:nvPr/>
        </p:nvSpPr>
        <p:spPr>
          <a:xfrm>
            <a:off x="3036951" y="4367149"/>
            <a:ext cx="831850" cy="520700"/>
          </a:xfrm>
          <a:prstGeom prst="rect">
            <a:avLst/>
          </a:prstGeom>
        </p:spPr>
        <p:txBody>
          <a:bodyPr wrap="square" lIns="0" tIns="0" rIns="0" bIns="0" rtlCol="0">
            <a:noAutofit/>
          </a:bodyPr>
          <a:lstStyle/>
          <a:p>
            <a:pPr>
              <a:lnSpc>
                <a:spcPts val="800"/>
              </a:lnSpc>
              <a:spcBef>
                <a:spcPts val="9"/>
              </a:spcBef>
            </a:pPr>
            <a:endParaRPr sz="800"/>
          </a:p>
          <a:p>
            <a:pPr marL="1077">
              <a:lnSpc>
                <a:spcPct val="95825"/>
              </a:lnSpc>
            </a:pPr>
            <a:r>
              <a:rPr sz="2200" b="1" dirty="0">
                <a:solidFill>
                  <a:srgbClr val="FFFFFF"/>
                </a:solidFill>
                <a:latin typeface="Arial"/>
                <a:cs typeface="Arial"/>
              </a:rPr>
              <a:t>tem</a:t>
            </a:r>
            <a:endParaRPr sz="2200">
              <a:latin typeface="Arial"/>
              <a:cs typeface="Arial"/>
            </a:endParaRPr>
          </a:p>
        </p:txBody>
      </p:sp>
      <p:sp>
        <p:nvSpPr>
          <p:cNvPr id="11" name="object 11"/>
          <p:cNvSpPr txBox="1"/>
          <p:nvPr/>
        </p:nvSpPr>
        <p:spPr>
          <a:xfrm>
            <a:off x="3868802" y="4367149"/>
            <a:ext cx="404685" cy="520700"/>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2608262" y="4887849"/>
            <a:ext cx="428688" cy="288988"/>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3036951" y="4887849"/>
            <a:ext cx="831850" cy="288988"/>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3868802" y="4887849"/>
            <a:ext cx="404685" cy="288988"/>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2608262" y="5176838"/>
            <a:ext cx="428688" cy="65087"/>
          </a:xfrm>
          <a:prstGeom prst="rect">
            <a:avLst/>
          </a:prstGeom>
        </p:spPr>
        <p:txBody>
          <a:bodyPr wrap="square" lIns="0" tIns="0" rIns="0" bIns="0" rtlCol="0">
            <a:noAutofit/>
          </a:bodyPr>
          <a:lstStyle/>
          <a:p>
            <a:pPr marL="25400">
              <a:lnSpc>
                <a:spcPts val="500"/>
              </a:lnSpc>
              <a:spcBef>
                <a:spcPts val="12"/>
              </a:spcBef>
            </a:pPr>
            <a:endParaRPr sz="500"/>
          </a:p>
        </p:txBody>
      </p:sp>
      <p:sp>
        <p:nvSpPr>
          <p:cNvPr id="6" name="object 6"/>
          <p:cNvSpPr txBox="1"/>
          <p:nvPr/>
        </p:nvSpPr>
        <p:spPr>
          <a:xfrm>
            <a:off x="3036951" y="5176838"/>
            <a:ext cx="831850" cy="65087"/>
          </a:xfrm>
          <a:prstGeom prst="rect">
            <a:avLst/>
          </a:prstGeom>
        </p:spPr>
        <p:txBody>
          <a:bodyPr wrap="square" lIns="0" tIns="0" rIns="0" bIns="0" rtlCol="0">
            <a:noAutofit/>
          </a:bodyPr>
          <a:lstStyle/>
          <a:p>
            <a:pPr marL="25400">
              <a:lnSpc>
                <a:spcPts val="500"/>
              </a:lnSpc>
              <a:spcBef>
                <a:spcPts val="12"/>
              </a:spcBef>
            </a:pPr>
            <a:endParaRPr sz="500"/>
          </a:p>
        </p:txBody>
      </p:sp>
      <p:sp>
        <p:nvSpPr>
          <p:cNvPr id="5" name="object 5"/>
          <p:cNvSpPr txBox="1"/>
          <p:nvPr/>
        </p:nvSpPr>
        <p:spPr>
          <a:xfrm>
            <a:off x="3868802" y="5176838"/>
            <a:ext cx="404685" cy="65087"/>
          </a:xfrm>
          <a:prstGeom prst="rect">
            <a:avLst/>
          </a:prstGeom>
        </p:spPr>
        <p:txBody>
          <a:bodyPr wrap="square" lIns="0" tIns="0" rIns="0" bIns="0" rtlCol="0">
            <a:noAutofit/>
          </a:bodyPr>
          <a:lstStyle/>
          <a:p>
            <a:pPr marL="25400">
              <a:lnSpc>
                <a:spcPts val="500"/>
              </a:lnSpc>
              <a:spcBef>
                <a:spcPts val="12"/>
              </a:spcBef>
            </a:pPr>
            <a:endParaRPr sz="500"/>
          </a:p>
        </p:txBody>
      </p:sp>
      <p:sp>
        <p:nvSpPr>
          <p:cNvPr id="4" name="object 4"/>
          <p:cNvSpPr txBox="1"/>
          <p:nvPr/>
        </p:nvSpPr>
        <p:spPr>
          <a:xfrm>
            <a:off x="2608262" y="5241925"/>
            <a:ext cx="1665224" cy="455612"/>
          </a:xfrm>
          <a:prstGeom prst="rect">
            <a:avLst/>
          </a:prstGeom>
        </p:spPr>
        <p:txBody>
          <a:bodyPr wrap="square" lIns="0" tIns="0" rIns="0" bIns="0" rtlCol="0">
            <a:noAutofit/>
          </a:bodyPr>
          <a:lstStyle/>
          <a:p>
            <a:pPr marL="352234">
              <a:lnSpc>
                <a:spcPct val="95825"/>
              </a:lnSpc>
              <a:spcBef>
                <a:spcPts val="295"/>
              </a:spcBef>
            </a:pPr>
            <a:r>
              <a:rPr sz="2200" b="1" dirty="0">
                <a:solidFill>
                  <a:srgbClr val="FFFFFF"/>
                </a:solidFill>
                <a:latin typeface="Arial"/>
                <a:cs typeface="Arial"/>
              </a:rPr>
              <a:t>Item</a:t>
            </a:r>
            <a:r>
              <a:rPr sz="2200" b="1" spc="-45" dirty="0">
                <a:solidFill>
                  <a:srgbClr val="FFFFFF"/>
                </a:solidFill>
                <a:latin typeface="Arial"/>
                <a:cs typeface="Arial"/>
              </a:rPr>
              <a:t> </a:t>
            </a:r>
            <a:r>
              <a:rPr sz="2200" b="1" dirty="0">
                <a:solidFill>
                  <a:srgbClr val="FFFFFF"/>
                </a:solidFill>
                <a:latin typeface="Arial"/>
                <a:cs typeface="Arial"/>
              </a:rPr>
              <a:t>30</a:t>
            </a:r>
            <a:endParaRPr sz="2200">
              <a:latin typeface="Arial"/>
              <a:cs typeface="Arial"/>
            </a:endParaRPr>
          </a:p>
        </p:txBody>
      </p:sp>
      <p:sp>
        <p:nvSpPr>
          <p:cNvPr id="3" name="object 3"/>
          <p:cNvSpPr txBox="1"/>
          <p:nvPr/>
        </p:nvSpPr>
        <p:spPr>
          <a:xfrm>
            <a:off x="2298700" y="1449451"/>
            <a:ext cx="2284476" cy="520700"/>
          </a:xfrm>
          <a:prstGeom prst="rect">
            <a:avLst/>
          </a:prstGeom>
        </p:spPr>
        <p:txBody>
          <a:bodyPr wrap="square" lIns="0" tIns="0" rIns="0" bIns="0" rtlCol="0">
            <a:noAutofit/>
          </a:bodyPr>
          <a:lstStyle/>
          <a:p>
            <a:pPr>
              <a:lnSpc>
                <a:spcPts val="800"/>
              </a:lnSpc>
              <a:spcBef>
                <a:spcPts val="5"/>
              </a:spcBef>
            </a:pPr>
            <a:endParaRPr sz="800"/>
          </a:p>
          <a:p>
            <a:pPr marL="326847">
              <a:lnSpc>
                <a:spcPct val="95825"/>
              </a:lnSpc>
            </a:pPr>
            <a:r>
              <a:rPr sz="2200" b="1" dirty="0">
                <a:solidFill>
                  <a:srgbClr val="FFFFFF"/>
                </a:solidFill>
                <a:latin typeface="Arial"/>
                <a:cs typeface="Arial"/>
              </a:rPr>
              <a:t>Header</a:t>
            </a:r>
            <a:r>
              <a:rPr sz="2200" b="1" spc="-74" dirty="0">
                <a:solidFill>
                  <a:srgbClr val="FFFFFF"/>
                </a:solidFill>
                <a:latin typeface="Arial"/>
                <a:cs typeface="Arial"/>
              </a:rPr>
              <a:t> </a:t>
            </a:r>
            <a:r>
              <a:rPr sz="2200" b="1" dirty="0">
                <a:solidFill>
                  <a:srgbClr val="FFFFFF"/>
                </a:solidFill>
                <a:latin typeface="Arial"/>
                <a:cs typeface="Arial"/>
              </a:rPr>
              <a:t>Data</a:t>
            </a:r>
            <a:endParaRPr sz="2200">
              <a:latin typeface="Arial"/>
              <a:cs typeface="Arial"/>
            </a:endParaRPr>
          </a:p>
        </p:txBody>
      </p:sp>
      <p:sp>
        <p:nvSpPr>
          <p:cNvPr id="2" name="object 2"/>
          <p:cNvSpPr txBox="1"/>
          <p:nvPr/>
        </p:nvSpPr>
        <p:spPr>
          <a:xfrm>
            <a:off x="5887168" y="1369253"/>
            <a:ext cx="4189476" cy="1981200"/>
          </a:xfrm>
          <a:prstGeom prst="rect">
            <a:avLst/>
          </a:prstGeom>
        </p:spPr>
        <p:txBody>
          <a:bodyPr wrap="square" lIns="0" tIns="0" rIns="0" bIns="0" rtlCol="0">
            <a:noAutofit/>
          </a:bodyPr>
          <a:lstStyle/>
          <a:p>
            <a:pPr marL="92710">
              <a:lnSpc>
                <a:spcPts val="2190"/>
              </a:lnSpc>
              <a:spcBef>
                <a:spcPts val="109"/>
              </a:spcBef>
            </a:pPr>
            <a:r>
              <a:rPr sz="2200" spc="-109" dirty="0">
                <a:latin typeface="Arial"/>
                <a:cs typeface="Arial"/>
              </a:rPr>
              <a:t>V</a:t>
            </a:r>
            <a:r>
              <a:rPr sz="2200" dirty="0">
                <a:latin typeface="Arial"/>
                <a:cs typeface="Arial"/>
              </a:rPr>
              <a:t>al</a:t>
            </a:r>
            <a:r>
              <a:rPr sz="2200" spc="-9" dirty="0">
                <a:latin typeface="Arial"/>
                <a:cs typeface="Arial"/>
              </a:rPr>
              <a:t>i</a:t>
            </a:r>
            <a:r>
              <a:rPr sz="2200" dirty="0">
                <a:latin typeface="Arial"/>
                <a:cs typeface="Arial"/>
              </a:rPr>
              <a:t>d</a:t>
            </a:r>
            <a:r>
              <a:rPr sz="2200" spc="-14" dirty="0">
                <a:latin typeface="Arial"/>
                <a:cs typeface="Arial"/>
              </a:rPr>
              <a:t> </a:t>
            </a:r>
            <a:r>
              <a:rPr sz="2200" dirty="0">
                <a:latin typeface="Arial"/>
                <a:cs typeface="Arial"/>
              </a:rPr>
              <a:t>for</a:t>
            </a:r>
            <a:r>
              <a:rPr sz="2200" spc="-19" dirty="0">
                <a:latin typeface="Arial"/>
                <a:cs typeface="Arial"/>
              </a:rPr>
              <a:t> </a:t>
            </a:r>
            <a:r>
              <a:rPr sz="2200" dirty="0">
                <a:latin typeface="Arial"/>
                <a:cs typeface="Arial"/>
              </a:rPr>
              <a:t>Entire</a:t>
            </a:r>
            <a:r>
              <a:rPr sz="2200" spc="-14" dirty="0">
                <a:latin typeface="Arial"/>
                <a:cs typeface="Arial"/>
              </a:rPr>
              <a:t> </a:t>
            </a:r>
            <a:r>
              <a:rPr sz="2200" dirty="0">
                <a:latin typeface="Arial"/>
                <a:cs typeface="Arial"/>
              </a:rPr>
              <a:t>Do</a:t>
            </a:r>
            <a:r>
              <a:rPr sz="2200" spc="4" dirty="0">
                <a:latin typeface="Arial"/>
                <a:cs typeface="Arial"/>
              </a:rPr>
              <a:t>c</a:t>
            </a:r>
            <a:r>
              <a:rPr sz="2200" dirty="0">
                <a:latin typeface="Arial"/>
                <a:cs typeface="Arial"/>
              </a:rPr>
              <a:t>ument:</a:t>
            </a:r>
          </a:p>
          <a:p>
            <a:pPr marL="435610" indent="-342900">
              <a:lnSpc>
                <a:spcPct val="95825"/>
              </a:lnSpc>
              <a:spcBef>
                <a:spcPts val="230"/>
              </a:spcBef>
              <a:buClr>
                <a:srgbClr val="C00000"/>
              </a:buClr>
              <a:buFont typeface="Wingdings" panose="05000000000000000000" pitchFamily="2" charset="2"/>
              <a:buChar char="§"/>
            </a:pPr>
            <a:r>
              <a:rPr dirty="0">
                <a:latin typeface="Arial"/>
                <a:cs typeface="Arial"/>
              </a:rPr>
              <a:t>Sh</a:t>
            </a:r>
            <a:r>
              <a:rPr spc="-9" dirty="0">
                <a:latin typeface="Arial"/>
                <a:cs typeface="Arial"/>
              </a:rPr>
              <a:t>i</a:t>
            </a:r>
            <a:r>
              <a:rPr dirty="0">
                <a:latin typeface="Arial"/>
                <a:cs typeface="Arial"/>
              </a:rPr>
              <a:t>p</a:t>
            </a:r>
            <a:r>
              <a:rPr spc="4" dirty="0">
                <a:latin typeface="Arial"/>
                <a:cs typeface="Arial"/>
              </a:rPr>
              <a:t>-</a:t>
            </a:r>
            <a:r>
              <a:rPr dirty="0">
                <a:latin typeface="Arial"/>
                <a:cs typeface="Arial"/>
              </a:rPr>
              <a:t>to</a:t>
            </a:r>
            <a:r>
              <a:rPr spc="-19" dirty="0">
                <a:latin typeface="Arial"/>
                <a:cs typeface="Arial"/>
              </a:rPr>
              <a:t> </a:t>
            </a:r>
            <a:r>
              <a:rPr dirty="0">
                <a:latin typeface="Arial"/>
                <a:cs typeface="Arial"/>
              </a:rPr>
              <a:t>par</a:t>
            </a:r>
            <a:r>
              <a:rPr spc="4" dirty="0">
                <a:latin typeface="Arial"/>
                <a:cs typeface="Arial"/>
              </a:rPr>
              <a:t>t</a:t>
            </a:r>
            <a:r>
              <a:rPr dirty="0">
                <a:latin typeface="Arial"/>
                <a:cs typeface="Arial"/>
              </a:rPr>
              <a:t>y</a:t>
            </a:r>
          </a:p>
          <a:p>
            <a:pPr marL="435610" indent="-342900">
              <a:lnSpc>
                <a:spcPct val="95825"/>
              </a:lnSpc>
              <a:spcBef>
                <a:spcPts val="340"/>
              </a:spcBef>
              <a:buClr>
                <a:srgbClr val="C00000"/>
              </a:buClr>
              <a:buFont typeface="Wingdings" panose="05000000000000000000" pitchFamily="2" charset="2"/>
              <a:buChar char="§"/>
            </a:pPr>
            <a:r>
              <a:rPr dirty="0">
                <a:latin typeface="Arial"/>
                <a:cs typeface="Arial"/>
              </a:rPr>
              <a:t>Sh</a:t>
            </a:r>
            <a:r>
              <a:rPr spc="-9" dirty="0">
                <a:latin typeface="Arial"/>
                <a:cs typeface="Arial"/>
              </a:rPr>
              <a:t>i</a:t>
            </a:r>
            <a:r>
              <a:rPr dirty="0">
                <a:latin typeface="Arial"/>
                <a:cs typeface="Arial"/>
              </a:rPr>
              <a:t>ppi</a:t>
            </a:r>
            <a:r>
              <a:rPr spc="-4" dirty="0">
                <a:latin typeface="Arial"/>
                <a:cs typeface="Arial"/>
              </a:rPr>
              <a:t>n</a:t>
            </a:r>
            <a:r>
              <a:rPr dirty="0">
                <a:latin typeface="Arial"/>
                <a:cs typeface="Arial"/>
              </a:rPr>
              <a:t>g</a:t>
            </a:r>
            <a:r>
              <a:rPr spc="-14" dirty="0">
                <a:latin typeface="Arial"/>
                <a:cs typeface="Arial"/>
              </a:rPr>
              <a:t> </a:t>
            </a:r>
            <a:r>
              <a:rPr dirty="0">
                <a:latin typeface="Arial"/>
                <a:cs typeface="Arial"/>
              </a:rPr>
              <a:t>poi</a:t>
            </a:r>
            <a:r>
              <a:rPr spc="-4" dirty="0">
                <a:latin typeface="Arial"/>
                <a:cs typeface="Arial"/>
              </a:rPr>
              <a:t>n</a:t>
            </a:r>
            <a:r>
              <a:rPr dirty="0">
                <a:latin typeface="Arial"/>
                <a:cs typeface="Arial"/>
              </a:rPr>
              <a:t>t</a:t>
            </a:r>
          </a:p>
          <a:p>
            <a:pPr marL="435610" indent="-342900">
              <a:lnSpc>
                <a:spcPct val="95825"/>
              </a:lnSpc>
              <a:spcBef>
                <a:spcPts val="340"/>
              </a:spcBef>
              <a:buClr>
                <a:srgbClr val="C00000"/>
              </a:buClr>
              <a:buFont typeface="Wingdings" panose="05000000000000000000" pitchFamily="2" charset="2"/>
              <a:buChar char="§"/>
            </a:pPr>
            <a:r>
              <a:rPr dirty="0">
                <a:latin typeface="Arial"/>
                <a:cs typeface="Arial"/>
              </a:rPr>
              <a:t>Rou</a:t>
            </a:r>
            <a:r>
              <a:rPr spc="4" dirty="0">
                <a:latin typeface="Arial"/>
                <a:cs typeface="Arial"/>
              </a:rPr>
              <a:t>t</a:t>
            </a:r>
            <a:r>
              <a:rPr dirty="0">
                <a:latin typeface="Arial"/>
                <a:cs typeface="Arial"/>
              </a:rPr>
              <a:t>e</a:t>
            </a:r>
          </a:p>
          <a:p>
            <a:pPr marL="435611" marR="512205" indent="-342900">
              <a:lnSpc>
                <a:spcPts val="2357"/>
              </a:lnSpc>
              <a:spcBef>
                <a:spcPts val="340"/>
              </a:spcBef>
              <a:buClr>
                <a:srgbClr val="C00000"/>
              </a:buClr>
              <a:buFont typeface="Wingdings" panose="05000000000000000000" pitchFamily="2" charset="2"/>
              <a:buChar char="§"/>
              <a:tabLst>
                <a:tab pos="330200" algn="l"/>
              </a:tabLst>
            </a:pPr>
            <a:r>
              <a:rPr dirty="0">
                <a:latin typeface="Arial"/>
                <a:cs typeface="Arial"/>
              </a:rPr>
              <a:t>D</a:t>
            </a:r>
            <a:r>
              <a:rPr spc="4" dirty="0">
                <a:latin typeface="Arial"/>
                <a:cs typeface="Arial"/>
              </a:rPr>
              <a:t>e</a:t>
            </a:r>
            <a:r>
              <a:rPr dirty="0">
                <a:latin typeface="Arial"/>
                <a:cs typeface="Arial"/>
              </a:rPr>
              <a:t>l</a:t>
            </a:r>
            <a:r>
              <a:rPr spc="-9" dirty="0">
                <a:latin typeface="Arial"/>
                <a:cs typeface="Arial"/>
              </a:rPr>
              <a:t>i</a:t>
            </a:r>
            <a:r>
              <a:rPr spc="-19" dirty="0">
                <a:latin typeface="Arial"/>
                <a:cs typeface="Arial"/>
              </a:rPr>
              <a:t>v</a:t>
            </a:r>
            <a:r>
              <a:rPr dirty="0">
                <a:latin typeface="Arial"/>
                <a:cs typeface="Arial"/>
              </a:rPr>
              <a:t>ery</a:t>
            </a:r>
            <a:r>
              <a:rPr spc="-14" dirty="0">
                <a:latin typeface="Arial"/>
                <a:cs typeface="Arial"/>
              </a:rPr>
              <a:t> </a:t>
            </a:r>
            <a:r>
              <a:rPr dirty="0">
                <a:latin typeface="Arial"/>
                <a:cs typeface="Arial"/>
              </a:rPr>
              <a:t>and</a:t>
            </a:r>
            <a:r>
              <a:rPr spc="-14" dirty="0">
                <a:latin typeface="Arial"/>
                <a:cs typeface="Arial"/>
              </a:rPr>
              <a:t> </a:t>
            </a:r>
            <a:r>
              <a:rPr dirty="0">
                <a:latin typeface="Arial"/>
                <a:cs typeface="Arial"/>
              </a:rPr>
              <a:t>tr</a:t>
            </a:r>
            <a:r>
              <a:rPr spc="4" dirty="0">
                <a:latin typeface="Arial"/>
                <a:cs typeface="Arial"/>
              </a:rPr>
              <a:t>a</a:t>
            </a:r>
            <a:r>
              <a:rPr dirty="0">
                <a:latin typeface="Arial"/>
                <a:cs typeface="Arial"/>
              </a:rPr>
              <a:t>nsport</a:t>
            </a:r>
            <a:r>
              <a:rPr spc="4" dirty="0">
                <a:latin typeface="Arial"/>
                <a:cs typeface="Arial"/>
              </a:rPr>
              <a:t>a</a:t>
            </a:r>
            <a:r>
              <a:rPr dirty="0">
                <a:latin typeface="Arial"/>
                <a:cs typeface="Arial"/>
              </a:rPr>
              <a:t>tion </a:t>
            </a:r>
            <a:endParaRPr lang="en-US" dirty="0">
              <a:latin typeface="Arial"/>
              <a:cs typeface="Arial"/>
            </a:endParaRPr>
          </a:p>
          <a:p>
            <a:pPr marL="435611" marR="512205" indent="-342900">
              <a:lnSpc>
                <a:spcPts val="2357"/>
              </a:lnSpc>
              <a:spcBef>
                <a:spcPts val="340"/>
              </a:spcBef>
              <a:buClr>
                <a:srgbClr val="C00000"/>
              </a:buClr>
              <a:buFont typeface="Wingdings" panose="05000000000000000000" pitchFamily="2" charset="2"/>
              <a:buChar char="§"/>
              <a:tabLst>
                <a:tab pos="330200" algn="l"/>
              </a:tabLst>
            </a:pPr>
            <a:r>
              <a:rPr lang="en-US" dirty="0">
                <a:latin typeface="Arial"/>
                <a:cs typeface="Arial"/>
              </a:rPr>
              <a:t>Scheduling Information</a:t>
            </a:r>
            <a:endParaRPr dirty="0">
              <a:latin typeface="Arial"/>
              <a:cs typeface="Arial"/>
            </a:endParaRPr>
          </a:p>
        </p:txBody>
      </p:sp>
      <p:sp>
        <p:nvSpPr>
          <p:cNvPr id="24" name="Title 23"/>
          <p:cNvSpPr>
            <a:spLocks noGrp="1"/>
          </p:cNvSpPr>
          <p:nvPr>
            <p:ph type="title"/>
          </p:nvPr>
        </p:nvSpPr>
        <p:spPr>
          <a:xfrm>
            <a:off x="1829346" y="304800"/>
            <a:ext cx="8509933" cy="457200"/>
          </a:xfrm>
        </p:spPr>
        <p:txBody>
          <a:bodyPr>
            <a:normAutofit fontScale="90000"/>
          </a:bodyPr>
          <a:lstStyle/>
          <a:p>
            <a:r>
              <a:rPr lang="en-US" sz="2700" dirty="0">
                <a:latin typeface="+mn-lt"/>
                <a:cs typeface="Arial"/>
              </a:rPr>
              <a:t>Delivery Document Structure</a:t>
            </a:r>
            <a:br>
              <a:rPr lang="en-US" sz="2800" dirty="0">
                <a:latin typeface="Arial"/>
                <a:cs typeface="Arial"/>
              </a:rPr>
            </a:b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p:nvPr/>
        </p:nvSpPr>
        <p:spPr>
          <a:xfrm>
            <a:off x="1907540" y="1530190"/>
            <a:ext cx="3712164" cy="228091"/>
          </a:xfrm>
          <a:prstGeom prst="rect">
            <a:avLst/>
          </a:prstGeom>
        </p:spPr>
        <p:txBody>
          <a:bodyPr wrap="square" lIns="0" tIns="0" rIns="0" bIns="0" rtlCol="0">
            <a:noAutofit/>
          </a:bodyPr>
          <a:lstStyle/>
          <a:p>
            <a:pPr marL="12700">
              <a:lnSpc>
                <a:spcPts val="1730"/>
              </a:lnSpc>
              <a:spcBef>
                <a:spcPts val="86"/>
              </a:spcBef>
            </a:pPr>
            <a:endParaRPr sz="1600" dirty="0">
              <a:latin typeface="Arial"/>
              <a:cs typeface="Arial"/>
            </a:endParaRPr>
          </a:p>
        </p:txBody>
      </p:sp>
      <p:sp>
        <p:nvSpPr>
          <p:cNvPr id="5" name="object 5"/>
          <p:cNvSpPr txBox="1"/>
          <p:nvPr/>
        </p:nvSpPr>
        <p:spPr>
          <a:xfrm>
            <a:off x="7315200" y="2667001"/>
            <a:ext cx="2743200" cy="409575"/>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3429000" y="2667000"/>
            <a:ext cx="2209800" cy="469900"/>
          </a:xfrm>
          <a:prstGeom prst="rect">
            <a:avLst/>
          </a:prstGeom>
        </p:spPr>
        <p:txBody>
          <a:bodyPr wrap="square" lIns="0" tIns="0" rIns="0" bIns="0" rtlCol="0">
            <a:noAutofit/>
          </a:bodyPr>
          <a:lstStyle/>
          <a:p>
            <a:pPr marL="25400">
              <a:lnSpc>
                <a:spcPts val="1000"/>
              </a:lnSpc>
            </a:pPr>
            <a:endParaRPr sz="1000"/>
          </a:p>
        </p:txBody>
      </p:sp>
      <p:sp>
        <p:nvSpPr>
          <p:cNvPr id="18" name="Rectangle 17"/>
          <p:cNvSpPr/>
          <p:nvPr/>
        </p:nvSpPr>
        <p:spPr>
          <a:xfrm>
            <a:off x="2029691" y="1066800"/>
            <a:ext cx="8001000" cy="2508507"/>
          </a:xfrm>
          <a:prstGeom prst="rect">
            <a:avLst/>
          </a:prstGeom>
        </p:spPr>
        <p:txBody>
          <a:bodyPr wrap="square">
            <a:spAutoFit/>
          </a:bodyPr>
          <a:lstStyle/>
          <a:p>
            <a:pPr marL="342341" indent="-285750">
              <a:lnSpc>
                <a:spcPct val="95825"/>
              </a:lnSpc>
              <a:spcBef>
                <a:spcPts val="1637"/>
              </a:spcBef>
              <a:buClr>
                <a:srgbClr val="00B0F0"/>
              </a:buClr>
              <a:buFont typeface="Wingdings" panose="05000000000000000000" pitchFamily="2" charset="2"/>
              <a:buChar char="§"/>
            </a:pPr>
            <a:r>
              <a:rPr lang="en-US" dirty="0">
                <a:cs typeface="Arial"/>
              </a:rPr>
              <a:t>Co</a:t>
            </a:r>
            <a:r>
              <a:rPr lang="en-US" spc="-4" dirty="0">
                <a:cs typeface="Arial"/>
              </a:rPr>
              <a:t>p</a:t>
            </a:r>
            <a:r>
              <a:rPr lang="en-US" dirty="0">
                <a:cs typeface="Arial"/>
              </a:rPr>
              <a:t>y</a:t>
            </a:r>
            <a:r>
              <a:rPr lang="en-US" spc="-39" dirty="0">
                <a:cs typeface="Arial"/>
              </a:rPr>
              <a:t> </a:t>
            </a:r>
            <a:r>
              <a:rPr lang="en-US" dirty="0">
                <a:cs typeface="Arial"/>
              </a:rPr>
              <a:t>co</a:t>
            </a:r>
            <a:r>
              <a:rPr lang="en-US" spc="-4" dirty="0">
                <a:cs typeface="Arial"/>
              </a:rPr>
              <a:t>n</a:t>
            </a:r>
            <a:r>
              <a:rPr lang="en-US" dirty="0">
                <a:cs typeface="Arial"/>
              </a:rPr>
              <a:t>trols</a:t>
            </a:r>
            <a:r>
              <a:rPr lang="en-US" spc="-43" dirty="0">
                <a:cs typeface="Arial"/>
              </a:rPr>
              <a:t> </a:t>
            </a:r>
            <a:r>
              <a:rPr lang="en-US" dirty="0">
                <a:cs typeface="Arial"/>
              </a:rPr>
              <a:t>hel</a:t>
            </a:r>
            <a:r>
              <a:rPr lang="en-US" spc="-4" dirty="0">
                <a:cs typeface="Arial"/>
              </a:rPr>
              <a:t>p</a:t>
            </a:r>
            <a:r>
              <a:rPr lang="en-US" dirty="0">
                <a:cs typeface="Arial"/>
              </a:rPr>
              <a:t>s</a:t>
            </a:r>
            <a:r>
              <a:rPr lang="en-US" spc="-16" dirty="0">
                <a:cs typeface="Arial"/>
              </a:rPr>
              <a:t> </a:t>
            </a:r>
            <a:r>
              <a:rPr lang="en-US" dirty="0">
                <a:cs typeface="Arial"/>
              </a:rPr>
              <a:t>mi</a:t>
            </a:r>
            <a:r>
              <a:rPr lang="en-US" spc="-4" dirty="0">
                <a:cs typeface="Arial"/>
              </a:rPr>
              <a:t>n</a:t>
            </a:r>
            <a:r>
              <a:rPr lang="en-US" dirty="0">
                <a:cs typeface="Arial"/>
              </a:rPr>
              <a:t>imizing</a:t>
            </a:r>
            <a:r>
              <a:rPr lang="en-US" spc="-38" dirty="0">
                <a:cs typeface="Arial"/>
              </a:rPr>
              <a:t> </a:t>
            </a:r>
            <a:r>
              <a:rPr lang="en-US" dirty="0">
                <a:cs typeface="Arial"/>
              </a:rPr>
              <a:t>d</a:t>
            </a:r>
            <a:r>
              <a:rPr lang="en-US" spc="-4" dirty="0">
                <a:cs typeface="Arial"/>
              </a:rPr>
              <a:t>o</a:t>
            </a:r>
            <a:r>
              <a:rPr lang="en-US" dirty="0">
                <a:cs typeface="Arial"/>
              </a:rPr>
              <a:t>cu</a:t>
            </a:r>
            <a:r>
              <a:rPr lang="en-US" spc="-4" dirty="0">
                <a:cs typeface="Arial"/>
              </a:rPr>
              <a:t>m</a:t>
            </a:r>
            <a:r>
              <a:rPr lang="en-US" dirty="0">
                <a:cs typeface="Arial"/>
              </a:rPr>
              <a:t>ent</a:t>
            </a:r>
            <a:r>
              <a:rPr lang="en-US" spc="-46" dirty="0">
                <a:cs typeface="Arial"/>
              </a:rPr>
              <a:t> </a:t>
            </a:r>
            <a:r>
              <a:rPr lang="en-US" dirty="0">
                <a:cs typeface="Arial"/>
              </a:rPr>
              <a:t>fl</a:t>
            </a:r>
            <a:r>
              <a:rPr lang="en-US" spc="-4" dirty="0">
                <a:cs typeface="Arial"/>
              </a:rPr>
              <a:t>o</a:t>
            </a:r>
            <a:r>
              <a:rPr lang="en-US" dirty="0">
                <a:cs typeface="Arial"/>
              </a:rPr>
              <a:t>w</a:t>
            </a:r>
            <a:r>
              <a:rPr lang="en-US" spc="-1" dirty="0">
                <a:cs typeface="Arial"/>
              </a:rPr>
              <a:t> </a:t>
            </a:r>
            <a:r>
              <a:rPr lang="en-US" dirty="0">
                <a:cs typeface="Arial"/>
              </a:rPr>
              <a:t>f</a:t>
            </a:r>
            <a:r>
              <a:rPr lang="en-US" spc="-4" dirty="0">
                <a:cs typeface="Arial"/>
              </a:rPr>
              <a:t>o</a:t>
            </a:r>
            <a:r>
              <a:rPr lang="en-US" dirty="0">
                <a:cs typeface="Arial"/>
              </a:rPr>
              <a:t>r</a:t>
            </a:r>
            <a:r>
              <a:rPr lang="en-US" spc="3" dirty="0">
                <a:cs typeface="Arial"/>
              </a:rPr>
              <a:t> </a:t>
            </a:r>
            <a:r>
              <a:rPr lang="en-US" dirty="0">
                <a:cs typeface="Arial"/>
              </a:rPr>
              <a:t>example</a:t>
            </a:r>
            <a:r>
              <a:rPr lang="en-US" spc="-44" dirty="0">
                <a:cs typeface="Arial"/>
              </a:rPr>
              <a:t> </a:t>
            </a:r>
            <a:r>
              <a:rPr lang="en-US" dirty="0">
                <a:cs typeface="Arial"/>
              </a:rPr>
              <a:t>Billing</a:t>
            </a:r>
            <a:r>
              <a:rPr lang="en-US" spc="-18" dirty="0">
                <a:cs typeface="Arial"/>
              </a:rPr>
              <a:t> </a:t>
            </a:r>
            <a:r>
              <a:rPr lang="en-US" dirty="0">
                <a:cs typeface="Arial"/>
              </a:rPr>
              <a:t>Doc</a:t>
            </a:r>
            <a:r>
              <a:rPr lang="en-US" spc="-4" dirty="0">
                <a:cs typeface="Arial"/>
              </a:rPr>
              <a:t>u</a:t>
            </a:r>
            <a:r>
              <a:rPr lang="en-US" dirty="0">
                <a:cs typeface="Arial"/>
              </a:rPr>
              <a:t>me</a:t>
            </a:r>
            <a:r>
              <a:rPr lang="en-US" spc="-4" dirty="0">
                <a:cs typeface="Arial"/>
              </a:rPr>
              <a:t>n</a:t>
            </a:r>
            <a:r>
              <a:rPr lang="en-US" dirty="0">
                <a:cs typeface="Arial"/>
              </a:rPr>
              <a:t>t</a:t>
            </a:r>
          </a:p>
          <a:p>
            <a:pPr marL="342341" indent="-285750">
              <a:lnSpc>
                <a:spcPct val="95825"/>
              </a:lnSpc>
              <a:spcBef>
                <a:spcPts val="1637"/>
              </a:spcBef>
              <a:buClr>
                <a:srgbClr val="00B0F0"/>
              </a:buClr>
              <a:buFont typeface="Wingdings" panose="05000000000000000000" pitchFamily="2" charset="2"/>
              <a:buChar char="§"/>
            </a:pPr>
            <a:r>
              <a:rPr lang="en-US" spc="-125" dirty="0">
                <a:cs typeface="Arial"/>
              </a:rPr>
              <a:t>T</a:t>
            </a:r>
            <a:r>
              <a:rPr lang="en-US" spc="-34" dirty="0">
                <a:cs typeface="Arial"/>
              </a:rPr>
              <a:t>y</a:t>
            </a:r>
            <a:r>
              <a:rPr lang="en-US" dirty="0">
                <a:cs typeface="Arial"/>
              </a:rPr>
              <a:t>pe</a:t>
            </a:r>
            <a:r>
              <a:rPr lang="en-US" spc="-7" dirty="0">
                <a:cs typeface="Arial"/>
              </a:rPr>
              <a:t> </a:t>
            </a:r>
            <a:r>
              <a:rPr lang="en-US" dirty="0">
                <a:cs typeface="Arial"/>
              </a:rPr>
              <a:t>from</a:t>
            </a:r>
            <a:r>
              <a:rPr lang="en-US" spc="-20" dirty="0">
                <a:cs typeface="Arial"/>
              </a:rPr>
              <a:t> </a:t>
            </a:r>
            <a:r>
              <a:rPr lang="en-US" dirty="0">
                <a:cs typeface="Arial"/>
              </a:rPr>
              <a:t>a Deli</a:t>
            </a:r>
            <a:r>
              <a:rPr lang="en-US" spc="-34" dirty="0">
                <a:cs typeface="Arial"/>
              </a:rPr>
              <a:t>v</a:t>
            </a:r>
            <a:r>
              <a:rPr lang="en-US" dirty="0">
                <a:cs typeface="Arial"/>
              </a:rPr>
              <a:t>e</a:t>
            </a:r>
            <a:r>
              <a:rPr lang="en-US" spc="14" dirty="0">
                <a:cs typeface="Arial"/>
              </a:rPr>
              <a:t>r</a:t>
            </a:r>
            <a:r>
              <a:rPr lang="en-US" dirty="0">
                <a:cs typeface="Arial"/>
              </a:rPr>
              <a:t>y</a:t>
            </a:r>
            <a:r>
              <a:rPr lang="en-US" spc="-27" dirty="0">
                <a:cs typeface="Arial"/>
              </a:rPr>
              <a:t> </a:t>
            </a:r>
            <a:r>
              <a:rPr lang="en-US" spc="-125" dirty="0">
                <a:cs typeface="Arial"/>
              </a:rPr>
              <a:t>T</a:t>
            </a:r>
            <a:r>
              <a:rPr lang="en-US" spc="-34" dirty="0">
                <a:cs typeface="Arial"/>
              </a:rPr>
              <a:t>y</a:t>
            </a:r>
            <a:r>
              <a:rPr lang="en-US" dirty="0">
                <a:cs typeface="Arial"/>
              </a:rPr>
              <a:t>pe</a:t>
            </a:r>
            <a:r>
              <a:rPr lang="en-US" spc="7" dirty="0">
                <a:cs typeface="Arial"/>
              </a:rPr>
              <a:t> </a:t>
            </a:r>
            <a:r>
              <a:rPr lang="en-US" dirty="0">
                <a:cs typeface="Arial"/>
              </a:rPr>
              <a:t>e.g.</a:t>
            </a:r>
            <a:r>
              <a:rPr lang="en-US" spc="-7" dirty="0">
                <a:cs typeface="Arial"/>
              </a:rPr>
              <a:t> </a:t>
            </a:r>
            <a:r>
              <a:rPr lang="en-US" dirty="0">
                <a:cs typeface="Arial"/>
              </a:rPr>
              <a:t>In</a:t>
            </a:r>
            <a:r>
              <a:rPr lang="en-US" spc="-39" dirty="0">
                <a:cs typeface="Arial"/>
              </a:rPr>
              <a:t>v</a:t>
            </a:r>
            <a:r>
              <a:rPr lang="en-US" dirty="0">
                <a:cs typeface="Arial"/>
              </a:rPr>
              <a:t>oice(</a:t>
            </a:r>
            <a:r>
              <a:rPr lang="en-US" spc="-4" dirty="0">
                <a:cs typeface="Arial"/>
              </a:rPr>
              <a:t>F</a:t>
            </a:r>
            <a:r>
              <a:rPr lang="en-US" dirty="0">
                <a:cs typeface="Arial"/>
              </a:rPr>
              <a:t>2)</a:t>
            </a:r>
            <a:r>
              <a:rPr lang="en-US" spc="-9" dirty="0">
                <a:cs typeface="Arial"/>
              </a:rPr>
              <a:t> </a:t>
            </a:r>
            <a:r>
              <a:rPr lang="en-US" spc="25" dirty="0">
                <a:cs typeface="Arial"/>
              </a:rPr>
              <a:t>&lt;</a:t>
            </a:r>
            <a:r>
              <a:rPr lang="en-US" dirty="0">
                <a:cs typeface="Arial"/>
              </a:rPr>
              <a:t>-</a:t>
            </a:r>
            <a:r>
              <a:rPr lang="en-US" spc="-4" dirty="0">
                <a:cs typeface="Arial"/>
              </a:rPr>
              <a:t> </a:t>
            </a:r>
            <a:r>
              <a:rPr lang="en-US" dirty="0">
                <a:cs typeface="Arial"/>
              </a:rPr>
              <a:t>Deli</a:t>
            </a:r>
            <a:r>
              <a:rPr lang="en-US" spc="-34" dirty="0">
                <a:cs typeface="Arial"/>
              </a:rPr>
              <a:t>v</a:t>
            </a:r>
            <a:r>
              <a:rPr lang="en-US" dirty="0">
                <a:cs typeface="Arial"/>
              </a:rPr>
              <a:t>e</a:t>
            </a:r>
            <a:r>
              <a:rPr lang="en-US" spc="14" dirty="0">
                <a:cs typeface="Arial"/>
              </a:rPr>
              <a:t>r</a:t>
            </a:r>
            <a:r>
              <a:rPr lang="en-US" dirty="0">
                <a:cs typeface="Arial"/>
              </a:rPr>
              <a:t>y</a:t>
            </a:r>
            <a:r>
              <a:rPr lang="en-US" spc="-12" dirty="0">
                <a:cs typeface="Arial"/>
              </a:rPr>
              <a:t> </a:t>
            </a:r>
            <a:r>
              <a:rPr lang="en-US" dirty="0">
                <a:cs typeface="Arial"/>
              </a:rPr>
              <a:t>(</a:t>
            </a:r>
            <a:r>
              <a:rPr lang="en-US" spc="-4" dirty="0">
                <a:cs typeface="Arial"/>
              </a:rPr>
              <a:t>L</a:t>
            </a:r>
            <a:r>
              <a:rPr lang="en-US" dirty="0">
                <a:cs typeface="Arial"/>
              </a:rPr>
              <a:t>F)</a:t>
            </a:r>
          </a:p>
          <a:p>
            <a:pPr marL="56591">
              <a:lnSpc>
                <a:spcPct val="95825"/>
              </a:lnSpc>
              <a:spcBef>
                <a:spcPts val="1637"/>
              </a:spcBef>
            </a:pPr>
            <a:endParaRPr lang="en-US" dirty="0">
              <a:latin typeface="Arial"/>
              <a:cs typeface="Arial"/>
            </a:endParaRPr>
          </a:p>
          <a:p>
            <a:pPr marL="56591">
              <a:lnSpc>
                <a:spcPct val="95825"/>
              </a:lnSpc>
              <a:spcBef>
                <a:spcPts val="1637"/>
              </a:spcBef>
            </a:pPr>
            <a:endParaRPr lang="en-US" b="1" dirty="0">
              <a:latin typeface="Arial"/>
              <a:cs typeface="Arial"/>
            </a:endParaRPr>
          </a:p>
          <a:p>
            <a:pPr marL="56591">
              <a:lnSpc>
                <a:spcPct val="95825"/>
              </a:lnSpc>
              <a:spcBef>
                <a:spcPts val="1637"/>
              </a:spcBef>
            </a:pPr>
            <a:endParaRPr lang="en-US" dirty="0">
              <a:latin typeface="Arial"/>
              <a:cs typeface="Arial"/>
            </a:endParaRPr>
          </a:p>
        </p:txBody>
      </p:sp>
      <p:pic>
        <p:nvPicPr>
          <p:cNvPr id="19" name="Picture 18"/>
          <p:cNvPicPr>
            <a:picLocks noChangeAspect="1"/>
          </p:cNvPicPr>
          <p:nvPr/>
        </p:nvPicPr>
        <p:blipFill>
          <a:blip r:embed="rId2" cstate="print"/>
          <a:stretch>
            <a:fillRect/>
          </a:stretch>
        </p:blipFill>
        <p:spPr>
          <a:xfrm>
            <a:off x="2190210" y="2522050"/>
            <a:ext cx="8018050" cy="3796626"/>
          </a:xfrm>
          <a:prstGeom prst="rect">
            <a:avLst/>
          </a:prstGeom>
        </p:spPr>
      </p:pic>
      <p:sp>
        <p:nvSpPr>
          <p:cNvPr id="2" name="Title 1"/>
          <p:cNvSpPr>
            <a:spLocks noGrp="1"/>
          </p:cNvSpPr>
          <p:nvPr>
            <p:ph type="title"/>
          </p:nvPr>
        </p:nvSpPr>
        <p:spPr>
          <a:xfrm>
            <a:off x="1802934" y="414776"/>
            <a:ext cx="8509933" cy="499625"/>
          </a:xfrm>
        </p:spPr>
        <p:txBody>
          <a:bodyPr>
            <a:normAutofit fontScale="90000"/>
          </a:bodyPr>
          <a:lstStyle/>
          <a:p>
            <a:r>
              <a:rPr lang="en-US" sz="2700" dirty="0">
                <a:latin typeface="+mn-lt"/>
                <a:cs typeface="Arial"/>
              </a:rPr>
              <a:t>Copy</a:t>
            </a:r>
            <a:r>
              <a:rPr lang="en-US" sz="2700" spc="1008" dirty="0">
                <a:latin typeface="+mn-lt"/>
                <a:cs typeface="Arial"/>
              </a:rPr>
              <a:t> </a:t>
            </a:r>
            <a:r>
              <a:rPr lang="en-US" sz="2700" dirty="0">
                <a:latin typeface="+mn-lt"/>
                <a:cs typeface="Arial"/>
              </a:rPr>
              <a:t>Contro</a:t>
            </a:r>
            <a:r>
              <a:rPr lang="en-US" sz="2700" spc="9" dirty="0">
                <a:latin typeface="+mn-lt"/>
                <a:cs typeface="Arial"/>
              </a:rPr>
              <a:t>l</a:t>
            </a:r>
            <a:r>
              <a:rPr lang="en-US" sz="2700" dirty="0">
                <a:latin typeface="+mn-lt"/>
                <a:cs typeface="Arial"/>
              </a:rPr>
              <a:t>s</a:t>
            </a:r>
            <a:br>
              <a:rPr lang="en-US" sz="2800" dirty="0">
                <a:latin typeface="Arial"/>
                <a:cs typeface="Arial"/>
              </a:rPr>
            </a:b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bject 51"/>
          <p:cNvSpPr/>
          <p:nvPr/>
        </p:nvSpPr>
        <p:spPr>
          <a:xfrm>
            <a:off x="7588250" y="4257675"/>
            <a:ext cx="897254" cy="1254252"/>
          </a:xfrm>
          <a:custGeom>
            <a:avLst/>
            <a:gdLst/>
            <a:ahLst/>
            <a:cxnLst/>
            <a:rect l="l" t="t" r="r" b="b"/>
            <a:pathLst>
              <a:path w="897254" h="1254252">
                <a:moveTo>
                  <a:pt x="897254" y="1254252"/>
                </a:moveTo>
                <a:lnTo>
                  <a:pt x="477266" y="1254252"/>
                </a:lnTo>
                <a:lnTo>
                  <a:pt x="0" y="0"/>
                </a:lnTo>
              </a:path>
            </a:pathLst>
          </a:custGeom>
          <a:ln w="50800">
            <a:solidFill>
              <a:srgbClr val="000000"/>
            </a:solidFill>
          </a:ln>
        </p:spPr>
        <p:txBody>
          <a:bodyPr wrap="square" lIns="0" tIns="0" rIns="0" bIns="0" rtlCol="0">
            <a:noAutofit/>
          </a:bodyPr>
          <a:lstStyle/>
          <a:p>
            <a:endParaRPr/>
          </a:p>
        </p:txBody>
      </p:sp>
      <p:sp>
        <p:nvSpPr>
          <p:cNvPr id="52" name="object 52"/>
          <p:cNvSpPr/>
          <p:nvPr/>
        </p:nvSpPr>
        <p:spPr>
          <a:xfrm>
            <a:off x="6343650" y="4257675"/>
            <a:ext cx="898778" cy="1254252"/>
          </a:xfrm>
          <a:custGeom>
            <a:avLst/>
            <a:gdLst/>
            <a:ahLst/>
            <a:cxnLst/>
            <a:rect l="l" t="t" r="r" b="b"/>
            <a:pathLst>
              <a:path w="898778" h="1254252">
                <a:moveTo>
                  <a:pt x="0" y="1254252"/>
                </a:moveTo>
                <a:lnTo>
                  <a:pt x="420750" y="1254252"/>
                </a:lnTo>
                <a:lnTo>
                  <a:pt x="898778" y="0"/>
                </a:lnTo>
              </a:path>
            </a:pathLst>
          </a:custGeom>
          <a:ln w="50800">
            <a:solidFill>
              <a:srgbClr val="000000"/>
            </a:solidFill>
          </a:ln>
        </p:spPr>
        <p:txBody>
          <a:bodyPr wrap="square" lIns="0" tIns="0" rIns="0" bIns="0" rtlCol="0">
            <a:noAutofit/>
          </a:bodyPr>
          <a:lstStyle/>
          <a:p>
            <a:endParaRPr/>
          </a:p>
        </p:txBody>
      </p:sp>
      <p:sp>
        <p:nvSpPr>
          <p:cNvPr id="53" name="object 53"/>
          <p:cNvSpPr/>
          <p:nvPr/>
        </p:nvSpPr>
        <p:spPr>
          <a:xfrm>
            <a:off x="5951602" y="3603625"/>
            <a:ext cx="2867279" cy="0"/>
          </a:xfrm>
          <a:custGeom>
            <a:avLst/>
            <a:gdLst/>
            <a:ahLst/>
            <a:cxnLst/>
            <a:rect l="l" t="t" r="r" b="b"/>
            <a:pathLst>
              <a:path w="2867279">
                <a:moveTo>
                  <a:pt x="0" y="0"/>
                </a:moveTo>
                <a:lnTo>
                  <a:pt x="2867279" y="0"/>
                </a:lnTo>
              </a:path>
            </a:pathLst>
          </a:custGeom>
          <a:ln w="50800">
            <a:solidFill>
              <a:srgbClr val="000000"/>
            </a:solidFill>
          </a:ln>
        </p:spPr>
        <p:txBody>
          <a:bodyPr wrap="square" lIns="0" tIns="0" rIns="0" bIns="0" rtlCol="0">
            <a:noAutofit/>
          </a:bodyPr>
          <a:lstStyle/>
          <a:p>
            <a:endParaRPr/>
          </a:p>
        </p:txBody>
      </p:sp>
      <p:sp>
        <p:nvSpPr>
          <p:cNvPr id="54" name="object 54"/>
          <p:cNvSpPr/>
          <p:nvPr/>
        </p:nvSpPr>
        <p:spPr>
          <a:xfrm>
            <a:off x="6324600" y="1981201"/>
            <a:ext cx="898778" cy="1111377"/>
          </a:xfrm>
          <a:custGeom>
            <a:avLst/>
            <a:gdLst/>
            <a:ahLst/>
            <a:cxnLst/>
            <a:rect l="l" t="t" r="r" b="b"/>
            <a:pathLst>
              <a:path w="898778" h="1111377">
                <a:moveTo>
                  <a:pt x="0" y="0"/>
                </a:moveTo>
                <a:lnTo>
                  <a:pt x="420750" y="0"/>
                </a:lnTo>
                <a:lnTo>
                  <a:pt x="898778" y="1111377"/>
                </a:lnTo>
              </a:path>
            </a:pathLst>
          </a:custGeom>
          <a:ln w="50799">
            <a:solidFill>
              <a:srgbClr val="000000"/>
            </a:solidFill>
          </a:ln>
        </p:spPr>
        <p:txBody>
          <a:bodyPr wrap="square" lIns="0" tIns="0" rIns="0" bIns="0" rtlCol="0">
            <a:noAutofit/>
          </a:bodyPr>
          <a:lstStyle/>
          <a:p>
            <a:endParaRPr/>
          </a:p>
        </p:txBody>
      </p:sp>
      <p:sp>
        <p:nvSpPr>
          <p:cNvPr id="55" name="object 55"/>
          <p:cNvSpPr/>
          <p:nvPr/>
        </p:nvSpPr>
        <p:spPr>
          <a:xfrm>
            <a:off x="7566025" y="1981201"/>
            <a:ext cx="898778" cy="1111377"/>
          </a:xfrm>
          <a:custGeom>
            <a:avLst/>
            <a:gdLst/>
            <a:ahLst/>
            <a:cxnLst/>
            <a:rect l="l" t="t" r="r" b="b"/>
            <a:pathLst>
              <a:path w="898778" h="1111377">
                <a:moveTo>
                  <a:pt x="898778" y="0"/>
                </a:moveTo>
                <a:lnTo>
                  <a:pt x="478154" y="0"/>
                </a:lnTo>
                <a:lnTo>
                  <a:pt x="0" y="1111377"/>
                </a:lnTo>
              </a:path>
            </a:pathLst>
          </a:custGeom>
          <a:ln w="50799">
            <a:solidFill>
              <a:srgbClr val="000000"/>
            </a:solidFill>
          </a:ln>
        </p:spPr>
        <p:txBody>
          <a:bodyPr wrap="square" lIns="0" tIns="0" rIns="0" bIns="0" rtlCol="0">
            <a:noAutofit/>
          </a:bodyPr>
          <a:lstStyle/>
          <a:p>
            <a:endParaRPr/>
          </a:p>
        </p:txBody>
      </p:sp>
      <p:sp>
        <p:nvSpPr>
          <p:cNvPr id="56" name="object 56"/>
          <p:cNvSpPr/>
          <p:nvPr/>
        </p:nvSpPr>
        <p:spPr>
          <a:xfrm>
            <a:off x="6724651" y="2936876"/>
            <a:ext cx="1366901" cy="1558925"/>
          </a:xfrm>
          <a:custGeom>
            <a:avLst/>
            <a:gdLst/>
            <a:ahLst/>
            <a:cxnLst/>
            <a:rect l="l" t="t" r="r" b="b"/>
            <a:pathLst>
              <a:path w="1366901" h="1558925">
                <a:moveTo>
                  <a:pt x="0" y="779526"/>
                </a:moveTo>
                <a:lnTo>
                  <a:pt x="2265" y="843442"/>
                </a:lnTo>
                <a:lnTo>
                  <a:pt x="8943" y="905937"/>
                </a:lnTo>
                <a:lnTo>
                  <a:pt x="19859" y="966809"/>
                </a:lnTo>
                <a:lnTo>
                  <a:pt x="34837" y="1025858"/>
                </a:lnTo>
                <a:lnTo>
                  <a:pt x="53701" y="1082883"/>
                </a:lnTo>
                <a:lnTo>
                  <a:pt x="76274" y="1137683"/>
                </a:lnTo>
                <a:lnTo>
                  <a:pt x="102382" y="1190059"/>
                </a:lnTo>
                <a:lnTo>
                  <a:pt x="131848" y="1239808"/>
                </a:lnTo>
                <a:lnTo>
                  <a:pt x="164496" y="1286731"/>
                </a:lnTo>
                <a:lnTo>
                  <a:pt x="200151" y="1330626"/>
                </a:lnTo>
                <a:lnTo>
                  <a:pt x="238637" y="1371293"/>
                </a:lnTo>
                <a:lnTo>
                  <a:pt x="279778" y="1408532"/>
                </a:lnTo>
                <a:lnTo>
                  <a:pt x="323399" y="1442141"/>
                </a:lnTo>
                <a:lnTo>
                  <a:pt x="369322" y="1471920"/>
                </a:lnTo>
                <a:lnTo>
                  <a:pt x="417373" y="1497669"/>
                </a:lnTo>
                <a:lnTo>
                  <a:pt x="467376" y="1519186"/>
                </a:lnTo>
                <a:lnTo>
                  <a:pt x="519154" y="1536270"/>
                </a:lnTo>
                <a:lnTo>
                  <a:pt x="572533" y="1548722"/>
                </a:lnTo>
                <a:lnTo>
                  <a:pt x="627335" y="1556340"/>
                </a:lnTo>
                <a:lnTo>
                  <a:pt x="683387" y="1558925"/>
                </a:lnTo>
                <a:lnTo>
                  <a:pt x="739438" y="1556340"/>
                </a:lnTo>
                <a:lnTo>
                  <a:pt x="794244" y="1548722"/>
                </a:lnTo>
                <a:lnTo>
                  <a:pt x="847626" y="1536270"/>
                </a:lnTo>
                <a:lnTo>
                  <a:pt x="899410" y="1519186"/>
                </a:lnTo>
                <a:lnTo>
                  <a:pt x="949420" y="1497669"/>
                </a:lnTo>
                <a:lnTo>
                  <a:pt x="997478" y="1471920"/>
                </a:lnTo>
                <a:lnTo>
                  <a:pt x="1043410" y="1442141"/>
                </a:lnTo>
                <a:lnTo>
                  <a:pt x="1087039" y="1408532"/>
                </a:lnTo>
                <a:lnTo>
                  <a:pt x="1128190" y="1371293"/>
                </a:lnTo>
                <a:lnTo>
                  <a:pt x="1166685" y="1330626"/>
                </a:lnTo>
                <a:lnTo>
                  <a:pt x="1202350" y="1286731"/>
                </a:lnTo>
                <a:lnTo>
                  <a:pt x="1235007" y="1239808"/>
                </a:lnTo>
                <a:lnTo>
                  <a:pt x="1264482" y="1190059"/>
                </a:lnTo>
                <a:lnTo>
                  <a:pt x="1290598" y="1137683"/>
                </a:lnTo>
                <a:lnTo>
                  <a:pt x="1313179" y="1082883"/>
                </a:lnTo>
                <a:lnTo>
                  <a:pt x="1332050" y="1025858"/>
                </a:lnTo>
                <a:lnTo>
                  <a:pt x="1347033" y="966809"/>
                </a:lnTo>
                <a:lnTo>
                  <a:pt x="1357953" y="905937"/>
                </a:lnTo>
                <a:lnTo>
                  <a:pt x="1364634" y="843442"/>
                </a:lnTo>
                <a:lnTo>
                  <a:pt x="1366901" y="779526"/>
                </a:lnTo>
                <a:lnTo>
                  <a:pt x="1364634" y="715591"/>
                </a:lnTo>
                <a:lnTo>
                  <a:pt x="1357953" y="653080"/>
                </a:lnTo>
                <a:lnTo>
                  <a:pt x="1347033" y="592193"/>
                </a:lnTo>
                <a:lnTo>
                  <a:pt x="1332050" y="533131"/>
                </a:lnTo>
                <a:lnTo>
                  <a:pt x="1313180" y="476095"/>
                </a:lnTo>
                <a:lnTo>
                  <a:pt x="1290598" y="421284"/>
                </a:lnTo>
                <a:lnTo>
                  <a:pt x="1264482" y="368900"/>
                </a:lnTo>
                <a:lnTo>
                  <a:pt x="1235007" y="319143"/>
                </a:lnTo>
                <a:lnTo>
                  <a:pt x="1202350" y="272214"/>
                </a:lnTo>
                <a:lnTo>
                  <a:pt x="1166685" y="228314"/>
                </a:lnTo>
                <a:lnTo>
                  <a:pt x="1128190" y="187642"/>
                </a:lnTo>
                <a:lnTo>
                  <a:pt x="1087039" y="150400"/>
                </a:lnTo>
                <a:lnTo>
                  <a:pt x="1043410" y="116788"/>
                </a:lnTo>
                <a:lnTo>
                  <a:pt x="997478" y="87007"/>
                </a:lnTo>
                <a:lnTo>
                  <a:pt x="949420" y="61257"/>
                </a:lnTo>
                <a:lnTo>
                  <a:pt x="899410" y="39739"/>
                </a:lnTo>
                <a:lnTo>
                  <a:pt x="847626" y="22654"/>
                </a:lnTo>
                <a:lnTo>
                  <a:pt x="794244" y="10202"/>
                </a:lnTo>
                <a:lnTo>
                  <a:pt x="739438" y="2584"/>
                </a:lnTo>
                <a:lnTo>
                  <a:pt x="683387" y="0"/>
                </a:lnTo>
                <a:lnTo>
                  <a:pt x="627335" y="2584"/>
                </a:lnTo>
                <a:lnTo>
                  <a:pt x="572533" y="10202"/>
                </a:lnTo>
                <a:lnTo>
                  <a:pt x="519154" y="22654"/>
                </a:lnTo>
                <a:lnTo>
                  <a:pt x="467376" y="39739"/>
                </a:lnTo>
                <a:lnTo>
                  <a:pt x="417373" y="61257"/>
                </a:lnTo>
                <a:lnTo>
                  <a:pt x="369322" y="87007"/>
                </a:lnTo>
                <a:lnTo>
                  <a:pt x="323399" y="116788"/>
                </a:lnTo>
                <a:lnTo>
                  <a:pt x="279778" y="150400"/>
                </a:lnTo>
                <a:lnTo>
                  <a:pt x="238637" y="187642"/>
                </a:lnTo>
                <a:lnTo>
                  <a:pt x="200151" y="228314"/>
                </a:lnTo>
                <a:lnTo>
                  <a:pt x="164496" y="272214"/>
                </a:lnTo>
                <a:lnTo>
                  <a:pt x="131848" y="319143"/>
                </a:lnTo>
                <a:lnTo>
                  <a:pt x="102382" y="368900"/>
                </a:lnTo>
                <a:lnTo>
                  <a:pt x="76274" y="421284"/>
                </a:lnTo>
                <a:lnTo>
                  <a:pt x="53701" y="476095"/>
                </a:lnTo>
                <a:lnTo>
                  <a:pt x="34837" y="533131"/>
                </a:lnTo>
                <a:lnTo>
                  <a:pt x="19859" y="592193"/>
                </a:lnTo>
                <a:lnTo>
                  <a:pt x="8943" y="653080"/>
                </a:lnTo>
                <a:lnTo>
                  <a:pt x="2265" y="715591"/>
                </a:lnTo>
                <a:lnTo>
                  <a:pt x="0" y="779526"/>
                </a:lnTo>
                <a:close/>
              </a:path>
            </a:pathLst>
          </a:custGeom>
          <a:solidFill>
            <a:srgbClr val="008579"/>
          </a:solidFill>
        </p:spPr>
        <p:txBody>
          <a:bodyPr wrap="square" lIns="0" tIns="0" rIns="0" bIns="0" rtlCol="0">
            <a:noAutofit/>
          </a:bodyPr>
          <a:lstStyle/>
          <a:p>
            <a:endParaRPr/>
          </a:p>
        </p:txBody>
      </p:sp>
      <p:sp>
        <p:nvSpPr>
          <p:cNvPr id="57" name="object 57"/>
          <p:cNvSpPr/>
          <p:nvPr/>
        </p:nvSpPr>
        <p:spPr>
          <a:xfrm>
            <a:off x="6724651" y="2936876"/>
            <a:ext cx="1366901" cy="1558925"/>
          </a:xfrm>
          <a:custGeom>
            <a:avLst/>
            <a:gdLst/>
            <a:ahLst/>
            <a:cxnLst/>
            <a:rect l="l" t="t" r="r" b="b"/>
            <a:pathLst>
              <a:path w="1366901" h="1558925">
                <a:moveTo>
                  <a:pt x="0" y="779526"/>
                </a:moveTo>
                <a:lnTo>
                  <a:pt x="2265" y="715591"/>
                </a:lnTo>
                <a:lnTo>
                  <a:pt x="8943" y="653080"/>
                </a:lnTo>
                <a:lnTo>
                  <a:pt x="19859" y="592193"/>
                </a:lnTo>
                <a:lnTo>
                  <a:pt x="34837" y="533131"/>
                </a:lnTo>
                <a:lnTo>
                  <a:pt x="53701" y="476095"/>
                </a:lnTo>
                <a:lnTo>
                  <a:pt x="76274" y="421284"/>
                </a:lnTo>
                <a:lnTo>
                  <a:pt x="102382" y="368900"/>
                </a:lnTo>
                <a:lnTo>
                  <a:pt x="131848" y="319143"/>
                </a:lnTo>
                <a:lnTo>
                  <a:pt x="164496" y="272214"/>
                </a:lnTo>
                <a:lnTo>
                  <a:pt x="200151" y="228314"/>
                </a:lnTo>
                <a:lnTo>
                  <a:pt x="238637" y="187642"/>
                </a:lnTo>
                <a:lnTo>
                  <a:pt x="279778" y="150400"/>
                </a:lnTo>
                <a:lnTo>
                  <a:pt x="323399" y="116788"/>
                </a:lnTo>
                <a:lnTo>
                  <a:pt x="369322" y="87007"/>
                </a:lnTo>
                <a:lnTo>
                  <a:pt x="417373" y="61257"/>
                </a:lnTo>
                <a:lnTo>
                  <a:pt x="467376" y="39739"/>
                </a:lnTo>
                <a:lnTo>
                  <a:pt x="519154" y="22654"/>
                </a:lnTo>
                <a:lnTo>
                  <a:pt x="572533" y="10202"/>
                </a:lnTo>
                <a:lnTo>
                  <a:pt x="627335" y="2584"/>
                </a:lnTo>
                <a:lnTo>
                  <a:pt x="683387" y="0"/>
                </a:lnTo>
                <a:lnTo>
                  <a:pt x="739438" y="2584"/>
                </a:lnTo>
                <a:lnTo>
                  <a:pt x="794244" y="10202"/>
                </a:lnTo>
                <a:lnTo>
                  <a:pt x="847626" y="22654"/>
                </a:lnTo>
                <a:lnTo>
                  <a:pt x="899410" y="39739"/>
                </a:lnTo>
                <a:lnTo>
                  <a:pt x="949420" y="61257"/>
                </a:lnTo>
                <a:lnTo>
                  <a:pt x="997478" y="87007"/>
                </a:lnTo>
                <a:lnTo>
                  <a:pt x="1043410" y="116788"/>
                </a:lnTo>
                <a:lnTo>
                  <a:pt x="1087039" y="150400"/>
                </a:lnTo>
                <a:lnTo>
                  <a:pt x="1128190" y="187642"/>
                </a:lnTo>
                <a:lnTo>
                  <a:pt x="1166685" y="228314"/>
                </a:lnTo>
                <a:lnTo>
                  <a:pt x="1202350" y="272214"/>
                </a:lnTo>
                <a:lnTo>
                  <a:pt x="1235007" y="319143"/>
                </a:lnTo>
                <a:lnTo>
                  <a:pt x="1264482" y="368900"/>
                </a:lnTo>
                <a:lnTo>
                  <a:pt x="1290598" y="421284"/>
                </a:lnTo>
                <a:lnTo>
                  <a:pt x="1313180" y="476095"/>
                </a:lnTo>
                <a:lnTo>
                  <a:pt x="1332050" y="533131"/>
                </a:lnTo>
                <a:lnTo>
                  <a:pt x="1347033" y="592193"/>
                </a:lnTo>
                <a:lnTo>
                  <a:pt x="1357953" y="653080"/>
                </a:lnTo>
                <a:lnTo>
                  <a:pt x="1364634" y="715591"/>
                </a:lnTo>
                <a:lnTo>
                  <a:pt x="1366901" y="779526"/>
                </a:lnTo>
                <a:lnTo>
                  <a:pt x="1364634" y="843442"/>
                </a:lnTo>
                <a:lnTo>
                  <a:pt x="1357953" y="905937"/>
                </a:lnTo>
                <a:lnTo>
                  <a:pt x="1347033" y="966809"/>
                </a:lnTo>
                <a:lnTo>
                  <a:pt x="1332050" y="1025858"/>
                </a:lnTo>
                <a:lnTo>
                  <a:pt x="1313179" y="1082883"/>
                </a:lnTo>
                <a:lnTo>
                  <a:pt x="1290598" y="1137683"/>
                </a:lnTo>
                <a:lnTo>
                  <a:pt x="1264482" y="1190059"/>
                </a:lnTo>
                <a:lnTo>
                  <a:pt x="1235007" y="1239808"/>
                </a:lnTo>
                <a:lnTo>
                  <a:pt x="1202350" y="1286731"/>
                </a:lnTo>
                <a:lnTo>
                  <a:pt x="1166685" y="1330626"/>
                </a:lnTo>
                <a:lnTo>
                  <a:pt x="1128190" y="1371293"/>
                </a:lnTo>
                <a:lnTo>
                  <a:pt x="1087039" y="1408532"/>
                </a:lnTo>
                <a:lnTo>
                  <a:pt x="1043410" y="1442141"/>
                </a:lnTo>
                <a:lnTo>
                  <a:pt x="997478" y="1471920"/>
                </a:lnTo>
                <a:lnTo>
                  <a:pt x="949420" y="1497669"/>
                </a:lnTo>
                <a:lnTo>
                  <a:pt x="899410" y="1519186"/>
                </a:lnTo>
                <a:lnTo>
                  <a:pt x="847626" y="1536270"/>
                </a:lnTo>
                <a:lnTo>
                  <a:pt x="794244" y="1548722"/>
                </a:lnTo>
                <a:lnTo>
                  <a:pt x="739438" y="1556340"/>
                </a:lnTo>
                <a:lnTo>
                  <a:pt x="683387" y="1558925"/>
                </a:lnTo>
                <a:lnTo>
                  <a:pt x="627335" y="1556340"/>
                </a:lnTo>
                <a:lnTo>
                  <a:pt x="572533" y="1548722"/>
                </a:lnTo>
                <a:lnTo>
                  <a:pt x="519154" y="1536270"/>
                </a:lnTo>
                <a:lnTo>
                  <a:pt x="467376" y="1519186"/>
                </a:lnTo>
                <a:lnTo>
                  <a:pt x="417373" y="1497669"/>
                </a:lnTo>
                <a:lnTo>
                  <a:pt x="369322" y="1471920"/>
                </a:lnTo>
                <a:lnTo>
                  <a:pt x="323399" y="1442141"/>
                </a:lnTo>
                <a:lnTo>
                  <a:pt x="279778" y="1408532"/>
                </a:lnTo>
                <a:lnTo>
                  <a:pt x="238637" y="1371293"/>
                </a:lnTo>
                <a:lnTo>
                  <a:pt x="200151" y="1330626"/>
                </a:lnTo>
                <a:lnTo>
                  <a:pt x="164496" y="1286731"/>
                </a:lnTo>
                <a:lnTo>
                  <a:pt x="131848" y="1239808"/>
                </a:lnTo>
                <a:lnTo>
                  <a:pt x="102382" y="1190059"/>
                </a:lnTo>
                <a:lnTo>
                  <a:pt x="76274" y="1137683"/>
                </a:lnTo>
                <a:lnTo>
                  <a:pt x="53701" y="1082883"/>
                </a:lnTo>
                <a:lnTo>
                  <a:pt x="34837" y="1025858"/>
                </a:lnTo>
                <a:lnTo>
                  <a:pt x="19859" y="966809"/>
                </a:lnTo>
                <a:lnTo>
                  <a:pt x="8943" y="905937"/>
                </a:lnTo>
                <a:lnTo>
                  <a:pt x="2265" y="843442"/>
                </a:lnTo>
                <a:lnTo>
                  <a:pt x="0" y="779526"/>
                </a:lnTo>
                <a:close/>
              </a:path>
            </a:pathLst>
          </a:custGeom>
          <a:ln w="12700">
            <a:solidFill>
              <a:srgbClr val="000000"/>
            </a:solidFill>
          </a:ln>
        </p:spPr>
        <p:txBody>
          <a:bodyPr wrap="square" lIns="0" tIns="0" rIns="0" bIns="0" rtlCol="0">
            <a:noAutofit/>
          </a:bodyPr>
          <a:lstStyle/>
          <a:p>
            <a:endParaRPr/>
          </a:p>
        </p:txBody>
      </p:sp>
      <p:sp>
        <p:nvSpPr>
          <p:cNvPr id="58" name="object 58"/>
          <p:cNvSpPr/>
          <p:nvPr/>
        </p:nvSpPr>
        <p:spPr>
          <a:xfrm>
            <a:off x="6691885" y="3290316"/>
            <a:ext cx="1461515" cy="461772"/>
          </a:xfrm>
          <a:prstGeom prst="rect">
            <a:avLst/>
          </a:prstGeom>
          <a:blipFill>
            <a:blip r:embed="rId2" cstate="print"/>
            <a:stretch>
              <a:fillRect/>
            </a:stretch>
          </a:blipFill>
        </p:spPr>
        <p:txBody>
          <a:bodyPr wrap="square" lIns="0" tIns="0" rIns="0" bIns="0" rtlCol="0">
            <a:noAutofit/>
          </a:bodyPr>
          <a:lstStyle/>
          <a:p>
            <a:endParaRPr/>
          </a:p>
        </p:txBody>
      </p:sp>
      <p:sp>
        <p:nvSpPr>
          <p:cNvPr id="59" name="object 59"/>
          <p:cNvSpPr/>
          <p:nvPr/>
        </p:nvSpPr>
        <p:spPr>
          <a:xfrm>
            <a:off x="7775449" y="3290316"/>
            <a:ext cx="455675" cy="461772"/>
          </a:xfrm>
          <a:prstGeom prst="rect">
            <a:avLst/>
          </a:prstGeom>
          <a:blipFill>
            <a:blip r:embed="rId3" cstate="print"/>
            <a:stretch>
              <a:fillRect/>
            </a:stretch>
          </a:blipFill>
        </p:spPr>
        <p:txBody>
          <a:bodyPr wrap="square" lIns="0" tIns="0" rIns="0" bIns="0" rtlCol="0">
            <a:noAutofit/>
          </a:bodyPr>
          <a:lstStyle/>
          <a:p>
            <a:endParaRPr/>
          </a:p>
        </p:txBody>
      </p:sp>
      <p:sp>
        <p:nvSpPr>
          <p:cNvPr id="60" name="object 60"/>
          <p:cNvSpPr/>
          <p:nvPr/>
        </p:nvSpPr>
        <p:spPr>
          <a:xfrm>
            <a:off x="6918961" y="3625597"/>
            <a:ext cx="1005839" cy="461771"/>
          </a:xfrm>
          <a:prstGeom prst="rect">
            <a:avLst/>
          </a:prstGeom>
          <a:blipFill>
            <a:blip r:embed="rId4" cstate="print"/>
            <a:stretch>
              <a:fillRect/>
            </a:stretch>
          </a:blipFill>
        </p:spPr>
        <p:txBody>
          <a:bodyPr wrap="square" lIns="0" tIns="0" rIns="0" bIns="0" rtlCol="0">
            <a:noAutofit/>
          </a:bodyPr>
          <a:lstStyle/>
          <a:p>
            <a:endParaRPr/>
          </a:p>
        </p:txBody>
      </p:sp>
      <p:sp>
        <p:nvSpPr>
          <p:cNvPr id="61" name="object 61"/>
          <p:cNvSpPr/>
          <p:nvPr/>
        </p:nvSpPr>
        <p:spPr>
          <a:xfrm>
            <a:off x="7546849" y="3625597"/>
            <a:ext cx="455675" cy="461771"/>
          </a:xfrm>
          <a:prstGeom prst="rect">
            <a:avLst/>
          </a:prstGeom>
          <a:blipFill>
            <a:blip r:embed="rId3" cstate="print"/>
            <a:stretch>
              <a:fillRect/>
            </a:stretch>
          </a:blipFill>
        </p:spPr>
        <p:txBody>
          <a:bodyPr wrap="square" lIns="0" tIns="0" rIns="0" bIns="0" rtlCol="0">
            <a:noAutofit/>
          </a:bodyPr>
          <a:lstStyle/>
          <a:p>
            <a:endParaRPr/>
          </a:p>
        </p:txBody>
      </p:sp>
      <p:sp>
        <p:nvSpPr>
          <p:cNvPr id="62" name="object 62"/>
          <p:cNvSpPr/>
          <p:nvPr/>
        </p:nvSpPr>
        <p:spPr>
          <a:xfrm>
            <a:off x="4633976" y="1493902"/>
            <a:ext cx="1690624" cy="904875"/>
          </a:xfrm>
          <a:prstGeom prst="rect">
            <a:avLst/>
          </a:prstGeom>
          <a:blipFill>
            <a:blip r:embed="rId5" cstate="print"/>
            <a:stretch>
              <a:fillRect/>
            </a:stretch>
          </a:blipFill>
        </p:spPr>
        <p:txBody>
          <a:bodyPr wrap="square" lIns="0" tIns="0" rIns="0" bIns="0" rtlCol="0">
            <a:noAutofit/>
          </a:bodyPr>
          <a:lstStyle/>
          <a:p>
            <a:endParaRPr/>
          </a:p>
        </p:txBody>
      </p:sp>
      <p:sp>
        <p:nvSpPr>
          <p:cNvPr id="63" name="object 63"/>
          <p:cNvSpPr/>
          <p:nvPr/>
        </p:nvSpPr>
        <p:spPr>
          <a:xfrm>
            <a:off x="4633976" y="1493902"/>
            <a:ext cx="1690624" cy="904875"/>
          </a:xfrm>
          <a:custGeom>
            <a:avLst/>
            <a:gdLst/>
            <a:ahLst/>
            <a:cxnLst/>
            <a:rect l="l" t="t" r="r" b="b"/>
            <a:pathLst>
              <a:path w="1690624" h="904875">
                <a:moveTo>
                  <a:pt x="0" y="904875"/>
                </a:moveTo>
                <a:lnTo>
                  <a:pt x="1690624" y="904875"/>
                </a:lnTo>
                <a:lnTo>
                  <a:pt x="1690624" y="0"/>
                </a:lnTo>
                <a:lnTo>
                  <a:pt x="0" y="0"/>
                </a:lnTo>
                <a:lnTo>
                  <a:pt x="0" y="904875"/>
                </a:lnTo>
                <a:close/>
              </a:path>
            </a:pathLst>
          </a:custGeom>
          <a:ln w="12700">
            <a:solidFill>
              <a:srgbClr val="808080"/>
            </a:solidFill>
          </a:ln>
        </p:spPr>
        <p:txBody>
          <a:bodyPr wrap="square" lIns="0" tIns="0" rIns="0" bIns="0" rtlCol="0">
            <a:noAutofit/>
          </a:bodyPr>
          <a:lstStyle/>
          <a:p>
            <a:endParaRPr/>
          </a:p>
        </p:txBody>
      </p:sp>
      <p:sp>
        <p:nvSpPr>
          <p:cNvPr id="64" name="object 64"/>
          <p:cNvSpPr/>
          <p:nvPr/>
        </p:nvSpPr>
        <p:spPr>
          <a:xfrm>
            <a:off x="4633976" y="3165539"/>
            <a:ext cx="1690624" cy="903287"/>
          </a:xfrm>
          <a:prstGeom prst="rect">
            <a:avLst/>
          </a:prstGeom>
          <a:blipFill>
            <a:blip r:embed="rId6" cstate="print"/>
            <a:stretch>
              <a:fillRect/>
            </a:stretch>
          </a:blipFill>
        </p:spPr>
        <p:txBody>
          <a:bodyPr wrap="square" lIns="0" tIns="0" rIns="0" bIns="0" rtlCol="0">
            <a:noAutofit/>
          </a:bodyPr>
          <a:lstStyle/>
          <a:p>
            <a:endParaRPr/>
          </a:p>
        </p:txBody>
      </p:sp>
      <p:sp>
        <p:nvSpPr>
          <p:cNvPr id="65" name="object 65"/>
          <p:cNvSpPr/>
          <p:nvPr/>
        </p:nvSpPr>
        <p:spPr>
          <a:xfrm>
            <a:off x="4633976" y="3165539"/>
            <a:ext cx="1690624" cy="903287"/>
          </a:xfrm>
          <a:custGeom>
            <a:avLst/>
            <a:gdLst/>
            <a:ahLst/>
            <a:cxnLst/>
            <a:rect l="l" t="t" r="r" b="b"/>
            <a:pathLst>
              <a:path w="1690624" h="903287">
                <a:moveTo>
                  <a:pt x="0" y="903287"/>
                </a:moveTo>
                <a:lnTo>
                  <a:pt x="1690624" y="903287"/>
                </a:lnTo>
                <a:lnTo>
                  <a:pt x="1690624" y="0"/>
                </a:lnTo>
                <a:lnTo>
                  <a:pt x="0" y="0"/>
                </a:lnTo>
                <a:lnTo>
                  <a:pt x="0" y="903287"/>
                </a:lnTo>
                <a:close/>
              </a:path>
            </a:pathLst>
          </a:custGeom>
          <a:ln w="12700">
            <a:solidFill>
              <a:srgbClr val="808080"/>
            </a:solidFill>
          </a:ln>
        </p:spPr>
        <p:txBody>
          <a:bodyPr wrap="square" lIns="0" tIns="0" rIns="0" bIns="0" rtlCol="0">
            <a:noAutofit/>
          </a:bodyPr>
          <a:lstStyle/>
          <a:p>
            <a:endParaRPr/>
          </a:p>
        </p:txBody>
      </p:sp>
      <p:sp>
        <p:nvSpPr>
          <p:cNvPr id="66" name="object 66"/>
          <p:cNvSpPr/>
          <p:nvPr/>
        </p:nvSpPr>
        <p:spPr>
          <a:xfrm>
            <a:off x="8499476" y="1495426"/>
            <a:ext cx="1690751" cy="904875"/>
          </a:xfrm>
          <a:prstGeom prst="rect">
            <a:avLst/>
          </a:prstGeom>
          <a:blipFill>
            <a:blip r:embed="rId7" cstate="print"/>
            <a:stretch>
              <a:fillRect/>
            </a:stretch>
          </a:blipFill>
        </p:spPr>
        <p:txBody>
          <a:bodyPr wrap="square" lIns="0" tIns="0" rIns="0" bIns="0" rtlCol="0">
            <a:noAutofit/>
          </a:bodyPr>
          <a:lstStyle/>
          <a:p>
            <a:endParaRPr/>
          </a:p>
        </p:txBody>
      </p:sp>
      <p:sp>
        <p:nvSpPr>
          <p:cNvPr id="67" name="object 67"/>
          <p:cNvSpPr/>
          <p:nvPr/>
        </p:nvSpPr>
        <p:spPr>
          <a:xfrm>
            <a:off x="8499476" y="1495426"/>
            <a:ext cx="1690751" cy="904875"/>
          </a:xfrm>
          <a:custGeom>
            <a:avLst/>
            <a:gdLst/>
            <a:ahLst/>
            <a:cxnLst/>
            <a:rect l="l" t="t" r="r" b="b"/>
            <a:pathLst>
              <a:path w="1690751" h="904875">
                <a:moveTo>
                  <a:pt x="0" y="904875"/>
                </a:moveTo>
                <a:lnTo>
                  <a:pt x="1690751" y="904875"/>
                </a:lnTo>
                <a:lnTo>
                  <a:pt x="1690751" y="0"/>
                </a:lnTo>
                <a:lnTo>
                  <a:pt x="0" y="0"/>
                </a:lnTo>
                <a:lnTo>
                  <a:pt x="0" y="904875"/>
                </a:lnTo>
                <a:close/>
              </a:path>
            </a:pathLst>
          </a:custGeom>
          <a:ln w="12700">
            <a:solidFill>
              <a:srgbClr val="808080"/>
            </a:solidFill>
          </a:ln>
        </p:spPr>
        <p:txBody>
          <a:bodyPr wrap="square" lIns="0" tIns="0" rIns="0" bIns="0" rtlCol="0">
            <a:noAutofit/>
          </a:bodyPr>
          <a:lstStyle/>
          <a:p>
            <a:endParaRPr/>
          </a:p>
        </p:txBody>
      </p:sp>
      <p:sp>
        <p:nvSpPr>
          <p:cNvPr id="68" name="object 68"/>
          <p:cNvSpPr/>
          <p:nvPr/>
        </p:nvSpPr>
        <p:spPr>
          <a:xfrm>
            <a:off x="8499476" y="3165539"/>
            <a:ext cx="1690751" cy="903287"/>
          </a:xfrm>
          <a:prstGeom prst="rect">
            <a:avLst/>
          </a:prstGeom>
          <a:blipFill>
            <a:blip r:embed="rId8" cstate="print"/>
            <a:stretch>
              <a:fillRect/>
            </a:stretch>
          </a:blipFill>
        </p:spPr>
        <p:txBody>
          <a:bodyPr wrap="square" lIns="0" tIns="0" rIns="0" bIns="0" rtlCol="0">
            <a:noAutofit/>
          </a:bodyPr>
          <a:lstStyle/>
          <a:p>
            <a:endParaRPr/>
          </a:p>
        </p:txBody>
      </p:sp>
      <p:sp>
        <p:nvSpPr>
          <p:cNvPr id="69" name="object 69"/>
          <p:cNvSpPr/>
          <p:nvPr/>
        </p:nvSpPr>
        <p:spPr>
          <a:xfrm>
            <a:off x="8499476" y="3165539"/>
            <a:ext cx="1690751" cy="903287"/>
          </a:xfrm>
          <a:custGeom>
            <a:avLst/>
            <a:gdLst/>
            <a:ahLst/>
            <a:cxnLst/>
            <a:rect l="l" t="t" r="r" b="b"/>
            <a:pathLst>
              <a:path w="1690751" h="903287">
                <a:moveTo>
                  <a:pt x="0" y="903287"/>
                </a:moveTo>
                <a:lnTo>
                  <a:pt x="1690751" y="903287"/>
                </a:lnTo>
                <a:lnTo>
                  <a:pt x="1690751" y="0"/>
                </a:lnTo>
                <a:lnTo>
                  <a:pt x="0" y="0"/>
                </a:lnTo>
                <a:lnTo>
                  <a:pt x="0" y="903287"/>
                </a:lnTo>
                <a:close/>
              </a:path>
            </a:pathLst>
          </a:custGeom>
          <a:ln w="12700">
            <a:solidFill>
              <a:srgbClr val="808080"/>
            </a:solidFill>
          </a:ln>
        </p:spPr>
        <p:txBody>
          <a:bodyPr wrap="square" lIns="0" tIns="0" rIns="0" bIns="0" rtlCol="0">
            <a:noAutofit/>
          </a:bodyPr>
          <a:lstStyle/>
          <a:p>
            <a:endParaRPr/>
          </a:p>
        </p:txBody>
      </p:sp>
      <p:sp>
        <p:nvSpPr>
          <p:cNvPr id="70" name="object 70"/>
          <p:cNvSpPr/>
          <p:nvPr/>
        </p:nvSpPr>
        <p:spPr>
          <a:xfrm>
            <a:off x="4572001" y="5038726"/>
            <a:ext cx="1958975" cy="904875"/>
          </a:xfrm>
          <a:prstGeom prst="rect">
            <a:avLst/>
          </a:prstGeom>
          <a:blipFill>
            <a:blip r:embed="rId9" cstate="print"/>
            <a:stretch>
              <a:fillRect/>
            </a:stretch>
          </a:blipFill>
        </p:spPr>
        <p:txBody>
          <a:bodyPr wrap="square" lIns="0" tIns="0" rIns="0" bIns="0" rtlCol="0">
            <a:noAutofit/>
          </a:bodyPr>
          <a:lstStyle/>
          <a:p>
            <a:endParaRPr/>
          </a:p>
        </p:txBody>
      </p:sp>
      <p:sp>
        <p:nvSpPr>
          <p:cNvPr id="71" name="object 71"/>
          <p:cNvSpPr/>
          <p:nvPr/>
        </p:nvSpPr>
        <p:spPr>
          <a:xfrm>
            <a:off x="4572001" y="5038726"/>
            <a:ext cx="1958975" cy="904875"/>
          </a:xfrm>
          <a:custGeom>
            <a:avLst/>
            <a:gdLst/>
            <a:ahLst/>
            <a:cxnLst/>
            <a:rect l="l" t="t" r="r" b="b"/>
            <a:pathLst>
              <a:path w="1958975" h="904875">
                <a:moveTo>
                  <a:pt x="0" y="904875"/>
                </a:moveTo>
                <a:lnTo>
                  <a:pt x="1958975" y="904875"/>
                </a:lnTo>
                <a:lnTo>
                  <a:pt x="1958975" y="0"/>
                </a:lnTo>
                <a:lnTo>
                  <a:pt x="0" y="0"/>
                </a:lnTo>
                <a:lnTo>
                  <a:pt x="0" y="904875"/>
                </a:lnTo>
                <a:close/>
              </a:path>
            </a:pathLst>
          </a:custGeom>
          <a:ln w="12700">
            <a:solidFill>
              <a:srgbClr val="808080"/>
            </a:solidFill>
          </a:ln>
        </p:spPr>
        <p:txBody>
          <a:bodyPr wrap="square" lIns="0" tIns="0" rIns="0" bIns="0" rtlCol="0">
            <a:noAutofit/>
          </a:bodyPr>
          <a:lstStyle/>
          <a:p>
            <a:endParaRPr/>
          </a:p>
        </p:txBody>
      </p:sp>
      <p:sp>
        <p:nvSpPr>
          <p:cNvPr id="72" name="object 72"/>
          <p:cNvSpPr/>
          <p:nvPr/>
        </p:nvSpPr>
        <p:spPr>
          <a:xfrm>
            <a:off x="8496300" y="5060951"/>
            <a:ext cx="1733550" cy="928687"/>
          </a:xfrm>
          <a:prstGeom prst="rect">
            <a:avLst/>
          </a:prstGeom>
          <a:blipFill>
            <a:blip r:embed="rId10" cstate="print"/>
            <a:stretch>
              <a:fillRect/>
            </a:stretch>
          </a:blipFill>
        </p:spPr>
        <p:txBody>
          <a:bodyPr wrap="square" lIns="0" tIns="0" rIns="0" bIns="0" rtlCol="0">
            <a:noAutofit/>
          </a:bodyPr>
          <a:lstStyle/>
          <a:p>
            <a:endParaRPr/>
          </a:p>
        </p:txBody>
      </p:sp>
      <p:sp>
        <p:nvSpPr>
          <p:cNvPr id="73" name="object 73"/>
          <p:cNvSpPr/>
          <p:nvPr/>
        </p:nvSpPr>
        <p:spPr>
          <a:xfrm>
            <a:off x="8496300" y="5060951"/>
            <a:ext cx="1733550" cy="928687"/>
          </a:xfrm>
          <a:custGeom>
            <a:avLst/>
            <a:gdLst/>
            <a:ahLst/>
            <a:cxnLst/>
            <a:rect l="l" t="t" r="r" b="b"/>
            <a:pathLst>
              <a:path w="1733550" h="928687">
                <a:moveTo>
                  <a:pt x="0" y="928687"/>
                </a:moveTo>
                <a:lnTo>
                  <a:pt x="1733550" y="928687"/>
                </a:lnTo>
                <a:lnTo>
                  <a:pt x="1733550" y="0"/>
                </a:lnTo>
                <a:lnTo>
                  <a:pt x="0" y="0"/>
                </a:lnTo>
                <a:lnTo>
                  <a:pt x="0" y="928687"/>
                </a:lnTo>
                <a:close/>
              </a:path>
            </a:pathLst>
          </a:custGeom>
          <a:ln w="12700">
            <a:solidFill>
              <a:srgbClr val="000000"/>
            </a:solidFill>
          </a:ln>
        </p:spPr>
        <p:txBody>
          <a:bodyPr wrap="square" lIns="0" tIns="0" rIns="0" bIns="0" rtlCol="0">
            <a:noAutofit/>
          </a:bodyPr>
          <a:lstStyle/>
          <a:p>
            <a:endParaRPr/>
          </a:p>
        </p:txBody>
      </p:sp>
      <p:sp>
        <p:nvSpPr>
          <p:cNvPr id="74" name="object 74"/>
          <p:cNvSpPr/>
          <p:nvPr/>
        </p:nvSpPr>
        <p:spPr>
          <a:xfrm>
            <a:off x="2693988" y="2908300"/>
            <a:ext cx="1801749" cy="336550"/>
          </a:xfrm>
          <a:prstGeom prst="rect">
            <a:avLst/>
          </a:prstGeom>
          <a:blipFill>
            <a:blip r:embed="rId11" cstate="print"/>
            <a:stretch>
              <a:fillRect/>
            </a:stretch>
          </a:blipFill>
        </p:spPr>
        <p:txBody>
          <a:bodyPr wrap="square" lIns="0" tIns="0" rIns="0" bIns="0" rtlCol="0">
            <a:noAutofit/>
          </a:bodyPr>
          <a:lstStyle/>
          <a:p>
            <a:endParaRPr/>
          </a:p>
        </p:txBody>
      </p:sp>
      <p:sp>
        <p:nvSpPr>
          <p:cNvPr id="75" name="object 75"/>
          <p:cNvSpPr/>
          <p:nvPr/>
        </p:nvSpPr>
        <p:spPr>
          <a:xfrm>
            <a:off x="2718816" y="2887981"/>
            <a:ext cx="1773936" cy="339851"/>
          </a:xfrm>
          <a:prstGeom prst="rect">
            <a:avLst/>
          </a:prstGeom>
          <a:blipFill>
            <a:blip r:embed="rId12" cstate="print"/>
            <a:stretch>
              <a:fillRect/>
            </a:stretch>
          </a:blipFill>
        </p:spPr>
        <p:txBody>
          <a:bodyPr wrap="square" lIns="0" tIns="0" rIns="0" bIns="0" rtlCol="0">
            <a:noAutofit/>
          </a:bodyPr>
          <a:lstStyle/>
          <a:p>
            <a:endParaRPr/>
          </a:p>
        </p:txBody>
      </p:sp>
      <p:sp>
        <p:nvSpPr>
          <p:cNvPr id="76" name="object 76"/>
          <p:cNvSpPr/>
          <p:nvPr/>
        </p:nvSpPr>
        <p:spPr>
          <a:xfrm>
            <a:off x="4212336" y="2887981"/>
            <a:ext cx="336804" cy="339851"/>
          </a:xfrm>
          <a:prstGeom prst="rect">
            <a:avLst/>
          </a:prstGeom>
          <a:blipFill>
            <a:blip r:embed="rId13" cstate="print"/>
            <a:stretch>
              <a:fillRect/>
            </a:stretch>
          </a:blipFill>
        </p:spPr>
        <p:txBody>
          <a:bodyPr wrap="square" lIns="0" tIns="0" rIns="0" bIns="0" rtlCol="0">
            <a:noAutofit/>
          </a:bodyPr>
          <a:lstStyle/>
          <a:p>
            <a:endParaRPr/>
          </a:p>
        </p:txBody>
      </p:sp>
      <p:sp>
        <p:nvSpPr>
          <p:cNvPr id="77" name="object 77"/>
          <p:cNvSpPr/>
          <p:nvPr/>
        </p:nvSpPr>
        <p:spPr>
          <a:xfrm>
            <a:off x="2693988" y="3482976"/>
            <a:ext cx="1801749" cy="581025"/>
          </a:xfrm>
          <a:prstGeom prst="rect">
            <a:avLst/>
          </a:prstGeom>
          <a:blipFill>
            <a:blip r:embed="rId14" cstate="print"/>
            <a:stretch>
              <a:fillRect/>
            </a:stretch>
          </a:blipFill>
        </p:spPr>
        <p:txBody>
          <a:bodyPr wrap="square" lIns="0" tIns="0" rIns="0" bIns="0" rtlCol="0">
            <a:noAutofit/>
          </a:bodyPr>
          <a:lstStyle/>
          <a:p>
            <a:endParaRPr/>
          </a:p>
        </p:txBody>
      </p:sp>
      <p:sp>
        <p:nvSpPr>
          <p:cNvPr id="78" name="object 78"/>
          <p:cNvSpPr/>
          <p:nvPr/>
        </p:nvSpPr>
        <p:spPr>
          <a:xfrm>
            <a:off x="2740152" y="3462528"/>
            <a:ext cx="1792224" cy="339852"/>
          </a:xfrm>
          <a:prstGeom prst="rect">
            <a:avLst/>
          </a:prstGeom>
          <a:blipFill>
            <a:blip r:embed="rId15" cstate="print"/>
            <a:stretch>
              <a:fillRect/>
            </a:stretch>
          </a:blipFill>
        </p:spPr>
        <p:txBody>
          <a:bodyPr wrap="square" lIns="0" tIns="0" rIns="0" bIns="0" rtlCol="0">
            <a:noAutofit/>
          </a:bodyPr>
          <a:lstStyle/>
          <a:p>
            <a:endParaRPr/>
          </a:p>
        </p:txBody>
      </p:sp>
      <p:sp>
        <p:nvSpPr>
          <p:cNvPr id="79" name="object 79"/>
          <p:cNvSpPr/>
          <p:nvPr/>
        </p:nvSpPr>
        <p:spPr>
          <a:xfrm>
            <a:off x="3073908" y="3706369"/>
            <a:ext cx="1063752" cy="339851"/>
          </a:xfrm>
          <a:prstGeom prst="rect">
            <a:avLst/>
          </a:prstGeom>
          <a:blipFill>
            <a:blip r:embed="rId16" cstate="print"/>
            <a:stretch>
              <a:fillRect/>
            </a:stretch>
          </a:blipFill>
        </p:spPr>
        <p:txBody>
          <a:bodyPr wrap="square" lIns="0" tIns="0" rIns="0" bIns="0" rtlCol="0">
            <a:noAutofit/>
          </a:bodyPr>
          <a:lstStyle/>
          <a:p>
            <a:endParaRPr/>
          </a:p>
        </p:txBody>
      </p:sp>
      <p:sp>
        <p:nvSpPr>
          <p:cNvPr id="80" name="object 80"/>
          <p:cNvSpPr/>
          <p:nvPr/>
        </p:nvSpPr>
        <p:spPr>
          <a:xfrm>
            <a:off x="3857244" y="3706369"/>
            <a:ext cx="336804" cy="339851"/>
          </a:xfrm>
          <a:prstGeom prst="rect">
            <a:avLst/>
          </a:prstGeom>
          <a:blipFill>
            <a:blip r:embed="rId13" cstate="print"/>
            <a:stretch>
              <a:fillRect/>
            </a:stretch>
          </a:blipFill>
        </p:spPr>
        <p:txBody>
          <a:bodyPr wrap="square" lIns="0" tIns="0" rIns="0" bIns="0" rtlCol="0">
            <a:noAutofit/>
          </a:bodyPr>
          <a:lstStyle/>
          <a:p>
            <a:endParaRPr/>
          </a:p>
        </p:txBody>
      </p:sp>
      <p:sp>
        <p:nvSpPr>
          <p:cNvPr id="81" name="object 81"/>
          <p:cNvSpPr/>
          <p:nvPr/>
        </p:nvSpPr>
        <p:spPr>
          <a:xfrm>
            <a:off x="2693988" y="4295776"/>
            <a:ext cx="1801749" cy="581025"/>
          </a:xfrm>
          <a:prstGeom prst="rect">
            <a:avLst/>
          </a:prstGeom>
          <a:blipFill>
            <a:blip r:embed="rId17" cstate="print"/>
            <a:stretch>
              <a:fillRect/>
            </a:stretch>
          </a:blipFill>
        </p:spPr>
        <p:txBody>
          <a:bodyPr wrap="square" lIns="0" tIns="0" rIns="0" bIns="0" rtlCol="0">
            <a:noAutofit/>
          </a:bodyPr>
          <a:lstStyle/>
          <a:p>
            <a:endParaRPr/>
          </a:p>
        </p:txBody>
      </p:sp>
      <p:sp>
        <p:nvSpPr>
          <p:cNvPr id="82" name="object 82"/>
          <p:cNvSpPr/>
          <p:nvPr/>
        </p:nvSpPr>
        <p:spPr>
          <a:xfrm>
            <a:off x="2657856" y="4276345"/>
            <a:ext cx="1908048" cy="339851"/>
          </a:xfrm>
          <a:prstGeom prst="rect">
            <a:avLst/>
          </a:prstGeom>
          <a:blipFill>
            <a:blip r:embed="rId18" cstate="print"/>
            <a:stretch>
              <a:fillRect/>
            </a:stretch>
          </a:blipFill>
        </p:spPr>
        <p:txBody>
          <a:bodyPr wrap="square" lIns="0" tIns="0" rIns="0" bIns="0" rtlCol="0">
            <a:noAutofit/>
          </a:bodyPr>
          <a:lstStyle/>
          <a:p>
            <a:endParaRPr/>
          </a:p>
        </p:txBody>
      </p:sp>
      <p:sp>
        <p:nvSpPr>
          <p:cNvPr id="83" name="object 83"/>
          <p:cNvSpPr/>
          <p:nvPr/>
        </p:nvSpPr>
        <p:spPr>
          <a:xfrm>
            <a:off x="2657856" y="4520185"/>
            <a:ext cx="1193292" cy="339851"/>
          </a:xfrm>
          <a:prstGeom prst="rect">
            <a:avLst/>
          </a:prstGeom>
          <a:blipFill>
            <a:blip r:embed="rId19" cstate="print"/>
            <a:stretch>
              <a:fillRect/>
            </a:stretch>
          </a:blipFill>
        </p:spPr>
        <p:txBody>
          <a:bodyPr wrap="square" lIns="0" tIns="0" rIns="0" bIns="0" rtlCol="0">
            <a:noAutofit/>
          </a:bodyPr>
          <a:lstStyle/>
          <a:p>
            <a:endParaRPr/>
          </a:p>
        </p:txBody>
      </p:sp>
      <p:sp>
        <p:nvSpPr>
          <p:cNvPr id="84" name="object 84"/>
          <p:cNvSpPr/>
          <p:nvPr/>
        </p:nvSpPr>
        <p:spPr>
          <a:xfrm>
            <a:off x="3570732" y="4520185"/>
            <a:ext cx="336804" cy="339851"/>
          </a:xfrm>
          <a:prstGeom prst="rect">
            <a:avLst/>
          </a:prstGeom>
          <a:blipFill>
            <a:blip r:embed="rId13" cstate="print"/>
            <a:stretch>
              <a:fillRect/>
            </a:stretch>
          </a:blipFill>
        </p:spPr>
        <p:txBody>
          <a:bodyPr wrap="square" lIns="0" tIns="0" rIns="0" bIns="0" rtlCol="0">
            <a:noAutofit/>
          </a:bodyPr>
          <a:lstStyle/>
          <a:p>
            <a:endParaRPr/>
          </a:p>
        </p:txBody>
      </p:sp>
      <p:sp>
        <p:nvSpPr>
          <p:cNvPr id="85" name="object 85"/>
          <p:cNvSpPr/>
          <p:nvPr/>
        </p:nvSpPr>
        <p:spPr>
          <a:xfrm>
            <a:off x="2232026" y="4356100"/>
            <a:ext cx="422275" cy="412750"/>
          </a:xfrm>
          <a:prstGeom prst="rect">
            <a:avLst/>
          </a:prstGeom>
          <a:blipFill>
            <a:blip r:embed="rId20" cstate="print"/>
            <a:stretch>
              <a:fillRect/>
            </a:stretch>
          </a:blipFill>
        </p:spPr>
        <p:txBody>
          <a:bodyPr wrap="square" lIns="0" tIns="0" rIns="0" bIns="0" rtlCol="0">
            <a:noAutofit/>
          </a:bodyPr>
          <a:lstStyle/>
          <a:p>
            <a:endParaRPr/>
          </a:p>
        </p:txBody>
      </p:sp>
      <p:sp>
        <p:nvSpPr>
          <p:cNvPr id="86" name="object 86"/>
          <p:cNvSpPr/>
          <p:nvPr/>
        </p:nvSpPr>
        <p:spPr>
          <a:xfrm>
            <a:off x="2232026" y="4356100"/>
            <a:ext cx="422275" cy="412750"/>
          </a:xfrm>
          <a:custGeom>
            <a:avLst/>
            <a:gdLst/>
            <a:ahLst/>
            <a:cxnLst/>
            <a:rect l="l" t="t" r="r" b="b"/>
            <a:pathLst>
              <a:path w="422275" h="412750">
                <a:moveTo>
                  <a:pt x="0" y="412750"/>
                </a:moveTo>
                <a:lnTo>
                  <a:pt x="422275" y="206375"/>
                </a:lnTo>
                <a:lnTo>
                  <a:pt x="0" y="0"/>
                </a:lnTo>
                <a:lnTo>
                  <a:pt x="0" y="412750"/>
                </a:lnTo>
                <a:close/>
              </a:path>
            </a:pathLst>
          </a:custGeom>
          <a:ln w="12700">
            <a:solidFill>
              <a:srgbClr val="000000"/>
            </a:solidFill>
          </a:ln>
        </p:spPr>
        <p:txBody>
          <a:bodyPr wrap="square" lIns="0" tIns="0" rIns="0" bIns="0" rtlCol="0">
            <a:noAutofit/>
          </a:bodyPr>
          <a:lstStyle/>
          <a:p>
            <a:endParaRPr/>
          </a:p>
        </p:txBody>
      </p:sp>
      <p:sp>
        <p:nvSpPr>
          <p:cNvPr id="87" name="object 87"/>
          <p:cNvSpPr/>
          <p:nvPr/>
        </p:nvSpPr>
        <p:spPr>
          <a:xfrm>
            <a:off x="2693988" y="4981576"/>
            <a:ext cx="1801749" cy="581025"/>
          </a:xfrm>
          <a:prstGeom prst="rect">
            <a:avLst/>
          </a:prstGeom>
          <a:blipFill>
            <a:blip r:embed="rId17" cstate="print"/>
            <a:stretch>
              <a:fillRect/>
            </a:stretch>
          </a:blipFill>
        </p:spPr>
        <p:txBody>
          <a:bodyPr wrap="square" lIns="0" tIns="0" rIns="0" bIns="0" rtlCol="0">
            <a:noAutofit/>
          </a:bodyPr>
          <a:lstStyle/>
          <a:p>
            <a:endParaRPr/>
          </a:p>
        </p:txBody>
      </p:sp>
      <p:sp>
        <p:nvSpPr>
          <p:cNvPr id="88" name="object 88"/>
          <p:cNvSpPr/>
          <p:nvPr/>
        </p:nvSpPr>
        <p:spPr>
          <a:xfrm>
            <a:off x="2657856" y="4962144"/>
            <a:ext cx="1636776" cy="339852"/>
          </a:xfrm>
          <a:prstGeom prst="rect">
            <a:avLst/>
          </a:prstGeom>
          <a:blipFill>
            <a:blip r:embed="rId21" cstate="print"/>
            <a:stretch>
              <a:fillRect/>
            </a:stretch>
          </a:blipFill>
        </p:spPr>
        <p:txBody>
          <a:bodyPr wrap="square" lIns="0" tIns="0" rIns="0" bIns="0" rtlCol="0">
            <a:noAutofit/>
          </a:bodyPr>
          <a:lstStyle/>
          <a:p>
            <a:endParaRPr/>
          </a:p>
        </p:txBody>
      </p:sp>
      <p:sp>
        <p:nvSpPr>
          <p:cNvPr id="89" name="object 89"/>
          <p:cNvSpPr/>
          <p:nvPr/>
        </p:nvSpPr>
        <p:spPr>
          <a:xfrm>
            <a:off x="2657857" y="5205985"/>
            <a:ext cx="955547" cy="339851"/>
          </a:xfrm>
          <a:prstGeom prst="rect">
            <a:avLst/>
          </a:prstGeom>
          <a:blipFill>
            <a:blip r:embed="rId22" cstate="print"/>
            <a:stretch>
              <a:fillRect/>
            </a:stretch>
          </a:blipFill>
        </p:spPr>
        <p:txBody>
          <a:bodyPr wrap="square" lIns="0" tIns="0" rIns="0" bIns="0" rtlCol="0">
            <a:noAutofit/>
          </a:bodyPr>
          <a:lstStyle/>
          <a:p>
            <a:endParaRPr/>
          </a:p>
        </p:txBody>
      </p:sp>
      <p:sp>
        <p:nvSpPr>
          <p:cNvPr id="90" name="object 90"/>
          <p:cNvSpPr/>
          <p:nvPr/>
        </p:nvSpPr>
        <p:spPr>
          <a:xfrm>
            <a:off x="3332988" y="5205985"/>
            <a:ext cx="336804" cy="339851"/>
          </a:xfrm>
          <a:prstGeom prst="rect">
            <a:avLst/>
          </a:prstGeom>
          <a:blipFill>
            <a:blip r:embed="rId13" cstate="print"/>
            <a:stretch>
              <a:fillRect/>
            </a:stretch>
          </a:blipFill>
        </p:spPr>
        <p:txBody>
          <a:bodyPr wrap="square" lIns="0" tIns="0" rIns="0" bIns="0" rtlCol="0">
            <a:noAutofit/>
          </a:bodyPr>
          <a:lstStyle/>
          <a:p>
            <a:endParaRPr/>
          </a:p>
        </p:txBody>
      </p:sp>
      <p:sp>
        <p:nvSpPr>
          <p:cNvPr id="91" name="object 91"/>
          <p:cNvSpPr/>
          <p:nvPr/>
        </p:nvSpPr>
        <p:spPr>
          <a:xfrm>
            <a:off x="2232026" y="5116449"/>
            <a:ext cx="422275" cy="414400"/>
          </a:xfrm>
          <a:prstGeom prst="rect">
            <a:avLst/>
          </a:prstGeom>
          <a:blipFill>
            <a:blip r:embed="rId20" cstate="print"/>
            <a:stretch>
              <a:fillRect/>
            </a:stretch>
          </a:blipFill>
        </p:spPr>
        <p:txBody>
          <a:bodyPr wrap="square" lIns="0" tIns="0" rIns="0" bIns="0" rtlCol="0">
            <a:noAutofit/>
          </a:bodyPr>
          <a:lstStyle/>
          <a:p>
            <a:endParaRPr/>
          </a:p>
        </p:txBody>
      </p:sp>
      <p:sp>
        <p:nvSpPr>
          <p:cNvPr id="92" name="object 92"/>
          <p:cNvSpPr/>
          <p:nvPr/>
        </p:nvSpPr>
        <p:spPr>
          <a:xfrm>
            <a:off x="2232026" y="5116449"/>
            <a:ext cx="422275" cy="414400"/>
          </a:xfrm>
          <a:custGeom>
            <a:avLst/>
            <a:gdLst/>
            <a:ahLst/>
            <a:cxnLst/>
            <a:rect l="l" t="t" r="r" b="b"/>
            <a:pathLst>
              <a:path w="422275" h="414400">
                <a:moveTo>
                  <a:pt x="0" y="414400"/>
                </a:moveTo>
                <a:lnTo>
                  <a:pt x="422275" y="207263"/>
                </a:lnTo>
                <a:lnTo>
                  <a:pt x="0" y="0"/>
                </a:lnTo>
                <a:lnTo>
                  <a:pt x="0" y="414400"/>
                </a:lnTo>
                <a:close/>
              </a:path>
            </a:pathLst>
          </a:custGeom>
          <a:ln w="12700">
            <a:solidFill>
              <a:srgbClr val="000000"/>
            </a:solidFill>
          </a:ln>
        </p:spPr>
        <p:txBody>
          <a:bodyPr wrap="square" lIns="0" tIns="0" rIns="0" bIns="0" rtlCol="0">
            <a:noAutofit/>
          </a:bodyPr>
          <a:lstStyle/>
          <a:p>
            <a:endParaRPr/>
          </a:p>
        </p:txBody>
      </p:sp>
      <p:sp>
        <p:nvSpPr>
          <p:cNvPr id="49" name="object 49"/>
          <p:cNvSpPr/>
          <p:nvPr/>
        </p:nvSpPr>
        <p:spPr>
          <a:xfrm>
            <a:off x="1676401" y="2101914"/>
            <a:ext cx="460375" cy="344487"/>
          </a:xfrm>
          <a:custGeom>
            <a:avLst/>
            <a:gdLst/>
            <a:ahLst/>
            <a:cxnLst/>
            <a:rect l="l" t="t" r="r" b="b"/>
            <a:pathLst>
              <a:path w="460375" h="344487">
                <a:moveTo>
                  <a:pt x="0" y="344487"/>
                </a:moveTo>
                <a:lnTo>
                  <a:pt x="460375" y="344487"/>
                </a:lnTo>
                <a:lnTo>
                  <a:pt x="460375" y="0"/>
                </a:lnTo>
                <a:lnTo>
                  <a:pt x="0" y="0"/>
                </a:lnTo>
                <a:lnTo>
                  <a:pt x="0" y="344487"/>
                </a:lnTo>
                <a:close/>
              </a:path>
            </a:pathLst>
          </a:custGeom>
          <a:solidFill>
            <a:srgbClr val="FBFDB8"/>
          </a:solidFill>
        </p:spPr>
        <p:txBody>
          <a:bodyPr wrap="square" lIns="0" tIns="0" rIns="0" bIns="0" rtlCol="0">
            <a:noAutofit/>
          </a:bodyPr>
          <a:lstStyle/>
          <a:p>
            <a:endParaRPr/>
          </a:p>
        </p:txBody>
      </p:sp>
      <p:sp>
        <p:nvSpPr>
          <p:cNvPr id="50" name="object 50"/>
          <p:cNvSpPr/>
          <p:nvPr/>
        </p:nvSpPr>
        <p:spPr>
          <a:xfrm>
            <a:off x="1676401" y="2101914"/>
            <a:ext cx="460375" cy="344487"/>
          </a:xfrm>
          <a:custGeom>
            <a:avLst/>
            <a:gdLst/>
            <a:ahLst/>
            <a:cxnLst/>
            <a:rect l="l" t="t" r="r" b="b"/>
            <a:pathLst>
              <a:path w="460375" h="344487">
                <a:moveTo>
                  <a:pt x="0" y="344487"/>
                </a:moveTo>
                <a:lnTo>
                  <a:pt x="460375" y="344487"/>
                </a:lnTo>
                <a:lnTo>
                  <a:pt x="460375" y="0"/>
                </a:lnTo>
                <a:lnTo>
                  <a:pt x="0" y="0"/>
                </a:lnTo>
                <a:lnTo>
                  <a:pt x="0" y="344487"/>
                </a:lnTo>
                <a:close/>
              </a:path>
            </a:pathLst>
          </a:custGeom>
          <a:ln w="12700">
            <a:solidFill>
              <a:srgbClr val="000000"/>
            </a:solidFill>
          </a:ln>
        </p:spPr>
        <p:txBody>
          <a:bodyPr wrap="square" lIns="0" tIns="0" rIns="0" bIns="0" rtlCol="0">
            <a:noAutofit/>
          </a:bodyPr>
          <a:lstStyle/>
          <a:p>
            <a:endParaRPr/>
          </a:p>
        </p:txBody>
      </p:sp>
      <p:sp>
        <p:nvSpPr>
          <p:cNvPr id="43" name="object 43"/>
          <p:cNvSpPr/>
          <p:nvPr/>
        </p:nvSpPr>
        <p:spPr>
          <a:xfrm>
            <a:off x="2693988" y="2025651"/>
            <a:ext cx="1801749" cy="581025"/>
          </a:xfrm>
          <a:prstGeom prst="rect">
            <a:avLst/>
          </a:prstGeom>
          <a:blipFill>
            <a:blip r:embed="rId14" cstate="print"/>
            <a:stretch>
              <a:fillRect/>
            </a:stretch>
          </a:blipFill>
        </p:spPr>
        <p:txBody>
          <a:bodyPr wrap="square" lIns="0" tIns="0" rIns="0" bIns="0" rtlCol="0">
            <a:noAutofit/>
          </a:bodyPr>
          <a:lstStyle/>
          <a:p>
            <a:endParaRPr/>
          </a:p>
        </p:txBody>
      </p:sp>
      <p:sp>
        <p:nvSpPr>
          <p:cNvPr id="44" name="object 44"/>
          <p:cNvSpPr/>
          <p:nvPr/>
        </p:nvSpPr>
        <p:spPr>
          <a:xfrm>
            <a:off x="2657856" y="2004061"/>
            <a:ext cx="1306068" cy="341375"/>
          </a:xfrm>
          <a:prstGeom prst="rect">
            <a:avLst/>
          </a:prstGeom>
          <a:blipFill>
            <a:blip r:embed="rId23" cstate="print"/>
            <a:stretch>
              <a:fillRect/>
            </a:stretch>
          </a:blipFill>
        </p:spPr>
        <p:txBody>
          <a:bodyPr wrap="square" lIns="0" tIns="0" rIns="0" bIns="0" rtlCol="0">
            <a:noAutofit/>
          </a:bodyPr>
          <a:lstStyle/>
          <a:p>
            <a:endParaRPr/>
          </a:p>
        </p:txBody>
      </p:sp>
      <p:sp>
        <p:nvSpPr>
          <p:cNvPr id="45" name="object 45"/>
          <p:cNvSpPr/>
          <p:nvPr/>
        </p:nvSpPr>
        <p:spPr>
          <a:xfrm>
            <a:off x="2657856" y="2247901"/>
            <a:ext cx="1063752" cy="341375"/>
          </a:xfrm>
          <a:prstGeom prst="rect">
            <a:avLst/>
          </a:prstGeom>
          <a:blipFill>
            <a:blip r:embed="rId24" cstate="print"/>
            <a:stretch>
              <a:fillRect/>
            </a:stretch>
          </a:blipFill>
        </p:spPr>
        <p:txBody>
          <a:bodyPr wrap="square" lIns="0" tIns="0" rIns="0" bIns="0" rtlCol="0">
            <a:noAutofit/>
          </a:bodyPr>
          <a:lstStyle/>
          <a:p>
            <a:endParaRPr/>
          </a:p>
        </p:txBody>
      </p:sp>
      <p:sp>
        <p:nvSpPr>
          <p:cNvPr id="46" name="object 46"/>
          <p:cNvSpPr/>
          <p:nvPr/>
        </p:nvSpPr>
        <p:spPr>
          <a:xfrm>
            <a:off x="3441192" y="2247901"/>
            <a:ext cx="336804" cy="341375"/>
          </a:xfrm>
          <a:prstGeom prst="rect">
            <a:avLst/>
          </a:prstGeom>
          <a:blipFill>
            <a:blip r:embed="rId25" cstate="print"/>
            <a:stretch>
              <a:fillRect/>
            </a:stretch>
          </a:blipFill>
        </p:spPr>
        <p:txBody>
          <a:bodyPr wrap="square" lIns="0" tIns="0" rIns="0" bIns="0" rtlCol="0">
            <a:noAutofit/>
          </a:bodyPr>
          <a:lstStyle/>
          <a:p>
            <a:endParaRPr/>
          </a:p>
        </p:txBody>
      </p:sp>
      <p:sp>
        <p:nvSpPr>
          <p:cNvPr id="47" name="object 47"/>
          <p:cNvSpPr/>
          <p:nvPr/>
        </p:nvSpPr>
        <p:spPr>
          <a:xfrm>
            <a:off x="2232026" y="2101850"/>
            <a:ext cx="422275" cy="414274"/>
          </a:xfrm>
          <a:prstGeom prst="rect">
            <a:avLst/>
          </a:prstGeom>
          <a:blipFill>
            <a:blip r:embed="rId26" cstate="print"/>
            <a:stretch>
              <a:fillRect/>
            </a:stretch>
          </a:blipFill>
        </p:spPr>
        <p:txBody>
          <a:bodyPr wrap="square" lIns="0" tIns="0" rIns="0" bIns="0" rtlCol="0">
            <a:noAutofit/>
          </a:bodyPr>
          <a:lstStyle/>
          <a:p>
            <a:endParaRPr/>
          </a:p>
        </p:txBody>
      </p:sp>
      <p:sp>
        <p:nvSpPr>
          <p:cNvPr id="48" name="object 48"/>
          <p:cNvSpPr/>
          <p:nvPr/>
        </p:nvSpPr>
        <p:spPr>
          <a:xfrm>
            <a:off x="2232026" y="2101850"/>
            <a:ext cx="422275" cy="414274"/>
          </a:xfrm>
          <a:custGeom>
            <a:avLst/>
            <a:gdLst/>
            <a:ahLst/>
            <a:cxnLst/>
            <a:rect l="l" t="t" r="r" b="b"/>
            <a:pathLst>
              <a:path w="422275" h="414274">
                <a:moveTo>
                  <a:pt x="0" y="414274"/>
                </a:moveTo>
                <a:lnTo>
                  <a:pt x="422275" y="207137"/>
                </a:lnTo>
                <a:lnTo>
                  <a:pt x="0" y="0"/>
                </a:lnTo>
                <a:lnTo>
                  <a:pt x="0" y="414274"/>
                </a:lnTo>
                <a:close/>
              </a:path>
            </a:pathLst>
          </a:custGeom>
          <a:ln w="12700">
            <a:solidFill>
              <a:srgbClr val="000000"/>
            </a:solidFill>
          </a:ln>
        </p:spPr>
        <p:txBody>
          <a:bodyPr wrap="square" lIns="0" tIns="0" rIns="0" bIns="0" rtlCol="0">
            <a:noAutofit/>
          </a:bodyPr>
          <a:lstStyle/>
          <a:p>
            <a:endParaRPr/>
          </a:p>
        </p:txBody>
      </p:sp>
      <p:sp>
        <p:nvSpPr>
          <p:cNvPr id="41" name="object 41"/>
          <p:cNvSpPr/>
          <p:nvPr/>
        </p:nvSpPr>
        <p:spPr>
          <a:xfrm>
            <a:off x="1676401" y="2874963"/>
            <a:ext cx="460375" cy="414337"/>
          </a:xfrm>
          <a:custGeom>
            <a:avLst/>
            <a:gdLst/>
            <a:ahLst/>
            <a:cxnLst/>
            <a:rect l="l" t="t" r="r" b="b"/>
            <a:pathLst>
              <a:path w="460375" h="414337">
                <a:moveTo>
                  <a:pt x="0" y="414337"/>
                </a:moveTo>
                <a:lnTo>
                  <a:pt x="460375" y="414337"/>
                </a:lnTo>
                <a:lnTo>
                  <a:pt x="460375" y="0"/>
                </a:lnTo>
                <a:lnTo>
                  <a:pt x="0" y="0"/>
                </a:lnTo>
                <a:lnTo>
                  <a:pt x="0" y="414337"/>
                </a:lnTo>
                <a:close/>
              </a:path>
            </a:pathLst>
          </a:custGeom>
          <a:solidFill>
            <a:srgbClr val="FBFDB8"/>
          </a:solidFill>
        </p:spPr>
        <p:txBody>
          <a:bodyPr wrap="square" lIns="0" tIns="0" rIns="0" bIns="0" rtlCol="0">
            <a:noAutofit/>
          </a:bodyPr>
          <a:lstStyle/>
          <a:p>
            <a:endParaRPr/>
          </a:p>
        </p:txBody>
      </p:sp>
      <p:sp>
        <p:nvSpPr>
          <p:cNvPr id="42" name="object 42"/>
          <p:cNvSpPr/>
          <p:nvPr/>
        </p:nvSpPr>
        <p:spPr>
          <a:xfrm>
            <a:off x="1676401" y="2874963"/>
            <a:ext cx="460375" cy="414337"/>
          </a:xfrm>
          <a:custGeom>
            <a:avLst/>
            <a:gdLst/>
            <a:ahLst/>
            <a:cxnLst/>
            <a:rect l="l" t="t" r="r" b="b"/>
            <a:pathLst>
              <a:path w="460375" h="414337">
                <a:moveTo>
                  <a:pt x="0" y="414337"/>
                </a:moveTo>
                <a:lnTo>
                  <a:pt x="460375" y="414337"/>
                </a:lnTo>
                <a:lnTo>
                  <a:pt x="460375" y="0"/>
                </a:lnTo>
                <a:lnTo>
                  <a:pt x="0" y="0"/>
                </a:lnTo>
                <a:lnTo>
                  <a:pt x="0" y="414337"/>
                </a:lnTo>
                <a:close/>
              </a:path>
            </a:pathLst>
          </a:custGeom>
          <a:ln w="12700">
            <a:solidFill>
              <a:srgbClr val="000000"/>
            </a:solidFill>
          </a:ln>
        </p:spPr>
        <p:txBody>
          <a:bodyPr wrap="square" lIns="0" tIns="0" rIns="0" bIns="0" rtlCol="0">
            <a:noAutofit/>
          </a:bodyPr>
          <a:lstStyle/>
          <a:p>
            <a:endParaRPr/>
          </a:p>
        </p:txBody>
      </p:sp>
      <p:sp>
        <p:nvSpPr>
          <p:cNvPr id="39" name="object 39"/>
          <p:cNvSpPr/>
          <p:nvPr/>
        </p:nvSpPr>
        <p:spPr>
          <a:xfrm>
            <a:off x="2232026" y="2874899"/>
            <a:ext cx="422275" cy="414400"/>
          </a:xfrm>
          <a:prstGeom prst="rect">
            <a:avLst/>
          </a:prstGeom>
          <a:blipFill>
            <a:blip r:embed="rId26" cstate="print"/>
            <a:stretch>
              <a:fillRect/>
            </a:stretch>
          </a:blipFill>
        </p:spPr>
        <p:txBody>
          <a:bodyPr wrap="square" lIns="0" tIns="0" rIns="0" bIns="0" rtlCol="0">
            <a:noAutofit/>
          </a:bodyPr>
          <a:lstStyle/>
          <a:p>
            <a:endParaRPr/>
          </a:p>
        </p:txBody>
      </p:sp>
      <p:sp>
        <p:nvSpPr>
          <p:cNvPr id="40" name="object 40"/>
          <p:cNvSpPr/>
          <p:nvPr/>
        </p:nvSpPr>
        <p:spPr>
          <a:xfrm>
            <a:off x="2232026" y="2874899"/>
            <a:ext cx="422275" cy="414400"/>
          </a:xfrm>
          <a:custGeom>
            <a:avLst/>
            <a:gdLst/>
            <a:ahLst/>
            <a:cxnLst/>
            <a:rect l="l" t="t" r="r" b="b"/>
            <a:pathLst>
              <a:path w="422275" h="414400">
                <a:moveTo>
                  <a:pt x="0" y="414400"/>
                </a:moveTo>
                <a:lnTo>
                  <a:pt x="422275" y="207263"/>
                </a:lnTo>
                <a:lnTo>
                  <a:pt x="0" y="0"/>
                </a:lnTo>
                <a:lnTo>
                  <a:pt x="0" y="414400"/>
                </a:lnTo>
                <a:close/>
              </a:path>
            </a:pathLst>
          </a:custGeom>
          <a:ln w="12700">
            <a:solidFill>
              <a:srgbClr val="000000"/>
            </a:solidFill>
          </a:ln>
        </p:spPr>
        <p:txBody>
          <a:bodyPr wrap="square" lIns="0" tIns="0" rIns="0" bIns="0" rtlCol="0">
            <a:noAutofit/>
          </a:bodyPr>
          <a:lstStyle/>
          <a:p>
            <a:endParaRPr/>
          </a:p>
        </p:txBody>
      </p:sp>
      <p:sp>
        <p:nvSpPr>
          <p:cNvPr id="37" name="object 37"/>
          <p:cNvSpPr/>
          <p:nvPr/>
        </p:nvSpPr>
        <p:spPr>
          <a:xfrm>
            <a:off x="1676401" y="3592513"/>
            <a:ext cx="460375" cy="414337"/>
          </a:xfrm>
          <a:custGeom>
            <a:avLst/>
            <a:gdLst/>
            <a:ahLst/>
            <a:cxnLst/>
            <a:rect l="l" t="t" r="r" b="b"/>
            <a:pathLst>
              <a:path w="460375" h="414337">
                <a:moveTo>
                  <a:pt x="0" y="414337"/>
                </a:moveTo>
                <a:lnTo>
                  <a:pt x="460375" y="414337"/>
                </a:lnTo>
                <a:lnTo>
                  <a:pt x="460375" y="0"/>
                </a:lnTo>
                <a:lnTo>
                  <a:pt x="0" y="0"/>
                </a:lnTo>
                <a:lnTo>
                  <a:pt x="0" y="414337"/>
                </a:lnTo>
                <a:close/>
              </a:path>
            </a:pathLst>
          </a:custGeom>
          <a:solidFill>
            <a:srgbClr val="FBFDB8"/>
          </a:solidFill>
        </p:spPr>
        <p:txBody>
          <a:bodyPr wrap="square" lIns="0" tIns="0" rIns="0" bIns="0" rtlCol="0">
            <a:noAutofit/>
          </a:bodyPr>
          <a:lstStyle/>
          <a:p>
            <a:endParaRPr/>
          </a:p>
        </p:txBody>
      </p:sp>
      <p:sp>
        <p:nvSpPr>
          <p:cNvPr id="38" name="object 38"/>
          <p:cNvSpPr/>
          <p:nvPr/>
        </p:nvSpPr>
        <p:spPr>
          <a:xfrm>
            <a:off x="1676401" y="3592513"/>
            <a:ext cx="460375" cy="414337"/>
          </a:xfrm>
          <a:custGeom>
            <a:avLst/>
            <a:gdLst/>
            <a:ahLst/>
            <a:cxnLst/>
            <a:rect l="l" t="t" r="r" b="b"/>
            <a:pathLst>
              <a:path w="460375" h="414337">
                <a:moveTo>
                  <a:pt x="0" y="414337"/>
                </a:moveTo>
                <a:lnTo>
                  <a:pt x="460375" y="414337"/>
                </a:lnTo>
                <a:lnTo>
                  <a:pt x="460375" y="0"/>
                </a:lnTo>
                <a:lnTo>
                  <a:pt x="0" y="0"/>
                </a:lnTo>
                <a:lnTo>
                  <a:pt x="0" y="414337"/>
                </a:lnTo>
                <a:close/>
              </a:path>
            </a:pathLst>
          </a:custGeom>
          <a:ln w="12700">
            <a:solidFill>
              <a:srgbClr val="000000"/>
            </a:solidFill>
          </a:ln>
        </p:spPr>
        <p:txBody>
          <a:bodyPr wrap="square" lIns="0" tIns="0" rIns="0" bIns="0" rtlCol="0">
            <a:noAutofit/>
          </a:bodyPr>
          <a:lstStyle/>
          <a:p>
            <a:endParaRPr/>
          </a:p>
        </p:txBody>
      </p:sp>
      <p:sp>
        <p:nvSpPr>
          <p:cNvPr id="35" name="object 35"/>
          <p:cNvSpPr/>
          <p:nvPr/>
        </p:nvSpPr>
        <p:spPr>
          <a:xfrm>
            <a:off x="2232026" y="3592576"/>
            <a:ext cx="422275" cy="414274"/>
          </a:xfrm>
          <a:prstGeom prst="rect">
            <a:avLst/>
          </a:prstGeom>
          <a:blipFill>
            <a:blip r:embed="rId20" cstate="print"/>
            <a:stretch>
              <a:fillRect/>
            </a:stretch>
          </a:blipFill>
        </p:spPr>
        <p:txBody>
          <a:bodyPr wrap="square" lIns="0" tIns="0" rIns="0" bIns="0" rtlCol="0">
            <a:noAutofit/>
          </a:bodyPr>
          <a:lstStyle/>
          <a:p>
            <a:endParaRPr/>
          </a:p>
        </p:txBody>
      </p:sp>
      <p:sp>
        <p:nvSpPr>
          <p:cNvPr id="36" name="object 36"/>
          <p:cNvSpPr/>
          <p:nvPr/>
        </p:nvSpPr>
        <p:spPr>
          <a:xfrm>
            <a:off x="2232026" y="3592576"/>
            <a:ext cx="422275" cy="414274"/>
          </a:xfrm>
          <a:custGeom>
            <a:avLst/>
            <a:gdLst/>
            <a:ahLst/>
            <a:cxnLst/>
            <a:rect l="l" t="t" r="r" b="b"/>
            <a:pathLst>
              <a:path w="422275" h="414274">
                <a:moveTo>
                  <a:pt x="0" y="414274"/>
                </a:moveTo>
                <a:lnTo>
                  <a:pt x="422275" y="207137"/>
                </a:lnTo>
                <a:lnTo>
                  <a:pt x="0" y="0"/>
                </a:lnTo>
                <a:lnTo>
                  <a:pt x="0" y="414274"/>
                </a:lnTo>
                <a:close/>
              </a:path>
            </a:pathLst>
          </a:custGeom>
          <a:ln w="12700">
            <a:solidFill>
              <a:srgbClr val="000000"/>
            </a:solidFill>
          </a:ln>
        </p:spPr>
        <p:txBody>
          <a:bodyPr wrap="square" lIns="0" tIns="0" rIns="0" bIns="0" rtlCol="0">
            <a:noAutofit/>
          </a:bodyPr>
          <a:lstStyle/>
          <a:p>
            <a:endParaRPr/>
          </a:p>
        </p:txBody>
      </p:sp>
      <p:sp>
        <p:nvSpPr>
          <p:cNvPr id="33" name="object 33"/>
          <p:cNvSpPr/>
          <p:nvPr/>
        </p:nvSpPr>
        <p:spPr>
          <a:xfrm>
            <a:off x="1676401" y="4356100"/>
            <a:ext cx="460375" cy="412750"/>
          </a:xfrm>
          <a:custGeom>
            <a:avLst/>
            <a:gdLst/>
            <a:ahLst/>
            <a:cxnLst/>
            <a:rect l="l" t="t" r="r" b="b"/>
            <a:pathLst>
              <a:path w="460375" h="412750">
                <a:moveTo>
                  <a:pt x="0" y="412750"/>
                </a:moveTo>
                <a:lnTo>
                  <a:pt x="460375" y="412750"/>
                </a:lnTo>
                <a:lnTo>
                  <a:pt x="460375" y="0"/>
                </a:lnTo>
                <a:lnTo>
                  <a:pt x="0" y="0"/>
                </a:lnTo>
                <a:lnTo>
                  <a:pt x="0" y="412750"/>
                </a:lnTo>
                <a:close/>
              </a:path>
            </a:pathLst>
          </a:custGeom>
          <a:solidFill>
            <a:srgbClr val="FBFDB8"/>
          </a:solidFill>
        </p:spPr>
        <p:txBody>
          <a:bodyPr wrap="square" lIns="0" tIns="0" rIns="0" bIns="0" rtlCol="0">
            <a:noAutofit/>
          </a:bodyPr>
          <a:lstStyle/>
          <a:p>
            <a:endParaRPr/>
          </a:p>
        </p:txBody>
      </p:sp>
      <p:sp>
        <p:nvSpPr>
          <p:cNvPr id="34" name="object 34"/>
          <p:cNvSpPr/>
          <p:nvPr/>
        </p:nvSpPr>
        <p:spPr>
          <a:xfrm>
            <a:off x="1676401" y="4356100"/>
            <a:ext cx="460375" cy="412750"/>
          </a:xfrm>
          <a:custGeom>
            <a:avLst/>
            <a:gdLst/>
            <a:ahLst/>
            <a:cxnLst/>
            <a:rect l="l" t="t" r="r" b="b"/>
            <a:pathLst>
              <a:path w="460375" h="412750">
                <a:moveTo>
                  <a:pt x="0" y="412750"/>
                </a:moveTo>
                <a:lnTo>
                  <a:pt x="460375" y="412750"/>
                </a:lnTo>
                <a:lnTo>
                  <a:pt x="460375" y="0"/>
                </a:lnTo>
                <a:lnTo>
                  <a:pt x="0" y="0"/>
                </a:lnTo>
                <a:lnTo>
                  <a:pt x="0" y="412750"/>
                </a:lnTo>
                <a:close/>
              </a:path>
            </a:pathLst>
          </a:custGeom>
          <a:ln w="12700">
            <a:solidFill>
              <a:srgbClr val="000000"/>
            </a:solidFill>
          </a:ln>
        </p:spPr>
        <p:txBody>
          <a:bodyPr wrap="square" lIns="0" tIns="0" rIns="0" bIns="0" rtlCol="0">
            <a:noAutofit/>
          </a:bodyPr>
          <a:lstStyle/>
          <a:p>
            <a:endParaRPr/>
          </a:p>
        </p:txBody>
      </p:sp>
      <p:sp>
        <p:nvSpPr>
          <p:cNvPr id="31" name="object 31"/>
          <p:cNvSpPr/>
          <p:nvPr/>
        </p:nvSpPr>
        <p:spPr>
          <a:xfrm>
            <a:off x="1676401" y="5116513"/>
            <a:ext cx="460375" cy="414337"/>
          </a:xfrm>
          <a:custGeom>
            <a:avLst/>
            <a:gdLst/>
            <a:ahLst/>
            <a:cxnLst/>
            <a:rect l="l" t="t" r="r" b="b"/>
            <a:pathLst>
              <a:path w="460375" h="414337">
                <a:moveTo>
                  <a:pt x="0" y="414337"/>
                </a:moveTo>
                <a:lnTo>
                  <a:pt x="460375" y="414337"/>
                </a:lnTo>
                <a:lnTo>
                  <a:pt x="460375" y="0"/>
                </a:lnTo>
                <a:lnTo>
                  <a:pt x="0" y="0"/>
                </a:lnTo>
                <a:lnTo>
                  <a:pt x="0" y="414337"/>
                </a:lnTo>
                <a:close/>
              </a:path>
            </a:pathLst>
          </a:custGeom>
          <a:solidFill>
            <a:srgbClr val="FBFDB8"/>
          </a:solidFill>
        </p:spPr>
        <p:txBody>
          <a:bodyPr wrap="square" lIns="0" tIns="0" rIns="0" bIns="0" rtlCol="0">
            <a:noAutofit/>
          </a:bodyPr>
          <a:lstStyle/>
          <a:p>
            <a:endParaRPr/>
          </a:p>
        </p:txBody>
      </p:sp>
      <p:sp>
        <p:nvSpPr>
          <p:cNvPr id="32" name="object 32"/>
          <p:cNvSpPr/>
          <p:nvPr/>
        </p:nvSpPr>
        <p:spPr>
          <a:xfrm>
            <a:off x="1676401" y="5116513"/>
            <a:ext cx="460375" cy="414337"/>
          </a:xfrm>
          <a:custGeom>
            <a:avLst/>
            <a:gdLst/>
            <a:ahLst/>
            <a:cxnLst/>
            <a:rect l="l" t="t" r="r" b="b"/>
            <a:pathLst>
              <a:path w="460375" h="414337">
                <a:moveTo>
                  <a:pt x="0" y="414337"/>
                </a:moveTo>
                <a:lnTo>
                  <a:pt x="460375" y="414337"/>
                </a:lnTo>
                <a:lnTo>
                  <a:pt x="460375" y="0"/>
                </a:lnTo>
                <a:lnTo>
                  <a:pt x="0" y="0"/>
                </a:lnTo>
                <a:lnTo>
                  <a:pt x="0" y="414337"/>
                </a:lnTo>
                <a:close/>
              </a:path>
            </a:pathLst>
          </a:custGeom>
          <a:ln w="12700">
            <a:solidFill>
              <a:srgbClr val="000000"/>
            </a:solidFill>
          </a:ln>
        </p:spPr>
        <p:txBody>
          <a:bodyPr wrap="square" lIns="0" tIns="0" rIns="0" bIns="0" rtlCol="0">
            <a:noAutofit/>
          </a:bodyPr>
          <a:lstStyle/>
          <a:p>
            <a:endParaRPr/>
          </a:p>
        </p:txBody>
      </p:sp>
      <p:sp>
        <p:nvSpPr>
          <p:cNvPr id="27" name="object 27"/>
          <p:cNvSpPr txBox="1"/>
          <p:nvPr/>
        </p:nvSpPr>
        <p:spPr>
          <a:xfrm>
            <a:off x="2773476" y="2093180"/>
            <a:ext cx="1020820" cy="472370"/>
          </a:xfrm>
          <a:prstGeom prst="rect">
            <a:avLst/>
          </a:prstGeom>
        </p:spPr>
        <p:txBody>
          <a:bodyPr wrap="square" lIns="0" tIns="0" rIns="0" bIns="0" rtlCol="0">
            <a:noAutofit/>
          </a:bodyPr>
          <a:lstStyle/>
          <a:p>
            <a:pPr marL="12700">
              <a:lnSpc>
                <a:spcPts val="1730"/>
              </a:lnSpc>
              <a:spcBef>
                <a:spcPts val="86"/>
              </a:spcBef>
            </a:pPr>
            <a:r>
              <a:rPr sz="1600" b="1" spc="-4" dirty="0">
                <a:solidFill>
                  <a:srgbClr val="FFFFFF"/>
                </a:solidFill>
                <a:latin typeface="Arial"/>
                <a:cs typeface="Arial"/>
              </a:rPr>
              <a:t>O</a:t>
            </a:r>
            <a:r>
              <a:rPr sz="1600" b="1" dirty="0">
                <a:solidFill>
                  <a:srgbClr val="FFFFFF"/>
                </a:solidFill>
                <a:latin typeface="Arial"/>
                <a:cs typeface="Arial"/>
              </a:rPr>
              <a:t>u</a:t>
            </a:r>
            <a:r>
              <a:rPr sz="1600" b="1" spc="-4" dirty="0">
                <a:solidFill>
                  <a:srgbClr val="FFFFFF"/>
                </a:solidFill>
                <a:latin typeface="Arial"/>
                <a:cs typeface="Arial"/>
              </a:rPr>
              <a:t>t</a:t>
            </a:r>
            <a:r>
              <a:rPr sz="1600" b="1" dirty="0">
                <a:solidFill>
                  <a:srgbClr val="FFFFFF"/>
                </a:solidFill>
                <a:latin typeface="Arial"/>
                <a:cs typeface="Arial"/>
              </a:rPr>
              <a:t>b</a:t>
            </a:r>
            <a:r>
              <a:rPr sz="1600" b="1" spc="-4" dirty="0">
                <a:solidFill>
                  <a:srgbClr val="FFFFFF"/>
                </a:solidFill>
                <a:latin typeface="Arial"/>
                <a:cs typeface="Arial"/>
              </a:rPr>
              <a:t>o</a:t>
            </a:r>
            <a:r>
              <a:rPr sz="1600" b="1" dirty="0">
                <a:solidFill>
                  <a:srgbClr val="FFFFFF"/>
                </a:solidFill>
                <a:latin typeface="Arial"/>
                <a:cs typeface="Arial"/>
              </a:rPr>
              <a:t>u</a:t>
            </a:r>
            <a:r>
              <a:rPr sz="1600" b="1" spc="-4" dirty="0">
                <a:solidFill>
                  <a:srgbClr val="FFFFFF"/>
                </a:solidFill>
                <a:latin typeface="Arial"/>
                <a:cs typeface="Arial"/>
              </a:rPr>
              <a:t>n</a:t>
            </a:r>
            <a:r>
              <a:rPr sz="1600" b="1" dirty="0">
                <a:solidFill>
                  <a:srgbClr val="FFFFFF"/>
                </a:solidFill>
                <a:latin typeface="Arial"/>
                <a:cs typeface="Arial"/>
              </a:rPr>
              <a:t>d</a:t>
            </a:r>
            <a:endParaRPr sz="1600" dirty="0">
              <a:latin typeface="Arial"/>
              <a:cs typeface="Arial"/>
            </a:endParaRPr>
          </a:p>
          <a:p>
            <a:pPr marL="12700" marR="30403">
              <a:lnSpc>
                <a:spcPct val="95825"/>
              </a:lnSpc>
            </a:pPr>
            <a:r>
              <a:rPr sz="1600" b="1" dirty="0">
                <a:solidFill>
                  <a:srgbClr val="FFFFFF"/>
                </a:solidFill>
                <a:latin typeface="Arial"/>
                <a:cs typeface="Arial"/>
              </a:rPr>
              <a:t>Deli</a:t>
            </a:r>
            <a:r>
              <a:rPr sz="1600" b="1" spc="-39" dirty="0">
                <a:solidFill>
                  <a:srgbClr val="FFFFFF"/>
                </a:solidFill>
                <a:latin typeface="Arial"/>
                <a:cs typeface="Arial"/>
              </a:rPr>
              <a:t>v</a:t>
            </a:r>
            <a:r>
              <a:rPr sz="1600" b="1" dirty="0">
                <a:solidFill>
                  <a:srgbClr val="FFFFFF"/>
                </a:solidFill>
                <a:latin typeface="Arial"/>
                <a:cs typeface="Arial"/>
              </a:rPr>
              <a:t>e</a:t>
            </a:r>
            <a:r>
              <a:rPr sz="1600" b="1" spc="9" dirty="0">
                <a:solidFill>
                  <a:srgbClr val="FFFFFF"/>
                </a:solidFill>
                <a:latin typeface="Arial"/>
                <a:cs typeface="Arial"/>
              </a:rPr>
              <a:t>r</a:t>
            </a:r>
            <a:r>
              <a:rPr sz="1600" b="1" dirty="0">
                <a:solidFill>
                  <a:srgbClr val="FFFFFF"/>
                </a:solidFill>
                <a:latin typeface="Arial"/>
                <a:cs typeface="Arial"/>
              </a:rPr>
              <a:t>y</a:t>
            </a:r>
            <a:endParaRPr sz="1600" dirty="0">
              <a:latin typeface="Arial"/>
              <a:cs typeface="Arial"/>
            </a:endParaRPr>
          </a:p>
        </p:txBody>
      </p:sp>
      <p:sp>
        <p:nvSpPr>
          <p:cNvPr id="26" name="object 26"/>
          <p:cNvSpPr txBox="1"/>
          <p:nvPr/>
        </p:nvSpPr>
        <p:spPr>
          <a:xfrm>
            <a:off x="2835403" y="2976212"/>
            <a:ext cx="1551873" cy="228091"/>
          </a:xfrm>
          <a:prstGeom prst="rect">
            <a:avLst/>
          </a:prstGeom>
        </p:spPr>
        <p:txBody>
          <a:bodyPr wrap="square" lIns="0" tIns="0" rIns="0" bIns="0" rtlCol="0">
            <a:noAutofit/>
          </a:bodyPr>
          <a:lstStyle/>
          <a:p>
            <a:pPr marL="12700">
              <a:lnSpc>
                <a:spcPts val="1730"/>
              </a:lnSpc>
              <a:spcBef>
                <a:spcPts val="86"/>
              </a:spcBef>
            </a:pPr>
            <a:r>
              <a:rPr sz="1600" b="1" dirty="0">
                <a:solidFill>
                  <a:srgbClr val="FFFFFF"/>
                </a:solidFill>
                <a:latin typeface="Arial"/>
                <a:cs typeface="Arial"/>
              </a:rPr>
              <a:t>Ret</a:t>
            </a:r>
            <a:r>
              <a:rPr sz="1600" b="1" spc="-4" dirty="0">
                <a:solidFill>
                  <a:srgbClr val="FFFFFF"/>
                </a:solidFill>
                <a:latin typeface="Arial"/>
                <a:cs typeface="Arial"/>
              </a:rPr>
              <a:t>u</a:t>
            </a:r>
            <a:r>
              <a:rPr sz="1600" b="1" dirty="0">
                <a:solidFill>
                  <a:srgbClr val="FFFFFF"/>
                </a:solidFill>
                <a:latin typeface="Arial"/>
                <a:cs typeface="Arial"/>
              </a:rPr>
              <a:t>rn</a:t>
            </a:r>
            <a:r>
              <a:rPr sz="1600" b="1" spc="-41" dirty="0">
                <a:solidFill>
                  <a:srgbClr val="FFFFFF"/>
                </a:solidFill>
                <a:latin typeface="Arial"/>
                <a:cs typeface="Arial"/>
              </a:rPr>
              <a:t> </a:t>
            </a:r>
            <a:r>
              <a:rPr sz="1600" b="1" dirty="0">
                <a:solidFill>
                  <a:srgbClr val="FFFFFF"/>
                </a:solidFill>
                <a:latin typeface="Arial"/>
                <a:cs typeface="Arial"/>
              </a:rPr>
              <a:t>Deli</a:t>
            </a:r>
            <a:r>
              <a:rPr sz="1600" b="1" spc="-34" dirty="0">
                <a:solidFill>
                  <a:srgbClr val="FFFFFF"/>
                </a:solidFill>
                <a:latin typeface="Arial"/>
                <a:cs typeface="Arial"/>
              </a:rPr>
              <a:t>v</a:t>
            </a:r>
            <a:r>
              <a:rPr sz="1600" b="1" dirty="0">
                <a:solidFill>
                  <a:srgbClr val="FFFFFF"/>
                </a:solidFill>
                <a:latin typeface="Arial"/>
                <a:cs typeface="Arial"/>
              </a:rPr>
              <a:t>e</a:t>
            </a:r>
            <a:r>
              <a:rPr sz="1600" b="1" spc="14" dirty="0">
                <a:solidFill>
                  <a:srgbClr val="FFFFFF"/>
                </a:solidFill>
                <a:latin typeface="Arial"/>
                <a:cs typeface="Arial"/>
              </a:rPr>
              <a:t>r</a:t>
            </a:r>
            <a:r>
              <a:rPr sz="1600" b="1" dirty="0">
                <a:solidFill>
                  <a:srgbClr val="FFFFFF"/>
                </a:solidFill>
                <a:latin typeface="Arial"/>
                <a:cs typeface="Arial"/>
              </a:rPr>
              <a:t>y</a:t>
            </a:r>
            <a:endParaRPr sz="1600">
              <a:latin typeface="Arial"/>
              <a:cs typeface="Arial"/>
            </a:endParaRPr>
          </a:p>
        </p:txBody>
      </p:sp>
      <p:sp>
        <p:nvSpPr>
          <p:cNvPr id="25" name="object 25"/>
          <p:cNvSpPr txBox="1"/>
          <p:nvPr/>
        </p:nvSpPr>
        <p:spPr>
          <a:xfrm>
            <a:off x="4790484" y="3288185"/>
            <a:ext cx="1836292" cy="927807"/>
          </a:xfrm>
          <a:prstGeom prst="rect">
            <a:avLst/>
          </a:prstGeom>
        </p:spPr>
        <p:txBody>
          <a:bodyPr wrap="square" lIns="0" tIns="0" rIns="0" bIns="0" rtlCol="0">
            <a:noAutofit/>
          </a:bodyPr>
          <a:lstStyle/>
          <a:p>
            <a:pPr marL="12700">
              <a:lnSpc>
                <a:spcPts val="1939"/>
              </a:lnSpc>
              <a:spcBef>
                <a:spcPts val="97"/>
              </a:spcBef>
            </a:pPr>
            <a:r>
              <a:rPr b="1" dirty="0">
                <a:latin typeface="Arial"/>
                <a:cs typeface="Arial"/>
              </a:rPr>
              <a:t>N</a:t>
            </a:r>
            <a:r>
              <a:rPr b="1" spc="-9" dirty="0">
                <a:latin typeface="Arial"/>
                <a:cs typeface="Arial"/>
              </a:rPr>
              <a:t>e</a:t>
            </a:r>
            <a:r>
              <a:rPr b="1" dirty="0">
                <a:latin typeface="Arial"/>
                <a:cs typeface="Arial"/>
              </a:rPr>
              <a:t>w</a:t>
            </a:r>
            <a:r>
              <a:rPr b="1" spc="-4" dirty="0">
                <a:latin typeface="Arial"/>
                <a:cs typeface="Arial"/>
              </a:rPr>
              <a:t> </a:t>
            </a:r>
            <a:r>
              <a:rPr b="1" dirty="0">
                <a:latin typeface="Arial"/>
                <a:cs typeface="Arial"/>
              </a:rPr>
              <a:t>Rout</a:t>
            </a:r>
            <a:r>
              <a:rPr lang="en-US" b="1" dirty="0">
                <a:latin typeface="Arial"/>
                <a:cs typeface="Arial"/>
              </a:rPr>
              <a:t>e Determination</a:t>
            </a:r>
            <a:endParaRPr dirty="0">
              <a:latin typeface="Arial"/>
              <a:cs typeface="Arial"/>
            </a:endParaRPr>
          </a:p>
        </p:txBody>
      </p:sp>
      <p:sp>
        <p:nvSpPr>
          <p:cNvPr id="24" name="object 24"/>
          <p:cNvSpPr txBox="1"/>
          <p:nvPr/>
        </p:nvSpPr>
        <p:spPr>
          <a:xfrm>
            <a:off x="6854698" y="3414337"/>
            <a:ext cx="1152960" cy="304292"/>
          </a:xfrm>
          <a:prstGeom prst="rect">
            <a:avLst/>
          </a:prstGeom>
        </p:spPr>
        <p:txBody>
          <a:bodyPr wrap="square" lIns="0" tIns="0" rIns="0" bIns="0" rtlCol="0">
            <a:noAutofit/>
          </a:bodyPr>
          <a:lstStyle/>
          <a:p>
            <a:pPr marL="12700">
              <a:lnSpc>
                <a:spcPts val="2345"/>
              </a:lnSpc>
              <a:spcBef>
                <a:spcPts val="117"/>
              </a:spcBef>
            </a:pPr>
            <a:r>
              <a:rPr sz="2200" b="1" dirty="0">
                <a:solidFill>
                  <a:srgbClr val="FFFFFF"/>
                </a:solidFill>
                <a:latin typeface="Arial"/>
                <a:cs typeface="Arial"/>
              </a:rPr>
              <a:t>Deli</a:t>
            </a:r>
            <a:r>
              <a:rPr sz="2200" b="1" spc="4" dirty="0">
                <a:solidFill>
                  <a:srgbClr val="FFFFFF"/>
                </a:solidFill>
                <a:latin typeface="Arial"/>
                <a:cs typeface="Arial"/>
              </a:rPr>
              <a:t>v</a:t>
            </a:r>
            <a:r>
              <a:rPr sz="2200" b="1" dirty="0">
                <a:solidFill>
                  <a:srgbClr val="FFFFFF"/>
                </a:solidFill>
                <a:latin typeface="Arial"/>
                <a:cs typeface="Arial"/>
              </a:rPr>
              <a:t>ery</a:t>
            </a:r>
            <a:endParaRPr sz="2200">
              <a:latin typeface="Arial"/>
              <a:cs typeface="Arial"/>
            </a:endParaRPr>
          </a:p>
        </p:txBody>
      </p:sp>
      <p:sp>
        <p:nvSpPr>
          <p:cNvPr id="23" name="object 23"/>
          <p:cNvSpPr txBox="1"/>
          <p:nvPr/>
        </p:nvSpPr>
        <p:spPr>
          <a:xfrm>
            <a:off x="2856738" y="3550766"/>
            <a:ext cx="1491848" cy="472178"/>
          </a:xfrm>
          <a:prstGeom prst="rect">
            <a:avLst/>
          </a:prstGeom>
        </p:spPr>
        <p:txBody>
          <a:bodyPr wrap="square" lIns="0" tIns="0" rIns="0" bIns="0" rtlCol="0">
            <a:noAutofit/>
          </a:bodyPr>
          <a:lstStyle/>
          <a:p>
            <a:pPr algn="ctr">
              <a:lnSpc>
                <a:spcPts val="1735"/>
              </a:lnSpc>
              <a:spcBef>
                <a:spcPts val="86"/>
              </a:spcBef>
            </a:pPr>
            <a:r>
              <a:rPr sz="1600" b="1" dirty="0">
                <a:solidFill>
                  <a:srgbClr val="FFFFFF"/>
                </a:solidFill>
                <a:latin typeface="Arial"/>
                <a:cs typeface="Arial"/>
              </a:rPr>
              <a:t>Re</a:t>
            </a:r>
            <a:r>
              <a:rPr sz="1600" b="1" spc="-9" dirty="0">
                <a:solidFill>
                  <a:srgbClr val="FFFFFF"/>
                </a:solidFill>
                <a:latin typeface="Arial"/>
                <a:cs typeface="Arial"/>
              </a:rPr>
              <a:t>p</a:t>
            </a:r>
            <a:r>
              <a:rPr sz="1600" b="1" dirty="0">
                <a:solidFill>
                  <a:srgbClr val="FFFFFF"/>
                </a:solidFill>
                <a:latin typeface="Arial"/>
                <a:cs typeface="Arial"/>
              </a:rPr>
              <a:t>le</a:t>
            </a:r>
            <a:r>
              <a:rPr sz="1600" b="1" spc="-4" dirty="0">
                <a:solidFill>
                  <a:srgbClr val="FFFFFF"/>
                </a:solidFill>
                <a:latin typeface="Arial"/>
                <a:cs typeface="Arial"/>
              </a:rPr>
              <a:t>n</a:t>
            </a:r>
            <a:r>
              <a:rPr sz="1600" b="1" dirty="0">
                <a:solidFill>
                  <a:srgbClr val="FFFFFF"/>
                </a:solidFill>
                <a:latin typeface="Arial"/>
                <a:cs typeface="Arial"/>
              </a:rPr>
              <a:t>is</a:t>
            </a:r>
            <a:r>
              <a:rPr sz="1600" b="1" spc="-4" dirty="0">
                <a:solidFill>
                  <a:srgbClr val="FFFFFF"/>
                </a:solidFill>
                <a:latin typeface="Arial"/>
                <a:cs typeface="Arial"/>
              </a:rPr>
              <a:t>hm</a:t>
            </a:r>
            <a:r>
              <a:rPr sz="1600" b="1" dirty="0">
                <a:solidFill>
                  <a:srgbClr val="FFFFFF"/>
                </a:solidFill>
                <a:latin typeface="Arial"/>
                <a:cs typeface="Arial"/>
              </a:rPr>
              <a:t>e</a:t>
            </a:r>
            <a:r>
              <a:rPr sz="1600" b="1" spc="-4" dirty="0">
                <a:solidFill>
                  <a:srgbClr val="FFFFFF"/>
                </a:solidFill>
                <a:latin typeface="Arial"/>
                <a:cs typeface="Arial"/>
              </a:rPr>
              <a:t>n</a:t>
            </a:r>
            <a:r>
              <a:rPr sz="1600" b="1" dirty="0">
                <a:solidFill>
                  <a:srgbClr val="FFFFFF"/>
                </a:solidFill>
                <a:latin typeface="Arial"/>
                <a:cs typeface="Arial"/>
              </a:rPr>
              <a:t>t</a:t>
            </a:r>
            <a:endParaRPr sz="1600">
              <a:latin typeface="Arial"/>
              <a:cs typeface="Arial"/>
            </a:endParaRPr>
          </a:p>
          <a:p>
            <a:pPr marL="318554" marR="331451" algn="ctr">
              <a:lnSpc>
                <a:spcPct val="95825"/>
              </a:lnSpc>
            </a:pPr>
            <a:r>
              <a:rPr sz="1600" b="1" dirty="0">
                <a:solidFill>
                  <a:srgbClr val="FFFFFF"/>
                </a:solidFill>
                <a:latin typeface="Arial"/>
                <a:cs typeface="Arial"/>
              </a:rPr>
              <a:t>Deli</a:t>
            </a:r>
            <a:r>
              <a:rPr sz="1600" b="1" spc="-34" dirty="0">
                <a:solidFill>
                  <a:srgbClr val="FFFFFF"/>
                </a:solidFill>
                <a:latin typeface="Arial"/>
                <a:cs typeface="Arial"/>
              </a:rPr>
              <a:t>v</a:t>
            </a:r>
            <a:r>
              <a:rPr sz="1600" b="1" dirty="0">
                <a:solidFill>
                  <a:srgbClr val="FFFFFF"/>
                </a:solidFill>
                <a:latin typeface="Arial"/>
                <a:cs typeface="Arial"/>
              </a:rPr>
              <a:t>e</a:t>
            </a:r>
            <a:r>
              <a:rPr sz="1600" b="1" spc="14" dirty="0">
                <a:solidFill>
                  <a:srgbClr val="FFFFFF"/>
                </a:solidFill>
                <a:latin typeface="Arial"/>
                <a:cs typeface="Arial"/>
              </a:rPr>
              <a:t>r</a:t>
            </a:r>
            <a:r>
              <a:rPr sz="1600" b="1" dirty="0">
                <a:solidFill>
                  <a:srgbClr val="FFFFFF"/>
                </a:solidFill>
                <a:latin typeface="Arial"/>
                <a:cs typeface="Arial"/>
              </a:rPr>
              <a:t>y</a:t>
            </a:r>
            <a:endParaRPr sz="1600">
              <a:latin typeface="Arial"/>
              <a:cs typeface="Arial"/>
            </a:endParaRPr>
          </a:p>
        </p:txBody>
      </p:sp>
      <p:sp>
        <p:nvSpPr>
          <p:cNvPr id="22" name="object 22"/>
          <p:cNvSpPr txBox="1"/>
          <p:nvPr/>
        </p:nvSpPr>
        <p:spPr>
          <a:xfrm>
            <a:off x="2773477" y="4363941"/>
            <a:ext cx="1625247" cy="471931"/>
          </a:xfrm>
          <a:prstGeom prst="rect">
            <a:avLst/>
          </a:prstGeom>
        </p:spPr>
        <p:txBody>
          <a:bodyPr wrap="square" lIns="0" tIns="0" rIns="0" bIns="0" rtlCol="0">
            <a:noAutofit/>
          </a:bodyPr>
          <a:lstStyle/>
          <a:p>
            <a:pPr marL="12700">
              <a:lnSpc>
                <a:spcPts val="1730"/>
              </a:lnSpc>
              <a:spcBef>
                <a:spcPts val="86"/>
              </a:spcBef>
            </a:pPr>
            <a:r>
              <a:rPr sz="1600" b="1" dirty="0">
                <a:solidFill>
                  <a:srgbClr val="FFFFFF"/>
                </a:solidFill>
                <a:latin typeface="Arial"/>
                <a:cs typeface="Arial"/>
              </a:rPr>
              <a:t>Deli</a:t>
            </a:r>
            <a:r>
              <a:rPr sz="1600" b="1" spc="-34" dirty="0">
                <a:solidFill>
                  <a:srgbClr val="FFFFFF"/>
                </a:solidFill>
                <a:latin typeface="Arial"/>
                <a:cs typeface="Arial"/>
              </a:rPr>
              <a:t>v</a:t>
            </a:r>
            <a:r>
              <a:rPr sz="1600" b="1" dirty="0">
                <a:solidFill>
                  <a:srgbClr val="FFFFFF"/>
                </a:solidFill>
                <a:latin typeface="Arial"/>
                <a:cs typeface="Arial"/>
              </a:rPr>
              <a:t>e</a:t>
            </a:r>
            <a:r>
              <a:rPr sz="1600" b="1" spc="14" dirty="0">
                <a:solidFill>
                  <a:srgbClr val="FFFFFF"/>
                </a:solidFill>
                <a:latin typeface="Arial"/>
                <a:cs typeface="Arial"/>
              </a:rPr>
              <a:t>r</a:t>
            </a:r>
            <a:r>
              <a:rPr sz="1600" b="1" dirty="0">
                <a:solidFill>
                  <a:srgbClr val="FFFFFF"/>
                </a:solidFill>
                <a:latin typeface="Arial"/>
                <a:cs typeface="Arial"/>
              </a:rPr>
              <a:t>y</a:t>
            </a:r>
            <a:r>
              <a:rPr sz="1600" b="1" spc="-37" dirty="0">
                <a:solidFill>
                  <a:srgbClr val="FFFFFF"/>
                </a:solidFill>
                <a:latin typeface="Arial"/>
                <a:cs typeface="Arial"/>
              </a:rPr>
              <a:t> </a:t>
            </a:r>
            <a:r>
              <a:rPr sz="1600" b="1" spc="39" dirty="0">
                <a:solidFill>
                  <a:srgbClr val="FFFFFF"/>
                </a:solidFill>
                <a:latin typeface="Arial"/>
                <a:cs typeface="Arial"/>
              </a:rPr>
              <a:t>w</a:t>
            </a:r>
            <a:r>
              <a:rPr sz="1600" b="1" dirty="0">
                <a:solidFill>
                  <a:srgbClr val="FFFFFF"/>
                </a:solidFill>
                <a:latin typeface="Arial"/>
                <a:cs typeface="Arial"/>
              </a:rPr>
              <a:t>it</a:t>
            </a:r>
            <a:r>
              <a:rPr sz="1600" b="1" spc="-4" dirty="0">
                <a:solidFill>
                  <a:srgbClr val="FFFFFF"/>
                </a:solidFill>
                <a:latin typeface="Arial"/>
                <a:cs typeface="Arial"/>
              </a:rPr>
              <a:t>h</a:t>
            </a:r>
            <a:r>
              <a:rPr sz="1600" b="1" dirty="0">
                <a:solidFill>
                  <a:srgbClr val="FFFFFF"/>
                </a:solidFill>
                <a:latin typeface="Arial"/>
                <a:cs typeface="Arial"/>
              </a:rPr>
              <a:t>o</a:t>
            </a:r>
            <a:r>
              <a:rPr sz="1600" b="1" spc="-4" dirty="0">
                <a:solidFill>
                  <a:srgbClr val="FFFFFF"/>
                </a:solidFill>
                <a:latin typeface="Arial"/>
                <a:cs typeface="Arial"/>
              </a:rPr>
              <a:t>u</a:t>
            </a:r>
            <a:r>
              <a:rPr sz="1600" b="1" dirty="0">
                <a:solidFill>
                  <a:srgbClr val="FFFFFF"/>
                </a:solidFill>
                <a:latin typeface="Arial"/>
                <a:cs typeface="Arial"/>
              </a:rPr>
              <a:t>t</a:t>
            </a:r>
            <a:endParaRPr sz="1600">
              <a:latin typeface="Arial"/>
              <a:cs typeface="Arial"/>
            </a:endParaRPr>
          </a:p>
          <a:p>
            <a:pPr marL="12700" marR="30403">
              <a:lnSpc>
                <a:spcPct val="95825"/>
              </a:lnSpc>
            </a:pPr>
            <a:r>
              <a:rPr sz="1600" b="1" dirty="0">
                <a:solidFill>
                  <a:srgbClr val="FFFFFF"/>
                </a:solidFill>
                <a:latin typeface="Arial"/>
                <a:cs typeface="Arial"/>
              </a:rPr>
              <a:t>reference</a:t>
            </a:r>
            <a:endParaRPr sz="1600">
              <a:latin typeface="Arial"/>
              <a:cs typeface="Arial"/>
            </a:endParaRPr>
          </a:p>
        </p:txBody>
      </p:sp>
      <p:sp>
        <p:nvSpPr>
          <p:cNvPr id="21" name="object 21"/>
          <p:cNvSpPr txBox="1"/>
          <p:nvPr/>
        </p:nvSpPr>
        <p:spPr>
          <a:xfrm>
            <a:off x="2773477" y="5049741"/>
            <a:ext cx="1351411" cy="471931"/>
          </a:xfrm>
          <a:prstGeom prst="rect">
            <a:avLst/>
          </a:prstGeom>
        </p:spPr>
        <p:txBody>
          <a:bodyPr wrap="square" lIns="0" tIns="0" rIns="0" bIns="0" rtlCol="0">
            <a:noAutofit/>
          </a:bodyPr>
          <a:lstStyle/>
          <a:p>
            <a:pPr marL="12700">
              <a:lnSpc>
                <a:spcPts val="1730"/>
              </a:lnSpc>
              <a:spcBef>
                <a:spcPts val="86"/>
              </a:spcBef>
            </a:pPr>
            <a:r>
              <a:rPr sz="1600" b="1" dirty="0">
                <a:solidFill>
                  <a:srgbClr val="FFFFFF"/>
                </a:solidFill>
                <a:latin typeface="Arial"/>
                <a:cs typeface="Arial"/>
              </a:rPr>
              <a:t>Deli</a:t>
            </a:r>
            <a:r>
              <a:rPr sz="1600" b="1" spc="-34" dirty="0">
                <a:solidFill>
                  <a:srgbClr val="FFFFFF"/>
                </a:solidFill>
                <a:latin typeface="Arial"/>
                <a:cs typeface="Arial"/>
              </a:rPr>
              <a:t>v</a:t>
            </a:r>
            <a:r>
              <a:rPr sz="1600" b="1" dirty="0">
                <a:solidFill>
                  <a:srgbClr val="FFFFFF"/>
                </a:solidFill>
                <a:latin typeface="Arial"/>
                <a:cs typeface="Arial"/>
              </a:rPr>
              <a:t>e</a:t>
            </a:r>
            <a:r>
              <a:rPr sz="1600" b="1" spc="14" dirty="0">
                <a:solidFill>
                  <a:srgbClr val="FFFFFF"/>
                </a:solidFill>
                <a:latin typeface="Arial"/>
                <a:cs typeface="Arial"/>
              </a:rPr>
              <a:t>r</a:t>
            </a:r>
            <a:r>
              <a:rPr sz="1600" b="1" dirty="0">
                <a:solidFill>
                  <a:srgbClr val="FFFFFF"/>
                </a:solidFill>
                <a:latin typeface="Arial"/>
                <a:cs typeface="Arial"/>
              </a:rPr>
              <a:t>y</a:t>
            </a:r>
            <a:r>
              <a:rPr sz="1600" b="1" spc="-37" dirty="0">
                <a:solidFill>
                  <a:srgbClr val="FFFFFF"/>
                </a:solidFill>
                <a:latin typeface="Arial"/>
                <a:cs typeface="Arial"/>
              </a:rPr>
              <a:t> </a:t>
            </a:r>
            <a:r>
              <a:rPr sz="1600" b="1" dirty="0">
                <a:solidFill>
                  <a:srgbClr val="FFFFFF"/>
                </a:solidFill>
                <a:latin typeface="Arial"/>
                <a:cs typeface="Arial"/>
              </a:rPr>
              <a:t>from</a:t>
            </a:r>
            <a:endParaRPr sz="1600">
              <a:latin typeface="Arial"/>
              <a:cs typeface="Arial"/>
            </a:endParaRPr>
          </a:p>
          <a:p>
            <a:pPr marL="12700" marR="30403">
              <a:lnSpc>
                <a:spcPct val="95825"/>
              </a:lnSpc>
            </a:pPr>
            <a:r>
              <a:rPr sz="1600" b="1" dirty="0">
                <a:solidFill>
                  <a:srgbClr val="FFFFFF"/>
                </a:solidFill>
                <a:latin typeface="Arial"/>
                <a:cs typeface="Arial"/>
              </a:rPr>
              <a:t>project</a:t>
            </a:r>
            <a:endParaRPr sz="1600">
              <a:latin typeface="Arial"/>
              <a:cs typeface="Arial"/>
            </a:endParaRPr>
          </a:p>
        </p:txBody>
      </p:sp>
      <p:sp>
        <p:nvSpPr>
          <p:cNvPr id="20" name="object 20"/>
          <p:cNvSpPr txBox="1"/>
          <p:nvPr/>
        </p:nvSpPr>
        <p:spPr>
          <a:xfrm>
            <a:off x="8582915" y="5681349"/>
            <a:ext cx="1594967" cy="254000"/>
          </a:xfrm>
          <a:prstGeom prst="rect">
            <a:avLst/>
          </a:prstGeom>
        </p:spPr>
        <p:txBody>
          <a:bodyPr wrap="square" lIns="0" tIns="0" rIns="0" bIns="0" rtlCol="0">
            <a:noAutofit/>
          </a:bodyPr>
          <a:lstStyle/>
          <a:p>
            <a:pPr marL="12700">
              <a:lnSpc>
                <a:spcPts val="1939"/>
              </a:lnSpc>
              <a:spcBef>
                <a:spcPts val="97"/>
              </a:spcBef>
            </a:pPr>
            <a:r>
              <a:rPr b="1" dirty="0">
                <a:latin typeface="Arial"/>
                <a:cs typeface="Arial"/>
              </a:rPr>
              <a:t>D</a:t>
            </a:r>
            <a:r>
              <a:rPr b="1" spc="-9" dirty="0">
                <a:latin typeface="Arial"/>
                <a:cs typeface="Arial"/>
              </a:rPr>
              <a:t>e</a:t>
            </a:r>
            <a:r>
              <a:rPr b="1" dirty="0">
                <a:latin typeface="Arial"/>
                <a:cs typeface="Arial"/>
              </a:rPr>
              <a:t>te</a:t>
            </a:r>
            <a:r>
              <a:rPr b="1" spc="-9" dirty="0">
                <a:latin typeface="Arial"/>
                <a:cs typeface="Arial"/>
              </a:rPr>
              <a:t>r</a:t>
            </a:r>
            <a:r>
              <a:rPr b="1" dirty="0">
                <a:latin typeface="Arial"/>
                <a:cs typeface="Arial"/>
              </a:rPr>
              <a:t>minati</a:t>
            </a:r>
            <a:r>
              <a:rPr b="1" spc="4" dirty="0">
                <a:latin typeface="Arial"/>
                <a:cs typeface="Arial"/>
              </a:rPr>
              <a:t>o</a:t>
            </a:r>
            <a:r>
              <a:rPr b="1" dirty="0">
                <a:latin typeface="Arial"/>
                <a:cs typeface="Arial"/>
              </a:rPr>
              <a:t>n</a:t>
            </a:r>
            <a:endParaRPr>
              <a:latin typeface="Arial"/>
              <a:cs typeface="Arial"/>
            </a:endParaRPr>
          </a:p>
        </p:txBody>
      </p:sp>
      <p:sp>
        <p:nvSpPr>
          <p:cNvPr id="18" name="object 18"/>
          <p:cNvSpPr txBox="1"/>
          <p:nvPr/>
        </p:nvSpPr>
        <p:spPr>
          <a:xfrm>
            <a:off x="1676401" y="5116513"/>
            <a:ext cx="460375" cy="414337"/>
          </a:xfrm>
          <a:prstGeom prst="rect">
            <a:avLst/>
          </a:prstGeom>
        </p:spPr>
        <p:txBody>
          <a:bodyPr wrap="square" lIns="0" tIns="0" rIns="0" bIns="0" rtlCol="0">
            <a:noAutofit/>
          </a:bodyPr>
          <a:lstStyle/>
          <a:p>
            <a:pPr>
              <a:lnSpc>
                <a:spcPts val="600"/>
              </a:lnSpc>
              <a:spcBef>
                <a:spcPts val="24"/>
              </a:spcBef>
            </a:pPr>
            <a:endParaRPr sz="600"/>
          </a:p>
          <a:p>
            <a:pPr marL="92049">
              <a:lnSpc>
                <a:spcPct val="95825"/>
              </a:lnSpc>
            </a:pPr>
            <a:r>
              <a:rPr b="1" spc="4" dirty="0">
                <a:solidFill>
                  <a:srgbClr val="808080"/>
                </a:solidFill>
                <a:latin typeface="Arial"/>
                <a:cs typeface="Arial"/>
              </a:rPr>
              <a:t>LP</a:t>
            </a:r>
            <a:endParaRPr>
              <a:latin typeface="Arial"/>
              <a:cs typeface="Arial"/>
            </a:endParaRPr>
          </a:p>
        </p:txBody>
      </p:sp>
      <p:sp>
        <p:nvSpPr>
          <p:cNvPr id="17" name="object 17"/>
          <p:cNvSpPr txBox="1"/>
          <p:nvPr/>
        </p:nvSpPr>
        <p:spPr>
          <a:xfrm>
            <a:off x="8496300" y="5060951"/>
            <a:ext cx="1733550" cy="928687"/>
          </a:xfrm>
          <a:prstGeom prst="rect">
            <a:avLst/>
          </a:prstGeom>
        </p:spPr>
        <p:txBody>
          <a:bodyPr wrap="square" lIns="0" tIns="0" rIns="0" bIns="0" rtlCol="0">
            <a:noAutofit/>
          </a:bodyPr>
          <a:lstStyle/>
          <a:p>
            <a:pPr marL="442214">
              <a:lnSpc>
                <a:spcPct val="95825"/>
              </a:lnSpc>
              <a:spcBef>
                <a:spcPts val="434"/>
              </a:spcBef>
            </a:pPr>
            <a:r>
              <a:rPr b="1" dirty="0">
                <a:latin typeface="Arial"/>
                <a:cs typeface="Arial"/>
              </a:rPr>
              <a:t>Storage</a:t>
            </a:r>
            <a:endParaRPr>
              <a:latin typeface="Arial"/>
              <a:cs typeface="Arial"/>
            </a:endParaRPr>
          </a:p>
          <a:p>
            <a:pPr marL="390398">
              <a:lnSpc>
                <a:spcPct val="95825"/>
              </a:lnSpc>
              <a:spcBef>
                <a:spcPts val="90"/>
              </a:spcBef>
            </a:pPr>
            <a:r>
              <a:rPr b="1" dirty="0">
                <a:latin typeface="Arial"/>
                <a:cs typeface="Arial"/>
              </a:rPr>
              <a:t>L</a:t>
            </a:r>
            <a:r>
              <a:rPr b="1" spc="4" dirty="0">
                <a:latin typeface="Arial"/>
                <a:cs typeface="Arial"/>
              </a:rPr>
              <a:t>o</a:t>
            </a:r>
            <a:r>
              <a:rPr b="1" dirty="0">
                <a:latin typeface="Arial"/>
                <a:cs typeface="Arial"/>
              </a:rPr>
              <a:t>c</a:t>
            </a:r>
            <a:r>
              <a:rPr b="1" spc="-9" dirty="0">
                <a:latin typeface="Arial"/>
                <a:cs typeface="Arial"/>
              </a:rPr>
              <a:t>a</a:t>
            </a:r>
            <a:r>
              <a:rPr b="1" dirty="0">
                <a:latin typeface="Arial"/>
                <a:cs typeface="Arial"/>
              </a:rPr>
              <a:t>ti</a:t>
            </a:r>
            <a:r>
              <a:rPr b="1" spc="4" dirty="0">
                <a:latin typeface="Arial"/>
                <a:cs typeface="Arial"/>
              </a:rPr>
              <a:t>o</a:t>
            </a:r>
            <a:r>
              <a:rPr b="1" dirty="0">
                <a:latin typeface="Arial"/>
                <a:cs typeface="Arial"/>
              </a:rPr>
              <a:t>n</a:t>
            </a:r>
            <a:endParaRPr>
              <a:latin typeface="Arial"/>
              <a:cs typeface="Arial"/>
            </a:endParaRPr>
          </a:p>
        </p:txBody>
      </p:sp>
      <p:sp>
        <p:nvSpPr>
          <p:cNvPr id="16" name="object 16"/>
          <p:cNvSpPr txBox="1"/>
          <p:nvPr/>
        </p:nvSpPr>
        <p:spPr>
          <a:xfrm>
            <a:off x="4572000" y="5038726"/>
            <a:ext cx="1966578" cy="904875"/>
          </a:xfrm>
          <a:prstGeom prst="rect">
            <a:avLst/>
          </a:prstGeom>
        </p:spPr>
        <p:txBody>
          <a:bodyPr wrap="square" lIns="0" tIns="0" rIns="0" bIns="0" rtlCol="0">
            <a:noAutofit/>
          </a:bodyPr>
          <a:lstStyle/>
          <a:p>
            <a:pPr marR="7603">
              <a:lnSpc>
                <a:spcPts val="1400"/>
              </a:lnSpc>
              <a:spcBef>
                <a:spcPts val="74"/>
              </a:spcBef>
            </a:pPr>
            <a:endParaRPr sz="1400"/>
          </a:p>
          <a:p>
            <a:pPr marL="530098" indent="-495300">
              <a:lnSpc>
                <a:spcPct val="99945"/>
              </a:lnSpc>
            </a:pPr>
            <a:r>
              <a:rPr b="1" dirty="0">
                <a:latin typeface="Arial"/>
                <a:cs typeface="Arial"/>
              </a:rPr>
              <a:t>Item</a:t>
            </a:r>
            <a:r>
              <a:rPr b="1" spc="-9" dirty="0">
                <a:latin typeface="Arial"/>
                <a:cs typeface="Arial"/>
              </a:rPr>
              <a:t> </a:t>
            </a:r>
            <a:r>
              <a:rPr b="1" dirty="0">
                <a:latin typeface="Arial"/>
                <a:cs typeface="Arial"/>
              </a:rPr>
              <a:t>I</a:t>
            </a:r>
            <a:r>
              <a:rPr b="1" spc="4" dirty="0">
                <a:latin typeface="Arial"/>
                <a:cs typeface="Arial"/>
              </a:rPr>
              <a:t>n</a:t>
            </a:r>
            <a:r>
              <a:rPr b="1" dirty="0">
                <a:latin typeface="Arial"/>
                <a:cs typeface="Arial"/>
              </a:rPr>
              <a:t>depen</a:t>
            </a:r>
            <a:r>
              <a:rPr b="1" spc="4" dirty="0">
                <a:latin typeface="Arial"/>
                <a:cs typeface="Arial"/>
              </a:rPr>
              <a:t>d</a:t>
            </a:r>
            <a:r>
              <a:rPr b="1" dirty="0">
                <a:latin typeface="Arial"/>
                <a:cs typeface="Arial"/>
              </a:rPr>
              <a:t>ent of</a:t>
            </a:r>
            <a:r>
              <a:rPr b="1" spc="-14" dirty="0">
                <a:latin typeface="Arial"/>
                <a:cs typeface="Arial"/>
              </a:rPr>
              <a:t> </a:t>
            </a:r>
            <a:r>
              <a:rPr b="1" dirty="0">
                <a:latin typeface="Arial"/>
                <a:cs typeface="Arial"/>
              </a:rPr>
              <a:t>Order</a:t>
            </a:r>
            <a:endParaRPr>
              <a:latin typeface="Arial"/>
              <a:cs typeface="Arial"/>
            </a:endParaRPr>
          </a:p>
        </p:txBody>
      </p:sp>
      <p:sp>
        <p:nvSpPr>
          <p:cNvPr id="15" name="object 15"/>
          <p:cNvSpPr txBox="1"/>
          <p:nvPr/>
        </p:nvSpPr>
        <p:spPr>
          <a:xfrm>
            <a:off x="1676401" y="4356100"/>
            <a:ext cx="460375" cy="412750"/>
          </a:xfrm>
          <a:prstGeom prst="rect">
            <a:avLst/>
          </a:prstGeom>
        </p:spPr>
        <p:txBody>
          <a:bodyPr wrap="square" lIns="0" tIns="0" rIns="0" bIns="0" rtlCol="0">
            <a:noAutofit/>
          </a:bodyPr>
          <a:lstStyle/>
          <a:p>
            <a:pPr>
              <a:lnSpc>
                <a:spcPts val="600"/>
              </a:lnSpc>
              <a:spcBef>
                <a:spcPts val="16"/>
              </a:spcBef>
            </a:pPr>
            <a:endParaRPr sz="600"/>
          </a:p>
          <a:p>
            <a:pPr marL="70713">
              <a:lnSpc>
                <a:spcPct val="95825"/>
              </a:lnSpc>
            </a:pPr>
            <a:r>
              <a:rPr b="1" spc="4" dirty="0">
                <a:solidFill>
                  <a:srgbClr val="808080"/>
                </a:solidFill>
                <a:latin typeface="Arial"/>
                <a:cs typeface="Arial"/>
              </a:rPr>
              <a:t>LO</a:t>
            </a:r>
            <a:endParaRPr>
              <a:latin typeface="Arial"/>
              <a:cs typeface="Arial"/>
            </a:endParaRPr>
          </a:p>
        </p:txBody>
      </p:sp>
      <p:sp>
        <p:nvSpPr>
          <p:cNvPr id="14" name="object 14"/>
          <p:cNvSpPr txBox="1"/>
          <p:nvPr/>
        </p:nvSpPr>
        <p:spPr>
          <a:xfrm>
            <a:off x="1676401" y="3592513"/>
            <a:ext cx="460375" cy="414337"/>
          </a:xfrm>
          <a:prstGeom prst="rect">
            <a:avLst/>
          </a:prstGeom>
        </p:spPr>
        <p:txBody>
          <a:bodyPr wrap="square" lIns="0" tIns="0" rIns="0" bIns="0" rtlCol="0">
            <a:noAutofit/>
          </a:bodyPr>
          <a:lstStyle/>
          <a:p>
            <a:pPr>
              <a:lnSpc>
                <a:spcPts val="600"/>
              </a:lnSpc>
              <a:spcBef>
                <a:spcPts val="22"/>
              </a:spcBef>
            </a:pPr>
            <a:endParaRPr sz="600"/>
          </a:p>
          <a:p>
            <a:pPr marL="92049">
              <a:lnSpc>
                <a:spcPct val="95825"/>
              </a:lnSpc>
            </a:pPr>
            <a:r>
              <a:rPr b="1" spc="-4" dirty="0">
                <a:solidFill>
                  <a:srgbClr val="808080"/>
                </a:solidFill>
                <a:latin typeface="Arial"/>
                <a:cs typeface="Arial"/>
              </a:rPr>
              <a:t>NL</a:t>
            </a:r>
            <a:endParaRPr>
              <a:latin typeface="Arial"/>
              <a:cs typeface="Arial"/>
            </a:endParaRPr>
          </a:p>
        </p:txBody>
      </p:sp>
      <p:sp>
        <p:nvSpPr>
          <p:cNvPr id="11" name="object 11"/>
          <p:cNvSpPr txBox="1"/>
          <p:nvPr/>
        </p:nvSpPr>
        <p:spPr>
          <a:xfrm>
            <a:off x="6324601" y="3165538"/>
            <a:ext cx="2174875" cy="438086"/>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8499475" y="3165538"/>
            <a:ext cx="319404" cy="438086"/>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8818880" y="3165539"/>
            <a:ext cx="1371346" cy="903287"/>
          </a:xfrm>
          <a:prstGeom prst="rect">
            <a:avLst/>
          </a:prstGeom>
        </p:spPr>
        <p:txBody>
          <a:bodyPr wrap="square" lIns="0" tIns="0" rIns="0" bIns="0" rtlCol="0">
            <a:noAutofit/>
          </a:bodyPr>
          <a:lstStyle/>
          <a:p>
            <a:pPr>
              <a:lnSpc>
                <a:spcPts val="500"/>
              </a:lnSpc>
              <a:spcBef>
                <a:spcPts val="46"/>
              </a:spcBef>
            </a:pPr>
            <a:endParaRPr sz="500"/>
          </a:p>
          <a:p>
            <a:pPr marL="236981">
              <a:lnSpc>
                <a:spcPct val="95825"/>
              </a:lnSpc>
              <a:spcBef>
                <a:spcPts val="2000"/>
              </a:spcBef>
            </a:pPr>
            <a:r>
              <a:rPr b="1" spc="-129" dirty="0">
                <a:latin typeface="Arial"/>
                <a:cs typeface="Arial"/>
              </a:rPr>
              <a:t>T</a:t>
            </a:r>
            <a:r>
              <a:rPr b="1" spc="-4" dirty="0">
                <a:latin typeface="Arial"/>
                <a:cs typeface="Arial"/>
              </a:rPr>
              <a:t>ex</a:t>
            </a:r>
            <a:r>
              <a:rPr b="1" dirty="0">
                <a:latin typeface="Arial"/>
                <a:cs typeface="Arial"/>
              </a:rPr>
              <a:t>ts</a:t>
            </a:r>
            <a:endParaRPr>
              <a:latin typeface="Arial"/>
              <a:cs typeface="Arial"/>
            </a:endParaRPr>
          </a:p>
        </p:txBody>
      </p:sp>
      <p:sp>
        <p:nvSpPr>
          <p:cNvPr id="7" name="object 7"/>
          <p:cNvSpPr txBox="1"/>
          <p:nvPr/>
        </p:nvSpPr>
        <p:spPr>
          <a:xfrm>
            <a:off x="6324601" y="3603625"/>
            <a:ext cx="2174875" cy="465200"/>
          </a:xfrm>
          <a:prstGeom prst="rect">
            <a:avLst/>
          </a:prstGeom>
        </p:spPr>
        <p:txBody>
          <a:bodyPr wrap="square" lIns="0" tIns="0" rIns="0" bIns="0" rtlCol="0">
            <a:noAutofit/>
          </a:bodyPr>
          <a:lstStyle/>
          <a:p>
            <a:pPr>
              <a:lnSpc>
                <a:spcPts val="950"/>
              </a:lnSpc>
              <a:spcBef>
                <a:spcPts val="15"/>
              </a:spcBef>
            </a:pPr>
            <a:endParaRPr sz="950"/>
          </a:p>
          <a:p>
            <a:pPr marL="736257" marR="744155" algn="ctr">
              <a:lnSpc>
                <a:spcPct val="95825"/>
              </a:lnSpc>
            </a:pPr>
            <a:r>
              <a:rPr sz="2200" b="1" spc="-164" dirty="0">
                <a:solidFill>
                  <a:srgbClr val="FFFFFF"/>
                </a:solidFill>
                <a:latin typeface="Arial"/>
                <a:cs typeface="Arial"/>
              </a:rPr>
              <a:t>T</a:t>
            </a:r>
            <a:r>
              <a:rPr sz="2200" b="1" spc="-19" dirty="0">
                <a:solidFill>
                  <a:srgbClr val="FFFFFF"/>
                </a:solidFill>
                <a:latin typeface="Arial"/>
                <a:cs typeface="Arial"/>
              </a:rPr>
              <a:t>y</a:t>
            </a:r>
            <a:r>
              <a:rPr sz="2200" b="1" dirty="0">
                <a:solidFill>
                  <a:srgbClr val="FFFFFF"/>
                </a:solidFill>
                <a:latin typeface="Arial"/>
                <a:cs typeface="Arial"/>
              </a:rPr>
              <a:t>pe</a:t>
            </a:r>
            <a:endParaRPr sz="2200">
              <a:latin typeface="Arial"/>
              <a:cs typeface="Arial"/>
            </a:endParaRPr>
          </a:p>
        </p:txBody>
      </p:sp>
      <p:sp>
        <p:nvSpPr>
          <p:cNvPr id="6" name="object 6"/>
          <p:cNvSpPr txBox="1"/>
          <p:nvPr/>
        </p:nvSpPr>
        <p:spPr>
          <a:xfrm>
            <a:off x="8499475" y="3603625"/>
            <a:ext cx="319404" cy="465200"/>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1676401" y="2874963"/>
            <a:ext cx="460375" cy="414337"/>
          </a:xfrm>
          <a:prstGeom prst="rect">
            <a:avLst/>
          </a:prstGeom>
        </p:spPr>
        <p:txBody>
          <a:bodyPr wrap="square" lIns="0" tIns="0" rIns="0" bIns="0" rtlCol="0">
            <a:noAutofit/>
          </a:bodyPr>
          <a:lstStyle/>
          <a:p>
            <a:pPr>
              <a:lnSpc>
                <a:spcPts val="600"/>
              </a:lnSpc>
              <a:spcBef>
                <a:spcPts val="20"/>
              </a:spcBef>
            </a:pPr>
            <a:endParaRPr sz="600"/>
          </a:p>
          <a:p>
            <a:pPr marL="78333">
              <a:lnSpc>
                <a:spcPct val="95825"/>
              </a:lnSpc>
            </a:pPr>
            <a:r>
              <a:rPr b="1" spc="4" dirty="0">
                <a:solidFill>
                  <a:srgbClr val="808080"/>
                </a:solidFill>
                <a:latin typeface="Arial"/>
                <a:cs typeface="Arial"/>
              </a:rPr>
              <a:t>LR</a:t>
            </a:r>
            <a:endParaRPr>
              <a:latin typeface="Arial"/>
              <a:cs typeface="Arial"/>
            </a:endParaRPr>
          </a:p>
        </p:txBody>
      </p:sp>
      <p:sp>
        <p:nvSpPr>
          <p:cNvPr id="4" name="object 4"/>
          <p:cNvSpPr txBox="1"/>
          <p:nvPr/>
        </p:nvSpPr>
        <p:spPr>
          <a:xfrm>
            <a:off x="1676401" y="2101914"/>
            <a:ext cx="460375" cy="344487"/>
          </a:xfrm>
          <a:prstGeom prst="rect">
            <a:avLst/>
          </a:prstGeom>
        </p:spPr>
        <p:txBody>
          <a:bodyPr wrap="square" lIns="0" tIns="0" rIns="0" bIns="0" rtlCol="0">
            <a:noAutofit/>
          </a:bodyPr>
          <a:lstStyle/>
          <a:p>
            <a:pPr marL="121005">
              <a:lnSpc>
                <a:spcPct val="95825"/>
              </a:lnSpc>
              <a:spcBef>
                <a:spcPts val="340"/>
              </a:spcBef>
            </a:pPr>
            <a:r>
              <a:rPr b="1" spc="4" dirty="0">
                <a:solidFill>
                  <a:srgbClr val="808080"/>
                </a:solidFill>
                <a:latin typeface="Arial"/>
                <a:cs typeface="Arial"/>
              </a:rPr>
              <a:t>LF</a:t>
            </a:r>
            <a:endParaRPr>
              <a:latin typeface="Arial"/>
              <a:cs typeface="Arial"/>
            </a:endParaRPr>
          </a:p>
        </p:txBody>
      </p:sp>
      <p:sp>
        <p:nvSpPr>
          <p:cNvPr id="3" name="object 3"/>
          <p:cNvSpPr txBox="1"/>
          <p:nvPr/>
        </p:nvSpPr>
        <p:spPr>
          <a:xfrm>
            <a:off x="8499476" y="1495426"/>
            <a:ext cx="1690751" cy="904875"/>
          </a:xfrm>
          <a:prstGeom prst="rect">
            <a:avLst/>
          </a:prstGeom>
        </p:spPr>
        <p:txBody>
          <a:bodyPr wrap="square" lIns="0" tIns="0" rIns="0" bIns="0" rtlCol="0">
            <a:noAutofit/>
          </a:bodyPr>
          <a:lstStyle/>
          <a:p>
            <a:pPr>
              <a:lnSpc>
                <a:spcPts val="500"/>
              </a:lnSpc>
              <a:spcBef>
                <a:spcPts val="49"/>
              </a:spcBef>
            </a:pPr>
            <a:endParaRPr sz="500"/>
          </a:p>
          <a:p>
            <a:pPr marL="446658">
              <a:lnSpc>
                <a:spcPct val="95825"/>
              </a:lnSpc>
              <a:spcBef>
                <a:spcPts val="2000"/>
              </a:spcBef>
            </a:pPr>
            <a:r>
              <a:rPr b="1" dirty="0">
                <a:latin typeface="Arial"/>
                <a:cs typeface="Arial"/>
              </a:rPr>
              <a:t>Pa</a:t>
            </a:r>
            <a:r>
              <a:rPr b="1" spc="-4" dirty="0">
                <a:latin typeface="Arial"/>
                <a:cs typeface="Arial"/>
              </a:rPr>
              <a:t>r</a:t>
            </a:r>
            <a:r>
              <a:rPr b="1" dirty="0">
                <a:latin typeface="Arial"/>
                <a:cs typeface="Arial"/>
              </a:rPr>
              <a:t>t</a:t>
            </a:r>
            <a:r>
              <a:rPr b="1" spc="4" dirty="0">
                <a:latin typeface="Arial"/>
                <a:cs typeface="Arial"/>
              </a:rPr>
              <a:t>n</a:t>
            </a:r>
            <a:r>
              <a:rPr b="1" dirty="0">
                <a:latin typeface="Arial"/>
                <a:cs typeface="Arial"/>
              </a:rPr>
              <a:t>er</a:t>
            </a:r>
            <a:endParaRPr>
              <a:latin typeface="Arial"/>
              <a:cs typeface="Arial"/>
            </a:endParaRPr>
          </a:p>
        </p:txBody>
      </p:sp>
      <p:sp>
        <p:nvSpPr>
          <p:cNvPr id="2" name="object 2"/>
          <p:cNvSpPr txBox="1"/>
          <p:nvPr/>
        </p:nvSpPr>
        <p:spPr>
          <a:xfrm>
            <a:off x="4633976" y="1493902"/>
            <a:ext cx="1690624" cy="904875"/>
          </a:xfrm>
          <a:prstGeom prst="rect">
            <a:avLst/>
          </a:prstGeom>
        </p:spPr>
        <p:txBody>
          <a:bodyPr wrap="square" lIns="0" tIns="0" rIns="0" bIns="0" rtlCol="0">
            <a:noAutofit/>
          </a:bodyPr>
          <a:lstStyle/>
          <a:p>
            <a:pPr>
              <a:lnSpc>
                <a:spcPts val="1400"/>
              </a:lnSpc>
              <a:spcBef>
                <a:spcPts val="69"/>
              </a:spcBef>
            </a:pPr>
            <a:endParaRPr sz="1400"/>
          </a:p>
          <a:p>
            <a:pPr marL="382620" marR="379522" algn="ctr">
              <a:lnSpc>
                <a:spcPct val="95825"/>
              </a:lnSpc>
            </a:pPr>
            <a:r>
              <a:rPr b="1" dirty="0">
                <a:latin typeface="Arial"/>
                <a:cs typeface="Arial"/>
              </a:rPr>
              <a:t>Number</a:t>
            </a:r>
            <a:endParaRPr>
              <a:latin typeface="Arial"/>
              <a:cs typeface="Arial"/>
            </a:endParaRPr>
          </a:p>
          <a:p>
            <a:pPr marL="165480" marR="164261" algn="ctr">
              <a:lnSpc>
                <a:spcPct val="95825"/>
              </a:lnSpc>
              <a:spcBef>
                <a:spcPts val="90"/>
              </a:spcBef>
            </a:pPr>
            <a:r>
              <a:rPr b="1" spc="-50" dirty="0">
                <a:latin typeface="Arial"/>
                <a:cs typeface="Arial"/>
              </a:rPr>
              <a:t>A</a:t>
            </a:r>
            <a:r>
              <a:rPr b="1" dirty="0">
                <a:latin typeface="Arial"/>
                <a:cs typeface="Arial"/>
              </a:rPr>
              <a:t>s</a:t>
            </a:r>
            <a:r>
              <a:rPr b="1" spc="-9" dirty="0">
                <a:latin typeface="Arial"/>
                <a:cs typeface="Arial"/>
              </a:rPr>
              <a:t>s</a:t>
            </a:r>
            <a:r>
              <a:rPr b="1" dirty="0">
                <a:latin typeface="Arial"/>
                <a:cs typeface="Arial"/>
              </a:rPr>
              <a:t>i</a:t>
            </a:r>
            <a:r>
              <a:rPr b="1" spc="4" dirty="0">
                <a:latin typeface="Arial"/>
                <a:cs typeface="Arial"/>
              </a:rPr>
              <a:t>g</a:t>
            </a:r>
            <a:r>
              <a:rPr b="1" dirty="0">
                <a:latin typeface="Arial"/>
                <a:cs typeface="Arial"/>
              </a:rPr>
              <a:t>nment</a:t>
            </a:r>
            <a:endParaRPr>
              <a:latin typeface="Arial"/>
              <a:cs typeface="Arial"/>
            </a:endParaRPr>
          </a:p>
        </p:txBody>
      </p:sp>
      <p:sp>
        <p:nvSpPr>
          <p:cNvPr id="8" name="Title 7"/>
          <p:cNvSpPr>
            <a:spLocks noGrp="1"/>
          </p:cNvSpPr>
          <p:nvPr>
            <p:ph type="title"/>
          </p:nvPr>
        </p:nvSpPr>
        <p:spPr>
          <a:xfrm>
            <a:off x="1906588" y="304800"/>
            <a:ext cx="8509933" cy="609600"/>
          </a:xfrm>
        </p:spPr>
        <p:txBody>
          <a:bodyPr>
            <a:normAutofit fontScale="90000"/>
          </a:bodyPr>
          <a:lstStyle/>
          <a:p>
            <a:r>
              <a:rPr lang="en-US" sz="2700" dirty="0">
                <a:latin typeface="+mn-lt"/>
                <a:cs typeface="Arial"/>
              </a:rPr>
              <a:t>Delivery Type</a:t>
            </a:r>
            <a:br>
              <a:rPr lang="en-US" sz="2800" dirty="0">
                <a:latin typeface="Arial"/>
                <a:cs typeface="Arial"/>
              </a:rPr>
            </a:b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F46F1881-5A97-4399-B2AB-F882C7071F0E}"/>
              </a:ext>
            </a:extLst>
          </p:cNvPr>
          <p:cNvPicPr>
            <a:picLocks noChangeAspect="1"/>
          </p:cNvPicPr>
          <p:nvPr/>
        </p:nvPicPr>
        <p:blipFill>
          <a:blip r:embed="rId2"/>
          <a:stretch>
            <a:fillRect/>
          </a:stretch>
        </p:blipFill>
        <p:spPr>
          <a:xfrm>
            <a:off x="3122559" y="1676399"/>
            <a:ext cx="5629275" cy="4540318"/>
          </a:xfrm>
          <a:prstGeom prst="rect">
            <a:avLst/>
          </a:prstGeom>
        </p:spPr>
      </p:pic>
      <p:sp>
        <p:nvSpPr>
          <p:cNvPr id="31" name="object 31"/>
          <p:cNvSpPr/>
          <p:nvPr/>
        </p:nvSpPr>
        <p:spPr>
          <a:xfrm>
            <a:off x="1676400" y="3645024"/>
            <a:ext cx="2724150" cy="652399"/>
          </a:xfrm>
          <a:custGeom>
            <a:avLst/>
            <a:gdLst/>
            <a:ahLst/>
            <a:cxnLst/>
            <a:rect l="l" t="t" r="r" b="b"/>
            <a:pathLst>
              <a:path w="2724150" h="652399">
                <a:moveTo>
                  <a:pt x="1752600" y="311150"/>
                </a:moveTo>
                <a:lnTo>
                  <a:pt x="1752600" y="88900"/>
                </a:lnTo>
                <a:lnTo>
                  <a:pt x="1751638" y="75758"/>
                </a:lnTo>
                <a:lnTo>
                  <a:pt x="1735951" y="37049"/>
                </a:lnTo>
                <a:lnTo>
                  <a:pt x="1704949" y="10107"/>
                </a:lnTo>
                <a:lnTo>
                  <a:pt x="1663700" y="0"/>
                </a:lnTo>
                <a:lnTo>
                  <a:pt x="88900" y="0"/>
                </a:lnTo>
                <a:lnTo>
                  <a:pt x="48917" y="9467"/>
                </a:lnTo>
                <a:lnTo>
                  <a:pt x="17482" y="35927"/>
                </a:lnTo>
                <a:lnTo>
                  <a:pt x="1186" y="74324"/>
                </a:lnTo>
                <a:lnTo>
                  <a:pt x="0" y="88900"/>
                </a:lnTo>
                <a:lnTo>
                  <a:pt x="0" y="444500"/>
                </a:lnTo>
                <a:lnTo>
                  <a:pt x="9476" y="484504"/>
                </a:lnTo>
                <a:lnTo>
                  <a:pt x="35949" y="515932"/>
                </a:lnTo>
                <a:lnTo>
                  <a:pt x="74337" y="532214"/>
                </a:lnTo>
                <a:lnTo>
                  <a:pt x="88900" y="533400"/>
                </a:lnTo>
                <a:lnTo>
                  <a:pt x="1663700" y="533400"/>
                </a:lnTo>
                <a:lnTo>
                  <a:pt x="1703704" y="523932"/>
                </a:lnTo>
                <a:lnTo>
                  <a:pt x="1735132" y="497472"/>
                </a:lnTo>
                <a:lnTo>
                  <a:pt x="1751414" y="459075"/>
                </a:lnTo>
                <a:lnTo>
                  <a:pt x="1752600" y="444500"/>
                </a:lnTo>
                <a:lnTo>
                  <a:pt x="2724150" y="652399"/>
                </a:lnTo>
                <a:lnTo>
                  <a:pt x="1752600" y="311150"/>
                </a:lnTo>
                <a:close/>
              </a:path>
            </a:pathLst>
          </a:custGeom>
          <a:solidFill>
            <a:srgbClr val="FFFF99"/>
          </a:solidFill>
        </p:spPr>
        <p:txBody>
          <a:bodyPr wrap="square" lIns="0" tIns="0" rIns="0" bIns="0" rtlCol="0">
            <a:noAutofit/>
          </a:bodyPr>
          <a:lstStyle/>
          <a:p>
            <a:endParaRPr/>
          </a:p>
        </p:txBody>
      </p:sp>
      <p:sp>
        <p:nvSpPr>
          <p:cNvPr id="32" name="object 32"/>
          <p:cNvSpPr/>
          <p:nvPr/>
        </p:nvSpPr>
        <p:spPr>
          <a:xfrm>
            <a:off x="1676400" y="3645024"/>
            <a:ext cx="2724150" cy="652399"/>
          </a:xfrm>
          <a:custGeom>
            <a:avLst/>
            <a:gdLst/>
            <a:ahLst/>
            <a:cxnLst/>
            <a:rect l="l" t="t" r="r" b="b"/>
            <a:pathLst>
              <a:path w="2724150" h="652399">
                <a:moveTo>
                  <a:pt x="0" y="88900"/>
                </a:moveTo>
                <a:lnTo>
                  <a:pt x="1186" y="74324"/>
                </a:lnTo>
                <a:lnTo>
                  <a:pt x="4622" y="60512"/>
                </a:lnTo>
                <a:lnTo>
                  <a:pt x="10116" y="47650"/>
                </a:lnTo>
                <a:lnTo>
                  <a:pt x="17482" y="35927"/>
                </a:lnTo>
                <a:lnTo>
                  <a:pt x="26530" y="25531"/>
                </a:lnTo>
                <a:lnTo>
                  <a:pt x="37071" y="16648"/>
                </a:lnTo>
                <a:lnTo>
                  <a:pt x="48917" y="9467"/>
                </a:lnTo>
                <a:lnTo>
                  <a:pt x="61879" y="4176"/>
                </a:lnTo>
                <a:lnTo>
                  <a:pt x="75769" y="961"/>
                </a:lnTo>
                <a:lnTo>
                  <a:pt x="88900" y="0"/>
                </a:lnTo>
                <a:lnTo>
                  <a:pt x="1022350" y="0"/>
                </a:lnTo>
                <a:lnTo>
                  <a:pt x="1460500" y="0"/>
                </a:lnTo>
                <a:lnTo>
                  <a:pt x="1663700" y="0"/>
                </a:lnTo>
                <a:lnTo>
                  <a:pt x="1678275" y="1185"/>
                </a:lnTo>
                <a:lnTo>
                  <a:pt x="1692087" y="4617"/>
                </a:lnTo>
                <a:lnTo>
                  <a:pt x="1704949" y="10107"/>
                </a:lnTo>
                <a:lnTo>
                  <a:pt x="1716672" y="17467"/>
                </a:lnTo>
                <a:lnTo>
                  <a:pt x="1727068" y="26510"/>
                </a:lnTo>
                <a:lnTo>
                  <a:pt x="1735951" y="37049"/>
                </a:lnTo>
                <a:lnTo>
                  <a:pt x="1743132" y="48895"/>
                </a:lnTo>
                <a:lnTo>
                  <a:pt x="1748423" y="61860"/>
                </a:lnTo>
                <a:lnTo>
                  <a:pt x="1751638" y="75758"/>
                </a:lnTo>
                <a:lnTo>
                  <a:pt x="1752600" y="88900"/>
                </a:lnTo>
                <a:lnTo>
                  <a:pt x="1752600" y="311150"/>
                </a:lnTo>
                <a:lnTo>
                  <a:pt x="2724150" y="652399"/>
                </a:lnTo>
                <a:lnTo>
                  <a:pt x="1752600" y="444500"/>
                </a:lnTo>
                <a:lnTo>
                  <a:pt x="1751414" y="459075"/>
                </a:lnTo>
                <a:lnTo>
                  <a:pt x="1747982" y="472887"/>
                </a:lnTo>
                <a:lnTo>
                  <a:pt x="1742492" y="485749"/>
                </a:lnTo>
                <a:lnTo>
                  <a:pt x="1735132" y="497472"/>
                </a:lnTo>
                <a:lnTo>
                  <a:pt x="1726089" y="507868"/>
                </a:lnTo>
                <a:lnTo>
                  <a:pt x="1715550" y="516751"/>
                </a:lnTo>
                <a:lnTo>
                  <a:pt x="1703704" y="523932"/>
                </a:lnTo>
                <a:lnTo>
                  <a:pt x="1690739" y="529223"/>
                </a:lnTo>
                <a:lnTo>
                  <a:pt x="1676841" y="532438"/>
                </a:lnTo>
                <a:lnTo>
                  <a:pt x="1663700" y="533400"/>
                </a:lnTo>
                <a:lnTo>
                  <a:pt x="1460500" y="533400"/>
                </a:lnTo>
                <a:lnTo>
                  <a:pt x="1022350" y="533400"/>
                </a:lnTo>
                <a:lnTo>
                  <a:pt x="88900" y="533400"/>
                </a:lnTo>
                <a:lnTo>
                  <a:pt x="74337" y="532214"/>
                </a:lnTo>
                <a:lnTo>
                  <a:pt x="60531" y="528782"/>
                </a:lnTo>
                <a:lnTo>
                  <a:pt x="47673" y="523292"/>
                </a:lnTo>
                <a:lnTo>
                  <a:pt x="35949" y="515932"/>
                </a:lnTo>
                <a:lnTo>
                  <a:pt x="25550" y="506889"/>
                </a:lnTo>
                <a:lnTo>
                  <a:pt x="16662" y="496350"/>
                </a:lnTo>
                <a:lnTo>
                  <a:pt x="9476" y="484504"/>
                </a:lnTo>
                <a:lnTo>
                  <a:pt x="4180" y="471539"/>
                </a:lnTo>
                <a:lnTo>
                  <a:pt x="962" y="457641"/>
                </a:lnTo>
                <a:lnTo>
                  <a:pt x="0" y="444500"/>
                </a:lnTo>
                <a:lnTo>
                  <a:pt x="0" y="311150"/>
                </a:lnTo>
                <a:lnTo>
                  <a:pt x="0" y="88900"/>
                </a:lnTo>
                <a:close/>
              </a:path>
            </a:pathLst>
          </a:custGeom>
          <a:ln w="12700">
            <a:solidFill>
              <a:srgbClr val="000000"/>
            </a:solidFill>
          </a:ln>
        </p:spPr>
        <p:txBody>
          <a:bodyPr wrap="square" lIns="0" tIns="0" rIns="0" bIns="0" rtlCol="0">
            <a:noAutofit/>
          </a:bodyPr>
          <a:lstStyle/>
          <a:p>
            <a:endParaRPr/>
          </a:p>
        </p:txBody>
      </p:sp>
      <p:sp>
        <p:nvSpPr>
          <p:cNvPr id="33" name="object 33"/>
          <p:cNvSpPr/>
          <p:nvPr/>
        </p:nvSpPr>
        <p:spPr>
          <a:xfrm>
            <a:off x="4498976" y="2514600"/>
            <a:ext cx="1444625" cy="533400"/>
          </a:xfrm>
          <a:custGeom>
            <a:avLst/>
            <a:gdLst/>
            <a:ahLst/>
            <a:cxnLst/>
            <a:rect l="l" t="t" r="r" b="b"/>
            <a:pathLst>
              <a:path w="1444625" h="533400">
                <a:moveTo>
                  <a:pt x="1444625" y="311150"/>
                </a:moveTo>
                <a:lnTo>
                  <a:pt x="1444625" y="88900"/>
                </a:lnTo>
                <a:lnTo>
                  <a:pt x="1443663" y="75758"/>
                </a:lnTo>
                <a:lnTo>
                  <a:pt x="1427976" y="37049"/>
                </a:lnTo>
                <a:lnTo>
                  <a:pt x="1396974" y="10107"/>
                </a:lnTo>
                <a:lnTo>
                  <a:pt x="1355725" y="0"/>
                </a:lnTo>
                <a:lnTo>
                  <a:pt x="466725" y="0"/>
                </a:lnTo>
                <a:lnTo>
                  <a:pt x="426720" y="9467"/>
                </a:lnTo>
                <a:lnTo>
                  <a:pt x="395292" y="35927"/>
                </a:lnTo>
                <a:lnTo>
                  <a:pt x="379010" y="74324"/>
                </a:lnTo>
                <a:lnTo>
                  <a:pt x="377825" y="88900"/>
                </a:lnTo>
                <a:lnTo>
                  <a:pt x="377825" y="311150"/>
                </a:lnTo>
                <a:lnTo>
                  <a:pt x="0" y="342900"/>
                </a:lnTo>
                <a:lnTo>
                  <a:pt x="377825" y="444500"/>
                </a:lnTo>
                <a:lnTo>
                  <a:pt x="378786" y="457641"/>
                </a:lnTo>
                <a:lnTo>
                  <a:pt x="382001" y="471539"/>
                </a:lnTo>
                <a:lnTo>
                  <a:pt x="403356" y="506889"/>
                </a:lnTo>
                <a:lnTo>
                  <a:pt x="438337" y="528782"/>
                </a:lnTo>
                <a:lnTo>
                  <a:pt x="466725" y="533400"/>
                </a:lnTo>
                <a:lnTo>
                  <a:pt x="1355725" y="533400"/>
                </a:lnTo>
                <a:lnTo>
                  <a:pt x="1395729" y="523932"/>
                </a:lnTo>
                <a:lnTo>
                  <a:pt x="1427157" y="497472"/>
                </a:lnTo>
                <a:lnTo>
                  <a:pt x="1443439" y="459075"/>
                </a:lnTo>
                <a:lnTo>
                  <a:pt x="1444625" y="444500"/>
                </a:lnTo>
                <a:lnTo>
                  <a:pt x="1444625" y="311150"/>
                </a:lnTo>
                <a:close/>
              </a:path>
            </a:pathLst>
          </a:custGeom>
          <a:solidFill>
            <a:srgbClr val="FFFF99"/>
          </a:solidFill>
        </p:spPr>
        <p:txBody>
          <a:bodyPr wrap="square" lIns="0" tIns="0" rIns="0" bIns="0" rtlCol="0">
            <a:noAutofit/>
          </a:bodyPr>
          <a:lstStyle/>
          <a:p>
            <a:endParaRPr/>
          </a:p>
        </p:txBody>
      </p:sp>
      <p:sp>
        <p:nvSpPr>
          <p:cNvPr id="34" name="object 34"/>
          <p:cNvSpPr/>
          <p:nvPr/>
        </p:nvSpPr>
        <p:spPr>
          <a:xfrm>
            <a:off x="4498976" y="2514600"/>
            <a:ext cx="1444625" cy="533400"/>
          </a:xfrm>
          <a:custGeom>
            <a:avLst/>
            <a:gdLst/>
            <a:ahLst/>
            <a:cxnLst/>
            <a:rect l="l" t="t" r="r" b="b"/>
            <a:pathLst>
              <a:path w="1444625" h="533400">
                <a:moveTo>
                  <a:pt x="377825" y="88900"/>
                </a:moveTo>
                <a:lnTo>
                  <a:pt x="379010" y="74324"/>
                </a:lnTo>
                <a:lnTo>
                  <a:pt x="382442" y="60512"/>
                </a:lnTo>
                <a:lnTo>
                  <a:pt x="387932" y="47650"/>
                </a:lnTo>
                <a:lnTo>
                  <a:pt x="395292" y="35927"/>
                </a:lnTo>
                <a:lnTo>
                  <a:pt x="404335" y="25531"/>
                </a:lnTo>
                <a:lnTo>
                  <a:pt x="414874" y="16648"/>
                </a:lnTo>
                <a:lnTo>
                  <a:pt x="426720" y="9467"/>
                </a:lnTo>
                <a:lnTo>
                  <a:pt x="439685" y="4176"/>
                </a:lnTo>
                <a:lnTo>
                  <a:pt x="453583" y="961"/>
                </a:lnTo>
                <a:lnTo>
                  <a:pt x="466725" y="0"/>
                </a:lnTo>
                <a:lnTo>
                  <a:pt x="555625" y="0"/>
                </a:lnTo>
                <a:lnTo>
                  <a:pt x="822325" y="0"/>
                </a:lnTo>
                <a:lnTo>
                  <a:pt x="1355725" y="0"/>
                </a:lnTo>
                <a:lnTo>
                  <a:pt x="1370300" y="1185"/>
                </a:lnTo>
                <a:lnTo>
                  <a:pt x="1384112" y="4617"/>
                </a:lnTo>
                <a:lnTo>
                  <a:pt x="1396974" y="10107"/>
                </a:lnTo>
                <a:lnTo>
                  <a:pt x="1408697" y="17467"/>
                </a:lnTo>
                <a:lnTo>
                  <a:pt x="1419093" y="26510"/>
                </a:lnTo>
                <a:lnTo>
                  <a:pt x="1427976" y="37049"/>
                </a:lnTo>
                <a:lnTo>
                  <a:pt x="1435157" y="48895"/>
                </a:lnTo>
                <a:lnTo>
                  <a:pt x="1440448" y="61860"/>
                </a:lnTo>
                <a:lnTo>
                  <a:pt x="1443663" y="75758"/>
                </a:lnTo>
                <a:lnTo>
                  <a:pt x="1444625" y="88900"/>
                </a:lnTo>
                <a:lnTo>
                  <a:pt x="1444625" y="311150"/>
                </a:lnTo>
                <a:lnTo>
                  <a:pt x="1444625" y="444500"/>
                </a:lnTo>
                <a:lnTo>
                  <a:pt x="1443439" y="459075"/>
                </a:lnTo>
                <a:lnTo>
                  <a:pt x="1440007" y="472887"/>
                </a:lnTo>
                <a:lnTo>
                  <a:pt x="1434517" y="485749"/>
                </a:lnTo>
                <a:lnTo>
                  <a:pt x="1427157" y="497472"/>
                </a:lnTo>
                <a:lnTo>
                  <a:pt x="1418114" y="507868"/>
                </a:lnTo>
                <a:lnTo>
                  <a:pt x="1407575" y="516751"/>
                </a:lnTo>
                <a:lnTo>
                  <a:pt x="1395729" y="523932"/>
                </a:lnTo>
                <a:lnTo>
                  <a:pt x="1382764" y="529223"/>
                </a:lnTo>
                <a:lnTo>
                  <a:pt x="1368866" y="532438"/>
                </a:lnTo>
                <a:lnTo>
                  <a:pt x="1355725" y="533400"/>
                </a:lnTo>
                <a:lnTo>
                  <a:pt x="822325" y="533400"/>
                </a:lnTo>
                <a:lnTo>
                  <a:pt x="555625" y="533400"/>
                </a:lnTo>
                <a:lnTo>
                  <a:pt x="466725" y="533400"/>
                </a:lnTo>
                <a:lnTo>
                  <a:pt x="452149" y="532214"/>
                </a:lnTo>
                <a:lnTo>
                  <a:pt x="438337" y="528782"/>
                </a:lnTo>
                <a:lnTo>
                  <a:pt x="425475" y="523292"/>
                </a:lnTo>
                <a:lnTo>
                  <a:pt x="413752" y="515932"/>
                </a:lnTo>
                <a:lnTo>
                  <a:pt x="403356" y="506889"/>
                </a:lnTo>
                <a:lnTo>
                  <a:pt x="394473" y="496350"/>
                </a:lnTo>
                <a:lnTo>
                  <a:pt x="387292" y="484504"/>
                </a:lnTo>
                <a:lnTo>
                  <a:pt x="382001" y="471539"/>
                </a:lnTo>
                <a:lnTo>
                  <a:pt x="378786" y="457641"/>
                </a:lnTo>
                <a:lnTo>
                  <a:pt x="377825" y="444500"/>
                </a:lnTo>
                <a:lnTo>
                  <a:pt x="0" y="342900"/>
                </a:lnTo>
                <a:lnTo>
                  <a:pt x="377825" y="311150"/>
                </a:lnTo>
                <a:lnTo>
                  <a:pt x="377825" y="88900"/>
                </a:lnTo>
                <a:close/>
              </a:path>
            </a:pathLst>
          </a:custGeom>
          <a:ln w="12700">
            <a:solidFill>
              <a:srgbClr val="000000"/>
            </a:solidFill>
          </a:ln>
        </p:spPr>
        <p:txBody>
          <a:bodyPr wrap="square" lIns="0" tIns="0" rIns="0" bIns="0" rtlCol="0">
            <a:noAutofit/>
          </a:bodyPr>
          <a:lstStyle/>
          <a:p>
            <a:endParaRPr/>
          </a:p>
        </p:txBody>
      </p:sp>
      <p:sp>
        <p:nvSpPr>
          <p:cNvPr id="35" name="object 35"/>
          <p:cNvSpPr/>
          <p:nvPr/>
        </p:nvSpPr>
        <p:spPr>
          <a:xfrm>
            <a:off x="7589902" y="4559423"/>
            <a:ext cx="2925699" cy="533400"/>
          </a:xfrm>
          <a:custGeom>
            <a:avLst/>
            <a:gdLst/>
            <a:ahLst/>
            <a:cxnLst/>
            <a:rect l="l" t="t" r="r" b="b"/>
            <a:pathLst>
              <a:path w="2925699" h="533400">
                <a:moveTo>
                  <a:pt x="2925699" y="311150"/>
                </a:moveTo>
                <a:lnTo>
                  <a:pt x="2925699" y="88900"/>
                </a:lnTo>
                <a:lnTo>
                  <a:pt x="2924737" y="75758"/>
                </a:lnTo>
                <a:lnTo>
                  <a:pt x="2909050" y="37049"/>
                </a:lnTo>
                <a:lnTo>
                  <a:pt x="2878048" y="10107"/>
                </a:lnTo>
                <a:lnTo>
                  <a:pt x="2836799" y="0"/>
                </a:lnTo>
                <a:lnTo>
                  <a:pt x="1033399" y="0"/>
                </a:lnTo>
                <a:lnTo>
                  <a:pt x="993394" y="9467"/>
                </a:lnTo>
                <a:lnTo>
                  <a:pt x="961966" y="35927"/>
                </a:lnTo>
                <a:lnTo>
                  <a:pt x="945684" y="74324"/>
                </a:lnTo>
                <a:lnTo>
                  <a:pt x="944499" y="88900"/>
                </a:lnTo>
                <a:lnTo>
                  <a:pt x="944499" y="311150"/>
                </a:lnTo>
                <a:lnTo>
                  <a:pt x="0" y="328549"/>
                </a:lnTo>
                <a:lnTo>
                  <a:pt x="944499" y="444500"/>
                </a:lnTo>
                <a:lnTo>
                  <a:pt x="945460" y="457641"/>
                </a:lnTo>
                <a:lnTo>
                  <a:pt x="948675" y="471539"/>
                </a:lnTo>
                <a:lnTo>
                  <a:pt x="970030" y="506889"/>
                </a:lnTo>
                <a:lnTo>
                  <a:pt x="1005011" y="528782"/>
                </a:lnTo>
                <a:lnTo>
                  <a:pt x="1033399" y="533400"/>
                </a:lnTo>
                <a:lnTo>
                  <a:pt x="2836799" y="533400"/>
                </a:lnTo>
                <a:lnTo>
                  <a:pt x="2876803" y="523932"/>
                </a:lnTo>
                <a:lnTo>
                  <a:pt x="2908231" y="497472"/>
                </a:lnTo>
                <a:lnTo>
                  <a:pt x="2924513" y="459075"/>
                </a:lnTo>
                <a:lnTo>
                  <a:pt x="2925699" y="444500"/>
                </a:lnTo>
                <a:lnTo>
                  <a:pt x="2925699" y="311150"/>
                </a:lnTo>
                <a:close/>
              </a:path>
            </a:pathLst>
          </a:custGeom>
          <a:solidFill>
            <a:srgbClr val="FFFF99"/>
          </a:solidFill>
        </p:spPr>
        <p:txBody>
          <a:bodyPr wrap="square" lIns="0" tIns="0" rIns="0" bIns="0" rtlCol="0">
            <a:noAutofit/>
          </a:bodyPr>
          <a:lstStyle/>
          <a:p>
            <a:endParaRPr/>
          </a:p>
        </p:txBody>
      </p:sp>
      <p:sp>
        <p:nvSpPr>
          <p:cNvPr id="36" name="object 36"/>
          <p:cNvSpPr/>
          <p:nvPr/>
        </p:nvSpPr>
        <p:spPr>
          <a:xfrm>
            <a:off x="7589902" y="4559423"/>
            <a:ext cx="2925699" cy="533400"/>
          </a:xfrm>
          <a:custGeom>
            <a:avLst/>
            <a:gdLst/>
            <a:ahLst/>
            <a:cxnLst/>
            <a:rect l="l" t="t" r="r" b="b"/>
            <a:pathLst>
              <a:path w="2925699" h="533400">
                <a:moveTo>
                  <a:pt x="944499" y="88900"/>
                </a:moveTo>
                <a:lnTo>
                  <a:pt x="945684" y="74324"/>
                </a:lnTo>
                <a:lnTo>
                  <a:pt x="949116" y="60512"/>
                </a:lnTo>
                <a:lnTo>
                  <a:pt x="954606" y="47650"/>
                </a:lnTo>
                <a:lnTo>
                  <a:pt x="961966" y="35927"/>
                </a:lnTo>
                <a:lnTo>
                  <a:pt x="971009" y="25531"/>
                </a:lnTo>
                <a:lnTo>
                  <a:pt x="981548" y="16648"/>
                </a:lnTo>
                <a:lnTo>
                  <a:pt x="993394" y="9467"/>
                </a:lnTo>
                <a:lnTo>
                  <a:pt x="1006359" y="4176"/>
                </a:lnTo>
                <a:lnTo>
                  <a:pt x="1020257" y="961"/>
                </a:lnTo>
                <a:lnTo>
                  <a:pt x="1033399" y="0"/>
                </a:lnTo>
                <a:lnTo>
                  <a:pt x="1274699" y="0"/>
                </a:lnTo>
                <a:lnTo>
                  <a:pt x="1769999" y="0"/>
                </a:lnTo>
                <a:lnTo>
                  <a:pt x="2836799" y="0"/>
                </a:lnTo>
                <a:lnTo>
                  <a:pt x="2851374" y="1185"/>
                </a:lnTo>
                <a:lnTo>
                  <a:pt x="2865186" y="4617"/>
                </a:lnTo>
                <a:lnTo>
                  <a:pt x="2878048" y="10107"/>
                </a:lnTo>
                <a:lnTo>
                  <a:pt x="2889771" y="17467"/>
                </a:lnTo>
                <a:lnTo>
                  <a:pt x="2900167" y="26510"/>
                </a:lnTo>
                <a:lnTo>
                  <a:pt x="2909050" y="37049"/>
                </a:lnTo>
                <a:lnTo>
                  <a:pt x="2916231" y="48895"/>
                </a:lnTo>
                <a:lnTo>
                  <a:pt x="2921522" y="61860"/>
                </a:lnTo>
                <a:lnTo>
                  <a:pt x="2924737" y="75758"/>
                </a:lnTo>
                <a:lnTo>
                  <a:pt x="2925699" y="88900"/>
                </a:lnTo>
                <a:lnTo>
                  <a:pt x="2925699" y="311150"/>
                </a:lnTo>
                <a:lnTo>
                  <a:pt x="2925699" y="444500"/>
                </a:lnTo>
                <a:lnTo>
                  <a:pt x="2924513" y="459075"/>
                </a:lnTo>
                <a:lnTo>
                  <a:pt x="2921081" y="472887"/>
                </a:lnTo>
                <a:lnTo>
                  <a:pt x="2915591" y="485749"/>
                </a:lnTo>
                <a:lnTo>
                  <a:pt x="2908231" y="497472"/>
                </a:lnTo>
                <a:lnTo>
                  <a:pt x="2899188" y="507868"/>
                </a:lnTo>
                <a:lnTo>
                  <a:pt x="2888649" y="516751"/>
                </a:lnTo>
                <a:lnTo>
                  <a:pt x="2876803" y="523932"/>
                </a:lnTo>
                <a:lnTo>
                  <a:pt x="2863838" y="529223"/>
                </a:lnTo>
                <a:lnTo>
                  <a:pt x="2849940" y="532438"/>
                </a:lnTo>
                <a:lnTo>
                  <a:pt x="2836799" y="533400"/>
                </a:lnTo>
                <a:lnTo>
                  <a:pt x="1769999" y="533400"/>
                </a:lnTo>
                <a:lnTo>
                  <a:pt x="1274699" y="533400"/>
                </a:lnTo>
                <a:lnTo>
                  <a:pt x="1033399" y="533400"/>
                </a:lnTo>
                <a:lnTo>
                  <a:pt x="1018823" y="532214"/>
                </a:lnTo>
                <a:lnTo>
                  <a:pt x="1005011" y="528782"/>
                </a:lnTo>
                <a:lnTo>
                  <a:pt x="992149" y="523292"/>
                </a:lnTo>
                <a:lnTo>
                  <a:pt x="980426" y="515932"/>
                </a:lnTo>
                <a:lnTo>
                  <a:pt x="970030" y="506889"/>
                </a:lnTo>
                <a:lnTo>
                  <a:pt x="961147" y="496350"/>
                </a:lnTo>
                <a:lnTo>
                  <a:pt x="953966" y="484504"/>
                </a:lnTo>
                <a:lnTo>
                  <a:pt x="948675" y="471539"/>
                </a:lnTo>
                <a:lnTo>
                  <a:pt x="945460" y="457641"/>
                </a:lnTo>
                <a:lnTo>
                  <a:pt x="944499" y="444500"/>
                </a:lnTo>
                <a:lnTo>
                  <a:pt x="0" y="328549"/>
                </a:lnTo>
                <a:lnTo>
                  <a:pt x="944499" y="311150"/>
                </a:lnTo>
                <a:lnTo>
                  <a:pt x="944499" y="88900"/>
                </a:lnTo>
                <a:close/>
              </a:path>
            </a:pathLst>
          </a:custGeom>
          <a:ln w="12700">
            <a:solidFill>
              <a:srgbClr val="000000"/>
            </a:solidFill>
          </a:ln>
        </p:spPr>
        <p:txBody>
          <a:bodyPr wrap="square" lIns="0" tIns="0" rIns="0" bIns="0" rtlCol="0">
            <a:noAutofit/>
          </a:bodyPr>
          <a:lstStyle/>
          <a:p>
            <a:endParaRPr/>
          </a:p>
        </p:txBody>
      </p:sp>
      <p:sp>
        <p:nvSpPr>
          <p:cNvPr id="37" name="object 37"/>
          <p:cNvSpPr/>
          <p:nvPr/>
        </p:nvSpPr>
        <p:spPr>
          <a:xfrm>
            <a:off x="1600201" y="4559423"/>
            <a:ext cx="1712849" cy="762000"/>
          </a:xfrm>
          <a:custGeom>
            <a:avLst/>
            <a:gdLst/>
            <a:ahLst/>
            <a:cxnLst/>
            <a:rect l="l" t="t" r="r" b="b"/>
            <a:pathLst>
              <a:path w="1712849" h="762000">
                <a:moveTo>
                  <a:pt x="0" y="127000"/>
                </a:moveTo>
                <a:lnTo>
                  <a:pt x="17" y="637109"/>
                </a:lnTo>
                <a:lnTo>
                  <a:pt x="7942" y="679292"/>
                </a:lnTo>
                <a:lnTo>
                  <a:pt x="28605" y="715288"/>
                </a:lnTo>
                <a:lnTo>
                  <a:pt x="59510" y="742594"/>
                </a:lnTo>
                <a:lnTo>
                  <a:pt x="98161" y="758709"/>
                </a:lnTo>
                <a:lnTo>
                  <a:pt x="127000" y="762000"/>
                </a:lnTo>
                <a:lnTo>
                  <a:pt x="1322909" y="761982"/>
                </a:lnTo>
                <a:lnTo>
                  <a:pt x="1365092" y="754053"/>
                </a:lnTo>
                <a:lnTo>
                  <a:pt x="1401088" y="733382"/>
                </a:lnTo>
                <a:lnTo>
                  <a:pt x="1428394" y="702472"/>
                </a:lnTo>
                <a:lnTo>
                  <a:pt x="1444509" y="663826"/>
                </a:lnTo>
                <a:lnTo>
                  <a:pt x="1447800" y="635000"/>
                </a:lnTo>
                <a:lnTo>
                  <a:pt x="1447800" y="317500"/>
                </a:lnTo>
                <a:lnTo>
                  <a:pt x="1712849" y="46100"/>
                </a:lnTo>
                <a:lnTo>
                  <a:pt x="1447800" y="127000"/>
                </a:lnTo>
                <a:lnTo>
                  <a:pt x="1447782" y="124890"/>
                </a:lnTo>
                <a:lnTo>
                  <a:pt x="1446709" y="110296"/>
                </a:lnTo>
                <a:lnTo>
                  <a:pt x="1434255" y="69897"/>
                </a:lnTo>
                <a:lnTo>
                  <a:pt x="1409893" y="36520"/>
                </a:lnTo>
                <a:lnTo>
                  <a:pt x="1376126" y="12666"/>
                </a:lnTo>
                <a:lnTo>
                  <a:pt x="1335457" y="837"/>
                </a:lnTo>
                <a:lnTo>
                  <a:pt x="1320800" y="0"/>
                </a:lnTo>
                <a:lnTo>
                  <a:pt x="124889" y="17"/>
                </a:lnTo>
                <a:lnTo>
                  <a:pt x="82692" y="7946"/>
                </a:lnTo>
                <a:lnTo>
                  <a:pt x="46695" y="28617"/>
                </a:lnTo>
                <a:lnTo>
                  <a:pt x="19396" y="59527"/>
                </a:lnTo>
                <a:lnTo>
                  <a:pt x="3288" y="98173"/>
                </a:lnTo>
                <a:lnTo>
                  <a:pt x="837" y="112342"/>
                </a:lnTo>
                <a:lnTo>
                  <a:pt x="0" y="127000"/>
                </a:lnTo>
                <a:close/>
              </a:path>
            </a:pathLst>
          </a:custGeom>
          <a:solidFill>
            <a:srgbClr val="FFFF99"/>
          </a:solidFill>
        </p:spPr>
        <p:txBody>
          <a:bodyPr wrap="square" lIns="0" tIns="0" rIns="0" bIns="0" rtlCol="0">
            <a:noAutofit/>
          </a:bodyPr>
          <a:lstStyle/>
          <a:p>
            <a:endParaRPr/>
          </a:p>
        </p:txBody>
      </p:sp>
      <p:sp>
        <p:nvSpPr>
          <p:cNvPr id="38" name="object 38"/>
          <p:cNvSpPr/>
          <p:nvPr/>
        </p:nvSpPr>
        <p:spPr>
          <a:xfrm>
            <a:off x="1600201" y="4559423"/>
            <a:ext cx="1712849" cy="762000"/>
          </a:xfrm>
          <a:custGeom>
            <a:avLst/>
            <a:gdLst/>
            <a:ahLst/>
            <a:cxnLst/>
            <a:rect l="l" t="t" r="r" b="b"/>
            <a:pathLst>
              <a:path w="1712849" h="762000">
                <a:moveTo>
                  <a:pt x="0" y="127000"/>
                </a:moveTo>
                <a:lnTo>
                  <a:pt x="837" y="112342"/>
                </a:lnTo>
                <a:lnTo>
                  <a:pt x="3288" y="98173"/>
                </a:lnTo>
                <a:lnTo>
                  <a:pt x="7259" y="84586"/>
                </a:lnTo>
                <a:lnTo>
                  <a:pt x="12659" y="71673"/>
                </a:lnTo>
                <a:lnTo>
                  <a:pt x="19396" y="59527"/>
                </a:lnTo>
                <a:lnTo>
                  <a:pt x="27375" y="48240"/>
                </a:lnTo>
                <a:lnTo>
                  <a:pt x="36506" y="37906"/>
                </a:lnTo>
                <a:lnTo>
                  <a:pt x="46695" y="28617"/>
                </a:lnTo>
                <a:lnTo>
                  <a:pt x="57851" y="20466"/>
                </a:lnTo>
                <a:lnTo>
                  <a:pt x="69881" y="13544"/>
                </a:lnTo>
                <a:lnTo>
                  <a:pt x="82692" y="7946"/>
                </a:lnTo>
                <a:lnTo>
                  <a:pt x="96192" y="3764"/>
                </a:lnTo>
                <a:lnTo>
                  <a:pt x="110288" y="1090"/>
                </a:lnTo>
                <a:lnTo>
                  <a:pt x="124889" y="17"/>
                </a:lnTo>
                <a:lnTo>
                  <a:pt x="127000" y="0"/>
                </a:lnTo>
                <a:lnTo>
                  <a:pt x="844550" y="0"/>
                </a:lnTo>
                <a:lnTo>
                  <a:pt x="1206500" y="0"/>
                </a:lnTo>
                <a:lnTo>
                  <a:pt x="1320800" y="0"/>
                </a:lnTo>
                <a:lnTo>
                  <a:pt x="1335457" y="837"/>
                </a:lnTo>
                <a:lnTo>
                  <a:pt x="1349626" y="3290"/>
                </a:lnTo>
                <a:lnTo>
                  <a:pt x="1363213" y="7263"/>
                </a:lnTo>
                <a:lnTo>
                  <a:pt x="1376126" y="12666"/>
                </a:lnTo>
                <a:lnTo>
                  <a:pt x="1388272" y="19405"/>
                </a:lnTo>
                <a:lnTo>
                  <a:pt x="1399559" y="27387"/>
                </a:lnTo>
                <a:lnTo>
                  <a:pt x="1409893" y="36520"/>
                </a:lnTo>
                <a:lnTo>
                  <a:pt x="1419182" y="46711"/>
                </a:lnTo>
                <a:lnTo>
                  <a:pt x="1427333" y="57868"/>
                </a:lnTo>
                <a:lnTo>
                  <a:pt x="1434255" y="69897"/>
                </a:lnTo>
                <a:lnTo>
                  <a:pt x="1439853" y="82707"/>
                </a:lnTo>
                <a:lnTo>
                  <a:pt x="1444035" y="96204"/>
                </a:lnTo>
                <a:lnTo>
                  <a:pt x="1446709" y="110296"/>
                </a:lnTo>
                <a:lnTo>
                  <a:pt x="1447782" y="124890"/>
                </a:lnTo>
                <a:lnTo>
                  <a:pt x="1447800" y="127000"/>
                </a:lnTo>
                <a:lnTo>
                  <a:pt x="1712849" y="46100"/>
                </a:lnTo>
                <a:lnTo>
                  <a:pt x="1447800" y="317500"/>
                </a:lnTo>
                <a:lnTo>
                  <a:pt x="1447800" y="635000"/>
                </a:lnTo>
                <a:lnTo>
                  <a:pt x="1446962" y="649657"/>
                </a:lnTo>
                <a:lnTo>
                  <a:pt x="1444509" y="663826"/>
                </a:lnTo>
                <a:lnTo>
                  <a:pt x="1440536" y="677413"/>
                </a:lnTo>
                <a:lnTo>
                  <a:pt x="1435133" y="690326"/>
                </a:lnTo>
                <a:lnTo>
                  <a:pt x="1428394" y="702472"/>
                </a:lnTo>
                <a:lnTo>
                  <a:pt x="1420412" y="713759"/>
                </a:lnTo>
                <a:lnTo>
                  <a:pt x="1411279" y="724093"/>
                </a:lnTo>
                <a:lnTo>
                  <a:pt x="1401088" y="733382"/>
                </a:lnTo>
                <a:lnTo>
                  <a:pt x="1389931" y="741533"/>
                </a:lnTo>
                <a:lnTo>
                  <a:pt x="1377902" y="748455"/>
                </a:lnTo>
                <a:lnTo>
                  <a:pt x="1365092" y="754053"/>
                </a:lnTo>
                <a:lnTo>
                  <a:pt x="1351595" y="758235"/>
                </a:lnTo>
                <a:lnTo>
                  <a:pt x="1337503" y="760909"/>
                </a:lnTo>
                <a:lnTo>
                  <a:pt x="1322909" y="761982"/>
                </a:lnTo>
                <a:lnTo>
                  <a:pt x="1320800" y="762000"/>
                </a:lnTo>
                <a:lnTo>
                  <a:pt x="1206500" y="762000"/>
                </a:lnTo>
                <a:lnTo>
                  <a:pt x="844550" y="762000"/>
                </a:lnTo>
                <a:lnTo>
                  <a:pt x="127000" y="762000"/>
                </a:lnTo>
                <a:lnTo>
                  <a:pt x="112335" y="761162"/>
                </a:lnTo>
                <a:lnTo>
                  <a:pt x="98161" y="758709"/>
                </a:lnTo>
                <a:lnTo>
                  <a:pt x="84571" y="754736"/>
                </a:lnTo>
                <a:lnTo>
                  <a:pt x="71656" y="749333"/>
                </a:lnTo>
                <a:lnTo>
                  <a:pt x="59510" y="742594"/>
                </a:lnTo>
                <a:lnTo>
                  <a:pt x="48224" y="734612"/>
                </a:lnTo>
                <a:lnTo>
                  <a:pt x="37892" y="725479"/>
                </a:lnTo>
                <a:lnTo>
                  <a:pt x="28605" y="715288"/>
                </a:lnTo>
                <a:lnTo>
                  <a:pt x="20456" y="704131"/>
                </a:lnTo>
                <a:lnTo>
                  <a:pt x="13538" y="692102"/>
                </a:lnTo>
                <a:lnTo>
                  <a:pt x="7942" y="679292"/>
                </a:lnTo>
                <a:lnTo>
                  <a:pt x="3762" y="665795"/>
                </a:lnTo>
                <a:lnTo>
                  <a:pt x="1089" y="651703"/>
                </a:lnTo>
                <a:lnTo>
                  <a:pt x="17" y="637109"/>
                </a:lnTo>
                <a:lnTo>
                  <a:pt x="0" y="635000"/>
                </a:lnTo>
                <a:lnTo>
                  <a:pt x="0" y="317500"/>
                </a:lnTo>
                <a:lnTo>
                  <a:pt x="0" y="127000"/>
                </a:lnTo>
                <a:close/>
              </a:path>
            </a:pathLst>
          </a:custGeom>
          <a:ln w="12700">
            <a:solidFill>
              <a:srgbClr val="000000"/>
            </a:solidFill>
          </a:ln>
        </p:spPr>
        <p:txBody>
          <a:bodyPr wrap="square" lIns="0" tIns="0" rIns="0" bIns="0" rtlCol="0">
            <a:noAutofit/>
          </a:bodyPr>
          <a:lstStyle/>
          <a:p>
            <a:endParaRPr/>
          </a:p>
        </p:txBody>
      </p:sp>
      <p:sp>
        <p:nvSpPr>
          <p:cNvPr id="39" name="object 39"/>
          <p:cNvSpPr/>
          <p:nvPr/>
        </p:nvSpPr>
        <p:spPr>
          <a:xfrm>
            <a:off x="7507224" y="3797423"/>
            <a:ext cx="3008376" cy="533400"/>
          </a:xfrm>
          <a:custGeom>
            <a:avLst/>
            <a:gdLst/>
            <a:ahLst/>
            <a:cxnLst/>
            <a:rect l="l" t="t" r="r" b="b"/>
            <a:pathLst>
              <a:path w="3008376" h="533400">
                <a:moveTo>
                  <a:pt x="3008376" y="311150"/>
                </a:moveTo>
                <a:lnTo>
                  <a:pt x="3008376" y="88900"/>
                </a:lnTo>
                <a:lnTo>
                  <a:pt x="3007414" y="75758"/>
                </a:lnTo>
                <a:lnTo>
                  <a:pt x="2991727" y="37049"/>
                </a:lnTo>
                <a:lnTo>
                  <a:pt x="2960725" y="10107"/>
                </a:lnTo>
                <a:lnTo>
                  <a:pt x="2919476" y="0"/>
                </a:lnTo>
                <a:lnTo>
                  <a:pt x="1116076" y="0"/>
                </a:lnTo>
                <a:lnTo>
                  <a:pt x="1076071" y="9467"/>
                </a:lnTo>
                <a:lnTo>
                  <a:pt x="1044643" y="35927"/>
                </a:lnTo>
                <a:lnTo>
                  <a:pt x="1028361" y="74324"/>
                </a:lnTo>
                <a:lnTo>
                  <a:pt x="1027176" y="88900"/>
                </a:lnTo>
                <a:lnTo>
                  <a:pt x="1027176" y="311150"/>
                </a:lnTo>
                <a:lnTo>
                  <a:pt x="0" y="503300"/>
                </a:lnTo>
                <a:lnTo>
                  <a:pt x="1027176" y="444500"/>
                </a:lnTo>
                <a:lnTo>
                  <a:pt x="1028137" y="457641"/>
                </a:lnTo>
                <a:lnTo>
                  <a:pt x="1031352" y="471539"/>
                </a:lnTo>
                <a:lnTo>
                  <a:pt x="1052707" y="506889"/>
                </a:lnTo>
                <a:lnTo>
                  <a:pt x="1087688" y="528782"/>
                </a:lnTo>
                <a:lnTo>
                  <a:pt x="1116076" y="533400"/>
                </a:lnTo>
                <a:lnTo>
                  <a:pt x="2919476" y="533400"/>
                </a:lnTo>
                <a:lnTo>
                  <a:pt x="2959480" y="523932"/>
                </a:lnTo>
                <a:lnTo>
                  <a:pt x="2990908" y="497472"/>
                </a:lnTo>
                <a:lnTo>
                  <a:pt x="3007190" y="459075"/>
                </a:lnTo>
                <a:lnTo>
                  <a:pt x="3008376" y="444500"/>
                </a:lnTo>
                <a:lnTo>
                  <a:pt x="3008376" y="311150"/>
                </a:lnTo>
                <a:close/>
              </a:path>
            </a:pathLst>
          </a:custGeom>
          <a:solidFill>
            <a:srgbClr val="FFFF99"/>
          </a:solidFill>
        </p:spPr>
        <p:txBody>
          <a:bodyPr wrap="square" lIns="0" tIns="0" rIns="0" bIns="0" rtlCol="0">
            <a:noAutofit/>
          </a:bodyPr>
          <a:lstStyle/>
          <a:p>
            <a:endParaRPr/>
          </a:p>
        </p:txBody>
      </p:sp>
      <p:sp>
        <p:nvSpPr>
          <p:cNvPr id="40" name="object 40"/>
          <p:cNvSpPr/>
          <p:nvPr/>
        </p:nvSpPr>
        <p:spPr>
          <a:xfrm>
            <a:off x="7507224" y="3797423"/>
            <a:ext cx="3008376" cy="533400"/>
          </a:xfrm>
          <a:custGeom>
            <a:avLst/>
            <a:gdLst/>
            <a:ahLst/>
            <a:cxnLst/>
            <a:rect l="l" t="t" r="r" b="b"/>
            <a:pathLst>
              <a:path w="3008376" h="533400">
                <a:moveTo>
                  <a:pt x="1027176" y="88900"/>
                </a:moveTo>
                <a:lnTo>
                  <a:pt x="1028361" y="74324"/>
                </a:lnTo>
                <a:lnTo>
                  <a:pt x="1031793" y="60512"/>
                </a:lnTo>
                <a:lnTo>
                  <a:pt x="1037283" y="47650"/>
                </a:lnTo>
                <a:lnTo>
                  <a:pt x="1044643" y="35927"/>
                </a:lnTo>
                <a:lnTo>
                  <a:pt x="1053686" y="25531"/>
                </a:lnTo>
                <a:lnTo>
                  <a:pt x="1064225" y="16648"/>
                </a:lnTo>
                <a:lnTo>
                  <a:pt x="1076071" y="9467"/>
                </a:lnTo>
                <a:lnTo>
                  <a:pt x="1089036" y="4176"/>
                </a:lnTo>
                <a:lnTo>
                  <a:pt x="1102934" y="961"/>
                </a:lnTo>
                <a:lnTo>
                  <a:pt x="1116076" y="0"/>
                </a:lnTo>
                <a:lnTo>
                  <a:pt x="1357376" y="0"/>
                </a:lnTo>
                <a:lnTo>
                  <a:pt x="1852676" y="0"/>
                </a:lnTo>
                <a:lnTo>
                  <a:pt x="2919476" y="0"/>
                </a:lnTo>
                <a:lnTo>
                  <a:pt x="2934051" y="1185"/>
                </a:lnTo>
                <a:lnTo>
                  <a:pt x="2947863" y="4617"/>
                </a:lnTo>
                <a:lnTo>
                  <a:pt x="2960725" y="10107"/>
                </a:lnTo>
                <a:lnTo>
                  <a:pt x="2972448" y="17467"/>
                </a:lnTo>
                <a:lnTo>
                  <a:pt x="2982844" y="26510"/>
                </a:lnTo>
                <a:lnTo>
                  <a:pt x="2991727" y="37049"/>
                </a:lnTo>
                <a:lnTo>
                  <a:pt x="2998908" y="48895"/>
                </a:lnTo>
                <a:lnTo>
                  <a:pt x="3004199" y="61860"/>
                </a:lnTo>
                <a:lnTo>
                  <a:pt x="3007414" y="75758"/>
                </a:lnTo>
                <a:lnTo>
                  <a:pt x="3008376" y="88900"/>
                </a:lnTo>
                <a:lnTo>
                  <a:pt x="3008376" y="311150"/>
                </a:lnTo>
                <a:lnTo>
                  <a:pt x="3008376" y="444500"/>
                </a:lnTo>
                <a:lnTo>
                  <a:pt x="3007190" y="459075"/>
                </a:lnTo>
                <a:lnTo>
                  <a:pt x="3003758" y="472887"/>
                </a:lnTo>
                <a:lnTo>
                  <a:pt x="2998268" y="485749"/>
                </a:lnTo>
                <a:lnTo>
                  <a:pt x="2990908" y="497472"/>
                </a:lnTo>
                <a:lnTo>
                  <a:pt x="2981865" y="507868"/>
                </a:lnTo>
                <a:lnTo>
                  <a:pt x="2971326" y="516751"/>
                </a:lnTo>
                <a:lnTo>
                  <a:pt x="2959480" y="523932"/>
                </a:lnTo>
                <a:lnTo>
                  <a:pt x="2946515" y="529223"/>
                </a:lnTo>
                <a:lnTo>
                  <a:pt x="2932617" y="532438"/>
                </a:lnTo>
                <a:lnTo>
                  <a:pt x="2919476" y="533400"/>
                </a:lnTo>
                <a:lnTo>
                  <a:pt x="1852676" y="533400"/>
                </a:lnTo>
                <a:lnTo>
                  <a:pt x="1357376" y="533400"/>
                </a:lnTo>
                <a:lnTo>
                  <a:pt x="1116076" y="533400"/>
                </a:lnTo>
                <a:lnTo>
                  <a:pt x="1101500" y="532214"/>
                </a:lnTo>
                <a:lnTo>
                  <a:pt x="1087688" y="528782"/>
                </a:lnTo>
                <a:lnTo>
                  <a:pt x="1074826" y="523292"/>
                </a:lnTo>
                <a:lnTo>
                  <a:pt x="1063103" y="515932"/>
                </a:lnTo>
                <a:lnTo>
                  <a:pt x="1052707" y="506889"/>
                </a:lnTo>
                <a:lnTo>
                  <a:pt x="1043824" y="496350"/>
                </a:lnTo>
                <a:lnTo>
                  <a:pt x="1036643" y="484504"/>
                </a:lnTo>
                <a:lnTo>
                  <a:pt x="1031352" y="471539"/>
                </a:lnTo>
                <a:lnTo>
                  <a:pt x="1028137" y="457641"/>
                </a:lnTo>
                <a:lnTo>
                  <a:pt x="1027176" y="444500"/>
                </a:lnTo>
                <a:lnTo>
                  <a:pt x="0" y="503300"/>
                </a:lnTo>
                <a:lnTo>
                  <a:pt x="1027176" y="311150"/>
                </a:lnTo>
                <a:lnTo>
                  <a:pt x="1027176" y="88900"/>
                </a:lnTo>
                <a:close/>
              </a:path>
            </a:pathLst>
          </a:custGeom>
          <a:ln w="12700">
            <a:solidFill>
              <a:srgbClr val="000000"/>
            </a:solidFill>
          </a:ln>
        </p:spPr>
        <p:txBody>
          <a:bodyPr wrap="square" lIns="0" tIns="0" rIns="0" bIns="0" rtlCol="0">
            <a:noAutofit/>
          </a:bodyPr>
          <a:lstStyle/>
          <a:p>
            <a:endParaRPr/>
          </a:p>
        </p:txBody>
      </p:sp>
      <p:sp>
        <p:nvSpPr>
          <p:cNvPr id="41" name="object 41"/>
          <p:cNvSpPr/>
          <p:nvPr/>
        </p:nvSpPr>
        <p:spPr>
          <a:xfrm>
            <a:off x="7319900" y="5102349"/>
            <a:ext cx="3271901" cy="676275"/>
          </a:xfrm>
          <a:custGeom>
            <a:avLst/>
            <a:gdLst/>
            <a:ahLst/>
            <a:cxnLst/>
            <a:rect l="l" t="t" r="r" b="b"/>
            <a:pathLst>
              <a:path w="3271901" h="676275">
                <a:moveTo>
                  <a:pt x="1214501" y="231775"/>
                </a:moveTo>
                <a:lnTo>
                  <a:pt x="0" y="0"/>
                </a:lnTo>
                <a:lnTo>
                  <a:pt x="1214501" y="365125"/>
                </a:lnTo>
                <a:lnTo>
                  <a:pt x="1214501" y="587375"/>
                </a:lnTo>
                <a:lnTo>
                  <a:pt x="1215462" y="600516"/>
                </a:lnTo>
                <a:lnTo>
                  <a:pt x="1231149" y="639225"/>
                </a:lnTo>
                <a:lnTo>
                  <a:pt x="1262151" y="666167"/>
                </a:lnTo>
                <a:lnTo>
                  <a:pt x="1303401" y="676275"/>
                </a:lnTo>
                <a:lnTo>
                  <a:pt x="3183001" y="676275"/>
                </a:lnTo>
                <a:lnTo>
                  <a:pt x="3223005" y="666807"/>
                </a:lnTo>
                <a:lnTo>
                  <a:pt x="3254433" y="640347"/>
                </a:lnTo>
                <a:lnTo>
                  <a:pt x="3270715" y="601950"/>
                </a:lnTo>
                <a:lnTo>
                  <a:pt x="3271901" y="587375"/>
                </a:lnTo>
                <a:lnTo>
                  <a:pt x="3271901" y="231775"/>
                </a:lnTo>
                <a:lnTo>
                  <a:pt x="3262433" y="191770"/>
                </a:lnTo>
                <a:lnTo>
                  <a:pt x="3235973" y="160342"/>
                </a:lnTo>
                <a:lnTo>
                  <a:pt x="3197576" y="144060"/>
                </a:lnTo>
                <a:lnTo>
                  <a:pt x="3183001" y="142875"/>
                </a:lnTo>
                <a:lnTo>
                  <a:pt x="1303401" y="142875"/>
                </a:lnTo>
                <a:lnTo>
                  <a:pt x="1263396" y="152342"/>
                </a:lnTo>
                <a:lnTo>
                  <a:pt x="1231968" y="178802"/>
                </a:lnTo>
                <a:lnTo>
                  <a:pt x="1215686" y="217199"/>
                </a:lnTo>
                <a:lnTo>
                  <a:pt x="1214501" y="231775"/>
                </a:lnTo>
                <a:close/>
              </a:path>
            </a:pathLst>
          </a:custGeom>
          <a:solidFill>
            <a:srgbClr val="FFFF99"/>
          </a:solidFill>
        </p:spPr>
        <p:txBody>
          <a:bodyPr wrap="square" lIns="0" tIns="0" rIns="0" bIns="0" rtlCol="0">
            <a:noAutofit/>
          </a:bodyPr>
          <a:lstStyle/>
          <a:p>
            <a:endParaRPr/>
          </a:p>
        </p:txBody>
      </p:sp>
      <p:sp>
        <p:nvSpPr>
          <p:cNvPr id="42" name="object 42"/>
          <p:cNvSpPr/>
          <p:nvPr/>
        </p:nvSpPr>
        <p:spPr>
          <a:xfrm>
            <a:off x="7319900" y="5102349"/>
            <a:ext cx="3271901" cy="676275"/>
          </a:xfrm>
          <a:custGeom>
            <a:avLst/>
            <a:gdLst/>
            <a:ahLst/>
            <a:cxnLst/>
            <a:rect l="l" t="t" r="r" b="b"/>
            <a:pathLst>
              <a:path w="3271901" h="676275">
                <a:moveTo>
                  <a:pt x="1214501" y="231775"/>
                </a:moveTo>
                <a:lnTo>
                  <a:pt x="1215686" y="217199"/>
                </a:lnTo>
                <a:lnTo>
                  <a:pt x="1219118" y="203387"/>
                </a:lnTo>
                <a:lnTo>
                  <a:pt x="1224608" y="190525"/>
                </a:lnTo>
                <a:lnTo>
                  <a:pt x="1231968" y="178802"/>
                </a:lnTo>
                <a:lnTo>
                  <a:pt x="1241011" y="168406"/>
                </a:lnTo>
                <a:lnTo>
                  <a:pt x="1251550" y="159523"/>
                </a:lnTo>
                <a:lnTo>
                  <a:pt x="1263396" y="152342"/>
                </a:lnTo>
                <a:lnTo>
                  <a:pt x="1276361" y="147051"/>
                </a:lnTo>
                <a:lnTo>
                  <a:pt x="1290259" y="143836"/>
                </a:lnTo>
                <a:lnTo>
                  <a:pt x="1303401" y="142875"/>
                </a:lnTo>
                <a:lnTo>
                  <a:pt x="1557401" y="142875"/>
                </a:lnTo>
                <a:lnTo>
                  <a:pt x="2071751" y="142875"/>
                </a:lnTo>
                <a:lnTo>
                  <a:pt x="3183001" y="142875"/>
                </a:lnTo>
                <a:lnTo>
                  <a:pt x="3197576" y="144060"/>
                </a:lnTo>
                <a:lnTo>
                  <a:pt x="3211388" y="147492"/>
                </a:lnTo>
                <a:lnTo>
                  <a:pt x="3224250" y="152982"/>
                </a:lnTo>
                <a:lnTo>
                  <a:pt x="3235973" y="160342"/>
                </a:lnTo>
                <a:lnTo>
                  <a:pt x="3246369" y="169385"/>
                </a:lnTo>
                <a:lnTo>
                  <a:pt x="3255252" y="179924"/>
                </a:lnTo>
                <a:lnTo>
                  <a:pt x="3262433" y="191770"/>
                </a:lnTo>
                <a:lnTo>
                  <a:pt x="3267724" y="204735"/>
                </a:lnTo>
                <a:lnTo>
                  <a:pt x="3270939" y="218633"/>
                </a:lnTo>
                <a:lnTo>
                  <a:pt x="3271901" y="231775"/>
                </a:lnTo>
                <a:lnTo>
                  <a:pt x="3271901" y="365125"/>
                </a:lnTo>
                <a:lnTo>
                  <a:pt x="3271901" y="587375"/>
                </a:lnTo>
                <a:lnTo>
                  <a:pt x="3270715" y="601950"/>
                </a:lnTo>
                <a:lnTo>
                  <a:pt x="3267283" y="615762"/>
                </a:lnTo>
                <a:lnTo>
                  <a:pt x="3261793" y="628624"/>
                </a:lnTo>
                <a:lnTo>
                  <a:pt x="3254433" y="640347"/>
                </a:lnTo>
                <a:lnTo>
                  <a:pt x="3245390" y="650743"/>
                </a:lnTo>
                <a:lnTo>
                  <a:pt x="3234851" y="659626"/>
                </a:lnTo>
                <a:lnTo>
                  <a:pt x="3223005" y="666807"/>
                </a:lnTo>
                <a:lnTo>
                  <a:pt x="3210040" y="672098"/>
                </a:lnTo>
                <a:lnTo>
                  <a:pt x="3196142" y="675313"/>
                </a:lnTo>
                <a:lnTo>
                  <a:pt x="3183001" y="676275"/>
                </a:lnTo>
                <a:lnTo>
                  <a:pt x="2071751" y="676275"/>
                </a:lnTo>
                <a:lnTo>
                  <a:pt x="1557401" y="676275"/>
                </a:lnTo>
                <a:lnTo>
                  <a:pt x="1303401" y="676275"/>
                </a:lnTo>
                <a:lnTo>
                  <a:pt x="1288825" y="675089"/>
                </a:lnTo>
                <a:lnTo>
                  <a:pt x="1275013" y="671657"/>
                </a:lnTo>
                <a:lnTo>
                  <a:pt x="1262151" y="666167"/>
                </a:lnTo>
                <a:lnTo>
                  <a:pt x="1250428" y="658807"/>
                </a:lnTo>
                <a:lnTo>
                  <a:pt x="1240032" y="649764"/>
                </a:lnTo>
                <a:lnTo>
                  <a:pt x="1231149" y="639225"/>
                </a:lnTo>
                <a:lnTo>
                  <a:pt x="1223968" y="627379"/>
                </a:lnTo>
                <a:lnTo>
                  <a:pt x="1218677" y="614414"/>
                </a:lnTo>
                <a:lnTo>
                  <a:pt x="1215462" y="600516"/>
                </a:lnTo>
                <a:lnTo>
                  <a:pt x="1214501" y="587375"/>
                </a:lnTo>
                <a:lnTo>
                  <a:pt x="1214501" y="365125"/>
                </a:lnTo>
                <a:lnTo>
                  <a:pt x="0" y="0"/>
                </a:lnTo>
                <a:lnTo>
                  <a:pt x="1214501" y="231775"/>
                </a:lnTo>
                <a:close/>
              </a:path>
            </a:pathLst>
          </a:custGeom>
          <a:ln w="12700">
            <a:solidFill>
              <a:srgbClr val="000000"/>
            </a:solidFill>
          </a:ln>
        </p:spPr>
        <p:txBody>
          <a:bodyPr wrap="square" lIns="0" tIns="0" rIns="0" bIns="0" rtlCol="0">
            <a:noAutofit/>
          </a:bodyPr>
          <a:lstStyle/>
          <a:p>
            <a:endParaRPr/>
          </a:p>
        </p:txBody>
      </p:sp>
      <p:sp>
        <p:nvSpPr>
          <p:cNvPr id="43" name="object 43"/>
          <p:cNvSpPr/>
          <p:nvPr/>
        </p:nvSpPr>
        <p:spPr>
          <a:xfrm>
            <a:off x="1828800" y="5421499"/>
            <a:ext cx="1411224" cy="738124"/>
          </a:xfrm>
          <a:custGeom>
            <a:avLst/>
            <a:gdLst/>
            <a:ahLst/>
            <a:cxnLst/>
            <a:rect l="l" t="t" r="r" b="b"/>
            <a:pathLst>
              <a:path w="1411224" h="738124">
                <a:moveTo>
                  <a:pt x="104" y="641166"/>
                </a:moveTo>
                <a:lnTo>
                  <a:pt x="10831" y="682216"/>
                </a:lnTo>
                <a:lnTo>
                  <a:pt x="36441" y="714479"/>
                </a:lnTo>
                <a:lnTo>
                  <a:pt x="73031" y="734051"/>
                </a:lnTo>
                <a:lnTo>
                  <a:pt x="101600" y="738124"/>
                </a:lnTo>
                <a:lnTo>
                  <a:pt x="1122244" y="738019"/>
                </a:lnTo>
                <a:lnTo>
                  <a:pt x="1163303" y="727292"/>
                </a:lnTo>
                <a:lnTo>
                  <a:pt x="1195563" y="701682"/>
                </a:lnTo>
                <a:lnTo>
                  <a:pt x="1215129" y="665092"/>
                </a:lnTo>
                <a:lnTo>
                  <a:pt x="1219200" y="636524"/>
                </a:lnTo>
                <a:lnTo>
                  <a:pt x="1219095" y="225479"/>
                </a:lnTo>
                <a:lnTo>
                  <a:pt x="1208373" y="184420"/>
                </a:lnTo>
                <a:lnTo>
                  <a:pt x="1182769" y="152160"/>
                </a:lnTo>
                <a:lnTo>
                  <a:pt x="1146177" y="132594"/>
                </a:lnTo>
                <a:lnTo>
                  <a:pt x="1117600" y="128524"/>
                </a:lnTo>
                <a:lnTo>
                  <a:pt x="1016000" y="128524"/>
                </a:lnTo>
                <a:lnTo>
                  <a:pt x="1411224" y="0"/>
                </a:lnTo>
                <a:lnTo>
                  <a:pt x="711200" y="128524"/>
                </a:lnTo>
                <a:lnTo>
                  <a:pt x="96957" y="128628"/>
                </a:lnTo>
                <a:lnTo>
                  <a:pt x="82538" y="130308"/>
                </a:lnTo>
                <a:lnTo>
                  <a:pt x="68806" y="133930"/>
                </a:lnTo>
                <a:lnTo>
                  <a:pt x="55907" y="139350"/>
                </a:lnTo>
                <a:lnTo>
                  <a:pt x="43983" y="146424"/>
                </a:lnTo>
                <a:lnTo>
                  <a:pt x="33181" y="155006"/>
                </a:lnTo>
                <a:lnTo>
                  <a:pt x="23644" y="164954"/>
                </a:lnTo>
                <a:lnTo>
                  <a:pt x="15518" y="176123"/>
                </a:lnTo>
                <a:lnTo>
                  <a:pt x="8945" y="188368"/>
                </a:lnTo>
                <a:lnTo>
                  <a:pt x="4072" y="201546"/>
                </a:lnTo>
                <a:lnTo>
                  <a:pt x="1042" y="215513"/>
                </a:lnTo>
                <a:lnTo>
                  <a:pt x="0" y="230124"/>
                </a:lnTo>
                <a:lnTo>
                  <a:pt x="104" y="641166"/>
                </a:lnTo>
                <a:close/>
              </a:path>
            </a:pathLst>
          </a:custGeom>
          <a:solidFill>
            <a:srgbClr val="FFFF99"/>
          </a:solidFill>
        </p:spPr>
        <p:txBody>
          <a:bodyPr wrap="square" lIns="0" tIns="0" rIns="0" bIns="0" rtlCol="0">
            <a:noAutofit/>
          </a:bodyPr>
          <a:lstStyle/>
          <a:p>
            <a:endParaRPr/>
          </a:p>
        </p:txBody>
      </p:sp>
      <p:sp>
        <p:nvSpPr>
          <p:cNvPr id="44" name="object 44"/>
          <p:cNvSpPr/>
          <p:nvPr/>
        </p:nvSpPr>
        <p:spPr>
          <a:xfrm>
            <a:off x="1828800" y="5421499"/>
            <a:ext cx="1411224" cy="738124"/>
          </a:xfrm>
          <a:custGeom>
            <a:avLst/>
            <a:gdLst/>
            <a:ahLst/>
            <a:cxnLst/>
            <a:rect l="l" t="t" r="r" b="b"/>
            <a:pathLst>
              <a:path w="1411224" h="738124">
                <a:moveTo>
                  <a:pt x="0" y="230124"/>
                </a:moveTo>
                <a:lnTo>
                  <a:pt x="1042" y="215513"/>
                </a:lnTo>
                <a:lnTo>
                  <a:pt x="4072" y="201546"/>
                </a:lnTo>
                <a:lnTo>
                  <a:pt x="8945" y="188368"/>
                </a:lnTo>
                <a:lnTo>
                  <a:pt x="15518" y="176123"/>
                </a:lnTo>
                <a:lnTo>
                  <a:pt x="23644" y="164954"/>
                </a:lnTo>
                <a:lnTo>
                  <a:pt x="33181" y="155006"/>
                </a:lnTo>
                <a:lnTo>
                  <a:pt x="43983" y="146424"/>
                </a:lnTo>
                <a:lnTo>
                  <a:pt x="55907" y="139350"/>
                </a:lnTo>
                <a:lnTo>
                  <a:pt x="68806" y="133930"/>
                </a:lnTo>
                <a:lnTo>
                  <a:pt x="82538" y="130308"/>
                </a:lnTo>
                <a:lnTo>
                  <a:pt x="96957" y="128628"/>
                </a:lnTo>
                <a:lnTo>
                  <a:pt x="101600" y="128524"/>
                </a:lnTo>
                <a:lnTo>
                  <a:pt x="711200" y="128524"/>
                </a:lnTo>
                <a:lnTo>
                  <a:pt x="1411224" y="0"/>
                </a:lnTo>
                <a:lnTo>
                  <a:pt x="1016000" y="128524"/>
                </a:lnTo>
                <a:lnTo>
                  <a:pt x="1117600" y="128524"/>
                </a:lnTo>
                <a:lnTo>
                  <a:pt x="1132210" y="129565"/>
                </a:lnTo>
                <a:lnTo>
                  <a:pt x="1146177" y="132594"/>
                </a:lnTo>
                <a:lnTo>
                  <a:pt x="1159355" y="137465"/>
                </a:lnTo>
                <a:lnTo>
                  <a:pt x="1171600" y="144035"/>
                </a:lnTo>
                <a:lnTo>
                  <a:pt x="1182769" y="152160"/>
                </a:lnTo>
                <a:lnTo>
                  <a:pt x="1192717" y="161695"/>
                </a:lnTo>
                <a:lnTo>
                  <a:pt x="1201299" y="172496"/>
                </a:lnTo>
                <a:lnTo>
                  <a:pt x="1208373" y="184420"/>
                </a:lnTo>
                <a:lnTo>
                  <a:pt x="1213793" y="197321"/>
                </a:lnTo>
                <a:lnTo>
                  <a:pt x="1217415" y="211055"/>
                </a:lnTo>
                <a:lnTo>
                  <a:pt x="1219095" y="225479"/>
                </a:lnTo>
                <a:lnTo>
                  <a:pt x="1219200" y="230124"/>
                </a:lnTo>
                <a:lnTo>
                  <a:pt x="1219200" y="382524"/>
                </a:lnTo>
                <a:lnTo>
                  <a:pt x="1219200" y="636524"/>
                </a:lnTo>
                <a:lnTo>
                  <a:pt x="1218158" y="651129"/>
                </a:lnTo>
                <a:lnTo>
                  <a:pt x="1215129" y="665092"/>
                </a:lnTo>
                <a:lnTo>
                  <a:pt x="1210258" y="678268"/>
                </a:lnTo>
                <a:lnTo>
                  <a:pt x="1203688" y="690513"/>
                </a:lnTo>
                <a:lnTo>
                  <a:pt x="1195563" y="701682"/>
                </a:lnTo>
                <a:lnTo>
                  <a:pt x="1186028" y="711632"/>
                </a:lnTo>
                <a:lnTo>
                  <a:pt x="1175227" y="720217"/>
                </a:lnTo>
                <a:lnTo>
                  <a:pt x="1163303" y="727292"/>
                </a:lnTo>
                <a:lnTo>
                  <a:pt x="1150402" y="732714"/>
                </a:lnTo>
                <a:lnTo>
                  <a:pt x="1136668" y="736338"/>
                </a:lnTo>
                <a:lnTo>
                  <a:pt x="1122244" y="738019"/>
                </a:lnTo>
                <a:lnTo>
                  <a:pt x="1117600" y="738124"/>
                </a:lnTo>
                <a:lnTo>
                  <a:pt x="1016000" y="738124"/>
                </a:lnTo>
                <a:lnTo>
                  <a:pt x="711200" y="738124"/>
                </a:lnTo>
                <a:lnTo>
                  <a:pt x="101600" y="738124"/>
                </a:lnTo>
                <a:lnTo>
                  <a:pt x="86994" y="737081"/>
                </a:lnTo>
                <a:lnTo>
                  <a:pt x="73031" y="734051"/>
                </a:lnTo>
                <a:lnTo>
                  <a:pt x="59855" y="729178"/>
                </a:lnTo>
                <a:lnTo>
                  <a:pt x="47610" y="722605"/>
                </a:lnTo>
                <a:lnTo>
                  <a:pt x="36441" y="714479"/>
                </a:lnTo>
                <a:lnTo>
                  <a:pt x="26491" y="704942"/>
                </a:lnTo>
                <a:lnTo>
                  <a:pt x="17906" y="694140"/>
                </a:lnTo>
                <a:lnTo>
                  <a:pt x="10831" y="682216"/>
                </a:lnTo>
                <a:lnTo>
                  <a:pt x="5409" y="669317"/>
                </a:lnTo>
                <a:lnTo>
                  <a:pt x="1785" y="655585"/>
                </a:lnTo>
                <a:lnTo>
                  <a:pt x="104" y="641166"/>
                </a:lnTo>
                <a:lnTo>
                  <a:pt x="0" y="636524"/>
                </a:lnTo>
                <a:lnTo>
                  <a:pt x="0" y="382524"/>
                </a:lnTo>
                <a:lnTo>
                  <a:pt x="0" y="230124"/>
                </a:lnTo>
                <a:close/>
              </a:path>
            </a:pathLst>
          </a:custGeom>
          <a:ln w="12700">
            <a:solidFill>
              <a:srgbClr val="000000"/>
            </a:solidFill>
          </a:ln>
        </p:spPr>
        <p:txBody>
          <a:bodyPr wrap="square" lIns="0" tIns="0" rIns="0" bIns="0" rtlCol="0">
            <a:noAutofit/>
          </a:bodyPr>
          <a:lstStyle/>
          <a:p>
            <a:endParaRPr/>
          </a:p>
        </p:txBody>
      </p:sp>
      <p:sp>
        <p:nvSpPr>
          <p:cNvPr id="23" name="object 23"/>
          <p:cNvSpPr txBox="1"/>
          <p:nvPr/>
        </p:nvSpPr>
        <p:spPr>
          <a:xfrm>
            <a:off x="1907541" y="1231281"/>
            <a:ext cx="1638471" cy="279908"/>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D</a:t>
            </a:r>
            <a:r>
              <a:rPr sz="2000" b="1" spc="4" dirty="0">
                <a:latin typeface="Arial"/>
                <a:cs typeface="Arial"/>
              </a:rPr>
              <a:t>e</a:t>
            </a:r>
            <a:r>
              <a:rPr sz="2000" b="1" dirty="0">
                <a:latin typeface="Arial"/>
                <a:cs typeface="Arial"/>
              </a:rPr>
              <a:t>l</a:t>
            </a:r>
            <a:r>
              <a:rPr sz="2000" b="1" spc="-9" dirty="0">
                <a:latin typeface="Arial"/>
                <a:cs typeface="Arial"/>
              </a:rPr>
              <a:t>i</a:t>
            </a:r>
            <a:r>
              <a:rPr sz="2000" b="1" spc="-19" dirty="0">
                <a:latin typeface="Arial"/>
                <a:cs typeface="Arial"/>
              </a:rPr>
              <a:t>v</a:t>
            </a:r>
            <a:r>
              <a:rPr sz="2000" b="1" dirty="0">
                <a:latin typeface="Arial"/>
                <a:cs typeface="Arial"/>
              </a:rPr>
              <a:t>ery</a:t>
            </a:r>
            <a:r>
              <a:rPr sz="2000" b="1" spc="-14" dirty="0">
                <a:latin typeface="Arial"/>
                <a:cs typeface="Arial"/>
              </a:rPr>
              <a:t> </a:t>
            </a:r>
            <a:r>
              <a:rPr sz="2000" b="1" dirty="0">
                <a:latin typeface="Arial"/>
                <a:cs typeface="Arial"/>
              </a:rPr>
              <a:t>t</a:t>
            </a:r>
            <a:r>
              <a:rPr sz="2000" b="1" spc="-29" dirty="0">
                <a:latin typeface="Arial"/>
                <a:cs typeface="Arial"/>
              </a:rPr>
              <a:t>y</a:t>
            </a:r>
            <a:r>
              <a:rPr sz="2000" b="1" dirty="0">
                <a:latin typeface="Arial"/>
                <a:cs typeface="Arial"/>
              </a:rPr>
              <a:t>pe</a:t>
            </a:r>
            <a:endParaRPr sz="2000" dirty="0">
              <a:latin typeface="Arial"/>
              <a:cs typeface="Arial"/>
            </a:endParaRPr>
          </a:p>
        </p:txBody>
      </p:sp>
      <p:sp>
        <p:nvSpPr>
          <p:cNvPr id="22" name="object 22"/>
          <p:cNvSpPr txBox="1"/>
          <p:nvPr/>
        </p:nvSpPr>
        <p:spPr>
          <a:xfrm>
            <a:off x="3553952" y="1231281"/>
            <a:ext cx="1067610" cy="279908"/>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controls</a:t>
            </a:r>
            <a:endParaRPr sz="2000">
              <a:latin typeface="Arial"/>
              <a:cs typeface="Arial"/>
            </a:endParaRPr>
          </a:p>
        </p:txBody>
      </p:sp>
      <p:sp>
        <p:nvSpPr>
          <p:cNvPr id="21" name="object 21"/>
          <p:cNvSpPr txBox="1"/>
          <p:nvPr/>
        </p:nvSpPr>
        <p:spPr>
          <a:xfrm>
            <a:off x="4625430" y="1231281"/>
            <a:ext cx="445338" cy="279908"/>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the</a:t>
            </a:r>
            <a:endParaRPr sz="2000">
              <a:latin typeface="Arial"/>
              <a:cs typeface="Arial"/>
            </a:endParaRPr>
          </a:p>
        </p:txBody>
      </p:sp>
      <p:sp>
        <p:nvSpPr>
          <p:cNvPr id="20" name="object 20"/>
          <p:cNvSpPr txBox="1"/>
          <p:nvPr/>
        </p:nvSpPr>
        <p:spPr>
          <a:xfrm>
            <a:off x="5076419" y="1231281"/>
            <a:ext cx="1021798" cy="279908"/>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del</a:t>
            </a:r>
            <a:r>
              <a:rPr sz="2000" b="1" spc="-9" dirty="0">
                <a:latin typeface="Arial"/>
                <a:cs typeface="Arial"/>
              </a:rPr>
              <a:t>i</a:t>
            </a:r>
            <a:r>
              <a:rPr sz="2000" b="1" spc="-19" dirty="0">
                <a:latin typeface="Arial"/>
                <a:cs typeface="Arial"/>
              </a:rPr>
              <a:t>v</a:t>
            </a:r>
            <a:r>
              <a:rPr sz="2000" b="1" dirty="0">
                <a:latin typeface="Arial"/>
                <a:cs typeface="Arial"/>
              </a:rPr>
              <a:t>ery</a:t>
            </a:r>
            <a:endParaRPr sz="2000">
              <a:latin typeface="Arial"/>
              <a:cs typeface="Arial"/>
            </a:endParaRPr>
          </a:p>
        </p:txBody>
      </p:sp>
      <p:sp>
        <p:nvSpPr>
          <p:cNvPr id="19" name="object 19"/>
          <p:cNvSpPr txBox="1"/>
          <p:nvPr/>
        </p:nvSpPr>
        <p:spPr>
          <a:xfrm>
            <a:off x="6104886" y="1231281"/>
            <a:ext cx="1463115" cy="279908"/>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infor</a:t>
            </a:r>
            <a:r>
              <a:rPr sz="2000" b="1" spc="-4" dirty="0">
                <a:latin typeface="Arial"/>
                <a:cs typeface="Arial"/>
              </a:rPr>
              <a:t>m</a:t>
            </a:r>
            <a:r>
              <a:rPr sz="2000" b="1" dirty="0">
                <a:latin typeface="Arial"/>
                <a:cs typeface="Arial"/>
              </a:rPr>
              <a:t>a</a:t>
            </a:r>
            <a:r>
              <a:rPr sz="2000" b="1" spc="4" dirty="0">
                <a:latin typeface="Arial"/>
                <a:cs typeface="Arial"/>
              </a:rPr>
              <a:t>t</a:t>
            </a:r>
            <a:r>
              <a:rPr sz="2000" b="1" dirty="0">
                <a:latin typeface="Arial"/>
                <a:cs typeface="Arial"/>
              </a:rPr>
              <a:t>ion</a:t>
            </a:r>
            <a:endParaRPr sz="2000">
              <a:latin typeface="Arial"/>
              <a:cs typeface="Arial"/>
            </a:endParaRPr>
          </a:p>
        </p:txBody>
      </p:sp>
      <p:sp>
        <p:nvSpPr>
          <p:cNvPr id="18" name="object 18"/>
          <p:cNvSpPr txBox="1"/>
          <p:nvPr/>
        </p:nvSpPr>
        <p:spPr>
          <a:xfrm>
            <a:off x="7570598" y="1231281"/>
            <a:ext cx="289833" cy="279908"/>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at</a:t>
            </a:r>
            <a:endParaRPr sz="2000">
              <a:latin typeface="Arial"/>
              <a:cs typeface="Arial"/>
            </a:endParaRPr>
          </a:p>
        </p:txBody>
      </p:sp>
      <p:sp>
        <p:nvSpPr>
          <p:cNvPr id="17" name="object 17"/>
          <p:cNvSpPr txBox="1"/>
          <p:nvPr/>
        </p:nvSpPr>
        <p:spPr>
          <a:xfrm>
            <a:off x="7864299" y="1231281"/>
            <a:ext cx="445338" cy="279908"/>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the</a:t>
            </a:r>
            <a:endParaRPr sz="2000">
              <a:latin typeface="Arial"/>
              <a:cs typeface="Arial"/>
            </a:endParaRPr>
          </a:p>
        </p:txBody>
      </p:sp>
      <p:sp>
        <p:nvSpPr>
          <p:cNvPr id="16" name="object 16"/>
          <p:cNvSpPr txBox="1"/>
          <p:nvPr/>
        </p:nvSpPr>
        <p:spPr>
          <a:xfrm>
            <a:off x="8315288" y="1231281"/>
            <a:ext cx="898107" cy="279908"/>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header</a:t>
            </a:r>
            <a:endParaRPr sz="2000">
              <a:latin typeface="Arial"/>
              <a:cs typeface="Arial"/>
            </a:endParaRPr>
          </a:p>
        </p:txBody>
      </p:sp>
      <p:sp>
        <p:nvSpPr>
          <p:cNvPr id="15" name="object 15"/>
          <p:cNvSpPr txBox="1"/>
          <p:nvPr/>
        </p:nvSpPr>
        <p:spPr>
          <a:xfrm>
            <a:off x="9219046" y="1231281"/>
            <a:ext cx="626293" cy="279908"/>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le</a:t>
            </a:r>
            <a:r>
              <a:rPr sz="2000" b="1" spc="-25" dirty="0">
                <a:latin typeface="Arial"/>
                <a:cs typeface="Arial"/>
              </a:rPr>
              <a:t>v</a:t>
            </a:r>
            <a:r>
              <a:rPr sz="2000" b="1" dirty="0">
                <a:latin typeface="Arial"/>
                <a:cs typeface="Arial"/>
              </a:rPr>
              <a:t>el</a:t>
            </a:r>
            <a:endParaRPr sz="2000" dirty="0">
              <a:latin typeface="Arial"/>
              <a:cs typeface="Arial"/>
            </a:endParaRPr>
          </a:p>
        </p:txBody>
      </p:sp>
      <p:sp>
        <p:nvSpPr>
          <p:cNvPr id="14" name="object 14"/>
          <p:cNvSpPr txBox="1"/>
          <p:nvPr/>
        </p:nvSpPr>
        <p:spPr>
          <a:xfrm>
            <a:off x="1781352" y="3732566"/>
            <a:ext cx="1469338" cy="417068"/>
          </a:xfrm>
          <a:prstGeom prst="rect">
            <a:avLst/>
          </a:prstGeom>
        </p:spPr>
        <p:txBody>
          <a:bodyPr wrap="square" lIns="0" tIns="0" rIns="0" bIns="0" rtlCol="0">
            <a:noAutofit/>
          </a:bodyPr>
          <a:lstStyle/>
          <a:p>
            <a:pPr marL="12700" marR="26746">
              <a:lnSpc>
                <a:spcPts val="1535"/>
              </a:lnSpc>
              <a:spcBef>
                <a:spcPts val="76"/>
              </a:spcBef>
            </a:pPr>
            <a:r>
              <a:rPr sz="1400" dirty="0">
                <a:latin typeface="Arial"/>
                <a:cs typeface="Arial"/>
              </a:rPr>
              <a:t>S</a:t>
            </a:r>
            <a:r>
              <a:rPr sz="1400" spc="4" dirty="0">
                <a:latin typeface="Arial"/>
                <a:cs typeface="Arial"/>
              </a:rPr>
              <a:t>t</a:t>
            </a:r>
            <a:r>
              <a:rPr sz="1400" dirty="0">
                <a:latin typeface="Arial"/>
                <a:cs typeface="Arial"/>
              </a:rPr>
              <a:t>orage</a:t>
            </a:r>
            <a:r>
              <a:rPr sz="1400" spc="-39" dirty="0">
                <a:latin typeface="Arial"/>
                <a:cs typeface="Arial"/>
              </a:rPr>
              <a:t> </a:t>
            </a:r>
            <a:r>
              <a:rPr sz="1400" dirty="0">
                <a:latin typeface="Arial"/>
                <a:cs typeface="Arial"/>
              </a:rPr>
              <a:t>Lo</a:t>
            </a:r>
            <a:r>
              <a:rPr sz="1400" spc="4" dirty="0">
                <a:latin typeface="Arial"/>
                <a:cs typeface="Arial"/>
              </a:rPr>
              <a:t>c</a:t>
            </a:r>
            <a:r>
              <a:rPr sz="1400" dirty="0">
                <a:latin typeface="Arial"/>
                <a:cs typeface="Arial"/>
              </a:rPr>
              <a:t>a</a:t>
            </a:r>
            <a:r>
              <a:rPr sz="1400" spc="4" dirty="0">
                <a:latin typeface="Arial"/>
                <a:cs typeface="Arial"/>
              </a:rPr>
              <a:t>t</a:t>
            </a:r>
            <a:r>
              <a:rPr sz="1400" dirty="0">
                <a:latin typeface="Arial"/>
                <a:cs typeface="Arial"/>
              </a:rPr>
              <a:t>ion</a:t>
            </a:r>
            <a:endParaRPr sz="1400">
              <a:latin typeface="Arial"/>
              <a:cs typeface="Arial"/>
            </a:endParaRPr>
          </a:p>
          <a:p>
            <a:pPr marL="12700">
              <a:lnSpc>
                <a:spcPct val="95825"/>
              </a:lnSpc>
            </a:pPr>
            <a:r>
              <a:rPr sz="1400" dirty="0">
                <a:latin typeface="Arial"/>
                <a:cs typeface="Arial"/>
              </a:rPr>
              <a:t>de</a:t>
            </a:r>
            <a:r>
              <a:rPr sz="1400" spc="4" dirty="0">
                <a:latin typeface="Arial"/>
                <a:cs typeface="Arial"/>
              </a:rPr>
              <a:t>t</a:t>
            </a:r>
            <a:r>
              <a:rPr sz="1400" dirty="0">
                <a:latin typeface="Arial"/>
                <a:cs typeface="Arial"/>
              </a:rPr>
              <a:t>er</a:t>
            </a:r>
            <a:r>
              <a:rPr sz="1400" spc="-4" dirty="0">
                <a:latin typeface="Arial"/>
                <a:cs typeface="Arial"/>
              </a:rPr>
              <a:t>m</a:t>
            </a:r>
            <a:r>
              <a:rPr sz="1400" dirty="0">
                <a:latin typeface="Arial"/>
                <a:cs typeface="Arial"/>
              </a:rPr>
              <a:t>ina</a:t>
            </a:r>
            <a:r>
              <a:rPr sz="1400" spc="-4" dirty="0">
                <a:latin typeface="Arial"/>
                <a:cs typeface="Arial"/>
              </a:rPr>
              <a:t>t</a:t>
            </a:r>
            <a:r>
              <a:rPr sz="1400" dirty="0">
                <a:latin typeface="Arial"/>
                <a:cs typeface="Arial"/>
              </a:rPr>
              <a:t>ion</a:t>
            </a:r>
            <a:r>
              <a:rPr sz="1400" spc="-64" dirty="0">
                <a:latin typeface="Arial"/>
                <a:cs typeface="Arial"/>
              </a:rPr>
              <a:t> </a:t>
            </a:r>
            <a:r>
              <a:rPr sz="1400" dirty="0">
                <a:latin typeface="Arial"/>
                <a:cs typeface="Arial"/>
              </a:rPr>
              <a:t>rule</a:t>
            </a:r>
            <a:endParaRPr sz="1400">
              <a:latin typeface="Arial"/>
              <a:cs typeface="Arial"/>
            </a:endParaRPr>
          </a:p>
        </p:txBody>
      </p:sp>
      <p:sp>
        <p:nvSpPr>
          <p:cNvPr id="13" name="object 13"/>
          <p:cNvSpPr txBox="1"/>
          <p:nvPr/>
        </p:nvSpPr>
        <p:spPr>
          <a:xfrm>
            <a:off x="8683499" y="3884967"/>
            <a:ext cx="1710945" cy="203707"/>
          </a:xfrm>
          <a:prstGeom prst="rect">
            <a:avLst/>
          </a:prstGeom>
        </p:spPr>
        <p:txBody>
          <a:bodyPr wrap="square" lIns="0" tIns="0" rIns="0" bIns="0" rtlCol="0">
            <a:noAutofit/>
          </a:bodyPr>
          <a:lstStyle/>
          <a:p>
            <a:pPr marL="12700">
              <a:lnSpc>
                <a:spcPts val="1535"/>
              </a:lnSpc>
              <a:spcBef>
                <a:spcPts val="76"/>
              </a:spcBef>
            </a:pPr>
            <a:r>
              <a:rPr sz="1400" dirty="0">
                <a:latin typeface="Arial"/>
                <a:cs typeface="Arial"/>
              </a:rPr>
              <a:t>Ou</a:t>
            </a:r>
            <a:r>
              <a:rPr sz="1400" spc="4" dirty="0">
                <a:latin typeface="Arial"/>
                <a:cs typeface="Arial"/>
              </a:rPr>
              <a:t>t</a:t>
            </a:r>
            <a:r>
              <a:rPr sz="1400" dirty="0">
                <a:latin typeface="Arial"/>
                <a:cs typeface="Arial"/>
              </a:rPr>
              <a:t>put</a:t>
            </a:r>
            <a:r>
              <a:rPr sz="1400" spc="-50" dirty="0">
                <a:latin typeface="Arial"/>
                <a:cs typeface="Arial"/>
              </a:rPr>
              <a:t> </a:t>
            </a:r>
            <a:r>
              <a:rPr sz="1400" dirty="0">
                <a:latin typeface="Arial"/>
                <a:cs typeface="Arial"/>
              </a:rPr>
              <a:t>de</a:t>
            </a:r>
            <a:r>
              <a:rPr sz="1400" spc="4" dirty="0">
                <a:latin typeface="Arial"/>
                <a:cs typeface="Arial"/>
              </a:rPr>
              <a:t>t</a:t>
            </a:r>
            <a:r>
              <a:rPr sz="1400" dirty="0">
                <a:latin typeface="Arial"/>
                <a:cs typeface="Arial"/>
              </a:rPr>
              <a:t>er</a:t>
            </a:r>
            <a:r>
              <a:rPr sz="1400" spc="-4" dirty="0">
                <a:latin typeface="Arial"/>
                <a:cs typeface="Arial"/>
              </a:rPr>
              <a:t>m</a:t>
            </a:r>
            <a:r>
              <a:rPr sz="1400" dirty="0">
                <a:latin typeface="Arial"/>
                <a:cs typeface="Arial"/>
              </a:rPr>
              <a:t>ina</a:t>
            </a:r>
            <a:r>
              <a:rPr sz="1400" spc="4" dirty="0">
                <a:latin typeface="Arial"/>
                <a:cs typeface="Arial"/>
              </a:rPr>
              <a:t>t</a:t>
            </a:r>
            <a:r>
              <a:rPr sz="1400" dirty="0">
                <a:latin typeface="Arial"/>
                <a:cs typeface="Arial"/>
              </a:rPr>
              <a:t>ion</a:t>
            </a:r>
            <a:endParaRPr sz="1400">
              <a:latin typeface="Arial"/>
              <a:cs typeface="Arial"/>
            </a:endParaRPr>
          </a:p>
        </p:txBody>
      </p:sp>
      <p:sp>
        <p:nvSpPr>
          <p:cNvPr id="12" name="object 12"/>
          <p:cNvSpPr txBox="1"/>
          <p:nvPr/>
        </p:nvSpPr>
        <p:spPr>
          <a:xfrm>
            <a:off x="9111742" y="4098327"/>
            <a:ext cx="853640" cy="203707"/>
          </a:xfrm>
          <a:prstGeom prst="rect">
            <a:avLst/>
          </a:prstGeom>
        </p:spPr>
        <p:txBody>
          <a:bodyPr wrap="square" lIns="0" tIns="0" rIns="0" bIns="0" rtlCol="0">
            <a:noAutofit/>
          </a:bodyPr>
          <a:lstStyle/>
          <a:p>
            <a:pPr marL="12700">
              <a:lnSpc>
                <a:spcPts val="1535"/>
              </a:lnSpc>
              <a:spcBef>
                <a:spcPts val="76"/>
              </a:spcBef>
            </a:pPr>
            <a:r>
              <a:rPr sz="1400" dirty="0">
                <a:latin typeface="Arial"/>
                <a:cs typeface="Arial"/>
              </a:rPr>
              <a:t>pro</a:t>
            </a:r>
            <a:r>
              <a:rPr sz="1400" spc="4" dirty="0">
                <a:latin typeface="Arial"/>
                <a:cs typeface="Arial"/>
              </a:rPr>
              <a:t>c</a:t>
            </a:r>
            <a:r>
              <a:rPr sz="1400" dirty="0">
                <a:latin typeface="Arial"/>
                <a:cs typeface="Arial"/>
              </a:rPr>
              <a:t>edu</a:t>
            </a:r>
            <a:r>
              <a:rPr sz="1400" spc="-14" dirty="0">
                <a:latin typeface="Arial"/>
                <a:cs typeface="Arial"/>
              </a:rPr>
              <a:t>r</a:t>
            </a:r>
            <a:r>
              <a:rPr sz="1400" dirty="0">
                <a:latin typeface="Arial"/>
                <a:cs typeface="Arial"/>
              </a:rPr>
              <a:t>e</a:t>
            </a:r>
            <a:endParaRPr sz="1400">
              <a:latin typeface="Arial"/>
              <a:cs typeface="Arial"/>
            </a:endParaRPr>
          </a:p>
        </p:txBody>
      </p:sp>
      <p:sp>
        <p:nvSpPr>
          <p:cNvPr id="11" name="object 11"/>
          <p:cNvSpPr txBox="1"/>
          <p:nvPr/>
        </p:nvSpPr>
        <p:spPr>
          <a:xfrm>
            <a:off x="8712455" y="4646967"/>
            <a:ext cx="1651747" cy="203707"/>
          </a:xfrm>
          <a:prstGeom prst="rect">
            <a:avLst/>
          </a:prstGeom>
        </p:spPr>
        <p:txBody>
          <a:bodyPr wrap="square" lIns="0" tIns="0" rIns="0" bIns="0" rtlCol="0">
            <a:noAutofit/>
          </a:bodyPr>
          <a:lstStyle/>
          <a:p>
            <a:pPr marL="12700">
              <a:lnSpc>
                <a:spcPts val="1535"/>
              </a:lnSpc>
              <a:spcBef>
                <a:spcPts val="76"/>
              </a:spcBef>
            </a:pPr>
            <a:r>
              <a:rPr sz="1400" spc="-4" dirty="0">
                <a:latin typeface="Arial"/>
                <a:cs typeface="Arial"/>
              </a:rPr>
              <a:t>R</a:t>
            </a:r>
            <a:r>
              <a:rPr sz="1400" dirty="0">
                <a:latin typeface="Arial"/>
                <a:cs typeface="Arial"/>
              </a:rPr>
              <a:t>ou</a:t>
            </a:r>
            <a:r>
              <a:rPr sz="1400" spc="4" dirty="0">
                <a:latin typeface="Arial"/>
                <a:cs typeface="Arial"/>
              </a:rPr>
              <a:t>t</a:t>
            </a:r>
            <a:r>
              <a:rPr sz="1400" dirty="0">
                <a:latin typeface="Arial"/>
                <a:cs typeface="Arial"/>
              </a:rPr>
              <a:t>e</a:t>
            </a:r>
            <a:r>
              <a:rPr sz="1400" spc="-29" dirty="0">
                <a:latin typeface="Arial"/>
                <a:cs typeface="Arial"/>
              </a:rPr>
              <a:t> </a:t>
            </a:r>
            <a:r>
              <a:rPr sz="1400" dirty="0">
                <a:latin typeface="Arial"/>
                <a:cs typeface="Arial"/>
              </a:rPr>
              <a:t>de</a:t>
            </a:r>
            <a:r>
              <a:rPr sz="1400" spc="4" dirty="0">
                <a:latin typeface="Arial"/>
                <a:cs typeface="Arial"/>
              </a:rPr>
              <a:t>t</a:t>
            </a:r>
            <a:r>
              <a:rPr sz="1400" dirty="0">
                <a:latin typeface="Arial"/>
                <a:cs typeface="Arial"/>
              </a:rPr>
              <a:t>er</a:t>
            </a:r>
            <a:r>
              <a:rPr sz="1400" spc="-4" dirty="0">
                <a:latin typeface="Arial"/>
                <a:cs typeface="Arial"/>
              </a:rPr>
              <a:t>m</a:t>
            </a:r>
            <a:r>
              <a:rPr sz="1400" dirty="0">
                <a:latin typeface="Arial"/>
                <a:cs typeface="Arial"/>
              </a:rPr>
              <a:t>ina</a:t>
            </a:r>
            <a:r>
              <a:rPr sz="1400" spc="4" dirty="0">
                <a:latin typeface="Arial"/>
                <a:cs typeface="Arial"/>
              </a:rPr>
              <a:t>t</a:t>
            </a:r>
            <a:r>
              <a:rPr sz="1400" dirty="0">
                <a:latin typeface="Arial"/>
                <a:cs typeface="Arial"/>
              </a:rPr>
              <a:t>i</a:t>
            </a:r>
            <a:r>
              <a:rPr sz="1400" spc="-14" dirty="0">
                <a:latin typeface="Arial"/>
                <a:cs typeface="Arial"/>
              </a:rPr>
              <a:t>o</a:t>
            </a:r>
            <a:r>
              <a:rPr sz="1400" dirty="0">
                <a:latin typeface="Arial"/>
                <a:cs typeface="Arial"/>
              </a:rPr>
              <a:t>n</a:t>
            </a:r>
            <a:endParaRPr sz="1400">
              <a:latin typeface="Arial"/>
              <a:cs typeface="Arial"/>
            </a:endParaRPr>
          </a:p>
        </p:txBody>
      </p:sp>
      <p:sp>
        <p:nvSpPr>
          <p:cNvPr id="10" name="object 10"/>
          <p:cNvSpPr txBox="1"/>
          <p:nvPr/>
        </p:nvSpPr>
        <p:spPr>
          <a:xfrm>
            <a:off x="1716126" y="4658270"/>
            <a:ext cx="1122309" cy="630427"/>
          </a:xfrm>
          <a:prstGeom prst="rect">
            <a:avLst/>
          </a:prstGeom>
        </p:spPr>
        <p:txBody>
          <a:bodyPr wrap="square" lIns="0" tIns="0" rIns="0" bIns="0" rtlCol="0">
            <a:noAutofit/>
          </a:bodyPr>
          <a:lstStyle/>
          <a:p>
            <a:pPr marL="12700" marR="17967">
              <a:lnSpc>
                <a:spcPts val="1535"/>
              </a:lnSpc>
              <a:spcBef>
                <a:spcPts val="76"/>
              </a:spcBef>
            </a:pPr>
            <a:r>
              <a:rPr sz="1400" spc="-159" dirty="0">
                <a:latin typeface="Arial"/>
                <a:cs typeface="Arial"/>
              </a:rPr>
              <a:t>T</a:t>
            </a:r>
            <a:r>
              <a:rPr sz="1400" dirty="0">
                <a:latin typeface="Arial"/>
                <a:cs typeface="Arial"/>
              </a:rPr>
              <a:t>e</a:t>
            </a:r>
            <a:r>
              <a:rPr sz="1400" spc="-19" dirty="0">
                <a:latin typeface="Arial"/>
                <a:cs typeface="Arial"/>
              </a:rPr>
              <a:t>x</a:t>
            </a:r>
            <a:r>
              <a:rPr sz="1400" dirty="0">
                <a:latin typeface="Arial"/>
                <a:cs typeface="Arial"/>
              </a:rPr>
              <a:t>t</a:t>
            </a:r>
          </a:p>
          <a:p>
            <a:pPr marL="12700">
              <a:lnSpc>
                <a:spcPct val="100041"/>
              </a:lnSpc>
            </a:pPr>
            <a:r>
              <a:rPr sz="1400" dirty="0">
                <a:latin typeface="Arial"/>
                <a:cs typeface="Arial"/>
              </a:rPr>
              <a:t>de</a:t>
            </a:r>
            <a:r>
              <a:rPr sz="1400" spc="4" dirty="0">
                <a:latin typeface="Arial"/>
                <a:cs typeface="Arial"/>
              </a:rPr>
              <a:t>t</a:t>
            </a:r>
            <a:r>
              <a:rPr sz="1400" dirty="0">
                <a:latin typeface="Arial"/>
                <a:cs typeface="Arial"/>
              </a:rPr>
              <a:t>er</a:t>
            </a:r>
            <a:r>
              <a:rPr sz="1400" spc="-4" dirty="0">
                <a:latin typeface="Arial"/>
                <a:cs typeface="Arial"/>
              </a:rPr>
              <a:t>m</a:t>
            </a:r>
            <a:r>
              <a:rPr sz="1400" dirty="0">
                <a:latin typeface="Arial"/>
                <a:cs typeface="Arial"/>
              </a:rPr>
              <a:t>ina</a:t>
            </a:r>
            <a:r>
              <a:rPr sz="1400" spc="-4" dirty="0">
                <a:latin typeface="Arial"/>
                <a:cs typeface="Arial"/>
              </a:rPr>
              <a:t>t</a:t>
            </a:r>
            <a:r>
              <a:rPr sz="1400" dirty="0">
                <a:latin typeface="Arial"/>
                <a:cs typeface="Arial"/>
              </a:rPr>
              <a:t>ion pro</a:t>
            </a:r>
            <a:r>
              <a:rPr sz="1400" spc="4" dirty="0">
                <a:latin typeface="Arial"/>
                <a:cs typeface="Arial"/>
              </a:rPr>
              <a:t>c</a:t>
            </a:r>
            <a:r>
              <a:rPr sz="1400" dirty="0">
                <a:latin typeface="Arial"/>
                <a:cs typeface="Arial"/>
              </a:rPr>
              <a:t>edu</a:t>
            </a:r>
            <a:r>
              <a:rPr sz="1400" spc="-14" dirty="0">
                <a:latin typeface="Arial"/>
                <a:cs typeface="Arial"/>
              </a:rPr>
              <a:t>r</a:t>
            </a:r>
            <a:r>
              <a:rPr sz="1400" dirty="0">
                <a:latin typeface="Arial"/>
                <a:cs typeface="Arial"/>
              </a:rPr>
              <a:t>e</a:t>
            </a:r>
          </a:p>
        </p:txBody>
      </p:sp>
      <p:sp>
        <p:nvSpPr>
          <p:cNvPr id="9" name="object 9"/>
          <p:cNvSpPr txBox="1"/>
          <p:nvPr/>
        </p:nvSpPr>
        <p:spPr>
          <a:xfrm>
            <a:off x="9364727" y="4860327"/>
            <a:ext cx="349385" cy="203707"/>
          </a:xfrm>
          <a:prstGeom prst="rect">
            <a:avLst/>
          </a:prstGeom>
        </p:spPr>
        <p:txBody>
          <a:bodyPr wrap="square" lIns="0" tIns="0" rIns="0" bIns="0" rtlCol="0">
            <a:noAutofit/>
          </a:bodyPr>
          <a:lstStyle/>
          <a:p>
            <a:pPr marL="12700">
              <a:lnSpc>
                <a:spcPts val="1535"/>
              </a:lnSpc>
              <a:spcBef>
                <a:spcPts val="76"/>
              </a:spcBef>
            </a:pPr>
            <a:r>
              <a:rPr sz="1400" dirty="0">
                <a:latin typeface="Arial"/>
                <a:cs typeface="Arial"/>
              </a:rPr>
              <a:t>rule</a:t>
            </a:r>
            <a:endParaRPr sz="1400">
              <a:latin typeface="Arial"/>
              <a:cs typeface="Arial"/>
            </a:endParaRPr>
          </a:p>
        </p:txBody>
      </p:sp>
      <p:sp>
        <p:nvSpPr>
          <p:cNvPr id="8" name="object 8"/>
          <p:cNvSpPr txBox="1"/>
          <p:nvPr/>
        </p:nvSpPr>
        <p:spPr>
          <a:xfrm>
            <a:off x="8697214" y="5333147"/>
            <a:ext cx="1760336" cy="203708"/>
          </a:xfrm>
          <a:prstGeom prst="rect">
            <a:avLst/>
          </a:prstGeom>
        </p:spPr>
        <p:txBody>
          <a:bodyPr wrap="square" lIns="0" tIns="0" rIns="0" bIns="0" rtlCol="0">
            <a:noAutofit/>
          </a:bodyPr>
          <a:lstStyle/>
          <a:p>
            <a:pPr marL="12700">
              <a:lnSpc>
                <a:spcPts val="1535"/>
              </a:lnSpc>
              <a:spcBef>
                <a:spcPts val="76"/>
              </a:spcBef>
            </a:pPr>
            <a:r>
              <a:rPr sz="1400" dirty="0">
                <a:latin typeface="Arial"/>
                <a:cs typeface="Arial"/>
              </a:rPr>
              <a:t>Par</a:t>
            </a:r>
            <a:r>
              <a:rPr sz="1400" spc="4" dirty="0">
                <a:latin typeface="Arial"/>
                <a:cs typeface="Arial"/>
              </a:rPr>
              <a:t>t</a:t>
            </a:r>
            <a:r>
              <a:rPr sz="1400" dirty="0">
                <a:latin typeface="Arial"/>
                <a:cs typeface="Arial"/>
              </a:rPr>
              <a:t>ner</a:t>
            </a:r>
            <a:r>
              <a:rPr sz="1400" spc="-39" dirty="0">
                <a:latin typeface="Arial"/>
                <a:cs typeface="Arial"/>
              </a:rPr>
              <a:t> </a:t>
            </a:r>
            <a:r>
              <a:rPr sz="1400" dirty="0">
                <a:latin typeface="Arial"/>
                <a:cs typeface="Arial"/>
              </a:rPr>
              <a:t>de</a:t>
            </a:r>
            <a:r>
              <a:rPr sz="1400" spc="4" dirty="0">
                <a:latin typeface="Arial"/>
                <a:cs typeface="Arial"/>
              </a:rPr>
              <a:t>t</a:t>
            </a:r>
            <a:r>
              <a:rPr sz="1400" dirty="0">
                <a:latin typeface="Arial"/>
                <a:cs typeface="Arial"/>
              </a:rPr>
              <a:t>er</a:t>
            </a:r>
            <a:r>
              <a:rPr sz="1400" spc="-4" dirty="0">
                <a:latin typeface="Arial"/>
                <a:cs typeface="Arial"/>
              </a:rPr>
              <a:t>m</a:t>
            </a:r>
            <a:r>
              <a:rPr sz="1400" dirty="0">
                <a:latin typeface="Arial"/>
                <a:cs typeface="Arial"/>
              </a:rPr>
              <a:t>ina</a:t>
            </a:r>
            <a:r>
              <a:rPr sz="1400" spc="-4" dirty="0">
                <a:latin typeface="Arial"/>
                <a:cs typeface="Arial"/>
              </a:rPr>
              <a:t>t</a:t>
            </a:r>
            <a:r>
              <a:rPr sz="1400" dirty="0">
                <a:latin typeface="Arial"/>
                <a:cs typeface="Arial"/>
              </a:rPr>
              <a:t>ion</a:t>
            </a:r>
            <a:endParaRPr sz="1400">
              <a:latin typeface="Arial"/>
              <a:cs typeface="Arial"/>
            </a:endParaRPr>
          </a:p>
        </p:txBody>
      </p:sp>
      <p:sp>
        <p:nvSpPr>
          <p:cNvPr id="7" name="object 7"/>
          <p:cNvSpPr txBox="1"/>
          <p:nvPr/>
        </p:nvSpPr>
        <p:spPr>
          <a:xfrm>
            <a:off x="9149842" y="5546508"/>
            <a:ext cx="853640" cy="203707"/>
          </a:xfrm>
          <a:prstGeom prst="rect">
            <a:avLst/>
          </a:prstGeom>
        </p:spPr>
        <p:txBody>
          <a:bodyPr wrap="square" lIns="0" tIns="0" rIns="0" bIns="0" rtlCol="0">
            <a:noAutofit/>
          </a:bodyPr>
          <a:lstStyle/>
          <a:p>
            <a:pPr marL="12700">
              <a:lnSpc>
                <a:spcPts val="1535"/>
              </a:lnSpc>
              <a:spcBef>
                <a:spcPts val="76"/>
              </a:spcBef>
            </a:pPr>
            <a:r>
              <a:rPr sz="1400" dirty="0">
                <a:latin typeface="Arial"/>
                <a:cs typeface="Arial"/>
              </a:rPr>
              <a:t>pro</a:t>
            </a:r>
            <a:r>
              <a:rPr sz="1400" spc="4" dirty="0">
                <a:latin typeface="Arial"/>
                <a:cs typeface="Arial"/>
              </a:rPr>
              <a:t>c</a:t>
            </a:r>
            <a:r>
              <a:rPr sz="1400" dirty="0">
                <a:latin typeface="Arial"/>
                <a:cs typeface="Arial"/>
              </a:rPr>
              <a:t>edu</a:t>
            </a:r>
            <a:r>
              <a:rPr sz="1400" spc="-14" dirty="0">
                <a:latin typeface="Arial"/>
                <a:cs typeface="Arial"/>
              </a:rPr>
              <a:t>r</a:t>
            </a:r>
            <a:r>
              <a:rPr sz="1400" dirty="0">
                <a:latin typeface="Arial"/>
                <a:cs typeface="Arial"/>
              </a:rPr>
              <a:t>e</a:t>
            </a:r>
            <a:endParaRPr sz="1400">
              <a:latin typeface="Arial"/>
              <a:cs typeface="Arial"/>
            </a:endParaRPr>
          </a:p>
        </p:txBody>
      </p:sp>
      <p:sp>
        <p:nvSpPr>
          <p:cNvPr id="6" name="object 6"/>
          <p:cNvSpPr txBox="1"/>
          <p:nvPr/>
        </p:nvSpPr>
        <p:spPr>
          <a:xfrm>
            <a:off x="2028850" y="5641503"/>
            <a:ext cx="831708" cy="417118"/>
          </a:xfrm>
          <a:prstGeom prst="rect">
            <a:avLst/>
          </a:prstGeom>
        </p:spPr>
        <p:txBody>
          <a:bodyPr wrap="square" lIns="0" tIns="0" rIns="0" bIns="0" rtlCol="0">
            <a:noAutofit/>
          </a:bodyPr>
          <a:lstStyle/>
          <a:p>
            <a:pPr algn="ctr">
              <a:lnSpc>
                <a:spcPts val="1535"/>
              </a:lnSpc>
              <a:spcBef>
                <a:spcPts val="76"/>
              </a:spcBef>
            </a:pPr>
            <a:r>
              <a:rPr sz="1400" dirty="0">
                <a:latin typeface="Arial"/>
                <a:cs typeface="Arial"/>
              </a:rPr>
              <a:t>Au</a:t>
            </a:r>
            <a:r>
              <a:rPr sz="1400" spc="4" dirty="0">
                <a:latin typeface="Arial"/>
                <a:cs typeface="Arial"/>
              </a:rPr>
              <a:t>t</a:t>
            </a:r>
            <a:r>
              <a:rPr sz="1400" dirty="0">
                <a:latin typeface="Arial"/>
                <a:cs typeface="Arial"/>
              </a:rPr>
              <a:t>o</a:t>
            </a:r>
            <a:r>
              <a:rPr sz="1400" spc="-4" dirty="0">
                <a:latin typeface="Arial"/>
                <a:cs typeface="Arial"/>
              </a:rPr>
              <a:t>m</a:t>
            </a:r>
            <a:r>
              <a:rPr sz="1400" dirty="0">
                <a:latin typeface="Arial"/>
                <a:cs typeface="Arial"/>
              </a:rPr>
              <a:t>a</a:t>
            </a:r>
            <a:r>
              <a:rPr sz="1400" spc="4" dirty="0">
                <a:latin typeface="Arial"/>
                <a:cs typeface="Arial"/>
              </a:rPr>
              <a:t>t</a:t>
            </a:r>
            <a:r>
              <a:rPr sz="1400" dirty="0">
                <a:latin typeface="Arial"/>
                <a:cs typeface="Arial"/>
              </a:rPr>
              <a:t>ic</a:t>
            </a:r>
            <a:endParaRPr sz="1400">
              <a:latin typeface="Arial"/>
              <a:cs typeface="Arial"/>
            </a:endParaRPr>
          </a:p>
          <a:p>
            <a:pPr marL="65874" marR="78554" algn="ctr">
              <a:lnSpc>
                <a:spcPct val="95825"/>
              </a:lnSpc>
            </a:pPr>
            <a:r>
              <a:rPr sz="1400" dirty="0">
                <a:latin typeface="Arial"/>
                <a:cs typeface="Arial"/>
              </a:rPr>
              <a:t>Pa</a:t>
            </a:r>
            <a:r>
              <a:rPr sz="1400" spc="4" dirty="0">
                <a:latin typeface="Arial"/>
                <a:cs typeface="Arial"/>
              </a:rPr>
              <a:t>ck</a:t>
            </a:r>
            <a:r>
              <a:rPr sz="1400" dirty="0">
                <a:latin typeface="Arial"/>
                <a:cs typeface="Arial"/>
              </a:rPr>
              <a:t>ing</a:t>
            </a:r>
            <a:endParaRPr sz="1400">
              <a:latin typeface="Arial"/>
              <a:cs typeface="Arial"/>
            </a:endParaRPr>
          </a:p>
        </p:txBody>
      </p:sp>
      <p:sp>
        <p:nvSpPr>
          <p:cNvPr id="5" name="object 5"/>
          <p:cNvSpPr txBox="1"/>
          <p:nvPr/>
        </p:nvSpPr>
        <p:spPr>
          <a:xfrm>
            <a:off x="3096894" y="6335717"/>
            <a:ext cx="550833" cy="174683"/>
          </a:xfrm>
          <a:prstGeom prst="rect">
            <a:avLst/>
          </a:prstGeom>
        </p:spPr>
        <p:txBody>
          <a:bodyPr wrap="square" lIns="0" tIns="0" rIns="0" bIns="0" rtlCol="0">
            <a:noAutofit/>
          </a:bodyPr>
          <a:lstStyle/>
          <a:p>
            <a:pPr marL="12700">
              <a:lnSpc>
                <a:spcPts val="1730"/>
              </a:lnSpc>
              <a:spcBef>
                <a:spcPts val="86"/>
              </a:spcBef>
            </a:pPr>
            <a:r>
              <a:rPr dirty="0">
                <a:cs typeface="Arial"/>
              </a:rPr>
              <a:t>IMG</a:t>
            </a:r>
          </a:p>
        </p:txBody>
      </p:sp>
      <p:sp>
        <p:nvSpPr>
          <p:cNvPr id="4" name="object 4"/>
          <p:cNvSpPr txBox="1"/>
          <p:nvPr/>
        </p:nvSpPr>
        <p:spPr>
          <a:xfrm>
            <a:off x="3538854" y="6335716"/>
            <a:ext cx="6733609" cy="293683"/>
          </a:xfrm>
          <a:prstGeom prst="rect">
            <a:avLst/>
          </a:prstGeom>
        </p:spPr>
        <p:txBody>
          <a:bodyPr wrap="square" lIns="0" tIns="0" rIns="0" bIns="0" rtlCol="0">
            <a:noAutofit/>
          </a:bodyPr>
          <a:lstStyle/>
          <a:p>
            <a:pPr marL="12700">
              <a:lnSpc>
                <a:spcPts val="1730"/>
              </a:lnSpc>
              <a:spcBef>
                <a:spcPts val="86"/>
              </a:spcBef>
            </a:pPr>
            <a:r>
              <a:rPr spc="-4" dirty="0">
                <a:cs typeface="Arial"/>
              </a:rPr>
              <a:t>-</a:t>
            </a:r>
            <a:r>
              <a:rPr dirty="0">
                <a:cs typeface="Arial"/>
              </a:rPr>
              <a:t>&gt;LE</a:t>
            </a:r>
            <a:r>
              <a:rPr spc="-20" dirty="0">
                <a:cs typeface="Arial"/>
              </a:rPr>
              <a:t> </a:t>
            </a:r>
            <a:r>
              <a:rPr spc="-4" dirty="0">
                <a:cs typeface="Arial"/>
              </a:rPr>
              <a:t>-</a:t>
            </a:r>
            <a:r>
              <a:rPr dirty="0">
                <a:cs typeface="Arial"/>
              </a:rPr>
              <a:t>&gt;</a:t>
            </a:r>
            <a:r>
              <a:rPr spc="4" dirty="0">
                <a:cs typeface="Arial"/>
              </a:rPr>
              <a:t>S</a:t>
            </a:r>
            <a:r>
              <a:rPr dirty="0">
                <a:cs typeface="Arial"/>
              </a:rPr>
              <a:t>hi</a:t>
            </a:r>
            <a:r>
              <a:rPr spc="-4" dirty="0">
                <a:cs typeface="Arial"/>
              </a:rPr>
              <a:t>p</a:t>
            </a:r>
            <a:r>
              <a:rPr dirty="0">
                <a:cs typeface="Arial"/>
              </a:rPr>
              <a:t>pi</a:t>
            </a:r>
            <a:r>
              <a:rPr spc="-4" dirty="0">
                <a:cs typeface="Arial"/>
              </a:rPr>
              <a:t>n</a:t>
            </a:r>
            <a:r>
              <a:rPr dirty="0">
                <a:cs typeface="Arial"/>
              </a:rPr>
              <a:t>g</a:t>
            </a:r>
            <a:r>
              <a:rPr spc="-47" dirty="0">
                <a:cs typeface="Arial"/>
              </a:rPr>
              <a:t> </a:t>
            </a:r>
            <a:r>
              <a:rPr spc="-4" dirty="0">
                <a:cs typeface="Arial"/>
              </a:rPr>
              <a:t>-</a:t>
            </a:r>
            <a:r>
              <a:rPr dirty="0">
                <a:cs typeface="Arial"/>
              </a:rPr>
              <a:t>&gt;Del</a:t>
            </a:r>
            <a:r>
              <a:rPr spc="14" dirty="0">
                <a:cs typeface="Arial"/>
              </a:rPr>
              <a:t>i</a:t>
            </a:r>
            <a:r>
              <a:rPr spc="-34" dirty="0">
                <a:cs typeface="Arial"/>
              </a:rPr>
              <a:t>v</a:t>
            </a:r>
            <a:r>
              <a:rPr dirty="0">
                <a:cs typeface="Arial"/>
              </a:rPr>
              <a:t>eries</a:t>
            </a:r>
            <a:r>
              <a:rPr spc="-25" dirty="0">
                <a:cs typeface="Arial"/>
              </a:rPr>
              <a:t> </a:t>
            </a:r>
            <a:r>
              <a:rPr spc="-4" dirty="0">
                <a:cs typeface="Arial"/>
              </a:rPr>
              <a:t>-</a:t>
            </a:r>
            <a:r>
              <a:rPr dirty="0">
                <a:cs typeface="Arial"/>
              </a:rPr>
              <a:t>&gt;Define</a:t>
            </a:r>
            <a:r>
              <a:rPr spc="-43" dirty="0">
                <a:cs typeface="Arial"/>
              </a:rPr>
              <a:t> </a:t>
            </a:r>
            <a:r>
              <a:rPr dirty="0">
                <a:cs typeface="Arial"/>
              </a:rPr>
              <a:t>del</a:t>
            </a:r>
            <a:r>
              <a:rPr spc="9" dirty="0">
                <a:cs typeface="Arial"/>
              </a:rPr>
              <a:t>i</a:t>
            </a:r>
            <a:r>
              <a:rPr spc="-34" dirty="0">
                <a:cs typeface="Arial"/>
              </a:rPr>
              <a:t>v</a:t>
            </a:r>
            <a:r>
              <a:rPr dirty="0">
                <a:cs typeface="Arial"/>
              </a:rPr>
              <a:t>e</a:t>
            </a:r>
            <a:r>
              <a:rPr spc="14" dirty="0">
                <a:cs typeface="Arial"/>
              </a:rPr>
              <a:t>r</a:t>
            </a:r>
            <a:r>
              <a:rPr dirty="0">
                <a:cs typeface="Arial"/>
              </a:rPr>
              <a:t>y</a:t>
            </a:r>
            <a:r>
              <a:rPr spc="-25" dirty="0">
                <a:cs typeface="Arial"/>
              </a:rPr>
              <a:t> </a:t>
            </a:r>
            <a:r>
              <a:rPr dirty="0">
                <a:cs typeface="Arial"/>
              </a:rPr>
              <a:t>t</a:t>
            </a:r>
            <a:r>
              <a:rPr spc="-39" dirty="0">
                <a:cs typeface="Arial"/>
              </a:rPr>
              <a:t>y</a:t>
            </a:r>
            <a:r>
              <a:rPr dirty="0">
                <a:cs typeface="Arial"/>
              </a:rPr>
              <a:t>pes</a:t>
            </a:r>
          </a:p>
        </p:txBody>
      </p:sp>
      <p:sp>
        <p:nvSpPr>
          <p:cNvPr id="2" name="object 2"/>
          <p:cNvSpPr txBox="1"/>
          <p:nvPr/>
        </p:nvSpPr>
        <p:spPr>
          <a:xfrm>
            <a:off x="3109849" y="1662113"/>
            <a:ext cx="5657850" cy="4600575"/>
          </a:xfrm>
          <a:prstGeom prst="rect">
            <a:avLst/>
          </a:prstGeom>
          <a:ln w="28575">
            <a:solidFill>
              <a:schemeClr val="tx1"/>
            </a:solidFill>
          </a:ln>
        </p:spPr>
        <p:txBody>
          <a:bodyPr wrap="square" lIns="0" tIns="0" rIns="0" bIns="0" rtlCol="0">
            <a:noAutofit/>
          </a:bodyPr>
          <a:lstStyle/>
          <a:p>
            <a:pPr>
              <a:lnSpc>
                <a:spcPts val="1000"/>
              </a:lnSpc>
            </a:pPr>
            <a:endParaRPr sz="1000" dirty="0"/>
          </a:p>
          <a:p>
            <a:pPr marL="1911541" marR="2968588" algn="ctr">
              <a:lnSpc>
                <a:spcPct val="95825"/>
              </a:lnSpc>
              <a:spcBef>
                <a:spcPts val="6319"/>
              </a:spcBef>
            </a:pPr>
            <a:r>
              <a:rPr sz="1200" dirty="0">
                <a:latin typeface="Arial"/>
                <a:cs typeface="Arial"/>
              </a:rPr>
              <a:t>No.</a:t>
            </a:r>
            <a:r>
              <a:rPr sz="1200" spc="-14" dirty="0">
                <a:latin typeface="Arial"/>
                <a:cs typeface="Arial"/>
              </a:rPr>
              <a:t> </a:t>
            </a:r>
            <a:r>
              <a:rPr sz="1200" dirty="0">
                <a:latin typeface="Arial"/>
                <a:cs typeface="Arial"/>
              </a:rPr>
              <a:t>Ra</a:t>
            </a:r>
            <a:r>
              <a:rPr sz="1200" spc="4" dirty="0">
                <a:latin typeface="Arial"/>
                <a:cs typeface="Arial"/>
              </a:rPr>
              <a:t>n</a:t>
            </a:r>
            <a:r>
              <a:rPr sz="1200" spc="-4" dirty="0">
                <a:latin typeface="Arial"/>
                <a:cs typeface="Arial"/>
              </a:rPr>
              <a:t>g</a:t>
            </a:r>
            <a:r>
              <a:rPr sz="1200" dirty="0">
                <a:latin typeface="Arial"/>
                <a:cs typeface="Arial"/>
              </a:rPr>
              <a:t>e</a:t>
            </a:r>
            <a:endParaRPr lang="en-US" sz="1200" dirty="0">
              <a:latin typeface="Arial"/>
              <a:cs typeface="Arial"/>
            </a:endParaRPr>
          </a:p>
          <a:p>
            <a:pPr marL="1876679" marR="2935401" algn="ctr">
              <a:lnSpc>
                <a:spcPct val="95825"/>
              </a:lnSpc>
              <a:spcBef>
                <a:spcPts val="60"/>
              </a:spcBef>
            </a:pPr>
            <a:r>
              <a:rPr lang="en-US" sz="1200" dirty="0">
                <a:latin typeface="Arial"/>
                <a:cs typeface="Arial"/>
              </a:rPr>
              <a:t>Assi</a:t>
            </a:r>
            <a:r>
              <a:rPr lang="en-US" sz="1200" spc="-9" dirty="0">
                <a:latin typeface="Arial"/>
                <a:cs typeface="Arial"/>
              </a:rPr>
              <a:t>g</a:t>
            </a:r>
            <a:r>
              <a:rPr lang="en-US" sz="1200" spc="4" dirty="0">
                <a:latin typeface="Arial"/>
                <a:cs typeface="Arial"/>
              </a:rPr>
              <a:t>nmen</a:t>
            </a:r>
            <a:r>
              <a:rPr lang="en-US" sz="1200" dirty="0">
                <a:latin typeface="Arial"/>
                <a:cs typeface="Arial"/>
              </a:rPr>
              <a:t>t</a:t>
            </a:r>
          </a:p>
        </p:txBody>
      </p:sp>
      <p:sp>
        <p:nvSpPr>
          <p:cNvPr id="3" name="Title 2"/>
          <p:cNvSpPr>
            <a:spLocks noGrp="1"/>
          </p:cNvSpPr>
          <p:nvPr>
            <p:ph type="title"/>
          </p:nvPr>
        </p:nvSpPr>
        <p:spPr>
          <a:xfrm>
            <a:off x="1854269" y="228600"/>
            <a:ext cx="8509933" cy="859536"/>
          </a:xfrm>
        </p:spPr>
        <p:txBody>
          <a:bodyPr/>
          <a:lstStyle/>
          <a:p>
            <a:r>
              <a:rPr lang="en-US" sz="2400" dirty="0">
                <a:latin typeface="+mn-lt"/>
                <a:cs typeface="Arial"/>
              </a:rPr>
              <a:t>Delive</a:t>
            </a:r>
            <a:r>
              <a:rPr lang="en-US" sz="2400" spc="14" dirty="0">
                <a:latin typeface="+mn-lt"/>
                <a:cs typeface="Arial"/>
              </a:rPr>
              <a:t>r</a:t>
            </a:r>
            <a:r>
              <a:rPr lang="en-US" sz="2400" dirty="0">
                <a:latin typeface="+mn-lt"/>
                <a:cs typeface="Arial"/>
              </a:rPr>
              <a:t>y Type - controls</a:t>
            </a:r>
            <a:br>
              <a:rPr lang="en-US" sz="2800" dirty="0">
                <a:latin typeface="Arial"/>
                <a:cs typeface="Arial"/>
              </a:rPr>
            </a:b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object 35"/>
          <p:cNvSpPr/>
          <p:nvPr/>
        </p:nvSpPr>
        <p:spPr>
          <a:xfrm>
            <a:off x="6672326" y="4260850"/>
            <a:ext cx="771144" cy="995680"/>
          </a:xfrm>
          <a:custGeom>
            <a:avLst/>
            <a:gdLst/>
            <a:ahLst/>
            <a:cxnLst/>
            <a:rect l="l" t="t" r="r" b="b"/>
            <a:pathLst>
              <a:path w="771144" h="995679">
                <a:moveTo>
                  <a:pt x="0" y="995680"/>
                </a:moveTo>
                <a:lnTo>
                  <a:pt x="360934" y="995680"/>
                </a:lnTo>
                <a:lnTo>
                  <a:pt x="771144" y="0"/>
                </a:lnTo>
              </a:path>
            </a:pathLst>
          </a:custGeom>
          <a:ln w="50800">
            <a:solidFill>
              <a:srgbClr val="000000"/>
            </a:solidFill>
          </a:ln>
        </p:spPr>
        <p:txBody>
          <a:bodyPr wrap="square" lIns="0" tIns="0" rIns="0" bIns="0" rtlCol="0">
            <a:noAutofit/>
          </a:bodyPr>
          <a:lstStyle/>
          <a:p>
            <a:endParaRPr/>
          </a:p>
        </p:txBody>
      </p:sp>
      <p:sp>
        <p:nvSpPr>
          <p:cNvPr id="36" name="object 36"/>
          <p:cNvSpPr/>
          <p:nvPr/>
        </p:nvSpPr>
        <p:spPr>
          <a:xfrm>
            <a:off x="7770495" y="4260850"/>
            <a:ext cx="771144" cy="995680"/>
          </a:xfrm>
          <a:custGeom>
            <a:avLst/>
            <a:gdLst/>
            <a:ahLst/>
            <a:cxnLst/>
            <a:rect l="l" t="t" r="r" b="b"/>
            <a:pathLst>
              <a:path w="771144" h="995679">
                <a:moveTo>
                  <a:pt x="771144" y="995680"/>
                </a:moveTo>
                <a:lnTo>
                  <a:pt x="410209" y="995680"/>
                </a:lnTo>
                <a:lnTo>
                  <a:pt x="0" y="0"/>
                </a:lnTo>
              </a:path>
            </a:pathLst>
          </a:custGeom>
          <a:ln w="50800">
            <a:solidFill>
              <a:srgbClr val="000000"/>
            </a:solidFill>
          </a:ln>
        </p:spPr>
        <p:txBody>
          <a:bodyPr wrap="square" lIns="0" tIns="0" rIns="0" bIns="0" rtlCol="0">
            <a:noAutofit/>
          </a:bodyPr>
          <a:lstStyle/>
          <a:p>
            <a:endParaRPr/>
          </a:p>
        </p:txBody>
      </p:sp>
      <p:sp>
        <p:nvSpPr>
          <p:cNvPr id="37" name="object 37"/>
          <p:cNvSpPr/>
          <p:nvPr/>
        </p:nvSpPr>
        <p:spPr>
          <a:xfrm>
            <a:off x="6597523" y="2438400"/>
            <a:ext cx="802004" cy="871982"/>
          </a:xfrm>
          <a:custGeom>
            <a:avLst/>
            <a:gdLst/>
            <a:ahLst/>
            <a:cxnLst/>
            <a:rect l="l" t="t" r="r" b="b"/>
            <a:pathLst>
              <a:path w="802004" h="871982">
                <a:moveTo>
                  <a:pt x="0" y="0"/>
                </a:moveTo>
                <a:lnTo>
                  <a:pt x="375412" y="0"/>
                </a:lnTo>
                <a:lnTo>
                  <a:pt x="802004" y="871982"/>
                </a:lnTo>
              </a:path>
            </a:pathLst>
          </a:custGeom>
          <a:ln w="50800">
            <a:solidFill>
              <a:srgbClr val="000000"/>
            </a:solidFill>
          </a:ln>
        </p:spPr>
        <p:txBody>
          <a:bodyPr wrap="square" lIns="0" tIns="0" rIns="0" bIns="0" rtlCol="0">
            <a:noAutofit/>
          </a:bodyPr>
          <a:lstStyle/>
          <a:p>
            <a:endParaRPr/>
          </a:p>
        </p:txBody>
      </p:sp>
      <p:sp>
        <p:nvSpPr>
          <p:cNvPr id="38" name="object 38"/>
          <p:cNvSpPr/>
          <p:nvPr/>
        </p:nvSpPr>
        <p:spPr>
          <a:xfrm>
            <a:off x="7739635" y="2438400"/>
            <a:ext cx="801877" cy="871982"/>
          </a:xfrm>
          <a:custGeom>
            <a:avLst/>
            <a:gdLst/>
            <a:ahLst/>
            <a:cxnLst/>
            <a:rect l="l" t="t" r="r" b="b"/>
            <a:pathLst>
              <a:path w="801877" h="871982">
                <a:moveTo>
                  <a:pt x="801877" y="0"/>
                </a:moveTo>
                <a:lnTo>
                  <a:pt x="426592" y="0"/>
                </a:lnTo>
                <a:lnTo>
                  <a:pt x="0" y="871982"/>
                </a:lnTo>
              </a:path>
            </a:pathLst>
          </a:custGeom>
          <a:ln w="50800">
            <a:solidFill>
              <a:srgbClr val="000000"/>
            </a:solidFill>
          </a:ln>
        </p:spPr>
        <p:txBody>
          <a:bodyPr wrap="square" lIns="0" tIns="0" rIns="0" bIns="0" rtlCol="0">
            <a:noAutofit/>
          </a:bodyPr>
          <a:lstStyle/>
          <a:p>
            <a:endParaRPr/>
          </a:p>
        </p:txBody>
      </p:sp>
      <p:sp>
        <p:nvSpPr>
          <p:cNvPr id="39" name="object 39"/>
          <p:cNvSpPr/>
          <p:nvPr/>
        </p:nvSpPr>
        <p:spPr>
          <a:xfrm>
            <a:off x="6672327" y="2649602"/>
            <a:ext cx="1753489" cy="2074799"/>
          </a:xfrm>
          <a:custGeom>
            <a:avLst/>
            <a:gdLst/>
            <a:ahLst/>
            <a:cxnLst/>
            <a:rect l="l" t="t" r="r" b="b"/>
            <a:pathLst>
              <a:path w="1753489" h="2074799">
                <a:moveTo>
                  <a:pt x="0" y="1037336"/>
                </a:moveTo>
                <a:lnTo>
                  <a:pt x="2906" y="1122430"/>
                </a:lnTo>
                <a:lnTo>
                  <a:pt x="11475" y="1205629"/>
                </a:lnTo>
                <a:lnTo>
                  <a:pt x="25482" y="1286666"/>
                </a:lnTo>
                <a:lnTo>
                  <a:pt x="44699" y="1365273"/>
                </a:lnTo>
                <a:lnTo>
                  <a:pt x="68903" y="1441184"/>
                </a:lnTo>
                <a:lnTo>
                  <a:pt x="97867" y="1514131"/>
                </a:lnTo>
                <a:lnTo>
                  <a:pt x="131365" y="1583848"/>
                </a:lnTo>
                <a:lnTo>
                  <a:pt x="169172" y="1650069"/>
                </a:lnTo>
                <a:lnTo>
                  <a:pt x="211062" y="1712525"/>
                </a:lnTo>
                <a:lnTo>
                  <a:pt x="256809" y="1770951"/>
                </a:lnTo>
                <a:lnTo>
                  <a:pt x="306189" y="1825079"/>
                </a:lnTo>
                <a:lnTo>
                  <a:pt x="358975" y="1874642"/>
                </a:lnTo>
                <a:lnTo>
                  <a:pt x="414941" y="1919374"/>
                </a:lnTo>
                <a:lnTo>
                  <a:pt x="473862" y="1959008"/>
                </a:lnTo>
                <a:lnTo>
                  <a:pt x="535513" y="1993276"/>
                </a:lnTo>
                <a:lnTo>
                  <a:pt x="599667" y="2021913"/>
                </a:lnTo>
                <a:lnTo>
                  <a:pt x="666099" y="2044650"/>
                </a:lnTo>
                <a:lnTo>
                  <a:pt x="734584" y="2061221"/>
                </a:lnTo>
                <a:lnTo>
                  <a:pt x="804895" y="2071360"/>
                </a:lnTo>
                <a:lnTo>
                  <a:pt x="876808" y="2074799"/>
                </a:lnTo>
                <a:lnTo>
                  <a:pt x="948702" y="2071360"/>
                </a:lnTo>
                <a:lnTo>
                  <a:pt x="1018997" y="2061221"/>
                </a:lnTo>
                <a:lnTo>
                  <a:pt x="1087467" y="2044650"/>
                </a:lnTo>
                <a:lnTo>
                  <a:pt x="1153886" y="2021913"/>
                </a:lnTo>
                <a:lnTo>
                  <a:pt x="1218029" y="1993276"/>
                </a:lnTo>
                <a:lnTo>
                  <a:pt x="1279669" y="1959008"/>
                </a:lnTo>
                <a:lnTo>
                  <a:pt x="1338582" y="1919374"/>
                </a:lnTo>
                <a:lnTo>
                  <a:pt x="1394541" y="1874642"/>
                </a:lnTo>
                <a:lnTo>
                  <a:pt x="1447320" y="1825079"/>
                </a:lnTo>
                <a:lnTo>
                  <a:pt x="1496694" y="1770951"/>
                </a:lnTo>
                <a:lnTo>
                  <a:pt x="1542438" y="1712525"/>
                </a:lnTo>
                <a:lnTo>
                  <a:pt x="1584325" y="1650069"/>
                </a:lnTo>
                <a:lnTo>
                  <a:pt x="1622129" y="1583848"/>
                </a:lnTo>
                <a:lnTo>
                  <a:pt x="1655625" y="1514131"/>
                </a:lnTo>
                <a:lnTo>
                  <a:pt x="1684587" y="1441184"/>
                </a:lnTo>
                <a:lnTo>
                  <a:pt x="1708790" y="1365273"/>
                </a:lnTo>
                <a:lnTo>
                  <a:pt x="1728007" y="1286666"/>
                </a:lnTo>
                <a:lnTo>
                  <a:pt x="1742013" y="1205629"/>
                </a:lnTo>
                <a:lnTo>
                  <a:pt x="1750582" y="1122430"/>
                </a:lnTo>
                <a:lnTo>
                  <a:pt x="1753489" y="1037336"/>
                </a:lnTo>
                <a:lnTo>
                  <a:pt x="1750582" y="952259"/>
                </a:lnTo>
                <a:lnTo>
                  <a:pt x="1742013" y="869076"/>
                </a:lnTo>
                <a:lnTo>
                  <a:pt x="1728007" y="788054"/>
                </a:lnTo>
                <a:lnTo>
                  <a:pt x="1708790" y="709460"/>
                </a:lnTo>
                <a:lnTo>
                  <a:pt x="1684587" y="633561"/>
                </a:lnTo>
                <a:lnTo>
                  <a:pt x="1655625" y="560623"/>
                </a:lnTo>
                <a:lnTo>
                  <a:pt x="1622129" y="490915"/>
                </a:lnTo>
                <a:lnTo>
                  <a:pt x="1584325" y="424702"/>
                </a:lnTo>
                <a:lnTo>
                  <a:pt x="1542438" y="362252"/>
                </a:lnTo>
                <a:lnTo>
                  <a:pt x="1496694" y="303831"/>
                </a:lnTo>
                <a:lnTo>
                  <a:pt x="1447320" y="249707"/>
                </a:lnTo>
                <a:lnTo>
                  <a:pt x="1394541" y="200147"/>
                </a:lnTo>
                <a:lnTo>
                  <a:pt x="1338582" y="155418"/>
                </a:lnTo>
                <a:lnTo>
                  <a:pt x="1279669" y="115787"/>
                </a:lnTo>
                <a:lnTo>
                  <a:pt x="1218029" y="81520"/>
                </a:lnTo>
                <a:lnTo>
                  <a:pt x="1153886" y="52884"/>
                </a:lnTo>
                <a:lnTo>
                  <a:pt x="1087467" y="30148"/>
                </a:lnTo>
                <a:lnTo>
                  <a:pt x="1018997" y="13577"/>
                </a:lnTo>
                <a:lnTo>
                  <a:pt x="948702" y="3438"/>
                </a:lnTo>
                <a:lnTo>
                  <a:pt x="876808" y="0"/>
                </a:lnTo>
                <a:lnTo>
                  <a:pt x="804895" y="3438"/>
                </a:lnTo>
                <a:lnTo>
                  <a:pt x="734584" y="13577"/>
                </a:lnTo>
                <a:lnTo>
                  <a:pt x="666099" y="30148"/>
                </a:lnTo>
                <a:lnTo>
                  <a:pt x="599667" y="52884"/>
                </a:lnTo>
                <a:lnTo>
                  <a:pt x="535513" y="81520"/>
                </a:lnTo>
                <a:lnTo>
                  <a:pt x="473862" y="115787"/>
                </a:lnTo>
                <a:lnTo>
                  <a:pt x="414941" y="155418"/>
                </a:lnTo>
                <a:lnTo>
                  <a:pt x="358975" y="200147"/>
                </a:lnTo>
                <a:lnTo>
                  <a:pt x="306189" y="249707"/>
                </a:lnTo>
                <a:lnTo>
                  <a:pt x="256809" y="303831"/>
                </a:lnTo>
                <a:lnTo>
                  <a:pt x="211062" y="362252"/>
                </a:lnTo>
                <a:lnTo>
                  <a:pt x="169172" y="424702"/>
                </a:lnTo>
                <a:lnTo>
                  <a:pt x="131365" y="490915"/>
                </a:lnTo>
                <a:lnTo>
                  <a:pt x="97867" y="560623"/>
                </a:lnTo>
                <a:lnTo>
                  <a:pt x="68903" y="633561"/>
                </a:lnTo>
                <a:lnTo>
                  <a:pt x="44699" y="709460"/>
                </a:lnTo>
                <a:lnTo>
                  <a:pt x="25482" y="788054"/>
                </a:lnTo>
                <a:lnTo>
                  <a:pt x="11475" y="869076"/>
                </a:lnTo>
                <a:lnTo>
                  <a:pt x="2906" y="952259"/>
                </a:lnTo>
                <a:lnTo>
                  <a:pt x="0" y="1037336"/>
                </a:lnTo>
                <a:close/>
              </a:path>
            </a:pathLst>
          </a:custGeom>
          <a:solidFill>
            <a:srgbClr val="008579"/>
          </a:solidFill>
        </p:spPr>
        <p:txBody>
          <a:bodyPr wrap="square" lIns="0" tIns="0" rIns="0" bIns="0" rtlCol="0">
            <a:noAutofit/>
          </a:bodyPr>
          <a:lstStyle/>
          <a:p>
            <a:endParaRPr/>
          </a:p>
        </p:txBody>
      </p:sp>
      <p:sp>
        <p:nvSpPr>
          <p:cNvPr id="40" name="object 40"/>
          <p:cNvSpPr/>
          <p:nvPr/>
        </p:nvSpPr>
        <p:spPr>
          <a:xfrm>
            <a:off x="6672327" y="2649602"/>
            <a:ext cx="1753489" cy="2074799"/>
          </a:xfrm>
          <a:custGeom>
            <a:avLst/>
            <a:gdLst/>
            <a:ahLst/>
            <a:cxnLst/>
            <a:rect l="l" t="t" r="r" b="b"/>
            <a:pathLst>
              <a:path w="1753489" h="2074799">
                <a:moveTo>
                  <a:pt x="0" y="1037336"/>
                </a:moveTo>
                <a:lnTo>
                  <a:pt x="2906" y="952259"/>
                </a:lnTo>
                <a:lnTo>
                  <a:pt x="11475" y="869076"/>
                </a:lnTo>
                <a:lnTo>
                  <a:pt x="25482" y="788054"/>
                </a:lnTo>
                <a:lnTo>
                  <a:pt x="44699" y="709460"/>
                </a:lnTo>
                <a:lnTo>
                  <a:pt x="68903" y="633561"/>
                </a:lnTo>
                <a:lnTo>
                  <a:pt x="97867" y="560623"/>
                </a:lnTo>
                <a:lnTo>
                  <a:pt x="131365" y="490915"/>
                </a:lnTo>
                <a:lnTo>
                  <a:pt x="169172" y="424702"/>
                </a:lnTo>
                <a:lnTo>
                  <a:pt x="211062" y="362252"/>
                </a:lnTo>
                <a:lnTo>
                  <a:pt x="256809" y="303831"/>
                </a:lnTo>
                <a:lnTo>
                  <a:pt x="306189" y="249707"/>
                </a:lnTo>
                <a:lnTo>
                  <a:pt x="358975" y="200147"/>
                </a:lnTo>
                <a:lnTo>
                  <a:pt x="414941" y="155418"/>
                </a:lnTo>
                <a:lnTo>
                  <a:pt x="473862" y="115787"/>
                </a:lnTo>
                <a:lnTo>
                  <a:pt x="535513" y="81520"/>
                </a:lnTo>
                <a:lnTo>
                  <a:pt x="599667" y="52884"/>
                </a:lnTo>
                <a:lnTo>
                  <a:pt x="666099" y="30148"/>
                </a:lnTo>
                <a:lnTo>
                  <a:pt x="734584" y="13577"/>
                </a:lnTo>
                <a:lnTo>
                  <a:pt x="804895" y="3438"/>
                </a:lnTo>
                <a:lnTo>
                  <a:pt x="876808" y="0"/>
                </a:lnTo>
                <a:lnTo>
                  <a:pt x="948702" y="3438"/>
                </a:lnTo>
                <a:lnTo>
                  <a:pt x="1018997" y="13577"/>
                </a:lnTo>
                <a:lnTo>
                  <a:pt x="1087467" y="30148"/>
                </a:lnTo>
                <a:lnTo>
                  <a:pt x="1153886" y="52884"/>
                </a:lnTo>
                <a:lnTo>
                  <a:pt x="1218029" y="81520"/>
                </a:lnTo>
                <a:lnTo>
                  <a:pt x="1279669" y="115787"/>
                </a:lnTo>
                <a:lnTo>
                  <a:pt x="1338582" y="155418"/>
                </a:lnTo>
                <a:lnTo>
                  <a:pt x="1394541" y="200147"/>
                </a:lnTo>
                <a:lnTo>
                  <a:pt x="1447320" y="249707"/>
                </a:lnTo>
                <a:lnTo>
                  <a:pt x="1496694" y="303831"/>
                </a:lnTo>
                <a:lnTo>
                  <a:pt x="1542438" y="362252"/>
                </a:lnTo>
                <a:lnTo>
                  <a:pt x="1584325" y="424702"/>
                </a:lnTo>
                <a:lnTo>
                  <a:pt x="1622129" y="490915"/>
                </a:lnTo>
                <a:lnTo>
                  <a:pt x="1655625" y="560623"/>
                </a:lnTo>
                <a:lnTo>
                  <a:pt x="1684587" y="633561"/>
                </a:lnTo>
                <a:lnTo>
                  <a:pt x="1708790" y="709460"/>
                </a:lnTo>
                <a:lnTo>
                  <a:pt x="1728007" y="788054"/>
                </a:lnTo>
                <a:lnTo>
                  <a:pt x="1742013" y="869076"/>
                </a:lnTo>
                <a:lnTo>
                  <a:pt x="1750582" y="952259"/>
                </a:lnTo>
                <a:lnTo>
                  <a:pt x="1753489" y="1037336"/>
                </a:lnTo>
                <a:lnTo>
                  <a:pt x="1750582" y="1122430"/>
                </a:lnTo>
                <a:lnTo>
                  <a:pt x="1742013" y="1205629"/>
                </a:lnTo>
                <a:lnTo>
                  <a:pt x="1728007" y="1286666"/>
                </a:lnTo>
                <a:lnTo>
                  <a:pt x="1708790" y="1365273"/>
                </a:lnTo>
                <a:lnTo>
                  <a:pt x="1684587" y="1441184"/>
                </a:lnTo>
                <a:lnTo>
                  <a:pt x="1655625" y="1514131"/>
                </a:lnTo>
                <a:lnTo>
                  <a:pt x="1622129" y="1583848"/>
                </a:lnTo>
                <a:lnTo>
                  <a:pt x="1584325" y="1650069"/>
                </a:lnTo>
                <a:lnTo>
                  <a:pt x="1542438" y="1712525"/>
                </a:lnTo>
                <a:lnTo>
                  <a:pt x="1496694" y="1770951"/>
                </a:lnTo>
                <a:lnTo>
                  <a:pt x="1447320" y="1825079"/>
                </a:lnTo>
                <a:lnTo>
                  <a:pt x="1394541" y="1874642"/>
                </a:lnTo>
                <a:lnTo>
                  <a:pt x="1338582" y="1919374"/>
                </a:lnTo>
                <a:lnTo>
                  <a:pt x="1279669" y="1959008"/>
                </a:lnTo>
                <a:lnTo>
                  <a:pt x="1218029" y="1993276"/>
                </a:lnTo>
                <a:lnTo>
                  <a:pt x="1153886" y="2021913"/>
                </a:lnTo>
                <a:lnTo>
                  <a:pt x="1087467" y="2044650"/>
                </a:lnTo>
                <a:lnTo>
                  <a:pt x="1018997" y="2061221"/>
                </a:lnTo>
                <a:lnTo>
                  <a:pt x="948702" y="2071360"/>
                </a:lnTo>
                <a:lnTo>
                  <a:pt x="876808" y="2074799"/>
                </a:lnTo>
                <a:lnTo>
                  <a:pt x="804895" y="2071360"/>
                </a:lnTo>
                <a:lnTo>
                  <a:pt x="734584" y="2061221"/>
                </a:lnTo>
                <a:lnTo>
                  <a:pt x="666099" y="2044650"/>
                </a:lnTo>
                <a:lnTo>
                  <a:pt x="599667" y="2021913"/>
                </a:lnTo>
                <a:lnTo>
                  <a:pt x="535513" y="1993276"/>
                </a:lnTo>
                <a:lnTo>
                  <a:pt x="473862" y="1959008"/>
                </a:lnTo>
                <a:lnTo>
                  <a:pt x="414941" y="1919374"/>
                </a:lnTo>
                <a:lnTo>
                  <a:pt x="358975" y="1874642"/>
                </a:lnTo>
                <a:lnTo>
                  <a:pt x="306189" y="1825079"/>
                </a:lnTo>
                <a:lnTo>
                  <a:pt x="256809" y="1770951"/>
                </a:lnTo>
                <a:lnTo>
                  <a:pt x="211062" y="1712525"/>
                </a:lnTo>
                <a:lnTo>
                  <a:pt x="169172" y="1650069"/>
                </a:lnTo>
                <a:lnTo>
                  <a:pt x="131365" y="1583848"/>
                </a:lnTo>
                <a:lnTo>
                  <a:pt x="97867" y="1514131"/>
                </a:lnTo>
                <a:lnTo>
                  <a:pt x="68903" y="1441184"/>
                </a:lnTo>
                <a:lnTo>
                  <a:pt x="44699" y="1365273"/>
                </a:lnTo>
                <a:lnTo>
                  <a:pt x="25482" y="1286666"/>
                </a:lnTo>
                <a:lnTo>
                  <a:pt x="11475" y="1205629"/>
                </a:lnTo>
                <a:lnTo>
                  <a:pt x="2906" y="1122430"/>
                </a:lnTo>
                <a:lnTo>
                  <a:pt x="0" y="1037336"/>
                </a:lnTo>
                <a:close/>
              </a:path>
            </a:pathLst>
          </a:custGeom>
          <a:ln w="12700">
            <a:solidFill>
              <a:srgbClr val="000000"/>
            </a:solidFill>
          </a:ln>
        </p:spPr>
        <p:txBody>
          <a:bodyPr wrap="square" lIns="0" tIns="0" rIns="0" bIns="0" rtlCol="0">
            <a:noAutofit/>
          </a:bodyPr>
          <a:lstStyle/>
          <a:p>
            <a:endParaRPr/>
          </a:p>
        </p:txBody>
      </p:sp>
      <p:sp>
        <p:nvSpPr>
          <p:cNvPr id="41" name="object 41"/>
          <p:cNvSpPr/>
          <p:nvPr/>
        </p:nvSpPr>
        <p:spPr>
          <a:xfrm>
            <a:off x="6504432" y="3259837"/>
            <a:ext cx="2116836" cy="461771"/>
          </a:xfrm>
          <a:prstGeom prst="rect">
            <a:avLst/>
          </a:prstGeom>
          <a:blipFill>
            <a:blip r:embed="rId2" cstate="print"/>
            <a:stretch>
              <a:fillRect/>
            </a:stretch>
          </a:blipFill>
        </p:spPr>
        <p:txBody>
          <a:bodyPr wrap="square" lIns="0" tIns="0" rIns="0" bIns="0" rtlCol="0">
            <a:noAutofit/>
          </a:bodyPr>
          <a:lstStyle/>
          <a:p>
            <a:endParaRPr/>
          </a:p>
        </p:txBody>
      </p:sp>
      <p:sp>
        <p:nvSpPr>
          <p:cNvPr id="42" name="object 42"/>
          <p:cNvSpPr/>
          <p:nvPr/>
        </p:nvSpPr>
        <p:spPr>
          <a:xfrm>
            <a:off x="8243317" y="3259837"/>
            <a:ext cx="455675" cy="461771"/>
          </a:xfrm>
          <a:prstGeom prst="rect">
            <a:avLst/>
          </a:prstGeom>
          <a:blipFill>
            <a:blip r:embed="rId3" cstate="print"/>
            <a:stretch>
              <a:fillRect/>
            </a:stretch>
          </a:blipFill>
        </p:spPr>
        <p:txBody>
          <a:bodyPr wrap="square" lIns="0" tIns="0" rIns="0" bIns="0" rtlCol="0">
            <a:noAutofit/>
          </a:bodyPr>
          <a:lstStyle/>
          <a:p>
            <a:endParaRPr/>
          </a:p>
        </p:txBody>
      </p:sp>
      <p:sp>
        <p:nvSpPr>
          <p:cNvPr id="43" name="object 43"/>
          <p:cNvSpPr/>
          <p:nvPr/>
        </p:nvSpPr>
        <p:spPr>
          <a:xfrm>
            <a:off x="6771132" y="3595116"/>
            <a:ext cx="1584960" cy="461772"/>
          </a:xfrm>
          <a:prstGeom prst="rect">
            <a:avLst/>
          </a:prstGeom>
          <a:blipFill>
            <a:blip r:embed="rId4" cstate="print"/>
            <a:stretch>
              <a:fillRect/>
            </a:stretch>
          </a:blipFill>
        </p:spPr>
        <p:txBody>
          <a:bodyPr wrap="square" lIns="0" tIns="0" rIns="0" bIns="0" rtlCol="0">
            <a:noAutofit/>
          </a:bodyPr>
          <a:lstStyle/>
          <a:p>
            <a:endParaRPr/>
          </a:p>
        </p:txBody>
      </p:sp>
      <p:sp>
        <p:nvSpPr>
          <p:cNvPr id="44" name="object 44"/>
          <p:cNvSpPr/>
          <p:nvPr/>
        </p:nvSpPr>
        <p:spPr>
          <a:xfrm>
            <a:off x="7978140" y="3595116"/>
            <a:ext cx="455676" cy="461772"/>
          </a:xfrm>
          <a:prstGeom prst="rect">
            <a:avLst/>
          </a:prstGeom>
          <a:blipFill>
            <a:blip r:embed="rId3" cstate="print"/>
            <a:stretch>
              <a:fillRect/>
            </a:stretch>
          </a:blipFill>
        </p:spPr>
        <p:txBody>
          <a:bodyPr wrap="square" lIns="0" tIns="0" rIns="0" bIns="0" rtlCol="0">
            <a:noAutofit/>
          </a:bodyPr>
          <a:lstStyle/>
          <a:p>
            <a:endParaRPr/>
          </a:p>
        </p:txBody>
      </p:sp>
      <p:sp>
        <p:nvSpPr>
          <p:cNvPr id="45" name="object 45"/>
          <p:cNvSpPr/>
          <p:nvPr/>
        </p:nvSpPr>
        <p:spPr>
          <a:xfrm>
            <a:off x="5075047" y="2107781"/>
            <a:ext cx="1402206" cy="740575"/>
          </a:xfrm>
          <a:prstGeom prst="rect">
            <a:avLst/>
          </a:prstGeom>
          <a:blipFill>
            <a:blip r:embed="rId5" cstate="print"/>
            <a:stretch>
              <a:fillRect/>
            </a:stretch>
          </a:blipFill>
        </p:spPr>
        <p:txBody>
          <a:bodyPr wrap="square" lIns="0" tIns="0" rIns="0" bIns="0" rtlCol="0">
            <a:noAutofit/>
          </a:bodyPr>
          <a:lstStyle/>
          <a:p>
            <a:endParaRPr/>
          </a:p>
        </p:txBody>
      </p:sp>
      <p:sp>
        <p:nvSpPr>
          <p:cNvPr id="46" name="object 46"/>
          <p:cNvSpPr/>
          <p:nvPr/>
        </p:nvSpPr>
        <p:spPr>
          <a:xfrm>
            <a:off x="4951604" y="1984375"/>
            <a:ext cx="1649095" cy="123444"/>
          </a:xfrm>
          <a:prstGeom prst="rect">
            <a:avLst/>
          </a:prstGeom>
          <a:blipFill>
            <a:blip r:embed="rId6" cstate="print"/>
            <a:stretch>
              <a:fillRect/>
            </a:stretch>
          </a:blipFill>
        </p:spPr>
        <p:txBody>
          <a:bodyPr wrap="square" lIns="0" tIns="0" rIns="0" bIns="0" rtlCol="0">
            <a:noAutofit/>
          </a:bodyPr>
          <a:lstStyle/>
          <a:p>
            <a:endParaRPr/>
          </a:p>
        </p:txBody>
      </p:sp>
      <p:sp>
        <p:nvSpPr>
          <p:cNvPr id="47" name="object 47"/>
          <p:cNvSpPr/>
          <p:nvPr/>
        </p:nvSpPr>
        <p:spPr>
          <a:xfrm>
            <a:off x="4951604" y="2848355"/>
            <a:ext cx="1649095" cy="123444"/>
          </a:xfrm>
          <a:prstGeom prst="rect">
            <a:avLst/>
          </a:prstGeom>
          <a:blipFill>
            <a:blip r:embed="rId7" cstate="print"/>
            <a:stretch>
              <a:fillRect/>
            </a:stretch>
          </a:blipFill>
        </p:spPr>
        <p:txBody>
          <a:bodyPr wrap="square" lIns="0" tIns="0" rIns="0" bIns="0" rtlCol="0">
            <a:noAutofit/>
          </a:bodyPr>
          <a:lstStyle/>
          <a:p>
            <a:endParaRPr/>
          </a:p>
        </p:txBody>
      </p:sp>
      <p:sp>
        <p:nvSpPr>
          <p:cNvPr id="48" name="object 48"/>
          <p:cNvSpPr/>
          <p:nvPr/>
        </p:nvSpPr>
        <p:spPr>
          <a:xfrm>
            <a:off x="4951603" y="1984376"/>
            <a:ext cx="123444" cy="987425"/>
          </a:xfrm>
          <a:prstGeom prst="rect">
            <a:avLst/>
          </a:prstGeom>
          <a:blipFill>
            <a:blip r:embed="rId8" cstate="print"/>
            <a:stretch>
              <a:fillRect/>
            </a:stretch>
          </a:blipFill>
        </p:spPr>
        <p:txBody>
          <a:bodyPr wrap="square" lIns="0" tIns="0" rIns="0" bIns="0" rtlCol="0">
            <a:noAutofit/>
          </a:bodyPr>
          <a:lstStyle/>
          <a:p>
            <a:endParaRPr/>
          </a:p>
        </p:txBody>
      </p:sp>
      <p:sp>
        <p:nvSpPr>
          <p:cNvPr id="49" name="object 49"/>
          <p:cNvSpPr/>
          <p:nvPr/>
        </p:nvSpPr>
        <p:spPr>
          <a:xfrm>
            <a:off x="6477254" y="1984376"/>
            <a:ext cx="123444" cy="987425"/>
          </a:xfrm>
          <a:prstGeom prst="rect">
            <a:avLst/>
          </a:prstGeom>
          <a:blipFill>
            <a:blip r:embed="rId9" cstate="print"/>
            <a:stretch>
              <a:fillRect/>
            </a:stretch>
          </a:blipFill>
        </p:spPr>
        <p:txBody>
          <a:bodyPr wrap="square" lIns="0" tIns="0" rIns="0" bIns="0" rtlCol="0">
            <a:noAutofit/>
          </a:bodyPr>
          <a:lstStyle/>
          <a:p>
            <a:endParaRPr/>
          </a:p>
        </p:txBody>
      </p:sp>
      <p:sp>
        <p:nvSpPr>
          <p:cNvPr id="50" name="object 50"/>
          <p:cNvSpPr/>
          <p:nvPr/>
        </p:nvSpPr>
        <p:spPr>
          <a:xfrm>
            <a:off x="4951604" y="1984376"/>
            <a:ext cx="1649095" cy="987425"/>
          </a:xfrm>
          <a:custGeom>
            <a:avLst/>
            <a:gdLst/>
            <a:ahLst/>
            <a:cxnLst/>
            <a:rect l="l" t="t" r="r" b="b"/>
            <a:pathLst>
              <a:path w="1649095" h="987425">
                <a:moveTo>
                  <a:pt x="0" y="0"/>
                </a:moveTo>
                <a:lnTo>
                  <a:pt x="1649095" y="0"/>
                </a:lnTo>
                <a:lnTo>
                  <a:pt x="1649095" y="987425"/>
                </a:lnTo>
                <a:lnTo>
                  <a:pt x="0" y="987425"/>
                </a:lnTo>
                <a:lnTo>
                  <a:pt x="0" y="0"/>
                </a:lnTo>
                <a:close/>
              </a:path>
            </a:pathLst>
          </a:custGeom>
          <a:ln w="12700">
            <a:solidFill>
              <a:srgbClr val="808080"/>
            </a:solidFill>
          </a:ln>
        </p:spPr>
        <p:txBody>
          <a:bodyPr wrap="square" lIns="0" tIns="0" rIns="0" bIns="0" rtlCol="0">
            <a:noAutofit/>
          </a:bodyPr>
          <a:lstStyle/>
          <a:p>
            <a:endParaRPr/>
          </a:p>
        </p:txBody>
      </p:sp>
      <p:sp>
        <p:nvSpPr>
          <p:cNvPr id="51" name="object 51"/>
          <p:cNvSpPr/>
          <p:nvPr/>
        </p:nvSpPr>
        <p:spPr>
          <a:xfrm>
            <a:off x="5075047" y="2107819"/>
            <a:ext cx="1402206" cy="740536"/>
          </a:xfrm>
          <a:custGeom>
            <a:avLst/>
            <a:gdLst/>
            <a:ahLst/>
            <a:cxnLst/>
            <a:rect l="l" t="t" r="r" b="b"/>
            <a:pathLst>
              <a:path w="1402206" h="740536">
                <a:moveTo>
                  <a:pt x="0" y="0"/>
                </a:moveTo>
                <a:lnTo>
                  <a:pt x="1402206" y="0"/>
                </a:lnTo>
                <a:lnTo>
                  <a:pt x="1402206" y="740536"/>
                </a:lnTo>
                <a:lnTo>
                  <a:pt x="0" y="740536"/>
                </a:lnTo>
                <a:lnTo>
                  <a:pt x="0" y="0"/>
                </a:lnTo>
                <a:close/>
              </a:path>
            </a:pathLst>
          </a:custGeom>
          <a:ln w="12699">
            <a:solidFill>
              <a:srgbClr val="808080"/>
            </a:solidFill>
          </a:ln>
        </p:spPr>
        <p:txBody>
          <a:bodyPr wrap="square" lIns="0" tIns="0" rIns="0" bIns="0" rtlCol="0">
            <a:noAutofit/>
          </a:bodyPr>
          <a:lstStyle/>
          <a:p>
            <a:endParaRPr/>
          </a:p>
        </p:txBody>
      </p:sp>
      <p:sp>
        <p:nvSpPr>
          <p:cNvPr id="52" name="object 52"/>
          <p:cNvSpPr/>
          <p:nvPr/>
        </p:nvSpPr>
        <p:spPr>
          <a:xfrm>
            <a:off x="4951603" y="1984375"/>
            <a:ext cx="123444" cy="123444"/>
          </a:xfrm>
          <a:custGeom>
            <a:avLst/>
            <a:gdLst/>
            <a:ahLst/>
            <a:cxnLst/>
            <a:rect l="l" t="t" r="r" b="b"/>
            <a:pathLst>
              <a:path w="123444" h="123444">
                <a:moveTo>
                  <a:pt x="0" y="0"/>
                </a:moveTo>
                <a:lnTo>
                  <a:pt x="123444" y="123444"/>
                </a:lnTo>
              </a:path>
            </a:pathLst>
          </a:custGeom>
          <a:ln w="12700">
            <a:solidFill>
              <a:srgbClr val="808080"/>
            </a:solidFill>
          </a:ln>
        </p:spPr>
        <p:txBody>
          <a:bodyPr wrap="square" lIns="0" tIns="0" rIns="0" bIns="0" rtlCol="0">
            <a:noAutofit/>
          </a:bodyPr>
          <a:lstStyle/>
          <a:p>
            <a:endParaRPr/>
          </a:p>
        </p:txBody>
      </p:sp>
      <p:sp>
        <p:nvSpPr>
          <p:cNvPr id="53" name="object 53"/>
          <p:cNvSpPr/>
          <p:nvPr/>
        </p:nvSpPr>
        <p:spPr>
          <a:xfrm>
            <a:off x="4951603" y="2848355"/>
            <a:ext cx="123444" cy="123444"/>
          </a:xfrm>
          <a:custGeom>
            <a:avLst/>
            <a:gdLst/>
            <a:ahLst/>
            <a:cxnLst/>
            <a:rect l="l" t="t" r="r" b="b"/>
            <a:pathLst>
              <a:path w="123444" h="123444">
                <a:moveTo>
                  <a:pt x="0" y="123444"/>
                </a:moveTo>
                <a:lnTo>
                  <a:pt x="123444" y="0"/>
                </a:lnTo>
              </a:path>
            </a:pathLst>
          </a:custGeom>
          <a:ln w="12700">
            <a:solidFill>
              <a:srgbClr val="808080"/>
            </a:solidFill>
          </a:ln>
        </p:spPr>
        <p:txBody>
          <a:bodyPr wrap="square" lIns="0" tIns="0" rIns="0" bIns="0" rtlCol="0">
            <a:noAutofit/>
          </a:bodyPr>
          <a:lstStyle/>
          <a:p>
            <a:endParaRPr/>
          </a:p>
        </p:txBody>
      </p:sp>
      <p:sp>
        <p:nvSpPr>
          <p:cNvPr id="54" name="object 54"/>
          <p:cNvSpPr/>
          <p:nvPr/>
        </p:nvSpPr>
        <p:spPr>
          <a:xfrm>
            <a:off x="6477254" y="1984375"/>
            <a:ext cx="123444" cy="123444"/>
          </a:xfrm>
          <a:custGeom>
            <a:avLst/>
            <a:gdLst/>
            <a:ahLst/>
            <a:cxnLst/>
            <a:rect l="l" t="t" r="r" b="b"/>
            <a:pathLst>
              <a:path w="123444" h="123444">
                <a:moveTo>
                  <a:pt x="123444" y="0"/>
                </a:moveTo>
                <a:lnTo>
                  <a:pt x="0" y="123444"/>
                </a:lnTo>
              </a:path>
            </a:pathLst>
          </a:custGeom>
          <a:ln w="12700">
            <a:solidFill>
              <a:srgbClr val="808080"/>
            </a:solidFill>
          </a:ln>
        </p:spPr>
        <p:txBody>
          <a:bodyPr wrap="square" lIns="0" tIns="0" rIns="0" bIns="0" rtlCol="0">
            <a:noAutofit/>
          </a:bodyPr>
          <a:lstStyle/>
          <a:p>
            <a:endParaRPr/>
          </a:p>
        </p:txBody>
      </p:sp>
      <p:sp>
        <p:nvSpPr>
          <p:cNvPr id="55" name="object 55"/>
          <p:cNvSpPr/>
          <p:nvPr/>
        </p:nvSpPr>
        <p:spPr>
          <a:xfrm>
            <a:off x="6477254" y="2848355"/>
            <a:ext cx="123444" cy="123444"/>
          </a:xfrm>
          <a:custGeom>
            <a:avLst/>
            <a:gdLst/>
            <a:ahLst/>
            <a:cxnLst/>
            <a:rect l="l" t="t" r="r" b="b"/>
            <a:pathLst>
              <a:path w="123444" h="123444">
                <a:moveTo>
                  <a:pt x="123444" y="123444"/>
                </a:moveTo>
                <a:lnTo>
                  <a:pt x="0" y="0"/>
                </a:lnTo>
              </a:path>
            </a:pathLst>
          </a:custGeom>
          <a:ln w="12700">
            <a:solidFill>
              <a:srgbClr val="808080"/>
            </a:solidFill>
          </a:ln>
        </p:spPr>
        <p:txBody>
          <a:bodyPr wrap="square" lIns="0" tIns="0" rIns="0" bIns="0" rtlCol="0">
            <a:noAutofit/>
          </a:bodyPr>
          <a:lstStyle/>
          <a:p>
            <a:endParaRPr/>
          </a:p>
        </p:txBody>
      </p:sp>
      <p:sp>
        <p:nvSpPr>
          <p:cNvPr id="56" name="object 56"/>
          <p:cNvSpPr/>
          <p:nvPr/>
        </p:nvSpPr>
        <p:spPr>
          <a:xfrm>
            <a:off x="5000244" y="4847831"/>
            <a:ext cx="1773174" cy="740562"/>
          </a:xfrm>
          <a:prstGeom prst="rect">
            <a:avLst/>
          </a:prstGeom>
          <a:blipFill>
            <a:blip r:embed="rId10" cstate="print"/>
            <a:stretch>
              <a:fillRect/>
            </a:stretch>
          </a:blipFill>
        </p:spPr>
        <p:txBody>
          <a:bodyPr wrap="square" lIns="0" tIns="0" rIns="0" bIns="0" rtlCol="0">
            <a:noAutofit/>
          </a:bodyPr>
          <a:lstStyle/>
          <a:p>
            <a:endParaRPr/>
          </a:p>
        </p:txBody>
      </p:sp>
      <p:sp>
        <p:nvSpPr>
          <p:cNvPr id="57" name="object 57"/>
          <p:cNvSpPr/>
          <p:nvPr/>
        </p:nvSpPr>
        <p:spPr>
          <a:xfrm>
            <a:off x="4876801" y="4724401"/>
            <a:ext cx="2019935" cy="123443"/>
          </a:xfrm>
          <a:prstGeom prst="rect">
            <a:avLst/>
          </a:prstGeom>
          <a:blipFill>
            <a:blip r:embed="rId11" cstate="print"/>
            <a:stretch>
              <a:fillRect/>
            </a:stretch>
          </a:blipFill>
        </p:spPr>
        <p:txBody>
          <a:bodyPr wrap="square" lIns="0" tIns="0" rIns="0" bIns="0" rtlCol="0">
            <a:noAutofit/>
          </a:bodyPr>
          <a:lstStyle/>
          <a:p>
            <a:endParaRPr/>
          </a:p>
        </p:txBody>
      </p:sp>
      <p:sp>
        <p:nvSpPr>
          <p:cNvPr id="58" name="object 58"/>
          <p:cNvSpPr/>
          <p:nvPr/>
        </p:nvSpPr>
        <p:spPr>
          <a:xfrm>
            <a:off x="4876801" y="5588394"/>
            <a:ext cx="2019935" cy="123431"/>
          </a:xfrm>
          <a:prstGeom prst="rect">
            <a:avLst/>
          </a:prstGeom>
          <a:blipFill>
            <a:blip r:embed="rId12" cstate="print"/>
            <a:stretch>
              <a:fillRect/>
            </a:stretch>
          </a:blipFill>
        </p:spPr>
        <p:txBody>
          <a:bodyPr wrap="square" lIns="0" tIns="0" rIns="0" bIns="0" rtlCol="0">
            <a:noAutofit/>
          </a:bodyPr>
          <a:lstStyle/>
          <a:p>
            <a:endParaRPr/>
          </a:p>
        </p:txBody>
      </p:sp>
      <p:sp>
        <p:nvSpPr>
          <p:cNvPr id="59" name="object 59"/>
          <p:cNvSpPr/>
          <p:nvPr/>
        </p:nvSpPr>
        <p:spPr>
          <a:xfrm>
            <a:off x="4876800" y="4724401"/>
            <a:ext cx="123444" cy="987425"/>
          </a:xfrm>
          <a:prstGeom prst="rect">
            <a:avLst/>
          </a:prstGeom>
          <a:blipFill>
            <a:blip r:embed="rId13" cstate="print"/>
            <a:stretch>
              <a:fillRect/>
            </a:stretch>
          </a:blipFill>
        </p:spPr>
        <p:txBody>
          <a:bodyPr wrap="square" lIns="0" tIns="0" rIns="0" bIns="0" rtlCol="0">
            <a:noAutofit/>
          </a:bodyPr>
          <a:lstStyle/>
          <a:p>
            <a:endParaRPr/>
          </a:p>
        </p:txBody>
      </p:sp>
      <p:sp>
        <p:nvSpPr>
          <p:cNvPr id="60" name="object 60"/>
          <p:cNvSpPr/>
          <p:nvPr/>
        </p:nvSpPr>
        <p:spPr>
          <a:xfrm>
            <a:off x="6773419" y="4724401"/>
            <a:ext cx="123317" cy="987425"/>
          </a:xfrm>
          <a:prstGeom prst="rect">
            <a:avLst/>
          </a:prstGeom>
          <a:blipFill>
            <a:blip r:embed="rId14" cstate="print"/>
            <a:stretch>
              <a:fillRect/>
            </a:stretch>
          </a:blipFill>
        </p:spPr>
        <p:txBody>
          <a:bodyPr wrap="square" lIns="0" tIns="0" rIns="0" bIns="0" rtlCol="0">
            <a:noAutofit/>
          </a:bodyPr>
          <a:lstStyle/>
          <a:p>
            <a:endParaRPr/>
          </a:p>
        </p:txBody>
      </p:sp>
      <p:sp>
        <p:nvSpPr>
          <p:cNvPr id="61" name="object 61"/>
          <p:cNvSpPr/>
          <p:nvPr/>
        </p:nvSpPr>
        <p:spPr>
          <a:xfrm>
            <a:off x="4876801" y="4724401"/>
            <a:ext cx="2019935" cy="987425"/>
          </a:xfrm>
          <a:custGeom>
            <a:avLst/>
            <a:gdLst/>
            <a:ahLst/>
            <a:cxnLst/>
            <a:rect l="l" t="t" r="r" b="b"/>
            <a:pathLst>
              <a:path w="2019935" h="987425">
                <a:moveTo>
                  <a:pt x="0" y="0"/>
                </a:moveTo>
                <a:lnTo>
                  <a:pt x="2019935" y="0"/>
                </a:lnTo>
                <a:lnTo>
                  <a:pt x="2019935" y="987425"/>
                </a:lnTo>
                <a:lnTo>
                  <a:pt x="0" y="987425"/>
                </a:lnTo>
                <a:lnTo>
                  <a:pt x="0" y="0"/>
                </a:lnTo>
                <a:close/>
              </a:path>
            </a:pathLst>
          </a:custGeom>
          <a:ln w="12700">
            <a:solidFill>
              <a:srgbClr val="808080"/>
            </a:solidFill>
          </a:ln>
        </p:spPr>
        <p:txBody>
          <a:bodyPr wrap="square" lIns="0" tIns="0" rIns="0" bIns="0" rtlCol="0">
            <a:noAutofit/>
          </a:bodyPr>
          <a:lstStyle/>
          <a:p>
            <a:endParaRPr/>
          </a:p>
        </p:txBody>
      </p:sp>
      <p:sp>
        <p:nvSpPr>
          <p:cNvPr id="62" name="object 62"/>
          <p:cNvSpPr/>
          <p:nvPr/>
        </p:nvSpPr>
        <p:spPr>
          <a:xfrm>
            <a:off x="5000245" y="4847845"/>
            <a:ext cx="1773173" cy="740549"/>
          </a:xfrm>
          <a:custGeom>
            <a:avLst/>
            <a:gdLst/>
            <a:ahLst/>
            <a:cxnLst/>
            <a:rect l="l" t="t" r="r" b="b"/>
            <a:pathLst>
              <a:path w="1773173" h="740549">
                <a:moveTo>
                  <a:pt x="0" y="0"/>
                </a:moveTo>
                <a:lnTo>
                  <a:pt x="1773173" y="0"/>
                </a:lnTo>
                <a:lnTo>
                  <a:pt x="1773173" y="740549"/>
                </a:lnTo>
                <a:lnTo>
                  <a:pt x="0" y="740549"/>
                </a:lnTo>
                <a:lnTo>
                  <a:pt x="0" y="0"/>
                </a:lnTo>
                <a:close/>
              </a:path>
            </a:pathLst>
          </a:custGeom>
          <a:ln w="12700">
            <a:solidFill>
              <a:srgbClr val="808080"/>
            </a:solidFill>
          </a:ln>
        </p:spPr>
        <p:txBody>
          <a:bodyPr wrap="square" lIns="0" tIns="0" rIns="0" bIns="0" rtlCol="0">
            <a:noAutofit/>
          </a:bodyPr>
          <a:lstStyle/>
          <a:p>
            <a:endParaRPr/>
          </a:p>
        </p:txBody>
      </p:sp>
      <p:sp>
        <p:nvSpPr>
          <p:cNvPr id="63" name="object 63"/>
          <p:cNvSpPr/>
          <p:nvPr/>
        </p:nvSpPr>
        <p:spPr>
          <a:xfrm>
            <a:off x="4876800" y="4724401"/>
            <a:ext cx="123444" cy="123443"/>
          </a:xfrm>
          <a:custGeom>
            <a:avLst/>
            <a:gdLst/>
            <a:ahLst/>
            <a:cxnLst/>
            <a:rect l="l" t="t" r="r" b="b"/>
            <a:pathLst>
              <a:path w="123444" h="123444">
                <a:moveTo>
                  <a:pt x="0" y="0"/>
                </a:moveTo>
                <a:lnTo>
                  <a:pt x="123444" y="123443"/>
                </a:lnTo>
              </a:path>
            </a:pathLst>
          </a:custGeom>
          <a:ln w="12700">
            <a:solidFill>
              <a:srgbClr val="808080"/>
            </a:solidFill>
          </a:ln>
        </p:spPr>
        <p:txBody>
          <a:bodyPr wrap="square" lIns="0" tIns="0" rIns="0" bIns="0" rtlCol="0">
            <a:noAutofit/>
          </a:bodyPr>
          <a:lstStyle/>
          <a:p>
            <a:endParaRPr/>
          </a:p>
        </p:txBody>
      </p:sp>
      <p:sp>
        <p:nvSpPr>
          <p:cNvPr id="64" name="object 64"/>
          <p:cNvSpPr/>
          <p:nvPr/>
        </p:nvSpPr>
        <p:spPr>
          <a:xfrm>
            <a:off x="4876800" y="5588394"/>
            <a:ext cx="123444" cy="123431"/>
          </a:xfrm>
          <a:custGeom>
            <a:avLst/>
            <a:gdLst/>
            <a:ahLst/>
            <a:cxnLst/>
            <a:rect l="l" t="t" r="r" b="b"/>
            <a:pathLst>
              <a:path w="123444" h="123431">
                <a:moveTo>
                  <a:pt x="0" y="123431"/>
                </a:moveTo>
                <a:lnTo>
                  <a:pt x="123444" y="0"/>
                </a:lnTo>
              </a:path>
            </a:pathLst>
          </a:custGeom>
          <a:ln w="12700">
            <a:solidFill>
              <a:srgbClr val="808080"/>
            </a:solidFill>
          </a:ln>
        </p:spPr>
        <p:txBody>
          <a:bodyPr wrap="square" lIns="0" tIns="0" rIns="0" bIns="0" rtlCol="0">
            <a:noAutofit/>
          </a:bodyPr>
          <a:lstStyle/>
          <a:p>
            <a:endParaRPr/>
          </a:p>
        </p:txBody>
      </p:sp>
      <p:sp>
        <p:nvSpPr>
          <p:cNvPr id="65" name="object 65"/>
          <p:cNvSpPr/>
          <p:nvPr/>
        </p:nvSpPr>
        <p:spPr>
          <a:xfrm>
            <a:off x="6773419" y="4724401"/>
            <a:ext cx="123317" cy="123443"/>
          </a:xfrm>
          <a:custGeom>
            <a:avLst/>
            <a:gdLst/>
            <a:ahLst/>
            <a:cxnLst/>
            <a:rect l="l" t="t" r="r" b="b"/>
            <a:pathLst>
              <a:path w="123317" h="123444">
                <a:moveTo>
                  <a:pt x="123317" y="0"/>
                </a:moveTo>
                <a:lnTo>
                  <a:pt x="0" y="123443"/>
                </a:lnTo>
              </a:path>
            </a:pathLst>
          </a:custGeom>
          <a:ln w="12700">
            <a:solidFill>
              <a:srgbClr val="808080"/>
            </a:solidFill>
          </a:ln>
        </p:spPr>
        <p:txBody>
          <a:bodyPr wrap="square" lIns="0" tIns="0" rIns="0" bIns="0" rtlCol="0">
            <a:noAutofit/>
          </a:bodyPr>
          <a:lstStyle/>
          <a:p>
            <a:endParaRPr/>
          </a:p>
        </p:txBody>
      </p:sp>
      <p:sp>
        <p:nvSpPr>
          <p:cNvPr id="66" name="object 66"/>
          <p:cNvSpPr/>
          <p:nvPr/>
        </p:nvSpPr>
        <p:spPr>
          <a:xfrm>
            <a:off x="6773419" y="5588394"/>
            <a:ext cx="123317" cy="123431"/>
          </a:xfrm>
          <a:custGeom>
            <a:avLst/>
            <a:gdLst/>
            <a:ahLst/>
            <a:cxnLst/>
            <a:rect l="l" t="t" r="r" b="b"/>
            <a:pathLst>
              <a:path w="123317" h="123431">
                <a:moveTo>
                  <a:pt x="123317" y="123431"/>
                </a:moveTo>
                <a:lnTo>
                  <a:pt x="0" y="0"/>
                </a:lnTo>
              </a:path>
            </a:pathLst>
          </a:custGeom>
          <a:ln w="12700">
            <a:solidFill>
              <a:srgbClr val="808080"/>
            </a:solidFill>
          </a:ln>
        </p:spPr>
        <p:txBody>
          <a:bodyPr wrap="square" lIns="0" tIns="0" rIns="0" bIns="0" rtlCol="0">
            <a:noAutofit/>
          </a:bodyPr>
          <a:lstStyle/>
          <a:p>
            <a:endParaRPr/>
          </a:p>
        </p:txBody>
      </p:sp>
      <p:sp>
        <p:nvSpPr>
          <p:cNvPr id="67" name="object 67"/>
          <p:cNvSpPr/>
          <p:nvPr/>
        </p:nvSpPr>
        <p:spPr>
          <a:xfrm>
            <a:off x="8663051" y="2107781"/>
            <a:ext cx="1402206" cy="740575"/>
          </a:xfrm>
          <a:prstGeom prst="rect">
            <a:avLst/>
          </a:prstGeom>
          <a:blipFill>
            <a:blip r:embed="rId15" cstate="print"/>
            <a:stretch>
              <a:fillRect/>
            </a:stretch>
          </a:blipFill>
        </p:spPr>
        <p:txBody>
          <a:bodyPr wrap="square" lIns="0" tIns="0" rIns="0" bIns="0" rtlCol="0">
            <a:noAutofit/>
          </a:bodyPr>
          <a:lstStyle/>
          <a:p>
            <a:endParaRPr/>
          </a:p>
        </p:txBody>
      </p:sp>
      <p:sp>
        <p:nvSpPr>
          <p:cNvPr id="68" name="object 68"/>
          <p:cNvSpPr/>
          <p:nvPr/>
        </p:nvSpPr>
        <p:spPr>
          <a:xfrm>
            <a:off x="8539607" y="1984375"/>
            <a:ext cx="1648968" cy="123444"/>
          </a:xfrm>
          <a:prstGeom prst="rect">
            <a:avLst/>
          </a:prstGeom>
          <a:blipFill>
            <a:blip r:embed="rId16" cstate="print"/>
            <a:stretch>
              <a:fillRect/>
            </a:stretch>
          </a:blipFill>
        </p:spPr>
        <p:txBody>
          <a:bodyPr wrap="square" lIns="0" tIns="0" rIns="0" bIns="0" rtlCol="0">
            <a:noAutofit/>
          </a:bodyPr>
          <a:lstStyle/>
          <a:p>
            <a:endParaRPr/>
          </a:p>
        </p:txBody>
      </p:sp>
      <p:sp>
        <p:nvSpPr>
          <p:cNvPr id="69" name="object 69"/>
          <p:cNvSpPr/>
          <p:nvPr/>
        </p:nvSpPr>
        <p:spPr>
          <a:xfrm>
            <a:off x="8539607" y="2848355"/>
            <a:ext cx="1648968" cy="123444"/>
          </a:xfrm>
          <a:prstGeom prst="rect">
            <a:avLst/>
          </a:prstGeom>
          <a:blipFill>
            <a:blip r:embed="rId17" cstate="print"/>
            <a:stretch>
              <a:fillRect/>
            </a:stretch>
          </a:blipFill>
        </p:spPr>
        <p:txBody>
          <a:bodyPr wrap="square" lIns="0" tIns="0" rIns="0" bIns="0" rtlCol="0">
            <a:noAutofit/>
          </a:bodyPr>
          <a:lstStyle/>
          <a:p>
            <a:endParaRPr/>
          </a:p>
        </p:txBody>
      </p:sp>
      <p:sp>
        <p:nvSpPr>
          <p:cNvPr id="70" name="object 70"/>
          <p:cNvSpPr/>
          <p:nvPr/>
        </p:nvSpPr>
        <p:spPr>
          <a:xfrm>
            <a:off x="8539607" y="1984376"/>
            <a:ext cx="123444" cy="987425"/>
          </a:xfrm>
          <a:prstGeom prst="rect">
            <a:avLst/>
          </a:prstGeom>
          <a:blipFill>
            <a:blip r:embed="rId18" cstate="print"/>
            <a:stretch>
              <a:fillRect/>
            </a:stretch>
          </a:blipFill>
        </p:spPr>
        <p:txBody>
          <a:bodyPr wrap="square" lIns="0" tIns="0" rIns="0" bIns="0" rtlCol="0">
            <a:noAutofit/>
          </a:bodyPr>
          <a:lstStyle/>
          <a:p>
            <a:endParaRPr/>
          </a:p>
        </p:txBody>
      </p:sp>
      <p:sp>
        <p:nvSpPr>
          <p:cNvPr id="71" name="object 71"/>
          <p:cNvSpPr/>
          <p:nvPr/>
        </p:nvSpPr>
        <p:spPr>
          <a:xfrm>
            <a:off x="10065259" y="1984376"/>
            <a:ext cx="123317" cy="987425"/>
          </a:xfrm>
          <a:prstGeom prst="rect">
            <a:avLst/>
          </a:prstGeom>
          <a:blipFill>
            <a:blip r:embed="rId14" cstate="print"/>
            <a:stretch>
              <a:fillRect/>
            </a:stretch>
          </a:blipFill>
        </p:spPr>
        <p:txBody>
          <a:bodyPr wrap="square" lIns="0" tIns="0" rIns="0" bIns="0" rtlCol="0">
            <a:noAutofit/>
          </a:bodyPr>
          <a:lstStyle/>
          <a:p>
            <a:endParaRPr/>
          </a:p>
        </p:txBody>
      </p:sp>
      <p:sp>
        <p:nvSpPr>
          <p:cNvPr id="72" name="object 72"/>
          <p:cNvSpPr/>
          <p:nvPr/>
        </p:nvSpPr>
        <p:spPr>
          <a:xfrm>
            <a:off x="8539607" y="1984376"/>
            <a:ext cx="1648968" cy="987425"/>
          </a:xfrm>
          <a:custGeom>
            <a:avLst/>
            <a:gdLst/>
            <a:ahLst/>
            <a:cxnLst/>
            <a:rect l="l" t="t" r="r" b="b"/>
            <a:pathLst>
              <a:path w="1648968" h="987425">
                <a:moveTo>
                  <a:pt x="0" y="0"/>
                </a:moveTo>
                <a:lnTo>
                  <a:pt x="1648968" y="0"/>
                </a:lnTo>
                <a:lnTo>
                  <a:pt x="1648968" y="987425"/>
                </a:lnTo>
                <a:lnTo>
                  <a:pt x="0" y="987425"/>
                </a:lnTo>
                <a:lnTo>
                  <a:pt x="0" y="0"/>
                </a:lnTo>
                <a:close/>
              </a:path>
            </a:pathLst>
          </a:custGeom>
          <a:ln w="12700">
            <a:solidFill>
              <a:srgbClr val="808080"/>
            </a:solidFill>
          </a:ln>
        </p:spPr>
        <p:txBody>
          <a:bodyPr wrap="square" lIns="0" tIns="0" rIns="0" bIns="0" rtlCol="0">
            <a:noAutofit/>
          </a:bodyPr>
          <a:lstStyle/>
          <a:p>
            <a:endParaRPr/>
          </a:p>
        </p:txBody>
      </p:sp>
      <p:sp>
        <p:nvSpPr>
          <p:cNvPr id="73" name="object 73"/>
          <p:cNvSpPr/>
          <p:nvPr/>
        </p:nvSpPr>
        <p:spPr>
          <a:xfrm>
            <a:off x="8663051" y="2107819"/>
            <a:ext cx="1402206" cy="740536"/>
          </a:xfrm>
          <a:custGeom>
            <a:avLst/>
            <a:gdLst/>
            <a:ahLst/>
            <a:cxnLst/>
            <a:rect l="l" t="t" r="r" b="b"/>
            <a:pathLst>
              <a:path w="1402206" h="740536">
                <a:moveTo>
                  <a:pt x="0" y="0"/>
                </a:moveTo>
                <a:lnTo>
                  <a:pt x="1402206" y="0"/>
                </a:lnTo>
                <a:lnTo>
                  <a:pt x="1402206" y="740536"/>
                </a:lnTo>
                <a:lnTo>
                  <a:pt x="0" y="740536"/>
                </a:lnTo>
                <a:lnTo>
                  <a:pt x="0" y="0"/>
                </a:lnTo>
                <a:close/>
              </a:path>
            </a:pathLst>
          </a:custGeom>
          <a:ln w="12699">
            <a:solidFill>
              <a:srgbClr val="808080"/>
            </a:solidFill>
          </a:ln>
        </p:spPr>
        <p:txBody>
          <a:bodyPr wrap="square" lIns="0" tIns="0" rIns="0" bIns="0" rtlCol="0">
            <a:noAutofit/>
          </a:bodyPr>
          <a:lstStyle/>
          <a:p>
            <a:endParaRPr/>
          </a:p>
        </p:txBody>
      </p:sp>
      <p:sp>
        <p:nvSpPr>
          <p:cNvPr id="74" name="object 74"/>
          <p:cNvSpPr/>
          <p:nvPr/>
        </p:nvSpPr>
        <p:spPr>
          <a:xfrm>
            <a:off x="8539607" y="1984375"/>
            <a:ext cx="123444" cy="123444"/>
          </a:xfrm>
          <a:custGeom>
            <a:avLst/>
            <a:gdLst/>
            <a:ahLst/>
            <a:cxnLst/>
            <a:rect l="l" t="t" r="r" b="b"/>
            <a:pathLst>
              <a:path w="123444" h="123444">
                <a:moveTo>
                  <a:pt x="0" y="0"/>
                </a:moveTo>
                <a:lnTo>
                  <a:pt x="123444" y="123444"/>
                </a:lnTo>
              </a:path>
            </a:pathLst>
          </a:custGeom>
          <a:ln w="12700">
            <a:solidFill>
              <a:srgbClr val="808080"/>
            </a:solidFill>
          </a:ln>
        </p:spPr>
        <p:txBody>
          <a:bodyPr wrap="square" lIns="0" tIns="0" rIns="0" bIns="0" rtlCol="0">
            <a:noAutofit/>
          </a:bodyPr>
          <a:lstStyle/>
          <a:p>
            <a:endParaRPr/>
          </a:p>
        </p:txBody>
      </p:sp>
      <p:sp>
        <p:nvSpPr>
          <p:cNvPr id="75" name="object 75"/>
          <p:cNvSpPr/>
          <p:nvPr/>
        </p:nvSpPr>
        <p:spPr>
          <a:xfrm>
            <a:off x="8539607" y="2848355"/>
            <a:ext cx="123444" cy="123444"/>
          </a:xfrm>
          <a:custGeom>
            <a:avLst/>
            <a:gdLst/>
            <a:ahLst/>
            <a:cxnLst/>
            <a:rect l="l" t="t" r="r" b="b"/>
            <a:pathLst>
              <a:path w="123444" h="123444">
                <a:moveTo>
                  <a:pt x="0" y="123444"/>
                </a:moveTo>
                <a:lnTo>
                  <a:pt x="123444" y="0"/>
                </a:lnTo>
              </a:path>
            </a:pathLst>
          </a:custGeom>
          <a:ln w="12700">
            <a:solidFill>
              <a:srgbClr val="808080"/>
            </a:solidFill>
          </a:ln>
        </p:spPr>
        <p:txBody>
          <a:bodyPr wrap="square" lIns="0" tIns="0" rIns="0" bIns="0" rtlCol="0">
            <a:noAutofit/>
          </a:bodyPr>
          <a:lstStyle/>
          <a:p>
            <a:endParaRPr/>
          </a:p>
        </p:txBody>
      </p:sp>
      <p:sp>
        <p:nvSpPr>
          <p:cNvPr id="76" name="object 76"/>
          <p:cNvSpPr/>
          <p:nvPr/>
        </p:nvSpPr>
        <p:spPr>
          <a:xfrm>
            <a:off x="10065259" y="1984375"/>
            <a:ext cx="123317" cy="123444"/>
          </a:xfrm>
          <a:custGeom>
            <a:avLst/>
            <a:gdLst/>
            <a:ahLst/>
            <a:cxnLst/>
            <a:rect l="l" t="t" r="r" b="b"/>
            <a:pathLst>
              <a:path w="123317" h="123444">
                <a:moveTo>
                  <a:pt x="123317" y="0"/>
                </a:moveTo>
                <a:lnTo>
                  <a:pt x="0" y="123444"/>
                </a:lnTo>
              </a:path>
            </a:pathLst>
          </a:custGeom>
          <a:ln w="12700">
            <a:solidFill>
              <a:srgbClr val="808080"/>
            </a:solidFill>
          </a:ln>
        </p:spPr>
        <p:txBody>
          <a:bodyPr wrap="square" lIns="0" tIns="0" rIns="0" bIns="0" rtlCol="0">
            <a:noAutofit/>
          </a:bodyPr>
          <a:lstStyle/>
          <a:p>
            <a:endParaRPr/>
          </a:p>
        </p:txBody>
      </p:sp>
      <p:sp>
        <p:nvSpPr>
          <p:cNvPr id="77" name="object 77"/>
          <p:cNvSpPr/>
          <p:nvPr/>
        </p:nvSpPr>
        <p:spPr>
          <a:xfrm>
            <a:off x="10065259" y="2848355"/>
            <a:ext cx="123317" cy="123444"/>
          </a:xfrm>
          <a:custGeom>
            <a:avLst/>
            <a:gdLst/>
            <a:ahLst/>
            <a:cxnLst/>
            <a:rect l="l" t="t" r="r" b="b"/>
            <a:pathLst>
              <a:path w="123317" h="123444">
                <a:moveTo>
                  <a:pt x="123317" y="123444"/>
                </a:moveTo>
                <a:lnTo>
                  <a:pt x="0" y="0"/>
                </a:lnTo>
              </a:path>
            </a:pathLst>
          </a:custGeom>
          <a:ln w="12700">
            <a:solidFill>
              <a:srgbClr val="808080"/>
            </a:solidFill>
          </a:ln>
        </p:spPr>
        <p:txBody>
          <a:bodyPr wrap="square" lIns="0" tIns="0" rIns="0" bIns="0" rtlCol="0">
            <a:noAutofit/>
          </a:bodyPr>
          <a:lstStyle/>
          <a:p>
            <a:endParaRPr/>
          </a:p>
        </p:txBody>
      </p:sp>
      <p:sp>
        <p:nvSpPr>
          <p:cNvPr id="78" name="object 78"/>
          <p:cNvSpPr/>
          <p:nvPr/>
        </p:nvSpPr>
        <p:spPr>
          <a:xfrm>
            <a:off x="8541512" y="4847831"/>
            <a:ext cx="1698371" cy="740562"/>
          </a:xfrm>
          <a:prstGeom prst="rect">
            <a:avLst/>
          </a:prstGeom>
          <a:blipFill>
            <a:blip r:embed="rId19" cstate="print"/>
            <a:stretch>
              <a:fillRect/>
            </a:stretch>
          </a:blipFill>
        </p:spPr>
        <p:txBody>
          <a:bodyPr wrap="square" lIns="0" tIns="0" rIns="0" bIns="0" rtlCol="0">
            <a:noAutofit/>
          </a:bodyPr>
          <a:lstStyle/>
          <a:p>
            <a:endParaRPr/>
          </a:p>
        </p:txBody>
      </p:sp>
      <p:sp>
        <p:nvSpPr>
          <p:cNvPr id="79" name="object 79"/>
          <p:cNvSpPr/>
          <p:nvPr/>
        </p:nvSpPr>
        <p:spPr>
          <a:xfrm>
            <a:off x="8418069" y="4724401"/>
            <a:ext cx="1945131" cy="123443"/>
          </a:xfrm>
          <a:prstGeom prst="rect">
            <a:avLst/>
          </a:prstGeom>
          <a:blipFill>
            <a:blip r:embed="rId20" cstate="print"/>
            <a:stretch>
              <a:fillRect/>
            </a:stretch>
          </a:blipFill>
        </p:spPr>
        <p:txBody>
          <a:bodyPr wrap="square" lIns="0" tIns="0" rIns="0" bIns="0" rtlCol="0">
            <a:noAutofit/>
          </a:bodyPr>
          <a:lstStyle/>
          <a:p>
            <a:endParaRPr/>
          </a:p>
        </p:txBody>
      </p:sp>
      <p:sp>
        <p:nvSpPr>
          <p:cNvPr id="80" name="object 80"/>
          <p:cNvSpPr/>
          <p:nvPr/>
        </p:nvSpPr>
        <p:spPr>
          <a:xfrm>
            <a:off x="8418069" y="5588394"/>
            <a:ext cx="1945131" cy="123431"/>
          </a:xfrm>
          <a:prstGeom prst="rect">
            <a:avLst/>
          </a:prstGeom>
          <a:blipFill>
            <a:blip r:embed="rId21" cstate="print"/>
            <a:stretch>
              <a:fillRect/>
            </a:stretch>
          </a:blipFill>
        </p:spPr>
        <p:txBody>
          <a:bodyPr wrap="square" lIns="0" tIns="0" rIns="0" bIns="0" rtlCol="0">
            <a:noAutofit/>
          </a:bodyPr>
          <a:lstStyle/>
          <a:p>
            <a:endParaRPr/>
          </a:p>
        </p:txBody>
      </p:sp>
      <p:sp>
        <p:nvSpPr>
          <p:cNvPr id="81" name="object 81"/>
          <p:cNvSpPr/>
          <p:nvPr/>
        </p:nvSpPr>
        <p:spPr>
          <a:xfrm>
            <a:off x="8418069" y="4724401"/>
            <a:ext cx="123443" cy="987425"/>
          </a:xfrm>
          <a:prstGeom prst="rect">
            <a:avLst/>
          </a:prstGeom>
          <a:blipFill>
            <a:blip r:embed="rId22" cstate="print"/>
            <a:stretch>
              <a:fillRect/>
            </a:stretch>
          </a:blipFill>
        </p:spPr>
        <p:txBody>
          <a:bodyPr wrap="square" lIns="0" tIns="0" rIns="0" bIns="0" rtlCol="0">
            <a:noAutofit/>
          </a:bodyPr>
          <a:lstStyle/>
          <a:p>
            <a:endParaRPr/>
          </a:p>
        </p:txBody>
      </p:sp>
      <p:sp>
        <p:nvSpPr>
          <p:cNvPr id="82" name="object 82"/>
          <p:cNvSpPr/>
          <p:nvPr/>
        </p:nvSpPr>
        <p:spPr>
          <a:xfrm>
            <a:off x="10239756" y="4724401"/>
            <a:ext cx="123444" cy="987425"/>
          </a:xfrm>
          <a:prstGeom prst="rect">
            <a:avLst/>
          </a:prstGeom>
          <a:blipFill>
            <a:blip r:embed="rId14" cstate="print"/>
            <a:stretch>
              <a:fillRect/>
            </a:stretch>
          </a:blipFill>
        </p:spPr>
        <p:txBody>
          <a:bodyPr wrap="square" lIns="0" tIns="0" rIns="0" bIns="0" rtlCol="0">
            <a:noAutofit/>
          </a:bodyPr>
          <a:lstStyle/>
          <a:p>
            <a:endParaRPr/>
          </a:p>
        </p:txBody>
      </p:sp>
      <p:sp>
        <p:nvSpPr>
          <p:cNvPr id="83" name="object 83"/>
          <p:cNvSpPr/>
          <p:nvPr/>
        </p:nvSpPr>
        <p:spPr>
          <a:xfrm>
            <a:off x="8418069" y="4724401"/>
            <a:ext cx="1945131" cy="987425"/>
          </a:xfrm>
          <a:custGeom>
            <a:avLst/>
            <a:gdLst/>
            <a:ahLst/>
            <a:cxnLst/>
            <a:rect l="l" t="t" r="r" b="b"/>
            <a:pathLst>
              <a:path w="1945131" h="987425">
                <a:moveTo>
                  <a:pt x="0" y="0"/>
                </a:moveTo>
                <a:lnTo>
                  <a:pt x="1945131" y="0"/>
                </a:lnTo>
                <a:lnTo>
                  <a:pt x="1945131" y="987425"/>
                </a:lnTo>
                <a:lnTo>
                  <a:pt x="0" y="987425"/>
                </a:lnTo>
                <a:lnTo>
                  <a:pt x="0" y="0"/>
                </a:lnTo>
                <a:close/>
              </a:path>
            </a:pathLst>
          </a:custGeom>
          <a:ln w="12700">
            <a:solidFill>
              <a:srgbClr val="808080"/>
            </a:solidFill>
          </a:ln>
        </p:spPr>
        <p:txBody>
          <a:bodyPr wrap="square" lIns="0" tIns="0" rIns="0" bIns="0" rtlCol="0">
            <a:noAutofit/>
          </a:bodyPr>
          <a:lstStyle/>
          <a:p>
            <a:endParaRPr/>
          </a:p>
        </p:txBody>
      </p:sp>
      <p:sp>
        <p:nvSpPr>
          <p:cNvPr id="84" name="object 84"/>
          <p:cNvSpPr/>
          <p:nvPr/>
        </p:nvSpPr>
        <p:spPr>
          <a:xfrm>
            <a:off x="8541511" y="4847845"/>
            <a:ext cx="1698244" cy="740549"/>
          </a:xfrm>
          <a:custGeom>
            <a:avLst/>
            <a:gdLst/>
            <a:ahLst/>
            <a:cxnLst/>
            <a:rect l="l" t="t" r="r" b="b"/>
            <a:pathLst>
              <a:path w="1698244" h="740549">
                <a:moveTo>
                  <a:pt x="0" y="0"/>
                </a:moveTo>
                <a:lnTo>
                  <a:pt x="1698244" y="0"/>
                </a:lnTo>
                <a:lnTo>
                  <a:pt x="1698244" y="740549"/>
                </a:lnTo>
                <a:lnTo>
                  <a:pt x="0" y="740549"/>
                </a:lnTo>
                <a:lnTo>
                  <a:pt x="0" y="0"/>
                </a:lnTo>
                <a:close/>
              </a:path>
            </a:pathLst>
          </a:custGeom>
          <a:ln w="12700">
            <a:solidFill>
              <a:srgbClr val="808080"/>
            </a:solidFill>
          </a:ln>
        </p:spPr>
        <p:txBody>
          <a:bodyPr wrap="square" lIns="0" tIns="0" rIns="0" bIns="0" rtlCol="0">
            <a:noAutofit/>
          </a:bodyPr>
          <a:lstStyle/>
          <a:p>
            <a:endParaRPr/>
          </a:p>
        </p:txBody>
      </p:sp>
      <p:sp>
        <p:nvSpPr>
          <p:cNvPr id="85" name="object 85"/>
          <p:cNvSpPr/>
          <p:nvPr/>
        </p:nvSpPr>
        <p:spPr>
          <a:xfrm>
            <a:off x="8418069" y="4724401"/>
            <a:ext cx="123443" cy="123443"/>
          </a:xfrm>
          <a:custGeom>
            <a:avLst/>
            <a:gdLst/>
            <a:ahLst/>
            <a:cxnLst/>
            <a:rect l="l" t="t" r="r" b="b"/>
            <a:pathLst>
              <a:path w="123443" h="123444">
                <a:moveTo>
                  <a:pt x="0" y="0"/>
                </a:moveTo>
                <a:lnTo>
                  <a:pt x="123443" y="123443"/>
                </a:lnTo>
              </a:path>
            </a:pathLst>
          </a:custGeom>
          <a:ln w="12700">
            <a:solidFill>
              <a:srgbClr val="808080"/>
            </a:solidFill>
          </a:ln>
        </p:spPr>
        <p:txBody>
          <a:bodyPr wrap="square" lIns="0" tIns="0" rIns="0" bIns="0" rtlCol="0">
            <a:noAutofit/>
          </a:bodyPr>
          <a:lstStyle/>
          <a:p>
            <a:endParaRPr/>
          </a:p>
        </p:txBody>
      </p:sp>
      <p:sp>
        <p:nvSpPr>
          <p:cNvPr id="86" name="object 86"/>
          <p:cNvSpPr/>
          <p:nvPr/>
        </p:nvSpPr>
        <p:spPr>
          <a:xfrm>
            <a:off x="8418069" y="5588394"/>
            <a:ext cx="123443" cy="123431"/>
          </a:xfrm>
          <a:custGeom>
            <a:avLst/>
            <a:gdLst/>
            <a:ahLst/>
            <a:cxnLst/>
            <a:rect l="l" t="t" r="r" b="b"/>
            <a:pathLst>
              <a:path w="123443" h="123431">
                <a:moveTo>
                  <a:pt x="0" y="123431"/>
                </a:moveTo>
                <a:lnTo>
                  <a:pt x="123443" y="0"/>
                </a:lnTo>
              </a:path>
            </a:pathLst>
          </a:custGeom>
          <a:ln w="12700">
            <a:solidFill>
              <a:srgbClr val="808080"/>
            </a:solidFill>
          </a:ln>
        </p:spPr>
        <p:txBody>
          <a:bodyPr wrap="square" lIns="0" tIns="0" rIns="0" bIns="0" rtlCol="0">
            <a:noAutofit/>
          </a:bodyPr>
          <a:lstStyle/>
          <a:p>
            <a:endParaRPr/>
          </a:p>
        </p:txBody>
      </p:sp>
      <p:sp>
        <p:nvSpPr>
          <p:cNvPr id="87" name="object 87"/>
          <p:cNvSpPr/>
          <p:nvPr/>
        </p:nvSpPr>
        <p:spPr>
          <a:xfrm>
            <a:off x="10239756" y="4724401"/>
            <a:ext cx="123444" cy="123443"/>
          </a:xfrm>
          <a:custGeom>
            <a:avLst/>
            <a:gdLst/>
            <a:ahLst/>
            <a:cxnLst/>
            <a:rect l="l" t="t" r="r" b="b"/>
            <a:pathLst>
              <a:path w="123444" h="123444">
                <a:moveTo>
                  <a:pt x="123444" y="0"/>
                </a:moveTo>
                <a:lnTo>
                  <a:pt x="0" y="123443"/>
                </a:lnTo>
              </a:path>
            </a:pathLst>
          </a:custGeom>
          <a:ln w="12700">
            <a:solidFill>
              <a:srgbClr val="808080"/>
            </a:solidFill>
          </a:ln>
        </p:spPr>
        <p:txBody>
          <a:bodyPr wrap="square" lIns="0" tIns="0" rIns="0" bIns="0" rtlCol="0">
            <a:noAutofit/>
          </a:bodyPr>
          <a:lstStyle/>
          <a:p>
            <a:endParaRPr/>
          </a:p>
        </p:txBody>
      </p:sp>
      <p:sp>
        <p:nvSpPr>
          <p:cNvPr id="88" name="object 88"/>
          <p:cNvSpPr/>
          <p:nvPr/>
        </p:nvSpPr>
        <p:spPr>
          <a:xfrm>
            <a:off x="10239756" y="5588394"/>
            <a:ext cx="123444" cy="123431"/>
          </a:xfrm>
          <a:custGeom>
            <a:avLst/>
            <a:gdLst/>
            <a:ahLst/>
            <a:cxnLst/>
            <a:rect l="l" t="t" r="r" b="b"/>
            <a:pathLst>
              <a:path w="123444" h="123431">
                <a:moveTo>
                  <a:pt x="123444" y="123431"/>
                </a:moveTo>
                <a:lnTo>
                  <a:pt x="0" y="0"/>
                </a:lnTo>
              </a:path>
            </a:pathLst>
          </a:custGeom>
          <a:ln w="12700">
            <a:solidFill>
              <a:srgbClr val="808080"/>
            </a:solidFill>
          </a:ln>
        </p:spPr>
        <p:txBody>
          <a:bodyPr wrap="square" lIns="0" tIns="0" rIns="0" bIns="0" rtlCol="0">
            <a:noAutofit/>
          </a:bodyPr>
          <a:lstStyle/>
          <a:p>
            <a:endParaRPr/>
          </a:p>
        </p:txBody>
      </p:sp>
      <p:sp>
        <p:nvSpPr>
          <p:cNvPr id="89" name="object 89"/>
          <p:cNvSpPr/>
          <p:nvPr/>
        </p:nvSpPr>
        <p:spPr>
          <a:xfrm>
            <a:off x="2379663" y="2546350"/>
            <a:ext cx="439737" cy="414274"/>
          </a:xfrm>
          <a:prstGeom prst="rect">
            <a:avLst/>
          </a:prstGeom>
          <a:blipFill>
            <a:blip r:embed="rId23" cstate="print"/>
            <a:stretch>
              <a:fillRect/>
            </a:stretch>
          </a:blipFill>
        </p:spPr>
        <p:txBody>
          <a:bodyPr wrap="square" lIns="0" tIns="0" rIns="0" bIns="0" rtlCol="0">
            <a:noAutofit/>
          </a:bodyPr>
          <a:lstStyle/>
          <a:p>
            <a:endParaRPr/>
          </a:p>
        </p:txBody>
      </p:sp>
      <p:sp>
        <p:nvSpPr>
          <p:cNvPr id="90" name="object 90"/>
          <p:cNvSpPr/>
          <p:nvPr/>
        </p:nvSpPr>
        <p:spPr>
          <a:xfrm>
            <a:off x="2379663" y="2546350"/>
            <a:ext cx="439737" cy="414274"/>
          </a:xfrm>
          <a:custGeom>
            <a:avLst/>
            <a:gdLst/>
            <a:ahLst/>
            <a:cxnLst/>
            <a:rect l="l" t="t" r="r" b="b"/>
            <a:pathLst>
              <a:path w="439737" h="414274">
                <a:moveTo>
                  <a:pt x="0" y="414274"/>
                </a:moveTo>
                <a:lnTo>
                  <a:pt x="439737" y="207137"/>
                </a:lnTo>
                <a:lnTo>
                  <a:pt x="0" y="0"/>
                </a:lnTo>
                <a:lnTo>
                  <a:pt x="0" y="414274"/>
                </a:lnTo>
                <a:close/>
              </a:path>
            </a:pathLst>
          </a:custGeom>
          <a:ln w="12700">
            <a:solidFill>
              <a:srgbClr val="000000"/>
            </a:solidFill>
          </a:ln>
        </p:spPr>
        <p:txBody>
          <a:bodyPr wrap="square" lIns="0" tIns="0" rIns="0" bIns="0" rtlCol="0">
            <a:noAutofit/>
          </a:bodyPr>
          <a:lstStyle/>
          <a:p>
            <a:endParaRPr/>
          </a:p>
        </p:txBody>
      </p:sp>
      <p:sp>
        <p:nvSpPr>
          <p:cNvPr id="91" name="object 91"/>
          <p:cNvSpPr/>
          <p:nvPr/>
        </p:nvSpPr>
        <p:spPr>
          <a:xfrm>
            <a:off x="2846452" y="2438401"/>
            <a:ext cx="1954149" cy="581025"/>
          </a:xfrm>
          <a:prstGeom prst="rect">
            <a:avLst/>
          </a:prstGeom>
          <a:blipFill>
            <a:blip r:embed="rId24" cstate="print"/>
            <a:stretch>
              <a:fillRect/>
            </a:stretch>
          </a:blipFill>
        </p:spPr>
        <p:txBody>
          <a:bodyPr wrap="square" lIns="0" tIns="0" rIns="0" bIns="0" rtlCol="0">
            <a:noAutofit/>
          </a:bodyPr>
          <a:lstStyle/>
          <a:p>
            <a:endParaRPr/>
          </a:p>
        </p:txBody>
      </p:sp>
      <p:sp>
        <p:nvSpPr>
          <p:cNvPr id="92" name="object 92"/>
          <p:cNvSpPr/>
          <p:nvPr/>
        </p:nvSpPr>
        <p:spPr>
          <a:xfrm>
            <a:off x="2810257" y="2417065"/>
            <a:ext cx="1691639" cy="341375"/>
          </a:xfrm>
          <a:prstGeom prst="rect">
            <a:avLst/>
          </a:prstGeom>
          <a:blipFill>
            <a:blip r:embed="rId25" cstate="print"/>
            <a:stretch>
              <a:fillRect/>
            </a:stretch>
          </a:blipFill>
        </p:spPr>
        <p:txBody>
          <a:bodyPr wrap="square" lIns="0" tIns="0" rIns="0" bIns="0" rtlCol="0">
            <a:noAutofit/>
          </a:bodyPr>
          <a:lstStyle/>
          <a:p>
            <a:endParaRPr/>
          </a:p>
        </p:txBody>
      </p:sp>
      <p:sp>
        <p:nvSpPr>
          <p:cNvPr id="93" name="object 93"/>
          <p:cNvSpPr/>
          <p:nvPr/>
        </p:nvSpPr>
        <p:spPr>
          <a:xfrm>
            <a:off x="2810256" y="2660905"/>
            <a:ext cx="2007108" cy="341375"/>
          </a:xfrm>
          <a:prstGeom prst="rect">
            <a:avLst/>
          </a:prstGeom>
          <a:blipFill>
            <a:blip r:embed="rId26" cstate="print"/>
            <a:stretch>
              <a:fillRect/>
            </a:stretch>
          </a:blipFill>
        </p:spPr>
        <p:txBody>
          <a:bodyPr wrap="square" lIns="0" tIns="0" rIns="0" bIns="0" rtlCol="0">
            <a:noAutofit/>
          </a:bodyPr>
          <a:lstStyle/>
          <a:p>
            <a:endParaRPr/>
          </a:p>
        </p:txBody>
      </p:sp>
      <p:sp>
        <p:nvSpPr>
          <p:cNvPr id="94" name="object 94"/>
          <p:cNvSpPr/>
          <p:nvPr/>
        </p:nvSpPr>
        <p:spPr>
          <a:xfrm>
            <a:off x="4536949" y="2660905"/>
            <a:ext cx="336803" cy="341375"/>
          </a:xfrm>
          <a:prstGeom prst="rect">
            <a:avLst/>
          </a:prstGeom>
          <a:blipFill>
            <a:blip r:embed="rId27" cstate="print"/>
            <a:stretch>
              <a:fillRect/>
            </a:stretch>
          </a:blipFill>
        </p:spPr>
        <p:txBody>
          <a:bodyPr wrap="square" lIns="0" tIns="0" rIns="0" bIns="0" rtlCol="0">
            <a:noAutofit/>
          </a:bodyPr>
          <a:lstStyle/>
          <a:p>
            <a:endParaRPr/>
          </a:p>
        </p:txBody>
      </p:sp>
      <p:sp>
        <p:nvSpPr>
          <p:cNvPr id="95" name="object 95"/>
          <p:cNvSpPr/>
          <p:nvPr/>
        </p:nvSpPr>
        <p:spPr>
          <a:xfrm>
            <a:off x="2846452" y="3352801"/>
            <a:ext cx="1954149" cy="581025"/>
          </a:xfrm>
          <a:prstGeom prst="rect">
            <a:avLst/>
          </a:prstGeom>
          <a:blipFill>
            <a:blip r:embed="rId24" cstate="print"/>
            <a:stretch>
              <a:fillRect/>
            </a:stretch>
          </a:blipFill>
        </p:spPr>
        <p:txBody>
          <a:bodyPr wrap="square" lIns="0" tIns="0" rIns="0" bIns="0" rtlCol="0">
            <a:noAutofit/>
          </a:bodyPr>
          <a:lstStyle/>
          <a:p>
            <a:endParaRPr/>
          </a:p>
        </p:txBody>
      </p:sp>
      <p:sp>
        <p:nvSpPr>
          <p:cNvPr id="96" name="object 96"/>
          <p:cNvSpPr/>
          <p:nvPr/>
        </p:nvSpPr>
        <p:spPr>
          <a:xfrm>
            <a:off x="2939796" y="3332989"/>
            <a:ext cx="1850136" cy="339851"/>
          </a:xfrm>
          <a:prstGeom prst="rect">
            <a:avLst/>
          </a:prstGeom>
          <a:blipFill>
            <a:blip r:embed="rId28" cstate="print"/>
            <a:stretch>
              <a:fillRect/>
            </a:stretch>
          </a:blipFill>
        </p:spPr>
        <p:txBody>
          <a:bodyPr wrap="square" lIns="0" tIns="0" rIns="0" bIns="0" rtlCol="0">
            <a:noAutofit/>
          </a:bodyPr>
          <a:lstStyle/>
          <a:p>
            <a:endParaRPr/>
          </a:p>
        </p:txBody>
      </p:sp>
      <p:sp>
        <p:nvSpPr>
          <p:cNvPr id="97" name="object 97"/>
          <p:cNvSpPr/>
          <p:nvPr/>
        </p:nvSpPr>
        <p:spPr>
          <a:xfrm>
            <a:off x="3119629" y="3576828"/>
            <a:ext cx="1429511" cy="339852"/>
          </a:xfrm>
          <a:prstGeom prst="rect">
            <a:avLst/>
          </a:prstGeom>
          <a:blipFill>
            <a:blip r:embed="rId29" cstate="print"/>
            <a:stretch>
              <a:fillRect/>
            </a:stretch>
          </a:blipFill>
        </p:spPr>
        <p:txBody>
          <a:bodyPr wrap="square" lIns="0" tIns="0" rIns="0" bIns="0" rtlCol="0">
            <a:noAutofit/>
          </a:bodyPr>
          <a:lstStyle/>
          <a:p>
            <a:endParaRPr/>
          </a:p>
        </p:txBody>
      </p:sp>
      <p:sp>
        <p:nvSpPr>
          <p:cNvPr id="98" name="object 98"/>
          <p:cNvSpPr/>
          <p:nvPr/>
        </p:nvSpPr>
        <p:spPr>
          <a:xfrm>
            <a:off x="4268724" y="3576828"/>
            <a:ext cx="336804" cy="339852"/>
          </a:xfrm>
          <a:prstGeom prst="rect">
            <a:avLst/>
          </a:prstGeom>
          <a:blipFill>
            <a:blip r:embed="rId30" cstate="print"/>
            <a:stretch>
              <a:fillRect/>
            </a:stretch>
          </a:blipFill>
        </p:spPr>
        <p:txBody>
          <a:bodyPr wrap="square" lIns="0" tIns="0" rIns="0" bIns="0" rtlCol="0">
            <a:noAutofit/>
          </a:bodyPr>
          <a:lstStyle/>
          <a:p>
            <a:endParaRPr/>
          </a:p>
        </p:txBody>
      </p:sp>
      <p:sp>
        <p:nvSpPr>
          <p:cNvPr id="99" name="object 99"/>
          <p:cNvSpPr/>
          <p:nvPr/>
        </p:nvSpPr>
        <p:spPr>
          <a:xfrm>
            <a:off x="2379663" y="3319526"/>
            <a:ext cx="439737" cy="414274"/>
          </a:xfrm>
          <a:prstGeom prst="rect">
            <a:avLst/>
          </a:prstGeom>
          <a:blipFill>
            <a:blip r:embed="rId31" cstate="print"/>
            <a:stretch>
              <a:fillRect/>
            </a:stretch>
          </a:blipFill>
        </p:spPr>
        <p:txBody>
          <a:bodyPr wrap="square" lIns="0" tIns="0" rIns="0" bIns="0" rtlCol="0">
            <a:noAutofit/>
          </a:bodyPr>
          <a:lstStyle/>
          <a:p>
            <a:endParaRPr/>
          </a:p>
        </p:txBody>
      </p:sp>
      <p:sp>
        <p:nvSpPr>
          <p:cNvPr id="100" name="object 100"/>
          <p:cNvSpPr/>
          <p:nvPr/>
        </p:nvSpPr>
        <p:spPr>
          <a:xfrm>
            <a:off x="2379663" y="3319526"/>
            <a:ext cx="439737" cy="414274"/>
          </a:xfrm>
          <a:custGeom>
            <a:avLst/>
            <a:gdLst/>
            <a:ahLst/>
            <a:cxnLst/>
            <a:rect l="l" t="t" r="r" b="b"/>
            <a:pathLst>
              <a:path w="439737" h="414274">
                <a:moveTo>
                  <a:pt x="0" y="414274"/>
                </a:moveTo>
                <a:lnTo>
                  <a:pt x="439737" y="207137"/>
                </a:lnTo>
                <a:lnTo>
                  <a:pt x="0" y="0"/>
                </a:lnTo>
                <a:lnTo>
                  <a:pt x="0" y="414274"/>
                </a:lnTo>
                <a:close/>
              </a:path>
            </a:pathLst>
          </a:custGeom>
          <a:ln w="12700">
            <a:solidFill>
              <a:srgbClr val="000000"/>
            </a:solidFill>
          </a:ln>
        </p:spPr>
        <p:txBody>
          <a:bodyPr wrap="square" lIns="0" tIns="0" rIns="0" bIns="0" rtlCol="0">
            <a:noAutofit/>
          </a:bodyPr>
          <a:lstStyle/>
          <a:p>
            <a:endParaRPr/>
          </a:p>
        </p:txBody>
      </p:sp>
      <p:sp>
        <p:nvSpPr>
          <p:cNvPr id="101" name="object 101"/>
          <p:cNvSpPr/>
          <p:nvPr/>
        </p:nvSpPr>
        <p:spPr>
          <a:xfrm>
            <a:off x="2379663" y="4175125"/>
            <a:ext cx="439737" cy="414274"/>
          </a:xfrm>
          <a:prstGeom prst="rect">
            <a:avLst/>
          </a:prstGeom>
          <a:blipFill>
            <a:blip r:embed="rId32" cstate="print"/>
            <a:stretch>
              <a:fillRect/>
            </a:stretch>
          </a:blipFill>
        </p:spPr>
        <p:txBody>
          <a:bodyPr wrap="square" lIns="0" tIns="0" rIns="0" bIns="0" rtlCol="0">
            <a:noAutofit/>
          </a:bodyPr>
          <a:lstStyle/>
          <a:p>
            <a:endParaRPr/>
          </a:p>
        </p:txBody>
      </p:sp>
      <p:sp>
        <p:nvSpPr>
          <p:cNvPr id="102" name="object 102"/>
          <p:cNvSpPr/>
          <p:nvPr/>
        </p:nvSpPr>
        <p:spPr>
          <a:xfrm>
            <a:off x="2379663" y="4175125"/>
            <a:ext cx="439737" cy="414274"/>
          </a:xfrm>
          <a:custGeom>
            <a:avLst/>
            <a:gdLst/>
            <a:ahLst/>
            <a:cxnLst/>
            <a:rect l="l" t="t" r="r" b="b"/>
            <a:pathLst>
              <a:path w="439737" h="414274">
                <a:moveTo>
                  <a:pt x="0" y="414274"/>
                </a:moveTo>
                <a:lnTo>
                  <a:pt x="439737" y="207137"/>
                </a:lnTo>
                <a:lnTo>
                  <a:pt x="0" y="0"/>
                </a:lnTo>
                <a:lnTo>
                  <a:pt x="0" y="414274"/>
                </a:lnTo>
                <a:close/>
              </a:path>
            </a:pathLst>
          </a:custGeom>
          <a:ln w="12700">
            <a:solidFill>
              <a:srgbClr val="000000"/>
            </a:solidFill>
          </a:ln>
        </p:spPr>
        <p:txBody>
          <a:bodyPr wrap="square" lIns="0" tIns="0" rIns="0" bIns="0" rtlCol="0">
            <a:noAutofit/>
          </a:bodyPr>
          <a:lstStyle/>
          <a:p>
            <a:endParaRPr/>
          </a:p>
        </p:txBody>
      </p:sp>
      <p:sp>
        <p:nvSpPr>
          <p:cNvPr id="103" name="object 103"/>
          <p:cNvSpPr/>
          <p:nvPr/>
        </p:nvSpPr>
        <p:spPr>
          <a:xfrm>
            <a:off x="2846452" y="4067175"/>
            <a:ext cx="1954149" cy="825500"/>
          </a:xfrm>
          <a:prstGeom prst="rect">
            <a:avLst/>
          </a:prstGeom>
          <a:blipFill>
            <a:blip r:embed="rId33" cstate="print"/>
            <a:stretch>
              <a:fillRect/>
            </a:stretch>
          </a:blipFill>
        </p:spPr>
        <p:txBody>
          <a:bodyPr wrap="square" lIns="0" tIns="0" rIns="0" bIns="0" rtlCol="0">
            <a:noAutofit/>
          </a:bodyPr>
          <a:lstStyle/>
          <a:p>
            <a:endParaRPr/>
          </a:p>
        </p:txBody>
      </p:sp>
      <p:sp>
        <p:nvSpPr>
          <p:cNvPr id="104" name="object 104"/>
          <p:cNvSpPr/>
          <p:nvPr/>
        </p:nvSpPr>
        <p:spPr>
          <a:xfrm>
            <a:off x="2810257" y="4046221"/>
            <a:ext cx="1929383" cy="341375"/>
          </a:xfrm>
          <a:prstGeom prst="rect">
            <a:avLst/>
          </a:prstGeom>
          <a:blipFill>
            <a:blip r:embed="rId34" cstate="print"/>
            <a:stretch>
              <a:fillRect/>
            </a:stretch>
          </a:blipFill>
        </p:spPr>
        <p:txBody>
          <a:bodyPr wrap="square" lIns="0" tIns="0" rIns="0" bIns="0" rtlCol="0">
            <a:noAutofit/>
          </a:bodyPr>
          <a:lstStyle/>
          <a:p>
            <a:endParaRPr/>
          </a:p>
        </p:txBody>
      </p:sp>
      <p:sp>
        <p:nvSpPr>
          <p:cNvPr id="105" name="object 105"/>
          <p:cNvSpPr/>
          <p:nvPr/>
        </p:nvSpPr>
        <p:spPr>
          <a:xfrm>
            <a:off x="2810256" y="4290061"/>
            <a:ext cx="2101596" cy="341375"/>
          </a:xfrm>
          <a:prstGeom prst="rect">
            <a:avLst/>
          </a:prstGeom>
          <a:blipFill>
            <a:blip r:embed="rId35" cstate="print"/>
            <a:stretch>
              <a:fillRect/>
            </a:stretch>
          </a:blipFill>
        </p:spPr>
        <p:txBody>
          <a:bodyPr wrap="square" lIns="0" tIns="0" rIns="0" bIns="0" rtlCol="0">
            <a:noAutofit/>
          </a:bodyPr>
          <a:lstStyle/>
          <a:p>
            <a:endParaRPr/>
          </a:p>
        </p:txBody>
      </p:sp>
      <p:sp>
        <p:nvSpPr>
          <p:cNvPr id="106" name="object 106"/>
          <p:cNvSpPr/>
          <p:nvPr/>
        </p:nvSpPr>
        <p:spPr>
          <a:xfrm>
            <a:off x="2810256" y="4533901"/>
            <a:ext cx="1406652" cy="341375"/>
          </a:xfrm>
          <a:prstGeom prst="rect">
            <a:avLst/>
          </a:prstGeom>
          <a:blipFill>
            <a:blip r:embed="rId36" cstate="print"/>
            <a:stretch>
              <a:fillRect/>
            </a:stretch>
          </a:blipFill>
        </p:spPr>
        <p:txBody>
          <a:bodyPr wrap="square" lIns="0" tIns="0" rIns="0" bIns="0" rtlCol="0">
            <a:noAutofit/>
          </a:bodyPr>
          <a:lstStyle/>
          <a:p>
            <a:endParaRPr/>
          </a:p>
        </p:txBody>
      </p:sp>
      <p:sp>
        <p:nvSpPr>
          <p:cNvPr id="107" name="object 107"/>
          <p:cNvSpPr/>
          <p:nvPr/>
        </p:nvSpPr>
        <p:spPr>
          <a:xfrm>
            <a:off x="3936492" y="4533901"/>
            <a:ext cx="336804" cy="341375"/>
          </a:xfrm>
          <a:prstGeom prst="rect">
            <a:avLst/>
          </a:prstGeom>
          <a:blipFill>
            <a:blip r:embed="rId27" cstate="print"/>
            <a:stretch>
              <a:fillRect/>
            </a:stretch>
          </a:blipFill>
        </p:spPr>
        <p:txBody>
          <a:bodyPr wrap="square" lIns="0" tIns="0" rIns="0" bIns="0" rtlCol="0">
            <a:noAutofit/>
          </a:bodyPr>
          <a:lstStyle/>
          <a:p>
            <a:endParaRPr/>
          </a:p>
        </p:txBody>
      </p:sp>
      <p:sp>
        <p:nvSpPr>
          <p:cNvPr id="108" name="object 108"/>
          <p:cNvSpPr/>
          <p:nvPr/>
        </p:nvSpPr>
        <p:spPr>
          <a:xfrm>
            <a:off x="2846452" y="4981576"/>
            <a:ext cx="1954149" cy="581025"/>
          </a:xfrm>
          <a:prstGeom prst="rect">
            <a:avLst/>
          </a:prstGeom>
          <a:blipFill>
            <a:blip r:embed="rId24" cstate="print"/>
            <a:stretch>
              <a:fillRect/>
            </a:stretch>
          </a:blipFill>
        </p:spPr>
        <p:txBody>
          <a:bodyPr wrap="square" lIns="0" tIns="0" rIns="0" bIns="0" rtlCol="0">
            <a:noAutofit/>
          </a:bodyPr>
          <a:lstStyle/>
          <a:p>
            <a:endParaRPr/>
          </a:p>
        </p:txBody>
      </p:sp>
      <p:sp>
        <p:nvSpPr>
          <p:cNvPr id="109" name="object 109"/>
          <p:cNvSpPr/>
          <p:nvPr/>
        </p:nvSpPr>
        <p:spPr>
          <a:xfrm>
            <a:off x="2994660" y="4962144"/>
            <a:ext cx="1735836" cy="339852"/>
          </a:xfrm>
          <a:prstGeom prst="rect">
            <a:avLst/>
          </a:prstGeom>
          <a:blipFill>
            <a:blip r:embed="rId37" cstate="print"/>
            <a:stretch>
              <a:fillRect/>
            </a:stretch>
          </a:blipFill>
        </p:spPr>
        <p:txBody>
          <a:bodyPr wrap="square" lIns="0" tIns="0" rIns="0" bIns="0" rtlCol="0">
            <a:noAutofit/>
          </a:bodyPr>
          <a:lstStyle/>
          <a:p>
            <a:endParaRPr/>
          </a:p>
        </p:txBody>
      </p:sp>
      <p:sp>
        <p:nvSpPr>
          <p:cNvPr id="110" name="object 110"/>
          <p:cNvSpPr/>
          <p:nvPr/>
        </p:nvSpPr>
        <p:spPr>
          <a:xfrm>
            <a:off x="3485388" y="5205985"/>
            <a:ext cx="696468" cy="339851"/>
          </a:xfrm>
          <a:prstGeom prst="rect">
            <a:avLst/>
          </a:prstGeom>
          <a:blipFill>
            <a:blip r:embed="rId38" cstate="print"/>
            <a:stretch>
              <a:fillRect/>
            </a:stretch>
          </a:blipFill>
        </p:spPr>
        <p:txBody>
          <a:bodyPr wrap="square" lIns="0" tIns="0" rIns="0" bIns="0" rtlCol="0">
            <a:noAutofit/>
          </a:bodyPr>
          <a:lstStyle/>
          <a:p>
            <a:endParaRPr/>
          </a:p>
        </p:txBody>
      </p:sp>
      <p:sp>
        <p:nvSpPr>
          <p:cNvPr id="111" name="object 111"/>
          <p:cNvSpPr/>
          <p:nvPr/>
        </p:nvSpPr>
        <p:spPr>
          <a:xfrm>
            <a:off x="3901440" y="5205985"/>
            <a:ext cx="336804" cy="339851"/>
          </a:xfrm>
          <a:prstGeom prst="rect">
            <a:avLst/>
          </a:prstGeom>
          <a:blipFill>
            <a:blip r:embed="rId30" cstate="print"/>
            <a:stretch>
              <a:fillRect/>
            </a:stretch>
          </a:blipFill>
        </p:spPr>
        <p:txBody>
          <a:bodyPr wrap="square" lIns="0" tIns="0" rIns="0" bIns="0" rtlCol="0">
            <a:noAutofit/>
          </a:bodyPr>
          <a:lstStyle/>
          <a:p>
            <a:endParaRPr/>
          </a:p>
        </p:txBody>
      </p:sp>
      <p:sp>
        <p:nvSpPr>
          <p:cNvPr id="112" name="object 112"/>
          <p:cNvSpPr/>
          <p:nvPr/>
        </p:nvSpPr>
        <p:spPr>
          <a:xfrm>
            <a:off x="2379663" y="5067300"/>
            <a:ext cx="439737" cy="414274"/>
          </a:xfrm>
          <a:prstGeom prst="rect">
            <a:avLst/>
          </a:prstGeom>
          <a:blipFill>
            <a:blip r:embed="rId31" cstate="print"/>
            <a:stretch>
              <a:fillRect/>
            </a:stretch>
          </a:blipFill>
        </p:spPr>
        <p:txBody>
          <a:bodyPr wrap="square" lIns="0" tIns="0" rIns="0" bIns="0" rtlCol="0">
            <a:noAutofit/>
          </a:bodyPr>
          <a:lstStyle/>
          <a:p>
            <a:endParaRPr/>
          </a:p>
        </p:txBody>
      </p:sp>
      <p:sp>
        <p:nvSpPr>
          <p:cNvPr id="113" name="object 113"/>
          <p:cNvSpPr/>
          <p:nvPr/>
        </p:nvSpPr>
        <p:spPr>
          <a:xfrm>
            <a:off x="2379663" y="5067300"/>
            <a:ext cx="439737" cy="414274"/>
          </a:xfrm>
          <a:custGeom>
            <a:avLst/>
            <a:gdLst/>
            <a:ahLst/>
            <a:cxnLst/>
            <a:rect l="l" t="t" r="r" b="b"/>
            <a:pathLst>
              <a:path w="439737" h="414274">
                <a:moveTo>
                  <a:pt x="0" y="414274"/>
                </a:moveTo>
                <a:lnTo>
                  <a:pt x="439737" y="207137"/>
                </a:lnTo>
                <a:lnTo>
                  <a:pt x="0" y="0"/>
                </a:lnTo>
                <a:lnTo>
                  <a:pt x="0" y="414274"/>
                </a:lnTo>
                <a:close/>
              </a:path>
            </a:pathLst>
          </a:custGeom>
          <a:ln w="12700">
            <a:solidFill>
              <a:srgbClr val="000000"/>
            </a:solidFill>
          </a:ln>
        </p:spPr>
        <p:txBody>
          <a:bodyPr wrap="square" lIns="0" tIns="0" rIns="0" bIns="0" rtlCol="0">
            <a:noAutofit/>
          </a:bodyPr>
          <a:lstStyle/>
          <a:p>
            <a:endParaRPr/>
          </a:p>
        </p:txBody>
      </p:sp>
      <p:sp>
        <p:nvSpPr>
          <p:cNvPr id="33" name="object 33"/>
          <p:cNvSpPr/>
          <p:nvPr/>
        </p:nvSpPr>
        <p:spPr>
          <a:xfrm>
            <a:off x="1676400" y="2546350"/>
            <a:ext cx="635000" cy="412750"/>
          </a:xfrm>
          <a:custGeom>
            <a:avLst/>
            <a:gdLst/>
            <a:ahLst/>
            <a:cxnLst/>
            <a:rect l="l" t="t" r="r" b="b"/>
            <a:pathLst>
              <a:path w="635000" h="412750">
                <a:moveTo>
                  <a:pt x="0" y="412750"/>
                </a:moveTo>
                <a:lnTo>
                  <a:pt x="635000" y="412750"/>
                </a:lnTo>
                <a:lnTo>
                  <a:pt x="635000" y="0"/>
                </a:lnTo>
                <a:lnTo>
                  <a:pt x="0" y="0"/>
                </a:lnTo>
                <a:lnTo>
                  <a:pt x="0" y="412750"/>
                </a:lnTo>
                <a:close/>
              </a:path>
            </a:pathLst>
          </a:custGeom>
          <a:solidFill>
            <a:srgbClr val="FBFDB8"/>
          </a:solidFill>
        </p:spPr>
        <p:txBody>
          <a:bodyPr wrap="square" lIns="0" tIns="0" rIns="0" bIns="0" rtlCol="0">
            <a:noAutofit/>
          </a:bodyPr>
          <a:lstStyle/>
          <a:p>
            <a:endParaRPr/>
          </a:p>
        </p:txBody>
      </p:sp>
      <p:sp>
        <p:nvSpPr>
          <p:cNvPr id="34" name="object 34"/>
          <p:cNvSpPr/>
          <p:nvPr/>
        </p:nvSpPr>
        <p:spPr>
          <a:xfrm>
            <a:off x="1676400" y="2546350"/>
            <a:ext cx="635000" cy="412750"/>
          </a:xfrm>
          <a:custGeom>
            <a:avLst/>
            <a:gdLst/>
            <a:ahLst/>
            <a:cxnLst/>
            <a:rect l="l" t="t" r="r" b="b"/>
            <a:pathLst>
              <a:path w="635000" h="412750">
                <a:moveTo>
                  <a:pt x="0" y="412750"/>
                </a:moveTo>
                <a:lnTo>
                  <a:pt x="635000" y="412750"/>
                </a:lnTo>
                <a:lnTo>
                  <a:pt x="635000" y="0"/>
                </a:lnTo>
                <a:lnTo>
                  <a:pt x="0" y="0"/>
                </a:lnTo>
                <a:lnTo>
                  <a:pt x="0" y="412750"/>
                </a:lnTo>
                <a:close/>
              </a:path>
            </a:pathLst>
          </a:custGeom>
          <a:ln w="12700">
            <a:solidFill>
              <a:srgbClr val="000000"/>
            </a:solidFill>
          </a:ln>
        </p:spPr>
        <p:txBody>
          <a:bodyPr wrap="square" lIns="0" tIns="0" rIns="0" bIns="0" rtlCol="0">
            <a:noAutofit/>
          </a:bodyPr>
          <a:lstStyle/>
          <a:p>
            <a:endParaRPr/>
          </a:p>
        </p:txBody>
      </p:sp>
      <p:sp>
        <p:nvSpPr>
          <p:cNvPr id="31" name="object 31"/>
          <p:cNvSpPr/>
          <p:nvPr/>
        </p:nvSpPr>
        <p:spPr>
          <a:xfrm>
            <a:off x="1676400" y="3319463"/>
            <a:ext cx="635000" cy="414337"/>
          </a:xfrm>
          <a:custGeom>
            <a:avLst/>
            <a:gdLst/>
            <a:ahLst/>
            <a:cxnLst/>
            <a:rect l="l" t="t" r="r" b="b"/>
            <a:pathLst>
              <a:path w="635000" h="414337">
                <a:moveTo>
                  <a:pt x="0" y="414337"/>
                </a:moveTo>
                <a:lnTo>
                  <a:pt x="635000" y="414337"/>
                </a:lnTo>
                <a:lnTo>
                  <a:pt x="635000" y="0"/>
                </a:lnTo>
                <a:lnTo>
                  <a:pt x="0" y="0"/>
                </a:lnTo>
                <a:lnTo>
                  <a:pt x="0" y="414337"/>
                </a:lnTo>
                <a:close/>
              </a:path>
            </a:pathLst>
          </a:custGeom>
          <a:solidFill>
            <a:srgbClr val="FBFDB8"/>
          </a:solidFill>
        </p:spPr>
        <p:txBody>
          <a:bodyPr wrap="square" lIns="0" tIns="0" rIns="0" bIns="0" rtlCol="0">
            <a:noAutofit/>
          </a:bodyPr>
          <a:lstStyle/>
          <a:p>
            <a:endParaRPr/>
          </a:p>
        </p:txBody>
      </p:sp>
      <p:sp>
        <p:nvSpPr>
          <p:cNvPr id="32" name="object 32"/>
          <p:cNvSpPr/>
          <p:nvPr/>
        </p:nvSpPr>
        <p:spPr>
          <a:xfrm>
            <a:off x="1676400" y="3319463"/>
            <a:ext cx="635000" cy="414337"/>
          </a:xfrm>
          <a:custGeom>
            <a:avLst/>
            <a:gdLst/>
            <a:ahLst/>
            <a:cxnLst/>
            <a:rect l="l" t="t" r="r" b="b"/>
            <a:pathLst>
              <a:path w="635000" h="414337">
                <a:moveTo>
                  <a:pt x="0" y="414337"/>
                </a:moveTo>
                <a:lnTo>
                  <a:pt x="635000" y="414337"/>
                </a:lnTo>
                <a:lnTo>
                  <a:pt x="635000" y="0"/>
                </a:lnTo>
                <a:lnTo>
                  <a:pt x="0" y="0"/>
                </a:lnTo>
                <a:lnTo>
                  <a:pt x="0" y="414337"/>
                </a:lnTo>
                <a:close/>
              </a:path>
            </a:pathLst>
          </a:custGeom>
          <a:ln w="12700">
            <a:solidFill>
              <a:srgbClr val="000000"/>
            </a:solidFill>
          </a:ln>
        </p:spPr>
        <p:txBody>
          <a:bodyPr wrap="square" lIns="0" tIns="0" rIns="0" bIns="0" rtlCol="0">
            <a:noAutofit/>
          </a:bodyPr>
          <a:lstStyle/>
          <a:p>
            <a:endParaRPr/>
          </a:p>
        </p:txBody>
      </p:sp>
      <p:sp>
        <p:nvSpPr>
          <p:cNvPr id="29" name="object 29"/>
          <p:cNvSpPr/>
          <p:nvPr/>
        </p:nvSpPr>
        <p:spPr>
          <a:xfrm>
            <a:off x="1676400" y="4175125"/>
            <a:ext cx="635000" cy="412750"/>
          </a:xfrm>
          <a:custGeom>
            <a:avLst/>
            <a:gdLst/>
            <a:ahLst/>
            <a:cxnLst/>
            <a:rect l="l" t="t" r="r" b="b"/>
            <a:pathLst>
              <a:path w="635000" h="412750">
                <a:moveTo>
                  <a:pt x="0" y="412750"/>
                </a:moveTo>
                <a:lnTo>
                  <a:pt x="635000" y="412750"/>
                </a:lnTo>
                <a:lnTo>
                  <a:pt x="635000" y="0"/>
                </a:lnTo>
                <a:lnTo>
                  <a:pt x="0" y="0"/>
                </a:lnTo>
                <a:lnTo>
                  <a:pt x="0" y="412750"/>
                </a:lnTo>
                <a:close/>
              </a:path>
            </a:pathLst>
          </a:custGeom>
          <a:solidFill>
            <a:srgbClr val="FBFDB8"/>
          </a:solidFill>
        </p:spPr>
        <p:txBody>
          <a:bodyPr wrap="square" lIns="0" tIns="0" rIns="0" bIns="0" rtlCol="0">
            <a:noAutofit/>
          </a:bodyPr>
          <a:lstStyle/>
          <a:p>
            <a:endParaRPr/>
          </a:p>
        </p:txBody>
      </p:sp>
      <p:sp>
        <p:nvSpPr>
          <p:cNvPr id="30" name="object 30"/>
          <p:cNvSpPr/>
          <p:nvPr/>
        </p:nvSpPr>
        <p:spPr>
          <a:xfrm>
            <a:off x="1676400" y="4175125"/>
            <a:ext cx="635000" cy="412750"/>
          </a:xfrm>
          <a:custGeom>
            <a:avLst/>
            <a:gdLst/>
            <a:ahLst/>
            <a:cxnLst/>
            <a:rect l="l" t="t" r="r" b="b"/>
            <a:pathLst>
              <a:path w="635000" h="412750">
                <a:moveTo>
                  <a:pt x="0" y="412750"/>
                </a:moveTo>
                <a:lnTo>
                  <a:pt x="635000" y="412750"/>
                </a:lnTo>
                <a:lnTo>
                  <a:pt x="635000" y="0"/>
                </a:lnTo>
                <a:lnTo>
                  <a:pt x="0" y="0"/>
                </a:lnTo>
                <a:lnTo>
                  <a:pt x="0" y="412750"/>
                </a:lnTo>
                <a:close/>
              </a:path>
            </a:pathLst>
          </a:custGeom>
          <a:ln w="12700">
            <a:solidFill>
              <a:srgbClr val="000000"/>
            </a:solidFill>
          </a:ln>
        </p:spPr>
        <p:txBody>
          <a:bodyPr wrap="square" lIns="0" tIns="0" rIns="0" bIns="0" rtlCol="0">
            <a:noAutofit/>
          </a:bodyPr>
          <a:lstStyle/>
          <a:p>
            <a:endParaRPr/>
          </a:p>
        </p:txBody>
      </p:sp>
      <p:sp>
        <p:nvSpPr>
          <p:cNvPr id="27" name="object 27"/>
          <p:cNvSpPr/>
          <p:nvPr/>
        </p:nvSpPr>
        <p:spPr>
          <a:xfrm>
            <a:off x="1676400" y="5072063"/>
            <a:ext cx="635000" cy="414337"/>
          </a:xfrm>
          <a:custGeom>
            <a:avLst/>
            <a:gdLst/>
            <a:ahLst/>
            <a:cxnLst/>
            <a:rect l="l" t="t" r="r" b="b"/>
            <a:pathLst>
              <a:path w="635000" h="414337">
                <a:moveTo>
                  <a:pt x="0" y="414337"/>
                </a:moveTo>
                <a:lnTo>
                  <a:pt x="635000" y="414337"/>
                </a:lnTo>
                <a:lnTo>
                  <a:pt x="635000" y="0"/>
                </a:lnTo>
                <a:lnTo>
                  <a:pt x="0" y="0"/>
                </a:lnTo>
                <a:lnTo>
                  <a:pt x="0" y="414337"/>
                </a:lnTo>
                <a:close/>
              </a:path>
            </a:pathLst>
          </a:custGeom>
          <a:solidFill>
            <a:srgbClr val="FBFDB8"/>
          </a:solidFill>
        </p:spPr>
        <p:txBody>
          <a:bodyPr wrap="square" lIns="0" tIns="0" rIns="0" bIns="0" rtlCol="0">
            <a:noAutofit/>
          </a:bodyPr>
          <a:lstStyle/>
          <a:p>
            <a:endParaRPr/>
          </a:p>
        </p:txBody>
      </p:sp>
      <p:sp>
        <p:nvSpPr>
          <p:cNvPr id="28" name="object 28"/>
          <p:cNvSpPr/>
          <p:nvPr/>
        </p:nvSpPr>
        <p:spPr>
          <a:xfrm>
            <a:off x="1676400" y="5072063"/>
            <a:ext cx="635000" cy="414337"/>
          </a:xfrm>
          <a:custGeom>
            <a:avLst/>
            <a:gdLst/>
            <a:ahLst/>
            <a:cxnLst/>
            <a:rect l="l" t="t" r="r" b="b"/>
            <a:pathLst>
              <a:path w="635000" h="414337">
                <a:moveTo>
                  <a:pt x="0" y="414337"/>
                </a:moveTo>
                <a:lnTo>
                  <a:pt x="635000" y="414337"/>
                </a:lnTo>
                <a:lnTo>
                  <a:pt x="635000" y="0"/>
                </a:lnTo>
                <a:lnTo>
                  <a:pt x="0" y="0"/>
                </a:lnTo>
                <a:lnTo>
                  <a:pt x="0" y="414337"/>
                </a:lnTo>
                <a:close/>
              </a:path>
            </a:pathLst>
          </a:custGeom>
          <a:ln w="12700">
            <a:solidFill>
              <a:srgbClr val="000000"/>
            </a:solidFill>
          </a:ln>
        </p:spPr>
        <p:txBody>
          <a:bodyPr wrap="square" lIns="0" tIns="0" rIns="0" bIns="0" rtlCol="0">
            <a:noAutofit/>
          </a:bodyPr>
          <a:lstStyle/>
          <a:p>
            <a:endParaRPr/>
          </a:p>
        </p:txBody>
      </p:sp>
      <p:sp>
        <p:nvSpPr>
          <p:cNvPr id="23" name="object 23"/>
          <p:cNvSpPr txBox="1"/>
          <p:nvPr/>
        </p:nvSpPr>
        <p:spPr>
          <a:xfrm>
            <a:off x="1926743" y="1365940"/>
            <a:ext cx="3346957" cy="254000"/>
          </a:xfrm>
          <a:prstGeom prst="rect">
            <a:avLst/>
          </a:prstGeom>
        </p:spPr>
        <p:txBody>
          <a:bodyPr wrap="square" lIns="0" tIns="0" rIns="0" bIns="0" rtlCol="0">
            <a:noAutofit/>
          </a:bodyPr>
          <a:lstStyle/>
          <a:p>
            <a:pPr marL="12700">
              <a:lnSpc>
                <a:spcPts val="1939"/>
              </a:lnSpc>
              <a:spcBef>
                <a:spcPts val="97"/>
              </a:spcBef>
            </a:pPr>
            <a:r>
              <a:rPr b="1" dirty="0">
                <a:latin typeface="Arial"/>
                <a:cs typeface="Arial"/>
              </a:rPr>
              <a:t>T</a:t>
            </a:r>
            <a:r>
              <a:rPr b="1" spc="4" dirty="0">
                <a:latin typeface="Arial"/>
                <a:cs typeface="Arial"/>
              </a:rPr>
              <a:t>h</a:t>
            </a:r>
            <a:r>
              <a:rPr b="1" dirty="0">
                <a:latin typeface="Arial"/>
                <a:cs typeface="Arial"/>
              </a:rPr>
              <a:t>e</a:t>
            </a:r>
            <a:r>
              <a:rPr b="1" spc="-24" dirty="0">
                <a:latin typeface="Arial"/>
                <a:cs typeface="Arial"/>
              </a:rPr>
              <a:t> </a:t>
            </a:r>
            <a:r>
              <a:rPr b="1" dirty="0">
                <a:latin typeface="Arial"/>
                <a:cs typeface="Arial"/>
              </a:rPr>
              <a:t>item </a:t>
            </a:r>
            <a:r>
              <a:rPr b="1" spc="-4" dirty="0">
                <a:latin typeface="Arial"/>
                <a:cs typeface="Arial"/>
              </a:rPr>
              <a:t>c</a:t>
            </a:r>
            <a:r>
              <a:rPr b="1" dirty="0">
                <a:latin typeface="Arial"/>
                <a:cs typeface="Arial"/>
              </a:rPr>
              <a:t>at</a:t>
            </a:r>
            <a:r>
              <a:rPr b="1" spc="-9" dirty="0">
                <a:latin typeface="Arial"/>
                <a:cs typeface="Arial"/>
              </a:rPr>
              <a:t>e</a:t>
            </a:r>
            <a:r>
              <a:rPr b="1" dirty="0">
                <a:latin typeface="Arial"/>
                <a:cs typeface="Arial"/>
              </a:rPr>
              <a:t>g</a:t>
            </a:r>
            <a:r>
              <a:rPr b="1" spc="4" dirty="0">
                <a:latin typeface="Arial"/>
                <a:cs typeface="Arial"/>
              </a:rPr>
              <a:t>o</a:t>
            </a:r>
            <a:r>
              <a:rPr b="1" dirty="0">
                <a:latin typeface="Arial"/>
                <a:cs typeface="Arial"/>
              </a:rPr>
              <a:t>ry</a:t>
            </a:r>
            <a:r>
              <a:rPr b="1" spc="4" dirty="0">
                <a:latin typeface="Arial"/>
                <a:cs typeface="Arial"/>
              </a:rPr>
              <a:t> </a:t>
            </a:r>
            <a:r>
              <a:rPr b="1" dirty="0">
                <a:latin typeface="Arial"/>
                <a:cs typeface="Arial"/>
              </a:rPr>
              <a:t>of the order</a:t>
            </a:r>
            <a:endParaRPr dirty="0">
              <a:latin typeface="Arial"/>
              <a:cs typeface="Arial"/>
            </a:endParaRPr>
          </a:p>
        </p:txBody>
      </p:sp>
      <p:sp>
        <p:nvSpPr>
          <p:cNvPr id="22" name="object 22"/>
          <p:cNvSpPr txBox="1"/>
          <p:nvPr/>
        </p:nvSpPr>
        <p:spPr>
          <a:xfrm>
            <a:off x="5277561" y="1365940"/>
            <a:ext cx="783894" cy="254000"/>
          </a:xfrm>
          <a:prstGeom prst="rect">
            <a:avLst/>
          </a:prstGeom>
        </p:spPr>
        <p:txBody>
          <a:bodyPr wrap="square" lIns="0" tIns="0" rIns="0" bIns="0" rtlCol="0">
            <a:noAutofit/>
          </a:bodyPr>
          <a:lstStyle/>
          <a:p>
            <a:pPr marL="12700">
              <a:lnSpc>
                <a:spcPts val="1939"/>
              </a:lnSpc>
              <a:spcBef>
                <a:spcPts val="97"/>
              </a:spcBef>
            </a:pPr>
            <a:r>
              <a:rPr b="1" dirty="0">
                <a:latin typeface="Arial"/>
                <a:cs typeface="Arial"/>
              </a:rPr>
              <a:t>item </a:t>
            </a:r>
            <a:r>
              <a:rPr b="1" spc="4" dirty="0">
                <a:latin typeface="Arial"/>
                <a:cs typeface="Arial"/>
              </a:rPr>
              <a:t>i</a:t>
            </a:r>
            <a:r>
              <a:rPr b="1" dirty="0">
                <a:latin typeface="Arial"/>
                <a:cs typeface="Arial"/>
              </a:rPr>
              <a:t>s</a:t>
            </a:r>
            <a:endParaRPr dirty="0">
              <a:latin typeface="Arial"/>
              <a:cs typeface="Arial"/>
            </a:endParaRPr>
          </a:p>
        </p:txBody>
      </p:sp>
      <p:sp>
        <p:nvSpPr>
          <p:cNvPr id="21" name="object 21"/>
          <p:cNvSpPr txBox="1"/>
          <p:nvPr/>
        </p:nvSpPr>
        <p:spPr>
          <a:xfrm>
            <a:off x="6065317" y="1365940"/>
            <a:ext cx="2874213" cy="254000"/>
          </a:xfrm>
          <a:prstGeom prst="rect">
            <a:avLst/>
          </a:prstGeom>
        </p:spPr>
        <p:txBody>
          <a:bodyPr wrap="square" lIns="0" tIns="0" rIns="0" bIns="0" rtlCol="0">
            <a:noAutofit/>
          </a:bodyPr>
          <a:lstStyle/>
          <a:p>
            <a:pPr marL="12700">
              <a:lnSpc>
                <a:spcPts val="1939"/>
              </a:lnSpc>
              <a:spcBef>
                <a:spcPts val="97"/>
              </a:spcBef>
            </a:pPr>
            <a:r>
              <a:rPr b="1" dirty="0">
                <a:latin typeface="Arial"/>
                <a:cs typeface="Arial"/>
              </a:rPr>
              <a:t>tr</a:t>
            </a:r>
            <a:r>
              <a:rPr b="1" spc="-9" dirty="0">
                <a:latin typeface="Arial"/>
                <a:cs typeface="Arial"/>
              </a:rPr>
              <a:t>a</a:t>
            </a:r>
            <a:r>
              <a:rPr b="1" dirty="0">
                <a:latin typeface="Arial"/>
                <a:cs typeface="Arial"/>
              </a:rPr>
              <a:t>nsfe</a:t>
            </a:r>
            <a:r>
              <a:rPr b="1" spc="-9" dirty="0">
                <a:latin typeface="Arial"/>
                <a:cs typeface="Arial"/>
              </a:rPr>
              <a:t>r</a:t>
            </a:r>
            <a:r>
              <a:rPr b="1" dirty="0">
                <a:latin typeface="Arial"/>
                <a:cs typeface="Arial"/>
              </a:rPr>
              <a:t>r</a:t>
            </a:r>
            <a:r>
              <a:rPr b="1" spc="-9" dirty="0">
                <a:latin typeface="Arial"/>
                <a:cs typeface="Arial"/>
              </a:rPr>
              <a:t>e</a:t>
            </a:r>
            <a:r>
              <a:rPr b="1" dirty="0">
                <a:latin typeface="Arial"/>
                <a:cs typeface="Arial"/>
              </a:rPr>
              <a:t>d</a:t>
            </a:r>
            <a:r>
              <a:rPr b="1" spc="19" dirty="0">
                <a:latin typeface="Arial"/>
                <a:cs typeface="Arial"/>
              </a:rPr>
              <a:t> </a:t>
            </a:r>
            <a:r>
              <a:rPr b="1" dirty="0">
                <a:latin typeface="Arial"/>
                <a:cs typeface="Arial"/>
              </a:rPr>
              <a:t>to the del</a:t>
            </a:r>
            <a:r>
              <a:rPr b="1" spc="4" dirty="0">
                <a:latin typeface="Arial"/>
                <a:cs typeface="Arial"/>
              </a:rPr>
              <a:t>i</a:t>
            </a:r>
            <a:r>
              <a:rPr b="1" spc="-39" dirty="0">
                <a:latin typeface="Arial"/>
                <a:cs typeface="Arial"/>
              </a:rPr>
              <a:t>v</a:t>
            </a:r>
            <a:r>
              <a:rPr b="1" dirty="0">
                <a:latin typeface="Arial"/>
                <a:cs typeface="Arial"/>
              </a:rPr>
              <a:t>ery</a:t>
            </a:r>
            <a:endParaRPr>
              <a:latin typeface="Arial"/>
              <a:cs typeface="Arial"/>
            </a:endParaRPr>
          </a:p>
        </p:txBody>
      </p:sp>
      <p:sp>
        <p:nvSpPr>
          <p:cNvPr id="20" name="object 20"/>
          <p:cNvSpPr txBox="1"/>
          <p:nvPr/>
        </p:nvSpPr>
        <p:spPr>
          <a:xfrm>
            <a:off x="8946363" y="1365940"/>
            <a:ext cx="529691" cy="254000"/>
          </a:xfrm>
          <a:prstGeom prst="rect">
            <a:avLst/>
          </a:prstGeom>
        </p:spPr>
        <p:txBody>
          <a:bodyPr wrap="square" lIns="0" tIns="0" rIns="0" bIns="0" rtlCol="0">
            <a:noAutofit/>
          </a:bodyPr>
          <a:lstStyle/>
          <a:p>
            <a:pPr marL="12700">
              <a:lnSpc>
                <a:spcPts val="1939"/>
              </a:lnSpc>
              <a:spcBef>
                <a:spcPts val="97"/>
              </a:spcBef>
            </a:pPr>
            <a:r>
              <a:rPr b="1" dirty="0">
                <a:latin typeface="Arial"/>
                <a:cs typeface="Arial"/>
              </a:rPr>
              <a:t>item</a:t>
            </a:r>
            <a:endParaRPr>
              <a:latin typeface="Arial"/>
              <a:cs typeface="Arial"/>
            </a:endParaRPr>
          </a:p>
        </p:txBody>
      </p:sp>
      <p:sp>
        <p:nvSpPr>
          <p:cNvPr id="19" name="object 19"/>
          <p:cNvSpPr txBox="1"/>
          <p:nvPr/>
        </p:nvSpPr>
        <p:spPr>
          <a:xfrm>
            <a:off x="2925826" y="2506184"/>
            <a:ext cx="1782334" cy="471932"/>
          </a:xfrm>
          <a:prstGeom prst="rect">
            <a:avLst/>
          </a:prstGeom>
        </p:spPr>
        <p:txBody>
          <a:bodyPr wrap="square" lIns="0" tIns="0" rIns="0" bIns="0" rtlCol="0">
            <a:noAutofit/>
          </a:bodyPr>
          <a:lstStyle/>
          <a:p>
            <a:pPr marL="12700" marR="30403">
              <a:lnSpc>
                <a:spcPts val="1730"/>
              </a:lnSpc>
              <a:spcBef>
                <a:spcPts val="86"/>
              </a:spcBef>
            </a:pPr>
            <a:r>
              <a:rPr sz="1600" b="1" dirty="0">
                <a:solidFill>
                  <a:srgbClr val="FFFFFF"/>
                </a:solidFill>
                <a:latin typeface="Arial"/>
                <a:cs typeface="Arial"/>
              </a:rPr>
              <a:t>Stan</a:t>
            </a:r>
            <a:r>
              <a:rPr sz="1600" b="1" spc="-4" dirty="0">
                <a:solidFill>
                  <a:srgbClr val="FFFFFF"/>
                </a:solidFill>
                <a:latin typeface="Arial"/>
                <a:cs typeface="Arial"/>
              </a:rPr>
              <a:t>d</a:t>
            </a:r>
            <a:r>
              <a:rPr sz="1600" b="1" dirty="0">
                <a:solidFill>
                  <a:srgbClr val="FFFFFF"/>
                </a:solidFill>
                <a:latin typeface="Arial"/>
                <a:cs typeface="Arial"/>
              </a:rPr>
              <a:t>ard</a:t>
            </a:r>
            <a:r>
              <a:rPr sz="1600" b="1" spc="-59" dirty="0">
                <a:solidFill>
                  <a:srgbClr val="FFFFFF"/>
                </a:solidFill>
                <a:latin typeface="Arial"/>
                <a:cs typeface="Arial"/>
              </a:rPr>
              <a:t> </a:t>
            </a:r>
            <a:r>
              <a:rPr sz="1600" b="1" dirty="0">
                <a:solidFill>
                  <a:srgbClr val="FFFFFF"/>
                </a:solidFill>
                <a:latin typeface="Arial"/>
                <a:cs typeface="Arial"/>
              </a:rPr>
              <a:t>Item</a:t>
            </a:r>
            <a:endParaRPr sz="1600" dirty="0">
              <a:latin typeface="Arial"/>
              <a:cs typeface="Arial"/>
            </a:endParaRPr>
          </a:p>
          <a:p>
            <a:pPr marL="12700">
              <a:lnSpc>
                <a:spcPct val="95825"/>
              </a:lnSpc>
            </a:pPr>
            <a:r>
              <a:rPr sz="1600" b="1" dirty="0">
                <a:solidFill>
                  <a:srgbClr val="FFFFFF"/>
                </a:solidFill>
                <a:latin typeface="Arial"/>
                <a:cs typeface="Arial"/>
              </a:rPr>
              <a:t>(</a:t>
            </a:r>
            <a:r>
              <a:rPr sz="1600" b="1" spc="-4" dirty="0">
                <a:solidFill>
                  <a:srgbClr val="FFFFFF"/>
                </a:solidFill>
                <a:latin typeface="Arial"/>
                <a:cs typeface="Arial"/>
              </a:rPr>
              <a:t>f</a:t>
            </a:r>
            <a:r>
              <a:rPr sz="1600" b="1" dirty="0">
                <a:solidFill>
                  <a:srgbClr val="FFFFFF"/>
                </a:solidFill>
                <a:latin typeface="Arial"/>
                <a:cs typeface="Arial"/>
              </a:rPr>
              <a:t>rom</a:t>
            </a:r>
            <a:r>
              <a:rPr sz="1600" b="1" spc="-20" dirty="0">
                <a:solidFill>
                  <a:srgbClr val="FFFFFF"/>
                </a:solidFill>
                <a:latin typeface="Arial"/>
                <a:cs typeface="Arial"/>
              </a:rPr>
              <a:t> </a:t>
            </a:r>
            <a:r>
              <a:rPr sz="1600" b="1" dirty="0">
                <a:solidFill>
                  <a:srgbClr val="FFFFFF"/>
                </a:solidFill>
                <a:latin typeface="Arial"/>
                <a:cs typeface="Arial"/>
              </a:rPr>
              <a:t>sales</a:t>
            </a:r>
            <a:r>
              <a:rPr sz="1600" b="1" spc="-25" dirty="0">
                <a:solidFill>
                  <a:srgbClr val="FFFFFF"/>
                </a:solidFill>
                <a:latin typeface="Arial"/>
                <a:cs typeface="Arial"/>
              </a:rPr>
              <a:t> </a:t>
            </a:r>
            <a:r>
              <a:rPr sz="1600" b="1" dirty="0">
                <a:solidFill>
                  <a:srgbClr val="FFFFFF"/>
                </a:solidFill>
                <a:latin typeface="Arial"/>
                <a:cs typeface="Arial"/>
              </a:rPr>
              <a:t>order)</a:t>
            </a:r>
            <a:endParaRPr sz="1600" dirty="0">
              <a:latin typeface="Arial"/>
              <a:cs typeface="Arial"/>
            </a:endParaRPr>
          </a:p>
        </p:txBody>
      </p:sp>
      <p:sp>
        <p:nvSpPr>
          <p:cNvPr id="18" name="object 18"/>
          <p:cNvSpPr txBox="1"/>
          <p:nvPr/>
        </p:nvSpPr>
        <p:spPr>
          <a:xfrm>
            <a:off x="6667882" y="3385127"/>
            <a:ext cx="1783535" cy="639572"/>
          </a:xfrm>
          <a:prstGeom prst="rect">
            <a:avLst/>
          </a:prstGeom>
        </p:spPr>
        <p:txBody>
          <a:bodyPr wrap="square" lIns="0" tIns="0" rIns="0" bIns="0" rtlCol="0">
            <a:noAutofit/>
          </a:bodyPr>
          <a:lstStyle/>
          <a:p>
            <a:pPr algn="ctr">
              <a:lnSpc>
                <a:spcPts val="2345"/>
              </a:lnSpc>
              <a:spcBef>
                <a:spcPts val="117"/>
              </a:spcBef>
            </a:pPr>
            <a:r>
              <a:rPr sz="2200" b="1" dirty="0">
                <a:solidFill>
                  <a:srgbClr val="FFFFFF"/>
                </a:solidFill>
                <a:latin typeface="Arial"/>
                <a:cs typeface="Arial"/>
              </a:rPr>
              <a:t>Deli</a:t>
            </a:r>
            <a:r>
              <a:rPr sz="2200" b="1" spc="4" dirty="0">
                <a:solidFill>
                  <a:srgbClr val="FFFFFF"/>
                </a:solidFill>
                <a:latin typeface="Arial"/>
                <a:cs typeface="Arial"/>
              </a:rPr>
              <a:t>v</a:t>
            </a:r>
            <a:r>
              <a:rPr sz="2200" b="1" dirty="0">
                <a:solidFill>
                  <a:srgbClr val="FFFFFF"/>
                </a:solidFill>
                <a:latin typeface="Arial"/>
                <a:cs typeface="Arial"/>
              </a:rPr>
              <a:t>ery</a:t>
            </a:r>
            <a:r>
              <a:rPr sz="2200" b="1" spc="-85" dirty="0">
                <a:solidFill>
                  <a:srgbClr val="FFFFFF"/>
                </a:solidFill>
                <a:latin typeface="Arial"/>
                <a:cs typeface="Arial"/>
              </a:rPr>
              <a:t> </a:t>
            </a:r>
            <a:r>
              <a:rPr sz="2200" b="1" dirty="0">
                <a:solidFill>
                  <a:srgbClr val="FFFFFF"/>
                </a:solidFill>
                <a:latin typeface="Arial"/>
                <a:cs typeface="Arial"/>
              </a:rPr>
              <a:t>Item</a:t>
            </a:r>
            <a:endParaRPr sz="2200">
              <a:latin typeface="Arial"/>
              <a:cs typeface="Arial"/>
            </a:endParaRPr>
          </a:p>
          <a:p>
            <a:pPr marL="245783" marR="261242" algn="ctr">
              <a:lnSpc>
                <a:spcPct val="95825"/>
              </a:lnSpc>
            </a:pPr>
            <a:r>
              <a:rPr sz="2200" b="1" dirty="0">
                <a:solidFill>
                  <a:srgbClr val="FFFFFF"/>
                </a:solidFill>
                <a:latin typeface="Arial"/>
                <a:cs typeface="Arial"/>
              </a:rPr>
              <a:t>Cate</a:t>
            </a:r>
            <a:r>
              <a:rPr sz="2200" b="1" spc="4" dirty="0">
                <a:solidFill>
                  <a:srgbClr val="FFFFFF"/>
                </a:solidFill>
                <a:latin typeface="Arial"/>
                <a:cs typeface="Arial"/>
              </a:rPr>
              <a:t>g</a:t>
            </a:r>
            <a:r>
              <a:rPr sz="2200" b="1" dirty="0">
                <a:solidFill>
                  <a:srgbClr val="FFFFFF"/>
                </a:solidFill>
                <a:latin typeface="Arial"/>
                <a:cs typeface="Arial"/>
              </a:rPr>
              <a:t>ory</a:t>
            </a:r>
            <a:endParaRPr sz="2200">
              <a:latin typeface="Arial"/>
              <a:cs typeface="Arial"/>
            </a:endParaRPr>
          </a:p>
        </p:txBody>
      </p:sp>
      <p:sp>
        <p:nvSpPr>
          <p:cNvPr id="17" name="object 17"/>
          <p:cNvSpPr txBox="1"/>
          <p:nvPr/>
        </p:nvSpPr>
        <p:spPr>
          <a:xfrm>
            <a:off x="3056382" y="3420584"/>
            <a:ext cx="1549238" cy="472370"/>
          </a:xfrm>
          <a:prstGeom prst="rect">
            <a:avLst/>
          </a:prstGeom>
        </p:spPr>
        <p:txBody>
          <a:bodyPr wrap="square" lIns="0" tIns="0" rIns="0" bIns="0" rtlCol="0">
            <a:noAutofit/>
          </a:bodyPr>
          <a:lstStyle/>
          <a:p>
            <a:pPr algn="ctr">
              <a:lnSpc>
                <a:spcPts val="1730"/>
              </a:lnSpc>
              <a:spcBef>
                <a:spcPts val="86"/>
              </a:spcBef>
            </a:pPr>
            <a:r>
              <a:rPr sz="1600" b="1" spc="-125" dirty="0">
                <a:solidFill>
                  <a:srgbClr val="FFFFFF"/>
                </a:solidFill>
                <a:latin typeface="Arial"/>
                <a:cs typeface="Arial"/>
              </a:rPr>
              <a:t>T</a:t>
            </a:r>
            <a:r>
              <a:rPr sz="1600" b="1" dirty="0">
                <a:solidFill>
                  <a:srgbClr val="FFFFFF"/>
                </a:solidFill>
                <a:latin typeface="Arial"/>
                <a:cs typeface="Arial"/>
              </a:rPr>
              <a:t>ext</a:t>
            </a:r>
            <a:r>
              <a:rPr sz="1600" b="1" spc="-22" dirty="0">
                <a:solidFill>
                  <a:srgbClr val="FFFFFF"/>
                </a:solidFill>
                <a:latin typeface="Arial"/>
                <a:cs typeface="Arial"/>
              </a:rPr>
              <a:t> </a:t>
            </a:r>
            <a:r>
              <a:rPr sz="1600" b="1" dirty="0">
                <a:solidFill>
                  <a:srgbClr val="FFFFFF"/>
                </a:solidFill>
                <a:latin typeface="Arial"/>
                <a:cs typeface="Arial"/>
              </a:rPr>
              <a:t>Item</a:t>
            </a:r>
            <a:r>
              <a:rPr sz="1600" b="1" spc="440" dirty="0">
                <a:solidFill>
                  <a:srgbClr val="FFFFFF"/>
                </a:solidFill>
                <a:latin typeface="Arial"/>
                <a:cs typeface="Arial"/>
              </a:rPr>
              <a:t> </a:t>
            </a:r>
            <a:r>
              <a:rPr sz="1600" b="1" dirty="0">
                <a:solidFill>
                  <a:srgbClr val="FFFFFF"/>
                </a:solidFill>
                <a:latin typeface="Arial"/>
                <a:cs typeface="Arial"/>
              </a:rPr>
              <a:t>(</a:t>
            </a:r>
            <a:r>
              <a:rPr sz="1600" b="1" spc="-4" dirty="0">
                <a:solidFill>
                  <a:srgbClr val="FFFFFF"/>
                </a:solidFill>
                <a:latin typeface="Arial"/>
                <a:cs typeface="Arial"/>
              </a:rPr>
              <a:t>f</a:t>
            </a:r>
            <a:r>
              <a:rPr sz="1600" b="1" dirty="0">
                <a:solidFill>
                  <a:srgbClr val="FFFFFF"/>
                </a:solidFill>
                <a:latin typeface="Arial"/>
                <a:cs typeface="Arial"/>
              </a:rPr>
              <a:t>rom</a:t>
            </a:r>
            <a:endParaRPr sz="1600" dirty="0">
              <a:latin typeface="Arial"/>
              <a:cs typeface="Arial"/>
            </a:endParaRPr>
          </a:p>
          <a:p>
            <a:pPr marL="164607" marR="179007" algn="ctr">
              <a:lnSpc>
                <a:spcPct val="95825"/>
              </a:lnSpc>
            </a:pPr>
            <a:r>
              <a:rPr sz="1600" b="1" dirty="0">
                <a:solidFill>
                  <a:srgbClr val="FFFFFF"/>
                </a:solidFill>
                <a:latin typeface="Arial"/>
                <a:cs typeface="Arial"/>
              </a:rPr>
              <a:t>sales</a:t>
            </a:r>
            <a:r>
              <a:rPr sz="1600" b="1" spc="-39" dirty="0">
                <a:solidFill>
                  <a:srgbClr val="FFFFFF"/>
                </a:solidFill>
                <a:latin typeface="Arial"/>
                <a:cs typeface="Arial"/>
              </a:rPr>
              <a:t> </a:t>
            </a:r>
            <a:r>
              <a:rPr sz="1600" b="1" spc="-9" dirty="0">
                <a:solidFill>
                  <a:srgbClr val="FFFFFF"/>
                </a:solidFill>
                <a:latin typeface="Arial"/>
                <a:cs typeface="Arial"/>
              </a:rPr>
              <a:t>o</a:t>
            </a:r>
            <a:r>
              <a:rPr sz="1600" b="1" dirty="0">
                <a:solidFill>
                  <a:srgbClr val="FFFFFF"/>
                </a:solidFill>
                <a:latin typeface="Arial"/>
                <a:cs typeface="Arial"/>
              </a:rPr>
              <a:t>rder)</a:t>
            </a:r>
            <a:endParaRPr sz="1600" dirty="0">
              <a:latin typeface="Arial"/>
              <a:cs typeface="Arial"/>
            </a:endParaRPr>
          </a:p>
        </p:txBody>
      </p:sp>
      <p:sp>
        <p:nvSpPr>
          <p:cNvPr id="16" name="object 16"/>
          <p:cNvSpPr txBox="1"/>
          <p:nvPr/>
        </p:nvSpPr>
        <p:spPr>
          <a:xfrm>
            <a:off x="2925827" y="4135093"/>
            <a:ext cx="1808129" cy="716018"/>
          </a:xfrm>
          <a:prstGeom prst="rect">
            <a:avLst/>
          </a:prstGeom>
        </p:spPr>
        <p:txBody>
          <a:bodyPr wrap="square" lIns="0" tIns="0" rIns="0" bIns="0" rtlCol="0">
            <a:noAutofit/>
          </a:bodyPr>
          <a:lstStyle/>
          <a:p>
            <a:pPr marL="12700" marR="22349">
              <a:lnSpc>
                <a:spcPts val="1735"/>
              </a:lnSpc>
              <a:spcBef>
                <a:spcPts val="86"/>
              </a:spcBef>
            </a:pPr>
            <a:r>
              <a:rPr sz="1600" b="1" dirty="0">
                <a:solidFill>
                  <a:srgbClr val="FFFFFF"/>
                </a:solidFill>
                <a:latin typeface="Arial"/>
                <a:cs typeface="Arial"/>
              </a:rPr>
              <a:t>Sta</a:t>
            </a:r>
            <a:r>
              <a:rPr sz="1600" b="1" spc="-9" dirty="0">
                <a:solidFill>
                  <a:srgbClr val="FFFFFF"/>
                </a:solidFill>
                <a:latin typeface="Arial"/>
                <a:cs typeface="Arial"/>
              </a:rPr>
              <a:t>n</a:t>
            </a:r>
            <a:r>
              <a:rPr sz="1600" b="1" dirty="0">
                <a:solidFill>
                  <a:srgbClr val="FFFFFF"/>
                </a:solidFill>
                <a:latin typeface="Arial"/>
                <a:cs typeface="Arial"/>
              </a:rPr>
              <a:t>d</a:t>
            </a:r>
            <a:r>
              <a:rPr sz="1600" b="1" spc="-4" dirty="0">
                <a:solidFill>
                  <a:srgbClr val="FFFFFF"/>
                </a:solidFill>
                <a:latin typeface="Arial"/>
                <a:cs typeface="Arial"/>
              </a:rPr>
              <a:t>a</a:t>
            </a:r>
            <a:r>
              <a:rPr sz="1600" b="1" dirty="0">
                <a:solidFill>
                  <a:srgbClr val="FFFFFF"/>
                </a:solidFill>
                <a:latin typeface="Arial"/>
                <a:cs typeface="Arial"/>
              </a:rPr>
              <a:t>rd</a:t>
            </a:r>
            <a:r>
              <a:rPr sz="1600" b="1" spc="-43" dirty="0">
                <a:solidFill>
                  <a:srgbClr val="FFFFFF"/>
                </a:solidFill>
                <a:latin typeface="Arial"/>
                <a:cs typeface="Arial"/>
              </a:rPr>
              <a:t> </a:t>
            </a:r>
            <a:r>
              <a:rPr sz="1600" b="1" dirty="0">
                <a:solidFill>
                  <a:srgbClr val="FFFFFF"/>
                </a:solidFill>
                <a:latin typeface="Arial"/>
                <a:cs typeface="Arial"/>
              </a:rPr>
              <a:t>It</a:t>
            </a:r>
            <a:r>
              <a:rPr sz="1600" b="1" spc="-4" dirty="0">
                <a:solidFill>
                  <a:srgbClr val="FFFFFF"/>
                </a:solidFill>
                <a:latin typeface="Arial"/>
                <a:cs typeface="Arial"/>
              </a:rPr>
              <a:t>e</a:t>
            </a:r>
            <a:r>
              <a:rPr sz="1600" b="1" dirty="0">
                <a:solidFill>
                  <a:srgbClr val="FFFFFF"/>
                </a:solidFill>
                <a:latin typeface="Arial"/>
                <a:cs typeface="Arial"/>
              </a:rPr>
              <a:t>m</a:t>
            </a:r>
            <a:r>
              <a:rPr sz="1600" b="1" spc="-12" dirty="0">
                <a:solidFill>
                  <a:srgbClr val="FFFFFF"/>
                </a:solidFill>
                <a:latin typeface="Arial"/>
                <a:cs typeface="Arial"/>
              </a:rPr>
              <a:t> </a:t>
            </a:r>
            <a:r>
              <a:rPr sz="1600" b="1" dirty="0">
                <a:solidFill>
                  <a:srgbClr val="FFFFFF"/>
                </a:solidFill>
                <a:latin typeface="Arial"/>
                <a:cs typeface="Arial"/>
              </a:rPr>
              <a:t>in</a:t>
            </a:r>
            <a:endParaRPr sz="1600">
              <a:latin typeface="Arial"/>
              <a:cs typeface="Arial"/>
            </a:endParaRPr>
          </a:p>
          <a:p>
            <a:pPr marL="12700">
              <a:lnSpc>
                <a:spcPct val="100041"/>
              </a:lnSpc>
            </a:pPr>
            <a:r>
              <a:rPr sz="1600" b="1" dirty="0">
                <a:solidFill>
                  <a:srgbClr val="FFFFFF"/>
                </a:solidFill>
                <a:latin typeface="Arial"/>
                <a:cs typeface="Arial"/>
              </a:rPr>
              <a:t>Deli</a:t>
            </a:r>
            <a:r>
              <a:rPr sz="1600" b="1" spc="-34" dirty="0">
                <a:solidFill>
                  <a:srgbClr val="FFFFFF"/>
                </a:solidFill>
                <a:latin typeface="Arial"/>
                <a:cs typeface="Arial"/>
              </a:rPr>
              <a:t>v</a:t>
            </a:r>
            <a:r>
              <a:rPr sz="1600" b="1" dirty="0">
                <a:solidFill>
                  <a:srgbClr val="FFFFFF"/>
                </a:solidFill>
                <a:latin typeface="Arial"/>
                <a:cs typeface="Arial"/>
              </a:rPr>
              <a:t>e</a:t>
            </a:r>
            <a:r>
              <a:rPr sz="1600" b="1" spc="14" dirty="0">
                <a:solidFill>
                  <a:srgbClr val="FFFFFF"/>
                </a:solidFill>
                <a:latin typeface="Arial"/>
                <a:cs typeface="Arial"/>
              </a:rPr>
              <a:t>r</a:t>
            </a:r>
            <a:r>
              <a:rPr sz="1600" b="1" dirty="0">
                <a:solidFill>
                  <a:srgbClr val="FFFFFF"/>
                </a:solidFill>
                <a:latin typeface="Arial"/>
                <a:cs typeface="Arial"/>
              </a:rPr>
              <a:t>y</a:t>
            </a:r>
            <a:r>
              <a:rPr sz="1600" b="1" spc="-37" dirty="0">
                <a:solidFill>
                  <a:srgbClr val="FFFFFF"/>
                </a:solidFill>
                <a:latin typeface="Arial"/>
                <a:cs typeface="Arial"/>
              </a:rPr>
              <a:t> </a:t>
            </a:r>
            <a:r>
              <a:rPr sz="1600" b="1" dirty="0">
                <a:solidFill>
                  <a:srgbClr val="FFFFFF"/>
                </a:solidFill>
                <a:latin typeface="Arial"/>
                <a:cs typeface="Arial"/>
              </a:rPr>
              <a:t>(</a:t>
            </a:r>
            <a:r>
              <a:rPr sz="1600" b="1" spc="34" dirty="0">
                <a:solidFill>
                  <a:srgbClr val="FFFFFF"/>
                </a:solidFill>
                <a:latin typeface="Arial"/>
                <a:cs typeface="Arial"/>
              </a:rPr>
              <a:t>w</a:t>
            </a:r>
            <a:r>
              <a:rPr sz="1600" b="1" dirty="0">
                <a:solidFill>
                  <a:srgbClr val="FFFFFF"/>
                </a:solidFill>
                <a:latin typeface="Arial"/>
                <a:cs typeface="Arial"/>
              </a:rPr>
              <a:t>/o</a:t>
            </a:r>
            <a:r>
              <a:rPr sz="1600" b="1" spc="-46" dirty="0">
                <a:solidFill>
                  <a:srgbClr val="FFFFFF"/>
                </a:solidFill>
                <a:latin typeface="Arial"/>
                <a:cs typeface="Arial"/>
              </a:rPr>
              <a:t> </a:t>
            </a:r>
            <a:r>
              <a:rPr sz="1600" b="1" dirty="0">
                <a:solidFill>
                  <a:srgbClr val="FFFFFF"/>
                </a:solidFill>
                <a:latin typeface="Arial"/>
                <a:cs typeface="Arial"/>
              </a:rPr>
              <a:t>refer to</a:t>
            </a:r>
            <a:r>
              <a:rPr sz="1600" b="1" spc="-10" dirty="0">
                <a:solidFill>
                  <a:srgbClr val="FFFFFF"/>
                </a:solidFill>
                <a:latin typeface="Arial"/>
                <a:cs typeface="Arial"/>
              </a:rPr>
              <a:t> </a:t>
            </a:r>
            <a:r>
              <a:rPr sz="1600" b="1" dirty="0">
                <a:solidFill>
                  <a:srgbClr val="FFFFFF"/>
                </a:solidFill>
                <a:latin typeface="Arial"/>
                <a:cs typeface="Arial"/>
              </a:rPr>
              <a:t>an</a:t>
            </a:r>
            <a:r>
              <a:rPr sz="1600" b="1" spc="-18" dirty="0">
                <a:solidFill>
                  <a:srgbClr val="FFFFFF"/>
                </a:solidFill>
                <a:latin typeface="Arial"/>
                <a:cs typeface="Arial"/>
              </a:rPr>
              <a:t> </a:t>
            </a:r>
            <a:r>
              <a:rPr sz="1600" b="1" spc="-4" dirty="0">
                <a:solidFill>
                  <a:srgbClr val="FFFFFF"/>
                </a:solidFill>
                <a:latin typeface="Arial"/>
                <a:cs typeface="Arial"/>
              </a:rPr>
              <a:t>o</a:t>
            </a:r>
            <a:r>
              <a:rPr sz="1600" b="1" dirty="0">
                <a:solidFill>
                  <a:srgbClr val="FFFFFF"/>
                </a:solidFill>
                <a:latin typeface="Arial"/>
                <a:cs typeface="Arial"/>
              </a:rPr>
              <a:t>rder)</a:t>
            </a:r>
            <a:endParaRPr sz="1600">
              <a:latin typeface="Arial"/>
              <a:cs typeface="Arial"/>
            </a:endParaRPr>
          </a:p>
        </p:txBody>
      </p:sp>
      <p:sp>
        <p:nvSpPr>
          <p:cNvPr id="15" name="object 15"/>
          <p:cNvSpPr txBox="1"/>
          <p:nvPr/>
        </p:nvSpPr>
        <p:spPr>
          <a:xfrm>
            <a:off x="3111247" y="5049741"/>
            <a:ext cx="1438163" cy="471931"/>
          </a:xfrm>
          <a:prstGeom prst="rect">
            <a:avLst/>
          </a:prstGeom>
        </p:spPr>
        <p:txBody>
          <a:bodyPr wrap="square" lIns="0" tIns="0" rIns="0" bIns="0" rtlCol="0">
            <a:noAutofit/>
          </a:bodyPr>
          <a:lstStyle/>
          <a:p>
            <a:pPr algn="ctr">
              <a:lnSpc>
                <a:spcPts val="1730"/>
              </a:lnSpc>
              <a:spcBef>
                <a:spcPts val="86"/>
              </a:spcBef>
            </a:pPr>
            <a:r>
              <a:rPr sz="1600" b="1" dirty="0">
                <a:solidFill>
                  <a:srgbClr val="FFFFFF"/>
                </a:solidFill>
                <a:latin typeface="Arial"/>
                <a:cs typeface="Arial"/>
              </a:rPr>
              <a:t>Free</a:t>
            </a:r>
            <a:r>
              <a:rPr sz="1600" b="1" spc="-33" dirty="0">
                <a:solidFill>
                  <a:srgbClr val="FFFFFF"/>
                </a:solidFill>
                <a:latin typeface="Arial"/>
                <a:cs typeface="Arial"/>
              </a:rPr>
              <a:t> </a:t>
            </a:r>
            <a:r>
              <a:rPr sz="1600" b="1" dirty="0">
                <a:solidFill>
                  <a:srgbClr val="FFFFFF"/>
                </a:solidFill>
                <a:latin typeface="Arial"/>
                <a:cs typeface="Arial"/>
              </a:rPr>
              <a:t>of</a:t>
            </a:r>
            <a:r>
              <a:rPr sz="1600" b="1" spc="-10" dirty="0">
                <a:solidFill>
                  <a:srgbClr val="FFFFFF"/>
                </a:solidFill>
                <a:latin typeface="Arial"/>
                <a:cs typeface="Arial"/>
              </a:rPr>
              <a:t> </a:t>
            </a:r>
            <a:r>
              <a:rPr sz="1600" b="1" dirty="0">
                <a:solidFill>
                  <a:srgbClr val="FFFFFF"/>
                </a:solidFill>
                <a:latin typeface="Arial"/>
                <a:cs typeface="Arial"/>
              </a:rPr>
              <a:t>charge</a:t>
            </a:r>
            <a:endParaRPr sz="1600">
              <a:latin typeface="Arial"/>
              <a:cs typeface="Arial"/>
            </a:endParaRPr>
          </a:p>
          <a:p>
            <a:pPr marL="475526" marR="490098" algn="ctr">
              <a:lnSpc>
                <a:spcPct val="95825"/>
              </a:lnSpc>
            </a:pPr>
            <a:r>
              <a:rPr sz="1600" b="1" dirty="0">
                <a:solidFill>
                  <a:srgbClr val="FFFFFF"/>
                </a:solidFill>
                <a:latin typeface="Arial"/>
                <a:cs typeface="Arial"/>
              </a:rPr>
              <a:t>item</a:t>
            </a:r>
            <a:endParaRPr sz="1600">
              <a:latin typeface="Arial"/>
              <a:cs typeface="Arial"/>
            </a:endParaRPr>
          </a:p>
        </p:txBody>
      </p:sp>
      <p:sp>
        <p:nvSpPr>
          <p:cNvPr id="13" name="object 13"/>
          <p:cNvSpPr txBox="1"/>
          <p:nvPr/>
        </p:nvSpPr>
        <p:spPr>
          <a:xfrm>
            <a:off x="1676400" y="5072063"/>
            <a:ext cx="635000" cy="414337"/>
          </a:xfrm>
          <a:prstGeom prst="rect">
            <a:avLst/>
          </a:prstGeom>
        </p:spPr>
        <p:txBody>
          <a:bodyPr wrap="square" lIns="0" tIns="0" rIns="0" bIns="0" rtlCol="0">
            <a:noAutofit/>
          </a:bodyPr>
          <a:lstStyle/>
          <a:p>
            <a:pPr>
              <a:lnSpc>
                <a:spcPts val="600"/>
              </a:lnSpc>
              <a:spcBef>
                <a:spcPts val="24"/>
              </a:spcBef>
            </a:pPr>
            <a:endParaRPr sz="600"/>
          </a:p>
          <a:p>
            <a:pPr marL="82905">
              <a:lnSpc>
                <a:spcPct val="95825"/>
              </a:lnSpc>
            </a:pPr>
            <a:r>
              <a:rPr b="1" dirty="0">
                <a:solidFill>
                  <a:srgbClr val="808080"/>
                </a:solidFill>
                <a:latin typeface="Arial"/>
                <a:cs typeface="Arial"/>
              </a:rPr>
              <a:t>KLN</a:t>
            </a:r>
            <a:endParaRPr>
              <a:latin typeface="Arial"/>
              <a:cs typeface="Arial"/>
            </a:endParaRPr>
          </a:p>
        </p:txBody>
      </p:sp>
      <p:sp>
        <p:nvSpPr>
          <p:cNvPr id="12" name="object 12"/>
          <p:cNvSpPr txBox="1"/>
          <p:nvPr/>
        </p:nvSpPr>
        <p:spPr>
          <a:xfrm>
            <a:off x="8541511" y="4847845"/>
            <a:ext cx="1698244" cy="740549"/>
          </a:xfrm>
          <a:prstGeom prst="rect">
            <a:avLst/>
          </a:prstGeom>
        </p:spPr>
        <p:txBody>
          <a:bodyPr wrap="square" lIns="0" tIns="0" rIns="0" bIns="0" rtlCol="0">
            <a:noAutofit/>
          </a:bodyPr>
          <a:lstStyle/>
          <a:p>
            <a:pPr marL="25400">
              <a:lnSpc>
                <a:spcPts val="1000"/>
              </a:lnSpc>
            </a:pPr>
            <a:endParaRPr sz="1000"/>
          </a:p>
        </p:txBody>
      </p:sp>
      <p:sp>
        <p:nvSpPr>
          <p:cNvPr id="11" name="object 11"/>
          <p:cNvSpPr txBox="1"/>
          <p:nvPr/>
        </p:nvSpPr>
        <p:spPr>
          <a:xfrm>
            <a:off x="5000245" y="4847845"/>
            <a:ext cx="1773173" cy="740549"/>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8418069" y="4724401"/>
            <a:ext cx="1945131" cy="987425"/>
          </a:xfrm>
          <a:prstGeom prst="rect">
            <a:avLst/>
          </a:prstGeom>
        </p:spPr>
        <p:txBody>
          <a:bodyPr wrap="square" lIns="0" tIns="0" rIns="0" bIns="0" rtlCol="0">
            <a:noAutofit/>
          </a:bodyPr>
          <a:lstStyle/>
          <a:p>
            <a:pPr>
              <a:lnSpc>
                <a:spcPts val="1000"/>
              </a:lnSpc>
            </a:pPr>
            <a:endParaRPr sz="1000"/>
          </a:p>
          <a:p>
            <a:pPr marL="168148">
              <a:lnSpc>
                <a:spcPct val="95825"/>
              </a:lnSpc>
              <a:spcBef>
                <a:spcPts val="1034"/>
              </a:spcBef>
            </a:pPr>
            <a:r>
              <a:rPr sz="1600" b="1" dirty="0">
                <a:latin typeface="Arial"/>
                <a:cs typeface="Arial"/>
              </a:rPr>
              <a:t>Determi</a:t>
            </a:r>
            <a:r>
              <a:rPr sz="1600" b="1" spc="-4" dirty="0">
                <a:latin typeface="Arial"/>
                <a:cs typeface="Arial"/>
              </a:rPr>
              <a:t>n</a:t>
            </a:r>
            <a:r>
              <a:rPr sz="1600" b="1" dirty="0">
                <a:latin typeface="Arial"/>
                <a:cs typeface="Arial"/>
              </a:rPr>
              <a:t>ati</a:t>
            </a:r>
            <a:r>
              <a:rPr sz="1600" b="1" spc="-4" dirty="0">
                <a:latin typeface="Arial"/>
                <a:cs typeface="Arial"/>
              </a:rPr>
              <a:t>o</a:t>
            </a:r>
            <a:r>
              <a:rPr sz="1600" b="1" dirty="0">
                <a:latin typeface="Arial"/>
                <a:cs typeface="Arial"/>
              </a:rPr>
              <a:t>n</a:t>
            </a:r>
            <a:r>
              <a:rPr sz="1600" b="1" spc="-77" dirty="0">
                <a:latin typeface="Arial"/>
                <a:cs typeface="Arial"/>
              </a:rPr>
              <a:t> </a:t>
            </a:r>
            <a:r>
              <a:rPr sz="1600" b="1" dirty="0">
                <a:latin typeface="Arial"/>
                <a:cs typeface="Arial"/>
              </a:rPr>
              <a:t>of</a:t>
            </a:r>
            <a:endParaRPr sz="1600">
              <a:latin typeface="Arial"/>
              <a:cs typeface="Arial"/>
            </a:endParaRPr>
          </a:p>
          <a:p>
            <a:pPr marL="163575">
              <a:lnSpc>
                <a:spcPct val="95825"/>
              </a:lnSpc>
              <a:spcBef>
                <a:spcPts val="80"/>
              </a:spcBef>
            </a:pPr>
            <a:r>
              <a:rPr sz="1600" b="1" dirty="0">
                <a:latin typeface="Arial"/>
                <a:cs typeface="Arial"/>
              </a:rPr>
              <a:t>Pic</a:t>
            </a:r>
            <a:r>
              <a:rPr sz="1600" b="1" spc="4" dirty="0">
                <a:latin typeface="Arial"/>
                <a:cs typeface="Arial"/>
              </a:rPr>
              <a:t>k</a:t>
            </a:r>
            <a:r>
              <a:rPr sz="1600" b="1" dirty="0">
                <a:latin typeface="Arial"/>
                <a:cs typeface="Arial"/>
              </a:rPr>
              <a:t>ing</a:t>
            </a:r>
            <a:r>
              <a:rPr sz="1600" b="1" spc="-61" dirty="0">
                <a:latin typeface="Arial"/>
                <a:cs typeface="Arial"/>
              </a:rPr>
              <a:t> </a:t>
            </a:r>
            <a:r>
              <a:rPr sz="1600" b="1" dirty="0">
                <a:latin typeface="Arial"/>
                <a:cs typeface="Arial"/>
              </a:rPr>
              <a:t>L</a:t>
            </a:r>
            <a:r>
              <a:rPr sz="1600" b="1" spc="-4" dirty="0">
                <a:latin typeface="Arial"/>
                <a:cs typeface="Arial"/>
              </a:rPr>
              <a:t>o</a:t>
            </a:r>
            <a:r>
              <a:rPr sz="1600" b="1" dirty="0">
                <a:latin typeface="Arial"/>
                <a:cs typeface="Arial"/>
              </a:rPr>
              <a:t>cati</a:t>
            </a:r>
            <a:r>
              <a:rPr sz="1600" b="1" spc="-4" dirty="0">
                <a:latin typeface="Arial"/>
                <a:cs typeface="Arial"/>
              </a:rPr>
              <a:t>o</a:t>
            </a:r>
            <a:r>
              <a:rPr sz="1600" b="1" dirty="0">
                <a:latin typeface="Arial"/>
                <a:cs typeface="Arial"/>
              </a:rPr>
              <a:t>n</a:t>
            </a:r>
            <a:endParaRPr sz="1600">
              <a:latin typeface="Arial"/>
              <a:cs typeface="Arial"/>
            </a:endParaRPr>
          </a:p>
        </p:txBody>
      </p:sp>
      <p:sp>
        <p:nvSpPr>
          <p:cNvPr id="9" name="object 9"/>
          <p:cNvSpPr txBox="1"/>
          <p:nvPr/>
        </p:nvSpPr>
        <p:spPr>
          <a:xfrm>
            <a:off x="4876801" y="4724401"/>
            <a:ext cx="2019935" cy="987425"/>
          </a:xfrm>
          <a:prstGeom prst="rect">
            <a:avLst/>
          </a:prstGeom>
        </p:spPr>
        <p:txBody>
          <a:bodyPr wrap="square" lIns="0" tIns="0" rIns="0" bIns="0" rtlCol="0">
            <a:noAutofit/>
          </a:bodyPr>
          <a:lstStyle/>
          <a:p>
            <a:pPr>
              <a:lnSpc>
                <a:spcPts val="1000"/>
              </a:lnSpc>
            </a:pPr>
            <a:endParaRPr sz="1000"/>
          </a:p>
          <a:p>
            <a:pPr marL="40133" marR="38573" algn="ctr">
              <a:lnSpc>
                <a:spcPct val="95825"/>
              </a:lnSpc>
              <a:spcBef>
                <a:spcPts val="1034"/>
              </a:spcBef>
            </a:pPr>
            <a:r>
              <a:rPr sz="1600" b="1" dirty="0">
                <a:latin typeface="Arial"/>
                <a:cs typeface="Arial"/>
              </a:rPr>
              <a:t>Check</a:t>
            </a:r>
            <a:r>
              <a:rPr sz="1600" b="1" spc="-57" dirty="0">
                <a:latin typeface="Arial"/>
                <a:cs typeface="Arial"/>
              </a:rPr>
              <a:t> </a:t>
            </a:r>
            <a:r>
              <a:rPr sz="1600" b="1" dirty="0">
                <a:latin typeface="Arial"/>
                <a:cs typeface="Arial"/>
              </a:rPr>
              <a:t>f</a:t>
            </a:r>
            <a:r>
              <a:rPr sz="1600" b="1" spc="-4" dirty="0">
                <a:latin typeface="Arial"/>
                <a:cs typeface="Arial"/>
              </a:rPr>
              <a:t>o</a:t>
            </a:r>
            <a:r>
              <a:rPr sz="1600" b="1" dirty="0">
                <a:latin typeface="Arial"/>
                <a:cs typeface="Arial"/>
              </a:rPr>
              <a:t>r</a:t>
            </a:r>
            <a:r>
              <a:rPr sz="1600" b="1" spc="3" dirty="0">
                <a:latin typeface="Arial"/>
                <a:cs typeface="Arial"/>
              </a:rPr>
              <a:t> </a:t>
            </a:r>
            <a:r>
              <a:rPr sz="1600" b="1" dirty="0">
                <a:latin typeface="Arial"/>
                <a:cs typeface="Arial"/>
              </a:rPr>
              <a:t>Minim</a:t>
            </a:r>
            <a:r>
              <a:rPr sz="1600" b="1" spc="-4" dirty="0">
                <a:latin typeface="Arial"/>
                <a:cs typeface="Arial"/>
              </a:rPr>
              <a:t>u</a:t>
            </a:r>
            <a:r>
              <a:rPr sz="1600" b="1" dirty="0">
                <a:latin typeface="Arial"/>
                <a:cs typeface="Arial"/>
              </a:rPr>
              <a:t>m</a:t>
            </a:r>
            <a:endParaRPr sz="1600">
              <a:latin typeface="Arial"/>
              <a:cs typeface="Arial"/>
            </a:endParaRPr>
          </a:p>
          <a:p>
            <a:pPr marL="150660" marR="147342" algn="ctr">
              <a:lnSpc>
                <a:spcPct val="95825"/>
              </a:lnSpc>
              <a:spcBef>
                <a:spcPts val="80"/>
              </a:spcBef>
            </a:pPr>
            <a:r>
              <a:rPr sz="1600" b="1" dirty="0">
                <a:latin typeface="Arial"/>
                <a:cs typeface="Arial"/>
              </a:rPr>
              <a:t>Deli</a:t>
            </a:r>
            <a:r>
              <a:rPr sz="1600" b="1" spc="-34" dirty="0">
                <a:latin typeface="Arial"/>
                <a:cs typeface="Arial"/>
              </a:rPr>
              <a:t>v</a:t>
            </a:r>
            <a:r>
              <a:rPr sz="1600" b="1" dirty="0">
                <a:latin typeface="Arial"/>
                <a:cs typeface="Arial"/>
              </a:rPr>
              <a:t>e</a:t>
            </a:r>
            <a:r>
              <a:rPr sz="1600" b="1" spc="14" dirty="0">
                <a:latin typeface="Arial"/>
                <a:cs typeface="Arial"/>
              </a:rPr>
              <a:t>r</a:t>
            </a:r>
            <a:r>
              <a:rPr sz="1600" b="1" dirty="0">
                <a:latin typeface="Arial"/>
                <a:cs typeface="Arial"/>
              </a:rPr>
              <a:t>y</a:t>
            </a:r>
            <a:r>
              <a:rPr sz="1600" b="1" spc="-37" dirty="0">
                <a:latin typeface="Arial"/>
                <a:cs typeface="Arial"/>
              </a:rPr>
              <a:t> </a:t>
            </a:r>
            <a:r>
              <a:rPr sz="1600" b="1" spc="-4" dirty="0">
                <a:latin typeface="Arial"/>
                <a:cs typeface="Arial"/>
              </a:rPr>
              <a:t>Q</a:t>
            </a:r>
            <a:r>
              <a:rPr sz="1600" b="1" dirty="0">
                <a:latin typeface="Arial"/>
                <a:cs typeface="Arial"/>
              </a:rPr>
              <a:t>ua</a:t>
            </a:r>
            <a:r>
              <a:rPr sz="1600" b="1" spc="-4" dirty="0">
                <a:latin typeface="Arial"/>
                <a:cs typeface="Arial"/>
              </a:rPr>
              <a:t>n</a:t>
            </a:r>
            <a:r>
              <a:rPr sz="1600" b="1" dirty="0">
                <a:latin typeface="Arial"/>
                <a:cs typeface="Arial"/>
              </a:rPr>
              <a:t>ti</a:t>
            </a:r>
            <a:r>
              <a:rPr sz="1600" b="1" spc="4" dirty="0">
                <a:latin typeface="Arial"/>
                <a:cs typeface="Arial"/>
              </a:rPr>
              <a:t>t</a:t>
            </a:r>
            <a:r>
              <a:rPr sz="1600" b="1" dirty="0">
                <a:latin typeface="Arial"/>
                <a:cs typeface="Arial"/>
              </a:rPr>
              <a:t>y</a:t>
            </a:r>
            <a:endParaRPr sz="1600">
              <a:latin typeface="Arial"/>
              <a:cs typeface="Arial"/>
            </a:endParaRPr>
          </a:p>
        </p:txBody>
      </p:sp>
      <p:sp>
        <p:nvSpPr>
          <p:cNvPr id="8" name="object 8"/>
          <p:cNvSpPr txBox="1"/>
          <p:nvPr/>
        </p:nvSpPr>
        <p:spPr>
          <a:xfrm>
            <a:off x="1676400" y="4175125"/>
            <a:ext cx="635000" cy="412750"/>
          </a:xfrm>
          <a:prstGeom prst="rect">
            <a:avLst/>
          </a:prstGeom>
        </p:spPr>
        <p:txBody>
          <a:bodyPr wrap="square" lIns="0" tIns="0" rIns="0" bIns="0" rtlCol="0">
            <a:noAutofit/>
          </a:bodyPr>
          <a:lstStyle/>
          <a:p>
            <a:pPr>
              <a:lnSpc>
                <a:spcPts val="600"/>
              </a:lnSpc>
              <a:spcBef>
                <a:spcPts val="15"/>
              </a:spcBef>
            </a:pPr>
            <a:endParaRPr sz="600"/>
          </a:p>
          <a:p>
            <a:pPr marL="82905">
              <a:lnSpc>
                <a:spcPct val="95825"/>
              </a:lnSpc>
            </a:pPr>
            <a:r>
              <a:rPr b="1" dirty="0">
                <a:solidFill>
                  <a:srgbClr val="808080"/>
                </a:solidFill>
                <a:latin typeface="Arial"/>
                <a:cs typeface="Arial"/>
              </a:rPr>
              <a:t>DLN</a:t>
            </a:r>
            <a:endParaRPr>
              <a:latin typeface="Arial"/>
              <a:cs typeface="Arial"/>
            </a:endParaRPr>
          </a:p>
        </p:txBody>
      </p:sp>
      <p:sp>
        <p:nvSpPr>
          <p:cNvPr id="7" name="object 7"/>
          <p:cNvSpPr txBox="1"/>
          <p:nvPr/>
        </p:nvSpPr>
        <p:spPr>
          <a:xfrm>
            <a:off x="1676400" y="3319463"/>
            <a:ext cx="635000" cy="414337"/>
          </a:xfrm>
          <a:prstGeom prst="rect">
            <a:avLst/>
          </a:prstGeom>
        </p:spPr>
        <p:txBody>
          <a:bodyPr wrap="square" lIns="0" tIns="0" rIns="0" bIns="0" rtlCol="0">
            <a:noAutofit/>
          </a:bodyPr>
          <a:lstStyle/>
          <a:p>
            <a:pPr>
              <a:lnSpc>
                <a:spcPts val="600"/>
              </a:lnSpc>
              <a:spcBef>
                <a:spcPts val="21"/>
              </a:spcBef>
            </a:pPr>
            <a:endParaRPr sz="600"/>
          </a:p>
          <a:p>
            <a:pPr marL="38709">
              <a:lnSpc>
                <a:spcPct val="95825"/>
              </a:lnSpc>
            </a:pPr>
            <a:r>
              <a:rPr b="1" spc="-129" dirty="0">
                <a:solidFill>
                  <a:srgbClr val="808080"/>
                </a:solidFill>
                <a:latin typeface="Arial"/>
                <a:cs typeface="Arial"/>
              </a:rPr>
              <a:t>T</a:t>
            </a:r>
            <a:r>
              <a:rPr b="1" spc="-184" dirty="0">
                <a:solidFill>
                  <a:srgbClr val="808080"/>
                </a:solidFill>
                <a:latin typeface="Arial"/>
                <a:cs typeface="Arial"/>
              </a:rPr>
              <a:t>A</a:t>
            </a:r>
            <a:r>
              <a:rPr b="1" dirty="0">
                <a:solidFill>
                  <a:srgbClr val="808080"/>
                </a:solidFill>
                <a:latin typeface="Arial"/>
                <a:cs typeface="Arial"/>
              </a:rPr>
              <a:t>TX</a:t>
            </a:r>
            <a:endParaRPr>
              <a:latin typeface="Arial"/>
              <a:cs typeface="Arial"/>
            </a:endParaRPr>
          </a:p>
        </p:txBody>
      </p:sp>
      <p:sp>
        <p:nvSpPr>
          <p:cNvPr id="6" name="object 6"/>
          <p:cNvSpPr txBox="1"/>
          <p:nvPr/>
        </p:nvSpPr>
        <p:spPr>
          <a:xfrm>
            <a:off x="1676400" y="2546350"/>
            <a:ext cx="635000" cy="412750"/>
          </a:xfrm>
          <a:prstGeom prst="rect">
            <a:avLst/>
          </a:prstGeom>
        </p:spPr>
        <p:txBody>
          <a:bodyPr wrap="square" lIns="0" tIns="0" rIns="0" bIns="0" rtlCol="0">
            <a:noAutofit/>
          </a:bodyPr>
          <a:lstStyle/>
          <a:p>
            <a:pPr>
              <a:lnSpc>
                <a:spcPts val="600"/>
              </a:lnSpc>
              <a:spcBef>
                <a:spcPts val="12"/>
              </a:spcBef>
            </a:pPr>
            <a:endParaRPr sz="600"/>
          </a:p>
          <a:p>
            <a:pPr marL="93573">
              <a:lnSpc>
                <a:spcPct val="95825"/>
              </a:lnSpc>
            </a:pPr>
            <a:r>
              <a:rPr b="1" spc="-129" dirty="0">
                <a:solidFill>
                  <a:srgbClr val="808080"/>
                </a:solidFill>
                <a:latin typeface="Arial"/>
                <a:cs typeface="Arial"/>
              </a:rPr>
              <a:t>T</a:t>
            </a:r>
            <a:r>
              <a:rPr b="1" spc="-50" dirty="0">
                <a:solidFill>
                  <a:srgbClr val="808080"/>
                </a:solidFill>
                <a:latin typeface="Arial"/>
                <a:cs typeface="Arial"/>
              </a:rPr>
              <a:t>A</a:t>
            </a:r>
            <a:r>
              <a:rPr b="1" dirty="0">
                <a:solidFill>
                  <a:srgbClr val="808080"/>
                </a:solidFill>
                <a:latin typeface="Arial"/>
                <a:cs typeface="Arial"/>
              </a:rPr>
              <a:t>N</a:t>
            </a:r>
            <a:endParaRPr>
              <a:latin typeface="Arial"/>
              <a:cs typeface="Arial"/>
            </a:endParaRPr>
          </a:p>
        </p:txBody>
      </p:sp>
      <p:sp>
        <p:nvSpPr>
          <p:cNvPr id="5" name="object 5"/>
          <p:cNvSpPr txBox="1"/>
          <p:nvPr/>
        </p:nvSpPr>
        <p:spPr>
          <a:xfrm>
            <a:off x="8663051" y="2107819"/>
            <a:ext cx="1402206" cy="740536"/>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5075047" y="2107819"/>
            <a:ext cx="1402206" cy="740536"/>
          </a:xfrm>
          <a:prstGeom prst="rect">
            <a:avLst/>
          </a:prstGeom>
        </p:spPr>
        <p:txBody>
          <a:bodyPr wrap="square" lIns="0" tIns="0" rIns="0" bIns="0" rtlCol="0">
            <a:noAutofit/>
          </a:bodyPr>
          <a:lstStyle/>
          <a:p>
            <a:pPr marL="25400">
              <a:lnSpc>
                <a:spcPts val="1000"/>
              </a:lnSpc>
            </a:pPr>
            <a:endParaRPr sz="1000"/>
          </a:p>
        </p:txBody>
      </p:sp>
      <p:sp>
        <p:nvSpPr>
          <p:cNvPr id="3" name="object 3"/>
          <p:cNvSpPr txBox="1"/>
          <p:nvPr/>
        </p:nvSpPr>
        <p:spPr>
          <a:xfrm>
            <a:off x="8539607" y="1984376"/>
            <a:ext cx="1648968" cy="987425"/>
          </a:xfrm>
          <a:prstGeom prst="rect">
            <a:avLst/>
          </a:prstGeom>
        </p:spPr>
        <p:txBody>
          <a:bodyPr wrap="square" lIns="0" tIns="0" rIns="0" bIns="0" rtlCol="0">
            <a:noAutofit/>
          </a:bodyPr>
          <a:lstStyle/>
          <a:p>
            <a:pPr>
              <a:lnSpc>
                <a:spcPts val="1000"/>
              </a:lnSpc>
            </a:pPr>
            <a:endParaRPr sz="1000"/>
          </a:p>
          <a:p>
            <a:pPr marL="209297" marR="207864" algn="ctr">
              <a:lnSpc>
                <a:spcPct val="95825"/>
              </a:lnSpc>
              <a:spcBef>
                <a:spcPts val="1031"/>
              </a:spcBef>
            </a:pPr>
            <a:r>
              <a:rPr sz="1600" b="1" dirty="0">
                <a:latin typeface="Arial"/>
                <a:cs typeface="Arial"/>
              </a:rPr>
              <a:t>Rele</a:t>
            </a:r>
            <a:r>
              <a:rPr sz="1600" b="1" spc="-34" dirty="0">
                <a:latin typeface="Arial"/>
                <a:cs typeface="Arial"/>
              </a:rPr>
              <a:t>v</a:t>
            </a:r>
            <a:r>
              <a:rPr sz="1600" b="1" dirty="0">
                <a:latin typeface="Arial"/>
                <a:cs typeface="Arial"/>
              </a:rPr>
              <a:t>ant</a:t>
            </a:r>
            <a:r>
              <a:rPr sz="1600" b="1" spc="-26" dirty="0">
                <a:latin typeface="Arial"/>
                <a:cs typeface="Arial"/>
              </a:rPr>
              <a:t> </a:t>
            </a:r>
            <a:r>
              <a:rPr sz="1600" b="1" dirty="0">
                <a:latin typeface="Arial"/>
                <a:cs typeface="Arial"/>
              </a:rPr>
              <a:t>f</a:t>
            </a:r>
            <a:r>
              <a:rPr sz="1600" b="1" spc="-4" dirty="0">
                <a:latin typeface="Arial"/>
                <a:cs typeface="Arial"/>
              </a:rPr>
              <a:t>o</a:t>
            </a:r>
            <a:r>
              <a:rPr sz="1600" b="1" dirty="0">
                <a:latin typeface="Arial"/>
                <a:cs typeface="Arial"/>
              </a:rPr>
              <a:t>r</a:t>
            </a:r>
            <a:endParaRPr sz="1600">
              <a:latin typeface="Arial"/>
              <a:cs typeface="Arial"/>
            </a:endParaRPr>
          </a:p>
          <a:p>
            <a:pPr marL="437172" marR="434611" algn="ctr">
              <a:lnSpc>
                <a:spcPct val="95825"/>
              </a:lnSpc>
              <a:spcBef>
                <a:spcPts val="80"/>
              </a:spcBef>
            </a:pPr>
            <a:r>
              <a:rPr sz="1600" b="1" dirty="0">
                <a:latin typeface="Arial"/>
                <a:cs typeface="Arial"/>
              </a:rPr>
              <a:t>Pic</a:t>
            </a:r>
            <a:r>
              <a:rPr sz="1600" b="1" spc="4" dirty="0">
                <a:latin typeface="Arial"/>
                <a:cs typeface="Arial"/>
              </a:rPr>
              <a:t>k</a:t>
            </a:r>
            <a:r>
              <a:rPr sz="1600" b="1" dirty="0">
                <a:latin typeface="Arial"/>
                <a:cs typeface="Arial"/>
              </a:rPr>
              <a:t>ing</a:t>
            </a:r>
            <a:endParaRPr sz="1600">
              <a:latin typeface="Arial"/>
              <a:cs typeface="Arial"/>
            </a:endParaRPr>
          </a:p>
        </p:txBody>
      </p:sp>
      <p:sp>
        <p:nvSpPr>
          <p:cNvPr id="2" name="object 2"/>
          <p:cNvSpPr txBox="1"/>
          <p:nvPr/>
        </p:nvSpPr>
        <p:spPr>
          <a:xfrm>
            <a:off x="4951604" y="1984376"/>
            <a:ext cx="1649095" cy="987425"/>
          </a:xfrm>
          <a:prstGeom prst="rect">
            <a:avLst/>
          </a:prstGeom>
        </p:spPr>
        <p:txBody>
          <a:bodyPr wrap="square" lIns="0" tIns="0" rIns="0" bIns="0" rtlCol="0">
            <a:noAutofit/>
          </a:bodyPr>
          <a:lstStyle/>
          <a:p>
            <a:pPr>
              <a:lnSpc>
                <a:spcPts val="1000"/>
              </a:lnSpc>
            </a:pPr>
            <a:endParaRPr sz="1000"/>
          </a:p>
          <a:p>
            <a:pPr marL="205359">
              <a:lnSpc>
                <a:spcPct val="95825"/>
              </a:lnSpc>
              <a:spcBef>
                <a:spcPts val="1031"/>
              </a:spcBef>
            </a:pPr>
            <a:r>
              <a:rPr sz="1600" b="1" dirty="0">
                <a:latin typeface="Arial"/>
                <a:cs typeface="Arial"/>
              </a:rPr>
              <a:t>Item</a:t>
            </a:r>
            <a:r>
              <a:rPr sz="1600" b="1" spc="-27" dirty="0">
                <a:latin typeface="Arial"/>
                <a:cs typeface="Arial"/>
              </a:rPr>
              <a:t> </a:t>
            </a:r>
            <a:r>
              <a:rPr sz="1600" b="1" dirty="0">
                <a:latin typeface="Arial"/>
                <a:cs typeface="Arial"/>
              </a:rPr>
              <a:t>Nu</a:t>
            </a:r>
            <a:r>
              <a:rPr sz="1600" b="1" spc="-4" dirty="0">
                <a:latin typeface="Arial"/>
                <a:cs typeface="Arial"/>
              </a:rPr>
              <a:t>m</a:t>
            </a:r>
            <a:r>
              <a:rPr sz="1600" b="1" dirty="0">
                <a:latin typeface="Arial"/>
                <a:cs typeface="Arial"/>
              </a:rPr>
              <a:t>ber</a:t>
            </a:r>
            <a:endParaRPr sz="1600">
              <a:latin typeface="Arial"/>
              <a:cs typeface="Arial"/>
            </a:endParaRPr>
          </a:p>
          <a:p>
            <a:pPr marL="206883">
              <a:lnSpc>
                <a:spcPct val="95825"/>
              </a:lnSpc>
              <a:spcBef>
                <a:spcPts val="80"/>
              </a:spcBef>
            </a:pPr>
            <a:r>
              <a:rPr sz="1600" b="1" dirty="0">
                <a:latin typeface="Arial"/>
                <a:cs typeface="Arial"/>
              </a:rPr>
              <a:t>Req</a:t>
            </a:r>
            <a:r>
              <a:rPr sz="1600" b="1" spc="-4" dirty="0">
                <a:latin typeface="Arial"/>
                <a:cs typeface="Arial"/>
              </a:rPr>
              <a:t>u</a:t>
            </a:r>
            <a:r>
              <a:rPr sz="1600" b="1" dirty="0">
                <a:latin typeface="Arial"/>
                <a:cs typeface="Arial"/>
              </a:rPr>
              <a:t>irement</a:t>
            </a:r>
            <a:endParaRPr sz="1600">
              <a:latin typeface="Arial"/>
              <a:cs typeface="Arial"/>
            </a:endParaRPr>
          </a:p>
        </p:txBody>
      </p:sp>
      <p:sp>
        <p:nvSpPr>
          <p:cNvPr id="14" name="Title 13"/>
          <p:cNvSpPr>
            <a:spLocks noGrp="1"/>
          </p:cNvSpPr>
          <p:nvPr>
            <p:ph type="title"/>
          </p:nvPr>
        </p:nvSpPr>
        <p:spPr/>
        <p:txBody>
          <a:bodyPr/>
          <a:lstStyle/>
          <a:p>
            <a:r>
              <a:rPr lang="en-US" sz="2400" dirty="0">
                <a:latin typeface="+mn-lt"/>
                <a:cs typeface="Arial"/>
              </a:rPr>
              <a:t>Delivery I</a:t>
            </a:r>
            <a:r>
              <a:rPr lang="en-US" sz="2400" spc="-14" dirty="0">
                <a:latin typeface="+mn-lt"/>
                <a:cs typeface="Arial"/>
              </a:rPr>
              <a:t>t</a:t>
            </a:r>
            <a:r>
              <a:rPr lang="en-US" sz="2400" dirty="0">
                <a:latin typeface="+mn-lt"/>
                <a:cs typeface="Arial"/>
              </a:rPr>
              <a:t>em Category</a:t>
            </a:r>
            <a:br>
              <a:rPr lang="en-US" sz="2800" dirty="0">
                <a:latin typeface="Arial"/>
                <a:cs typeface="Arial"/>
              </a:rPr>
            </a:b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Lesson Objectives</a:t>
            </a:r>
          </a:p>
        </p:txBody>
      </p:sp>
      <p:sp>
        <p:nvSpPr>
          <p:cNvPr id="4" name="Content Placeholder 2">
            <a:extLst>
              <a:ext uri="{FF2B5EF4-FFF2-40B4-BE49-F238E27FC236}">
                <a16:creationId xmlns:a16="http://schemas.microsoft.com/office/drawing/2014/main" id="{72F1ED0D-C3B0-46D4-B480-211FE00CE763}"/>
              </a:ext>
            </a:extLst>
          </p:cNvPr>
          <p:cNvSpPr txBox="1">
            <a:spLocks/>
          </p:cNvSpPr>
          <p:nvPr/>
        </p:nvSpPr>
        <p:spPr>
          <a:xfrm>
            <a:off x="7242720" y="980728"/>
            <a:ext cx="5334000" cy="44196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altLang="en-US" sz="1800" dirty="0"/>
              <a:t>Shipping</a:t>
            </a:r>
          </a:p>
          <a:p>
            <a:pPr lvl="1"/>
            <a:r>
              <a:rPr lang="en-US" altLang="en-US" dirty="0"/>
              <a:t>Purpose</a:t>
            </a:r>
          </a:p>
          <a:p>
            <a:pPr lvl="1"/>
            <a:r>
              <a:rPr lang="en-US" altLang="en-US" dirty="0"/>
              <a:t>Use</a:t>
            </a:r>
          </a:p>
          <a:p>
            <a:pPr lvl="1"/>
            <a:r>
              <a:rPr lang="en-US" altLang="en-US" dirty="0"/>
              <a:t>Challenges</a:t>
            </a:r>
          </a:p>
          <a:p>
            <a:pPr marL="285750" indent="-285750">
              <a:buFont typeface="Wingdings" panose="05000000000000000000" pitchFamily="2" charset="2"/>
              <a:buChar char="§"/>
            </a:pPr>
            <a:r>
              <a:rPr lang="en-US" altLang="en-US" sz="1800" dirty="0"/>
              <a:t>Shipping – An Overview</a:t>
            </a:r>
          </a:p>
          <a:p>
            <a:pPr marL="285750" indent="-285750">
              <a:buFont typeface="Wingdings" panose="05000000000000000000" pitchFamily="2" charset="2"/>
              <a:buChar char="§"/>
            </a:pPr>
            <a:r>
              <a:rPr lang="en-US" altLang="en-US" sz="1800" dirty="0"/>
              <a:t>Outbound Delivery</a:t>
            </a:r>
          </a:p>
          <a:p>
            <a:pPr marL="285750" indent="-285750">
              <a:buFont typeface="Wingdings" panose="05000000000000000000" pitchFamily="2" charset="2"/>
              <a:buChar char="§"/>
            </a:pPr>
            <a:r>
              <a:rPr lang="en-US" altLang="en-US" sz="1800" dirty="0"/>
              <a:t>Delivery-Associated Functions</a:t>
            </a:r>
          </a:p>
          <a:p>
            <a:pPr lvl="1"/>
            <a:r>
              <a:rPr lang="en-US" altLang="en-US" dirty="0"/>
              <a:t>Picking</a:t>
            </a:r>
          </a:p>
          <a:p>
            <a:pPr lvl="1"/>
            <a:r>
              <a:rPr lang="en-US" altLang="en-US" dirty="0"/>
              <a:t>Packing</a:t>
            </a:r>
          </a:p>
          <a:p>
            <a:pPr lvl="1"/>
            <a:r>
              <a:rPr lang="en-US" altLang="en-US" dirty="0"/>
              <a:t>Post Goods Issue</a:t>
            </a:r>
          </a:p>
          <a:p>
            <a:pPr lvl="1"/>
            <a:r>
              <a:rPr lang="en-US" altLang="en-US" dirty="0"/>
              <a:t>Delivery Document Structure</a:t>
            </a:r>
          </a:p>
          <a:p>
            <a:pPr lvl="1"/>
            <a:r>
              <a:rPr lang="en-US" altLang="en-US" dirty="0"/>
              <a:t>Copy Controls</a:t>
            </a:r>
          </a:p>
          <a:p>
            <a:pPr marL="342900" lvl="1" indent="-342900">
              <a:buClr>
                <a:srgbClr val="00B0F0"/>
              </a:buClr>
            </a:pPr>
            <a:r>
              <a:rPr lang="en-US" altLang="en-US" dirty="0">
                <a:latin typeface="Arial"/>
                <a:cs typeface="Arial"/>
              </a:rPr>
              <a:t>Delivery Type</a:t>
            </a:r>
          </a:p>
        </p:txBody>
      </p:sp>
    </p:spTree>
    <p:extLst>
      <p:ext uri="{BB962C8B-B14F-4D97-AF65-F5344CB8AC3E}">
        <p14:creationId xmlns:p14="http://schemas.microsoft.com/office/powerpoint/2010/main" val="30308543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
            <a:extLst>
              <a:ext uri="{FF2B5EF4-FFF2-40B4-BE49-F238E27FC236}">
                <a16:creationId xmlns:a16="http://schemas.microsoft.com/office/drawing/2014/main" id="{1A3B151C-7C18-44B1-B623-639B361A31D2}"/>
              </a:ext>
            </a:extLst>
          </p:cNvPr>
          <p:cNvPicPr>
            <a:picLocks noChangeAspect="1"/>
          </p:cNvPicPr>
          <p:nvPr/>
        </p:nvPicPr>
        <p:blipFill>
          <a:blip r:embed="rId2"/>
          <a:stretch>
            <a:fillRect/>
          </a:stretch>
        </p:blipFill>
        <p:spPr>
          <a:xfrm>
            <a:off x="1996993" y="1524000"/>
            <a:ext cx="5107119" cy="4641304"/>
          </a:xfrm>
          <a:prstGeom prst="rect">
            <a:avLst/>
          </a:prstGeom>
          <a:ln w="28575">
            <a:solidFill>
              <a:schemeClr val="tx1"/>
            </a:solidFill>
          </a:ln>
        </p:spPr>
      </p:pic>
      <p:sp>
        <p:nvSpPr>
          <p:cNvPr id="3" name="Rectangle 2"/>
          <p:cNvSpPr/>
          <p:nvPr/>
        </p:nvSpPr>
        <p:spPr>
          <a:xfrm>
            <a:off x="7379984" y="1371601"/>
            <a:ext cx="3288016" cy="3354765"/>
          </a:xfrm>
          <a:prstGeom prst="rect">
            <a:avLst/>
          </a:prstGeom>
        </p:spPr>
        <p:txBody>
          <a:bodyPr wrap="square">
            <a:spAutoFit/>
          </a:bodyPr>
          <a:lstStyle/>
          <a:p>
            <a:pPr marL="355600" marR="231234" indent="-342900">
              <a:lnSpc>
                <a:spcPct val="100041"/>
              </a:lnSpc>
              <a:spcBef>
                <a:spcPts val="1532"/>
              </a:spcBef>
              <a:buClr>
                <a:srgbClr val="00B0F0"/>
              </a:buClr>
              <a:buFont typeface="Wingdings" panose="05000000000000000000" pitchFamily="2" charset="2"/>
              <a:buChar char="§"/>
            </a:pPr>
            <a:r>
              <a:rPr lang="en-US" dirty="0">
                <a:cs typeface="Arial"/>
              </a:rPr>
              <a:t>T</a:t>
            </a:r>
            <a:r>
              <a:rPr lang="en-US" spc="-4" dirty="0">
                <a:cs typeface="Arial"/>
              </a:rPr>
              <a:t>h</a:t>
            </a:r>
            <a:r>
              <a:rPr lang="en-US" dirty="0">
                <a:cs typeface="Arial"/>
              </a:rPr>
              <a:t>e</a:t>
            </a:r>
            <a:r>
              <a:rPr lang="en-US" spc="-18" dirty="0">
                <a:cs typeface="Arial"/>
              </a:rPr>
              <a:t> </a:t>
            </a:r>
            <a:r>
              <a:rPr lang="en-US" dirty="0">
                <a:cs typeface="Arial"/>
              </a:rPr>
              <a:t>picking</a:t>
            </a:r>
            <a:r>
              <a:rPr lang="en-US" spc="-25" dirty="0">
                <a:cs typeface="Arial"/>
              </a:rPr>
              <a:t> </a:t>
            </a:r>
            <a:r>
              <a:rPr lang="en-US" dirty="0">
                <a:cs typeface="Arial"/>
              </a:rPr>
              <a:t>loca</a:t>
            </a:r>
            <a:r>
              <a:rPr lang="en-US" spc="-4" dirty="0">
                <a:cs typeface="Arial"/>
              </a:rPr>
              <a:t>t</a:t>
            </a:r>
            <a:r>
              <a:rPr lang="en-US" dirty="0">
                <a:cs typeface="Arial"/>
              </a:rPr>
              <a:t>ion can</a:t>
            </a:r>
            <a:r>
              <a:rPr lang="en-US" spc="-27" dirty="0">
                <a:cs typeface="Arial"/>
              </a:rPr>
              <a:t> </a:t>
            </a:r>
            <a:r>
              <a:rPr lang="en-US" dirty="0">
                <a:cs typeface="Arial"/>
              </a:rPr>
              <a:t>be</a:t>
            </a:r>
            <a:r>
              <a:rPr lang="en-US" spc="-18" dirty="0">
                <a:cs typeface="Arial"/>
              </a:rPr>
              <a:t> </a:t>
            </a:r>
            <a:r>
              <a:rPr lang="en-US" spc="-4" dirty="0">
                <a:cs typeface="Arial"/>
              </a:rPr>
              <a:t>d</a:t>
            </a:r>
            <a:r>
              <a:rPr lang="en-US" dirty="0">
                <a:cs typeface="Arial"/>
              </a:rPr>
              <a:t>etermined au</a:t>
            </a:r>
            <a:r>
              <a:rPr lang="en-US" spc="-4" dirty="0">
                <a:cs typeface="Arial"/>
              </a:rPr>
              <a:t>t</a:t>
            </a:r>
            <a:r>
              <a:rPr lang="en-US" dirty="0">
                <a:cs typeface="Arial"/>
              </a:rPr>
              <a:t>o</a:t>
            </a:r>
            <a:r>
              <a:rPr lang="en-US" spc="-4" dirty="0">
                <a:cs typeface="Arial"/>
              </a:rPr>
              <a:t>m</a:t>
            </a:r>
            <a:r>
              <a:rPr lang="en-US" dirty="0">
                <a:cs typeface="Arial"/>
              </a:rPr>
              <a:t>atical</a:t>
            </a:r>
            <a:r>
              <a:rPr lang="en-US" spc="9" dirty="0">
                <a:cs typeface="Arial"/>
              </a:rPr>
              <a:t>l</a:t>
            </a:r>
            <a:r>
              <a:rPr lang="en-US" dirty="0">
                <a:cs typeface="Arial"/>
              </a:rPr>
              <a:t>y</a:t>
            </a:r>
            <a:r>
              <a:rPr lang="en-US" spc="-67" dirty="0">
                <a:cs typeface="Arial"/>
              </a:rPr>
              <a:t> </a:t>
            </a:r>
            <a:r>
              <a:rPr lang="en-US" dirty="0">
                <a:cs typeface="Arial"/>
              </a:rPr>
              <a:t>in</a:t>
            </a:r>
            <a:r>
              <a:rPr lang="en-US" spc="-4" dirty="0">
                <a:cs typeface="Arial"/>
              </a:rPr>
              <a:t> </a:t>
            </a:r>
            <a:r>
              <a:rPr lang="en-US" dirty="0">
                <a:cs typeface="Arial"/>
              </a:rPr>
              <a:t>t</a:t>
            </a:r>
            <a:r>
              <a:rPr lang="en-US" spc="-4" dirty="0">
                <a:cs typeface="Arial"/>
              </a:rPr>
              <a:t>h</a:t>
            </a:r>
            <a:r>
              <a:rPr lang="en-US" dirty="0">
                <a:cs typeface="Arial"/>
              </a:rPr>
              <a:t>e d</a:t>
            </a:r>
            <a:r>
              <a:rPr lang="en-US" spc="-4" dirty="0">
                <a:cs typeface="Arial"/>
              </a:rPr>
              <a:t>e</a:t>
            </a:r>
            <a:r>
              <a:rPr lang="en-US" dirty="0">
                <a:cs typeface="Arial"/>
              </a:rPr>
              <a:t>li</a:t>
            </a:r>
            <a:r>
              <a:rPr lang="en-US" spc="-34" dirty="0">
                <a:cs typeface="Arial"/>
              </a:rPr>
              <a:t>v</a:t>
            </a:r>
            <a:r>
              <a:rPr lang="en-US" dirty="0">
                <a:cs typeface="Arial"/>
              </a:rPr>
              <a:t>e</a:t>
            </a:r>
            <a:r>
              <a:rPr lang="en-US" spc="9" dirty="0">
                <a:cs typeface="Arial"/>
              </a:rPr>
              <a:t>r</a:t>
            </a:r>
            <a:r>
              <a:rPr lang="en-US" dirty="0">
                <a:cs typeface="Arial"/>
              </a:rPr>
              <a:t>y</a:t>
            </a:r>
            <a:r>
              <a:rPr lang="en-US" spc="-7" dirty="0">
                <a:cs typeface="Arial"/>
              </a:rPr>
              <a:t> </a:t>
            </a:r>
            <a:r>
              <a:rPr lang="en-US" dirty="0">
                <a:cs typeface="Arial"/>
              </a:rPr>
              <a:t>f</a:t>
            </a:r>
            <a:r>
              <a:rPr lang="en-US" spc="-9" dirty="0">
                <a:cs typeface="Arial"/>
              </a:rPr>
              <a:t>o</a:t>
            </a:r>
            <a:r>
              <a:rPr lang="en-US" dirty="0">
                <a:cs typeface="Arial"/>
              </a:rPr>
              <a:t>r</a:t>
            </a:r>
            <a:r>
              <a:rPr lang="en-US" spc="8" dirty="0">
                <a:cs typeface="Arial"/>
              </a:rPr>
              <a:t> </a:t>
            </a:r>
            <a:r>
              <a:rPr lang="en-US" dirty="0">
                <a:cs typeface="Arial"/>
              </a:rPr>
              <a:t>each</a:t>
            </a:r>
            <a:r>
              <a:rPr lang="en-US" spc="-36" dirty="0">
                <a:cs typeface="Arial"/>
              </a:rPr>
              <a:t> </a:t>
            </a:r>
            <a:r>
              <a:rPr lang="en-US" dirty="0">
                <a:cs typeface="Arial"/>
              </a:rPr>
              <a:t>li</a:t>
            </a:r>
            <a:r>
              <a:rPr lang="en-US" spc="-4" dirty="0">
                <a:cs typeface="Arial"/>
              </a:rPr>
              <a:t>n</a:t>
            </a:r>
            <a:r>
              <a:rPr lang="en-US" dirty="0">
                <a:cs typeface="Arial"/>
              </a:rPr>
              <a:t>e ite</a:t>
            </a:r>
            <a:r>
              <a:rPr lang="en-US" spc="-4" dirty="0">
                <a:cs typeface="Arial"/>
              </a:rPr>
              <a:t>m</a:t>
            </a:r>
            <a:r>
              <a:rPr lang="en-US" dirty="0">
                <a:cs typeface="Arial"/>
              </a:rPr>
              <a:t>.</a:t>
            </a:r>
            <a:r>
              <a:rPr lang="en-US" spc="435" dirty="0">
                <a:cs typeface="Arial"/>
              </a:rPr>
              <a:t> </a:t>
            </a:r>
          </a:p>
          <a:p>
            <a:pPr marL="355600" marR="231234" indent="-342900">
              <a:lnSpc>
                <a:spcPct val="100041"/>
              </a:lnSpc>
              <a:spcBef>
                <a:spcPts val="1532"/>
              </a:spcBef>
              <a:buClr>
                <a:srgbClr val="00B0F0"/>
              </a:buClr>
              <a:buFont typeface="Wingdings" panose="05000000000000000000" pitchFamily="2" charset="2"/>
              <a:buChar char="§"/>
            </a:pPr>
            <a:r>
              <a:rPr lang="en-US" dirty="0">
                <a:cs typeface="Arial"/>
              </a:rPr>
              <a:t>T</a:t>
            </a:r>
            <a:r>
              <a:rPr lang="en-US" spc="-4" dirty="0">
                <a:cs typeface="Arial"/>
              </a:rPr>
              <a:t>h</a:t>
            </a:r>
            <a:r>
              <a:rPr lang="en-US" dirty="0">
                <a:cs typeface="Arial"/>
              </a:rPr>
              <a:t>e</a:t>
            </a:r>
            <a:r>
              <a:rPr lang="en-US" spc="-18" dirty="0">
                <a:cs typeface="Arial"/>
              </a:rPr>
              <a:t> </a:t>
            </a:r>
            <a:r>
              <a:rPr lang="en-US" dirty="0">
                <a:cs typeface="Arial"/>
              </a:rPr>
              <a:t>criteria used</a:t>
            </a:r>
            <a:r>
              <a:rPr lang="en-US" spc="-37" dirty="0">
                <a:cs typeface="Arial"/>
              </a:rPr>
              <a:t> </a:t>
            </a:r>
            <a:r>
              <a:rPr lang="en-US" dirty="0">
                <a:cs typeface="Arial"/>
              </a:rPr>
              <a:t>are:</a:t>
            </a:r>
            <a:r>
              <a:rPr lang="en-US" spc="-19" dirty="0">
                <a:cs typeface="Arial"/>
              </a:rPr>
              <a:t> </a:t>
            </a:r>
          </a:p>
          <a:p>
            <a:pPr marL="812800" marR="231234" lvl="1" indent="-342900">
              <a:lnSpc>
                <a:spcPct val="100041"/>
              </a:lnSpc>
              <a:spcBef>
                <a:spcPts val="1532"/>
              </a:spcBef>
              <a:buClr>
                <a:srgbClr val="C00000"/>
              </a:buClr>
              <a:buFont typeface="Wingdings" panose="05000000000000000000" pitchFamily="2" charset="2"/>
              <a:buChar char="§"/>
            </a:pPr>
            <a:r>
              <a:rPr lang="en-US" dirty="0">
                <a:cs typeface="Arial"/>
              </a:rPr>
              <a:t>Ship</a:t>
            </a:r>
            <a:r>
              <a:rPr lang="en-US" spc="-4" dirty="0">
                <a:cs typeface="Arial"/>
              </a:rPr>
              <a:t>p</a:t>
            </a:r>
            <a:r>
              <a:rPr lang="en-US" dirty="0">
                <a:cs typeface="Arial"/>
              </a:rPr>
              <a:t>ing p</a:t>
            </a:r>
            <a:r>
              <a:rPr lang="en-US" spc="-4" dirty="0">
                <a:cs typeface="Arial"/>
              </a:rPr>
              <a:t>o</a:t>
            </a:r>
            <a:r>
              <a:rPr lang="en-US" dirty="0">
                <a:cs typeface="Arial"/>
              </a:rPr>
              <a:t>in</a:t>
            </a:r>
            <a:r>
              <a:rPr lang="en-US" spc="-4" dirty="0">
                <a:cs typeface="Arial"/>
              </a:rPr>
              <a:t>t</a:t>
            </a:r>
            <a:endParaRPr lang="en-US" dirty="0">
              <a:cs typeface="Arial"/>
            </a:endParaRPr>
          </a:p>
          <a:p>
            <a:pPr marL="812800" marR="231234" lvl="1" indent="-342900">
              <a:lnSpc>
                <a:spcPct val="100041"/>
              </a:lnSpc>
              <a:spcBef>
                <a:spcPts val="1532"/>
              </a:spcBef>
              <a:buClr>
                <a:srgbClr val="C00000"/>
              </a:buClr>
              <a:buFont typeface="Wingdings" panose="05000000000000000000" pitchFamily="2" charset="2"/>
              <a:buChar char="§"/>
            </a:pPr>
            <a:r>
              <a:rPr lang="en-US" dirty="0">
                <a:cs typeface="Arial"/>
              </a:rPr>
              <a:t>Deli</a:t>
            </a:r>
            <a:r>
              <a:rPr lang="en-US" spc="-34" dirty="0">
                <a:cs typeface="Arial"/>
              </a:rPr>
              <a:t>v</a:t>
            </a:r>
            <a:r>
              <a:rPr lang="en-US" dirty="0">
                <a:cs typeface="Arial"/>
              </a:rPr>
              <a:t>er</a:t>
            </a:r>
            <a:r>
              <a:rPr lang="en-US" spc="14" dirty="0">
                <a:cs typeface="Arial"/>
              </a:rPr>
              <a:t>i</a:t>
            </a:r>
            <a:r>
              <a:rPr lang="en-US" dirty="0">
                <a:cs typeface="Arial"/>
              </a:rPr>
              <a:t>ng Plant</a:t>
            </a:r>
          </a:p>
          <a:p>
            <a:pPr marL="812800" marR="231234" lvl="1" indent="-342900">
              <a:lnSpc>
                <a:spcPct val="100041"/>
              </a:lnSpc>
              <a:spcBef>
                <a:spcPts val="1532"/>
              </a:spcBef>
              <a:buClr>
                <a:srgbClr val="C00000"/>
              </a:buClr>
              <a:buFont typeface="Wingdings" panose="05000000000000000000" pitchFamily="2" charset="2"/>
              <a:buChar char="§"/>
            </a:pPr>
            <a:r>
              <a:rPr lang="en-US" dirty="0">
                <a:cs typeface="Arial"/>
              </a:rPr>
              <a:t>Storage co</a:t>
            </a:r>
            <a:r>
              <a:rPr lang="en-US" spc="-4" dirty="0">
                <a:latin typeface="Arial"/>
                <a:cs typeface="Arial"/>
              </a:rPr>
              <a:t>n</a:t>
            </a:r>
            <a:r>
              <a:rPr lang="en-US" dirty="0">
                <a:latin typeface="Arial"/>
                <a:cs typeface="Arial"/>
              </a:rPr>
              <a:t>di</a:t>
            </a:r>
            <a:r>
              <a:rPr lang="en-US" spc="-4" dirty="0">
                <a:latin typeface="Arial"/>
                <a:cs typeface="Arial"/>
              </a:rPr>
              <a:t>t</a:t>
            </a:r>
            <a:r>
              <a:rPr lang="en-US" dirty="0">
                <a:latin typeface="Arial"/>
                <a:cs typeface="Arial"/>
              </a:rPr>
              <a:t>ion</a:t>
            </a:r>
          </a:p>
        </p:txBody>
      </p:sp>
      <p:sp>
        <p:nvSpPr>
          <p:cNvPr id="5" name="Title 4"/>
          <p:cNvSpPr>
            <a:spLocks noGrp="1"/>
          </p:cNvSpPr>
          <p:nvPr>
            <p:ph type="title"/>
          </p:nvPr>
        </p:nvSpPr>
        <p:spPr>
          <a:xfrm>
            <a:off x="1752601" y="304800"/>
            <a:ext cx="8509933" cy="859536"/>
          </a:xfrm>
        </p:spPr>
        <p:txBody>
          <a:bodyPr/>
          <a:lstStyle/>
          <a:p>
            <a:r>
              <a:rPr lang="en-US" sz="2400" dirty="0">
                <a:latin typeface="+mn-lt"/>
                <a:cs typeface="Arial"/>
              </a:rPr>
              <a:t>D</a:t>
            </a:r>
            <a:r>
              <a:rPr lang="en-US" sz="2400" spc="9" dirty="0">
                <a:latin typeface="+mn-lt"/>
                <a:cs typeface="Arial"/>
              </a:rPr>
              <a:t>e</a:t>
            </a:r>
            <a:r>
              <a:rPr lang="en-US" sz="2400" dirty="0">
                <a:latin typeface="+mn-lt"/>
                <a:cs typeface="Arial"/>
              </a:rPr>
              <a:t>live</a:t>
            </a:r>
            <a:r>
              <a:rPr lang="en-US" sz="2400" spc="9" dirty="0">
                <a:latin typeface="+mn-lt"/>
                <a:cs typeface="Arial"/>
              </a:rPr>
              <a:t>r</a:t>
            </a:r>
            <a:r>
              <a:rPr lang="en-US" sz="2400" dirty="0">
                <a:latin typeface="+mn-lt"/>
                <a:cs typeface="Arial"/>
              </a:rPr>
              <a:t>y Item Category-Controls</a:t>
            </a:r>
            <a:br>
              <a:rPr lang="en-US" sz="2800" dirty="0">
                <a:latin typeface="Arial"/>
                <a:cs typeface="Arial"/>
              </a:rPr>
            </a:br>
            <a:endParaRPr lang="en-US" dirty="0"/>
          </a:p>
        </p:txBody>
      </p:sp>
      <p:sp>
        <p:nvSpPr>
          <p:cNvPr id="10" name="object 40">
            <a:extLst>
              <a:ext uri="{FF2B5EF4-FFF2-40B4-BE49-F238E27FC236}">
                <a16:creationId xmlns:a16="http://schemas.microsoft.com/office/drawing/2014/main" id="{33D9F689-AB79-4619-8C91-69C848AFF7B5}"/>
              </a:ext>
            </a:extLst>
          </p:cNvPr>
          <p:cNvSpPr/>
          <p:nvPr/>
        </p:nvSpPr>
        <p:spPr>
          <a:xfrm>
            <a:off x="2975508" y="4133544"/>
            <a:ext cx="1944216" cy="533400"/>
          </a:xfrm>
          <a:custGeom>
            <a:avLst/>
            <a:gdLst/>
            <a:ahLst/>
            <a:cxnLst/>
            <a:rect l="l" t="t" r="r" b="b"/>
            <a:pathLst>
              <a:path w="3008376" h="533400">
                <a:moveTo>
                  <a:pt x="1027176" y="88900"/>
                </a:moveTo>
                <a:lnTo>
                  <a:pt x="1028361" y="74324"/>
                </a:lnTo>
                <a:lnTo>
                  <a:pt x="1031793" y="60512"/>
                </a:lnTo>
                <a:lnTo>
                  <a:pt x="1037283" y="47650"/>
                </a:lnTo>
                <a:lnTo>
                  <a:pt x="1044643" y="35927"/>
                </a:lnTo>
                <a:lnTo>
                  <a:pt x="1053686" y="25531"/>
                </a:lnTo>
                <a:lnTo>
                  <a:pt x="1064225" y="16648"/>
                </a:lnTo>
                <a:lnTo>
                  <a:pt x="1076071" y="9467"/>
                </a:lnTo>
                <a:lnTo>
                  <a:pt x="1089036" y="4176"/>
                </a:lnTo>
                <a:lnTo>
                  <a:pt x="1102934" y="961"/>
                </a:lnTo>
                <a:lnTo>
                  <a:pt x="1116076" y="0"/>
                </a:lnTo>
                <a:lnTo>
                  <a:pt x="1357376" y="0"/>
                </a:lnTo>
                <a:lnTo>
                  <a:pt x="1852676" y="0"/>
                </a:lnTo>
                <a:lnTo>
                  <a:pt x="2919476" y="0"/>
                </a:lnTo>
                <a:lnTo>
                  <a:pt x="2934051" y="1185"/>
                </a:lnTo>
                <a:lnTo>
                  <a:pt x="2947863" y="4617"/>
                </a:lnTo>
                <a:lnTo>
                  <a:pt x="2960725" y="10107"/>
                </a:lnTo>
                <a:lnTo>
                  <a:pt x="2972448" y="17467"/>
                </a:lnTo>
                <a:lnTo>
                  <a:pt x="2982844" y="26510"/>
                </a:lnTo>
                <a:lnTo>
                  <a:pt x="2991727" y="37049"/>
                </a:lnTo>
                <a:lnTo>
                  <a:pt x="2998908" y="48895"/>
                </a:lnTo>
                <a:lnTo>
                  <a:pt x="3004199" y="61860"/>
                </a:lnTo>
                <a:lnTo>
                  <a:pt x="3007414" y="75758"/>
                </a:lnTo>
                <a:lnTo>
                  <a:pt x="3008376" y="88900"/>
                </a:lnTo>
                <a:lnTo>
                  <a:pt x="3008376" y="311150"/>
                </a:lnTo>
                <a:lnTo>
                  <a:pt x="3008376" y="444500"/>
                </a:lnTo>
                <a:lnTo>
                  <a:pt x="3007190" y="459075"/>
                </a:lnTo>
                <a:lnTo>
                  <a:pt x="3003758" y="472887"/>
                </a:lnTo>
                <a:lnTo>
                  <a:pt x="2998268" y="485749"/>
                </a:lnTo>
                <a:lnTo>
                  <a:pt x="2990908" y="497472"/>
                </a:lnTo>
                <a:lnTo>
                  <a:pt x="2981865" y="507868"/>
                </a:lnTo>
                <a:lnTo>
                  <a:pt x="2971326" y="516751"/>
                </a:lnTo>
                <a:lnTo>
                  <a:pt x="2959480" y="523932"/>
                </a:lnTo>
                <a:lnTo>
                  <a:pt x="2946515" y="529223"/>
                </a:lnTo>
                <a:lnTo>
                  <a:pt x="2932617" y="532438"/>
                </a:lnTo>
                <a:lnTo>
                  <a:pt x="2919476" y="533400"/>
                </a:lnTo>
                <a:lnTo>
                  <a:pt x="1852676" y="533400"/>
                </a:lnTo>
                <a:lnTo>
                  <a:pt x="1357376" y="533400"/>
                </a:lnTo>
                <a:lnTo>
                  <a:pt x="1116076" y="533400"/>
                </a:lnTo>
                <a:lnTo>
                  <a:pt x="1101500" y="532214"/>
                </a:lnTo>
                <a:lnTo>
                  <a:pt x="1087688" y="528782"/>
                </a:lnTo>
                <a:lnTo>
                  <a:pt x="1074826" y="523292"/>
                </a:lnTo>
                <a:lnTo>
                  <a:pt x="1063103" y="515932"/>
                </a:lnTo>
                <a:lnTo>
                  <a:pt x="1052707" y="506889"/>
                </a:lnTo>
                <a:lnTo>
                  <a:pt x="1043824" y="496350"/>
                </a:lnTo>
                <a:lnTo>
                  <a:pt x="1036643" y="484504"/>
                </a:lnTo>
                <a:lnTo>
                  <a:pt x="1031352" y="471539"/>
                </a:lnTo>
                <a:lnTo>
                  <a:pt x="1028137" y="457641"/>
                </a:lnTo>
                <a:lnTo>
                  <a:pt x="1027176" y="444500"/>
                </a:lnTo>
                <a:lnTo>
                  <a:pt x="0" y="503300"/>
                </a:lnTo>
                <a:lnTo>
                  <a:pt x="1027176" y="311150"/>
                </a:lnTo>
                <a:lnTo>
                  <a:pt x="1027176" y="88900"/>
                </a:lnTo>
                <a:close/>
              </a:path>
            </a:pathLst>
          </a:custGeom>
          <a:solidFill>
            <a:srgbClr val="FFFF00"/>
          </a:solidFill>
          <a:ln w="12700">
            <a:solidFill>
              <a:srgbClr val="000000"/>
            </a:solidFill>
          </a:ln>
        </p:spPr>
        <p:txBody>
          <a:bodyPr wrap="square" lIns="0" tIns="0" rIns="0" bIns="0" rtlCol="0">
            <a:noAutofit/>
          </a:bodyPr>
          <a:lstStyle/>
          <a:p>
            <a:endParaRPr/>
          </a:p>
        </p:txBody>
      </p:sp>
      <p:sp>
        <p:nvSpPr>
          <p:cNvPr id="11" name="object 13">
            <a:extLst>
              <a:ext uri="{FF2B5EF4-FFF2-40B4-BE49-F238E27FC236}">
                <a16:creationId xmlns:a16="http://schemas.microsoft.com/office/drawing/2014/main" id="{BC584966-E4FA-41A6-949B-5A88B8898001}"/>
              </a:ext>
            </a:extLst>
          </p:cNvPr>
          <p:cNvSpPr txBox="1"/>
          <p:nvPr/>
        </p:nvSpPr>
        <p:spPr>
          <a:xfrm>
            <a:off x="3766136" y="4221088"/>
            <a:ext cx="1105728" cy="203707"/>
          </a:xfrm>
          <a:prstGeom prst="rect">
            <a:avLst/>
          </a:prstGeom>
        </p:spPr>
        <p:txBody>
          <a:bodyPr wrap="square" lIns="0" tIns="0" rIns="0" bIns="0" rtlCol="0">
            <a:noAutofit/>
          </a:bodyPr>
          <a:lstStyle/>
          <a:p>
            <a:pPr marL="12700">
              <a:lnSpc>
                <a:spcPts val="1535"/>
              </a:lnSpc>
              <a:spcBef>
                <a:spcPts val="76"/>
              </a:spcBef>
            </a:pPr>
            <a:r>
              <a:rPr lang="en-US" sz="1400" dirty="0">
                <a:latin typeface="Arial"/>
                <a:cs typeface="Arial"/>
              </a:rPr>
              <a:t>Relevant for Picking</a:t>
            </a:r>
            <a:endParaRPr sz="1400" dirty="0">
              <a:latin typeface="Arial"/>
              <a:cs typeface="Arial"/>
            </a:endParaRPr>
          </a:p>
        </p:txBody>
      </p:sp>
      <p:sp>
        <p:nvSpPr>
          <p:cNvPr id="12" name="object 40">
            <a:extLst>
              <a:ext uri="{FF2B5EF4-FFF2-40B4-BE49-F238E27FC236}">
                <a16:creationId xmlns:a16="http://schemas.microsoft.com/office/drawing/2014/main" id="{9C7BDDB5-7630-4425-A833-BA440E18F84B}"/>
              </a:ext>
            </a:extLst>
          </p:cNvPr>
          <p:cNvSpPr/>
          <p:nvPr/>
        </p:nvSpPr>
        <p:spPr>
          <a:xfrm>
            <a:off x="5968830" y="4092389"/>
            <a:ext cx="1944216" cy="533400"/>
          </a:xfrm>
          <a:custGeom>
            <a:avLst/>
            <a:gdLst/>
            <a:ahLst/>
            <a:cxnLst/>
            <a:rect l="l" t="t" r="r" b="b"/>
            <a:pathLst>
              <a:path w="3008376" h="533400">
                <a:moveTo>
                  <a:pt x="1027176" y="88900"/>
                </a:moveTo>
                <a:lnTo>
                  <a:pt x="1028361" y="74324"/>
                </a:lnTo>
                <a:lnTo>
                  <a:pt x="1031793" y="60512"/>
                </a:lnTo>
                <a:lnTo>
                  <a:pt x="1037283" y="47650"/>
                </a:lnTo>
                <a:lnTo>
                  <a:pt x="1044643" y="35927"/>
                </a:lnTo>
                <a:lnTo>
                  <a:pt x="1053686" y="25531"/>
                </a:lnTo>
                <a:lnTo>
                  <a:pt x="1064225" y="16648"/>
                </a:lnTo>
                <a:lnTo>
                  <a:pt x="1076071" y="9467"/>
                </a:lnTo>
                <a:lnTo>
                  <a:pt x="1089036" y="4176"/>
                </a:lnTo>
                <a:lnTo>
                  <a:pt x="1102934" y="961"/>
                </a:lnTo>
                <a:lnTo>
                  <a:pt x="1116076" y="0"/>
                </a:lnTo>
                <a:lnTo>
                  <a:pt x="1357376" y="0"/>
                </a:lnTo>
                <a:lnTo>
                  <a:pt x="1852676" y="0"/>
                </a:lnTo>
                <a:lnTo>
                  <a:pt x="2919476" y="0"/>
                </a:lnTo>
                <a:lnTo>
                  <a:pt x="2934051" y="1185"/>
                </a:lnTo>
                <a:lnTo>
                  <a:pt x="2947863" y="4617"/>
                </a:lnTo>
                <a:lnTo>
                  <a:pt x="2960725" y="10107"/>
                </a:lnTo>
                <a:lnTo>
                  <a:pt x="2972448" y="17467"/>
                </a:lnTo>
                <a:lnTo>
                  <a:pt x="2982844" y="26510"/>
                </a:lnTo>
                <a:lnTo>
                  <a:pt x="2991727" y="37049"/>
                </a:lnTo>
                <a:lnTo>
                  <a:pt x="2998908" y="48895"/>
                </a:lnTo>
                <a:lnTo>
                  <a:pt x="3004199" y="61860"/>
                </a:lnTo>
                <a:lnTo>
                  <a:pt x="3007414" y="75758"/>
                </a:lnTo>
                <a:lnTo>
                  <a:pt x="3008376" y="88900"/>
                </a:lnTo>
                <a:lnTo>
                  <a:pt x="3008376" y="311150"/>
                </a:lnTo>
                <a:lnTo>
                  <a:pt x="3008376" y="444500"/>
                </a:lnTo>
                <a:lnTo>
                  <a:pt x="3007190" y="459075"/>
                </a:lnTo>
                <a:lnTo>
                  <a:pt x="3003758" y="472887"/>
                </a:lnTo>
                <a:lnTo>
                  <a:pt x="2998268" y="485749"/>
                </a:lnTo>
                <a:lnTo>
                  <a:pt x="2990908" y="497472"/>
                </a:lnTo>
                <a:lnTo>
                  <a:pt x="2981865" y="507868"/>
                </a:lnTo>
                <a:lnTo>
                  <a:pt x="2971326" y="516751"/>
                </a:lnTo>
                <a:lnTo>
                  <a:pt x="2959480" y="523932"/>
                </a:lnTo>
                <a:lnTo>
                  <a:pt x="2946515" y="529223"/>
                </a:lnTo>
                <a:lnTo>
                  <a:pt x="2932617" y="532438"/>
                </a:lnTo>
                <a:lnTo>
                  <a:pt x="2919476" y="533400"/>
                </a:lnTo>
                <a:lnTo>
                  <a:pt x="1852676" y="533400"/>
                </a:lnTo>
                <a:lnTo>
                  <a:pt x="1357376" y="533400"/>
                </a:lnTo>
                <a:lnTo>
                  <a:pt x="1116076" y="533400"/>
                </a:lnTo>
                <a:lnTo>
                  <a:pt x="1101500" y="532214"/>
                </a:lnTo>
                <a:lnTo>
                  <a:pt x="1087688" y="528782"/>
                </a:lnTo>
                <a:lnTo>
                  <a:pt x="1074826" y="523292"/>
                </a:lnTo>
                <a:lnTo>
                  <a:pt x="1063103" y="515932"/>
                </a:lnTo>
                <a:lnTo>
                  <a:pt x="1052707" y="506889"/>
                </a:lnTo>
                <a:lnTo>
                  <a:pt x="1043824" y="496350"/>
                </a:lnTo>
                <a:lnTo>
                  <a:pt x="1036643" y="484504"/>
                </a:lnTo>
                <a:lnTo>
                  <a:pt x="1031352" y="471539"/>
                </a:lnTo>
                <a:lnTo>
                  <a:pt x="1028137" y="457641"/>
                </a:lnTo>
                <a:lnTo>
                  <a:pt x="1027176" y="444500"/>
                </a:lnTo>
                <a:lnTo>
                  <a:pt x="0" y="503300"/>
                </a:lnTo>
                <a:lnTo>
                  <a:pt x="1027176" y="311150"/>
                </a:lnTo>
                <a:lnTo>
                  <a:pt x="1027176" y="88900"/>
                </a:lnTo>
                <a:close/>
              </a:path>
            </a:pathLst>
          </a:custGeom>
          <a:solidFill>
            <a:srgbClr val="FFFF00"/>
          </a:solidFill>
          <a:ln w="12700">
            <a:solidFill>
              <a:srgbClr val="000000"/>
            </a:solidFill>
          </a:ln>
        </p:spPr>
        <p:txBody>
          <a:bodyPr wrap="square" lIns="0" tIns="0" rIns="0" bIns="0" rtlCol="0">
            <a:noAutofit/>
          </a:bodyPr>
          <a:lstStyle/>
          <a:p>
            <a:endParaRPr/>
          </a:p>
        </p:txBody>
      </p:sp>
      <p:sp>
        <p:nvSpPr>
          <p:cNvPr id="13" name="object 13">
            <a:extLst>
              <a:ext uri="{FF2B5EF4-FFF2-40B4-BE49-F238E27FC236}">
                <a16:creationId xmlns:a16="http://schemas.microsoft.com/office/drawing/2014/main" id="{DE57608F-660A-4D8A-9807-E556D6FD0FA6}"/>
              </a:ext>
            </a:extLst>
          </p:cNvPr>
          <p:cNvSpPr txBox="1"/>
          <p:nvPr/>
        </p:nvSpPr>
        <p:spPr>
          <a:xfrm>
            <a:off x="6759458" y="4179933"/>
            <a:ext cx="1105728" cy="203707"/>
          </a:xfrm>
          <a:prstGeom prst="rect">
            <a:avLst/>
          </a:prstGeom>
        </p:spPr>
        <p:txBody>
          <a:bodyPr wrap="square" lIns="0" tIns="0" rIns="0" bIns="0" rtlCol="0">
            <a:noAutofit/>
          </a:bodyPr>
          <a:lstStyle/>
          <a:p>
            <a:pPr marL="12700">
              <a:lnSpc>
                <a:spcPts val="1535"/>
              </a:lnSpc>
              <a:spcBef>
                <a:spcPts val="76"/>
              </a:spcBef>
            </a:pPr>
            <a:r>
              <a:rPr lang="en-US" sz="1400" dirty="0">
                <a:latin typeface="Arial"/>
                <a:cs typeface="Arial"/>
              </a:rPr>
              <a:t>Picking Control</a:t>
            </a:r>
            <a:endParaRPr sz="1400" dirty="0">
              <a:latin typeface="Arial"/>
              <a:cs typeface="Arial"/>
            </a:endParaRPr>
          </a:p>
        </p:txBody>
      </p:sp>
      <p:sp>
        <p:nvSpPr>
          <p:cNvPr id="14" name="object 40">
            <a:extLst>
              <a:ext uri="{FF2B5EF4-FFF2-40B4-BE49-F238E27FC236}">
                <a16:creationId xmlns:a16="http://schemas.microsoft.com/office/drawing/2014/main" id="{15411AB4-EA6F-42FF-9F5B-0C7A56CBA4DD}"/>
              </a:ext>
            </a:extLst>
          </p:cNvPr>
          <p:cNvSpPr/>
          <p:nvPr/>
        </p:nvSpPr>
        <p:spPr>
          <a:xfrm>
            <a:off x="4439816" y="4806524"/>
            <a:ext cx="1944216" cy="533400"/>
          </a:xfrm>
          <a:custGeom>
            <a:avLst/>
            <a:gdLst/>
            <a:ahLst/>
            <a:cxnLst/>
            <a:rect l="l" t="t" r="r" b="b"/>
            <a:pathLst>
              <a:path w="3008376" h="533400">
                <a:moveTo>
                  <a:pt x="1027176" y="88900"/>
                </a:moveTo>
                <a:lnTo>
                  <a:pt x="1028361" y="74324"/>
                </a:lnTo>
                <a:lnTo>
                  <a:pt x="1031793" y="60512"/>
                </a:lnTo>
                <a:lnTo>
                  <a:pt x="1037283" y="47650"/>
                </a:lnTo>
                <a:lnTo>
                  <a:pt x="1044643" y="35927"/>
                </a:lnTo>
                <a:lnTo>
                  <a:pt x="1053686" y="25531"/>
                </a:lnTo>
                <a:lnTo>
                  <a:pt x="1064225" y="16648"/>
                </a:lnTo>
                <a:lnTo>
                  <a:pt x="1076071" y="9467"/>
                </a:lnTo>
                <a:lnTo>
                  <a:pt x="1089036" y="4176"/>
                </a:lnTo>
                <a:lnTo>
                  <a:pt x="1102934" y="961"/>
                </a:lnTo>
                <a:lnTo>
                  <a:pt x="1116076" y="0"/>
                </a:lnTo>
                <a:lnTo>
                  <a:pt x="1357376" y="0"/>
                </a:lnTo>
                <a:lnTo>
                  <a:pt x="1852676" y="0"/>
                </a:lnTo>
                <a:lnTo>
                  <a:pt x="2919476" y="0"/>
                </a:lnTo>
                <a:lnTo>
                  <a:pt x="2934051" y="1185"/>
                </a:lnTo>
                <a:lnTo>
                  <a:pt x="2947863" y="4617"/>
                </a:lnTo>
                <a:lnTo>
                  <a:pt x="2960725" y="10107"/>
                </a:lnTo>
                <a:lnTo>
                  <a:pt x="2972448" y="17467"/>
                </a:lnTo>
                <a:lnTo>
                  <a:pt x="2982844" y="26510"/>
                </a:lnTo>
                <a:lnTo>
                  <a:pt x="2991727" y="37049"/>
                </a:lnTo>
                <a:lnTo>
                  <a:pt x="2998908" y="48895"/>
                </a:lnTo>
                <a:lnTo>
                  <a:pt x="3004199" y="61860"/>
                </a:lnTo>
                <a:lnTo>
                  <a:pt x="3007414" y="75758"/>
                </a:lnTo>
                <a:lnTo>
                  <a:pt x="3008376" y="88900"/>
                </a:lnTo>
                <a:lnTo>
                  <a:pt x="3008376" y="311150"/>
                </a:lnTo>
                <a:lnTo>
                  <a:pt x="3008376" y="444500"/>
                </a:lnTo>
                <a:lnTo>
                  <a:pt x="3007190" y="459075"/>
                </a:lnTo>
                <a:lnTo>
                  <a:pt x="3003758" y="472887"/>
                </a:lnTo>
                <a:lnTo>
                  <a:pt x="2998268" y="485749"/>
                </a:lnTo>
                <a:lnTo>
                  <a:pt x="2990908" y="497472"/>
                </a:lnTo>
                <a:lnTo>
                  <a:pt x="2981865" y="507868"/>
                </a:lnTo>
                <a:lnTo>
                  <a:pt x="2971326" y="516751"/>
                </a:lnTo>
                <a:lnTo>
                  <a:pt x="2959480" y="523932"/>
                </a:lnTo>
                <a:lnTo>
                  <a:pt x="2946515" y="529223"/>
                </a:lnTo>
                <a:lnTo>
                  <a:pt x="2932617" y="532438"/>
                </a:lnTo>
                <a:lnTo>
                  <a:pt x="2919476" y="533400"/>
                </a:lnTo>
                <a:lnTo>
                  <a:pt x="1852676" y="533400"/>
                </a:lnTo>
                <a:lnTo>
                  <a:pt x="1357376" y="533400"/>
                </a:lnTo>
                <a:lnTo>
                  <a:pt x="1116076" y="533400"/>
                </a:lnTo>
                <a:lnTo>
                  <a:pt x="1101500" y="532214"/>
                </a:lnTo>
                <a:lnTo>
                  <a:pt x="1087688" y="528782"/>
                </a:lnTo>
                <a:lnTo>
                  <a:pt x="1074826" y="523292"/>
                </a:lnTo>
                <a:lnTo>
                  <a:pt x="1063103" y="515932"/>
                </a:lnTo>
                <a:lnTo>
                  <a:pt x="1052707" y="506889"/>
                </a:lnTo>
                <a:lnTo>
                  <a:pt x="1043824" y="496350"/>
                </a:lnTo>
                <a:lnTo>
                  <a:pt x="1036643" y="484504"/>
                </a:lnTo>
                <a:lnTo>
                  <a:pt x="1031352" y="471539"/>
                </a:lnTo>
                <a:lnTo>
                  <a:pt x="1028137" y="457641"/>
                </a:lnTo>
                <a:lnTo>
                  <a:pt x="1027176" y="444500"/>
                </a:lnTo>
                <a:lnTo>
                  <a:pt x="0" y="503300"/>
                </a:lnTo>
                <a:lnTo>
                  <a:pt x="1027176" y="311150"/>
                </a:lnTo>
                <a:lnTo>
                  <a:pt x="1027176" y="88900"/>
                </a:lnTo>
                <a:close/>
              </a:path>
            </a:pathLst>
          </a:custGeom>
          <a:solidFill>
            <a:srgbClr val="FFFF00"/>
          </a:solidFill>
          <a:ln w="12700">
            <a:solidFill>
              <a:srgbClr val="000000"/>
            </a:solidFill>
          </a:ln>
        </p:spPr>
        <p:txBody>
          <a:bodyPr wrap="square" lIns="0" tIns="0" rIns="0" bIns="0" rtlCol="0">
            <a:noAutofit/>
          </a:bodyPr>
          <a:lstStyle/>
          <a:p>
            <a:endParaRPr/>
          </a:p>
        </p:txBody>
      </p:sp>
      <p:sp>
        <p:nvSpPr>
          <p:cNvPr id="15" name="object 13">
            <a:extLst>
              <a:ext uri="{FF2B5EF4-FFF2-40B4-BE49-F238E27FC236}">
                <a16:creationId xmlns:a16="http://schemas.microsoft.com/office/drawing/2014/main" id="{9EBC4C78-D709-498A-89A0-45CD655915D2}"/>
              </a:ext>
            </a:extLst>
          </p:cNvPr>
          <p:cNvSpPr txBox="1"/>
          <p:nvPr/>
        </p:nvSpPr>
        <p:spPr>
          <a:xfrm>
            <a:off x="5230444" y="4894068"/>
            <a:ext cx="1105728" cy="203707"/>
          </a:xfrm>
          <a:prstGeom prst="rect">
            <a:avLst/>
          </a:prstGeom>
        </p:spPr>
        <p:txBody>
          <a:bodyPr wrap="square" lIns="0" tIns="0" rIns="0" bIns="0" rtlCol="0">
            <a:noAutofit/>
          </a:bodyPr>
          <a:lstStyle/>
          <a:p>
            <a:pPr marL="12700">
              <a:lnSpc>
                <a:spcPts val="1535"/>
              </a:lnSpc>
              <a:spcBef>
                <a:spcPts val="76"/>
              </a:spcBef>
            </a:pPr>
            <a:r>
              <a:rPr lang="en-US" sz="1400" dirty="0">
                <a:latin typeface="Arial"/>
                <a:cs typeface="Arial"/>
              </a:rPr>
              <a:t>Automatic Batch Det.</a:t>
            </a:r>
            <a:endParaRPr sz="1400" dirty="0">
              <a:latin typeface="Arial"/>
              <a:cs typeface="Arial"/>
            </a:endParaRPr>
          </a:p>
        </p:txBody>
      </p:sp>
    </p:spTree>
    <p:extLst>
      <p:ext uri="{BB962C8B-B14F-4D97-AF65-F5344CB8AC3E}">
        <p14:creationId xmlns:p14="http://schemas.microsoft.com/office/powerpoint/2010/main" val="3823463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57400" y="838200"/>
            <a:ext cx="8077200" cy="1046440"/>
          </a:xfrm>
          <a:prstGeom prst="rect">
            <a:avLst/>
          </a:prstGeom>
          <a:noFill/>
        </p:spPr>
        <p:txBody>
          <a:bodyPr wrap="square" rtlCol="0">
            <a:spAutoFit/>
          </a:bodyPr>
          <a:lstStyle/>
          <a:p>
            <a:pPr marL="285750" indent="-285750">
              <a:buClr>
                <a:srgbClr val="00B0F0"/>
              </a:buClr>
              <a:buFont typeface="Wingdings" panose="05000000000000000000" pitchFamily="2" charset="2"/>
              <a:buChar char="§"/>
            </a:pPr>
            <a:r>
              <a:rPr lang="en-US" sz="2000" dirty="0"/>
              <a:t>Pre-requisites to create a delivery with reference to an order are:</a:t>
            </a:r>
          </a:p>
          <a:p>
            <a:endParaRPr lang="en-US" sz="2200" dirty="0"/>
          </a:p>
        </p:txBody>
      </p:sp>
      <p:pic>
        <p:nvPicPr>
          <p:cNvPr id="4" name="Picture 3"/>
          <p:cNvPicPr>
            <a:picLocks noChangeAspect="1"/>
          </p:cNvPicPr>
          <p:nvPr/>
        </p:nvPicPr>
        <p:blipFill>
          <a:blip r:embed="rId2" cstate="print"/>
          <a:stretch>
            <a:fillRect/>
          </a:stretch>
        </p:blipFill>
        <p:spPr>
          <a:xfrm>
            <a:off x="2362200" y="1905000"/>
            <a:ext cx="6400800" cy="4357991"/>
          </a:xfrm>
          <a:prstGeom prst="rect">
            <a:avLst/>
          </a:prstGeom>
        </p:spPr>
      </p:pic>
      <p:sp>
        <p:nvSpPr>
          <p:cNvPr id="5" name="Title 4"/>
          <p:cNvSpPr>
            <a:spLocks noGrp="1"/>
          </p:cNvSpPr>
          <p:nvPr>
            <p:ph type="title"/>
          </p:nvPr>
        </p:nvSpPr>
        <p:spPr>
          <a:xfrm>
            <a:off x="1841034" y="304800"/>
            <a:ext cx="8509933" cy="859536"/>
          </a:xfrm>
        </p:spPr>
        <p:txBody>
          <a:bodyPr/>
          <a:lstStyle/>
          <a:p>
            <a:r>
              <a:rPr lang="en-US" sz="2400" dirty="0">
                <a:latin typeface="+mn-lt"/>
                <a:cs typeface="Arial"/>
              </a:rPr>
              <a:t>Delive</a:t>
            </a:r>
            <a:r>
              <a:rPr lang="en-US" sz="2400" spc="14" dirty="0">
                <a:latin typeface="+mn-lt"/>
                <a:cs typeface="Arial"/>
              </a:rPr>
              <a:t>r</a:t>
            </a:r>
            <a:r>
              <a:rPr lang="en-US" sz="2400" dirty="0">
                <a:latin typeface="+mn-lt"/>
                <a:cs typeface="Arial"/>
              </a:rPr>
              <a:t>y Processing - Create</a:t>
            </a:r>
            <a:br>
              <a:rPr lang="en-US" sz="2800" dirty="0">
                <a:latin typeface="Arial"/>
                <a:cs typeface="Arial"/>
              </a:rPr>
            </a:br>
            <a:endParaRPr lang="en-US" dirty="0"/>
          </a:p>
        </p:txBody>
      </p:sp>
    </p:spTree>
    <p:extLst>
      <p:ext uri="{BB962C8B-B14F-4D97-AF65-F5344CB8AC3E}">
        <p14:creationId xmlns:p14="http://schemas.microsoft.com/office/powerpoint/2010/main" val="12600144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4B7584-23B9-498D-BFF9-DFC111108B09}"/>
              </a:ext>
            </a:extLst>
          </p:cNvPr>
          <p:cNvPicPr>
            <a:picLocks noChangeAspect="1"/>
          </p:cNvPicPr>
          <p:nvPr/>
        </p:nvPicPr>
        <p:blipFill>
          <a:blip r:embed="rId2"/>
          <a:stretch>
            <a:fillRect/>
          </a:stretch>
        </p:blipFill>
        <p:spPr>
          <a:xfrm>
            <a:off x="2195513" y="1447800"/>
            <a:ext cx="6807264" cy="4835525"/>
          </a:xfrm>
          <a:prstGeom prst="rect">
            <a:avLst/>
          </a:prstGeom>
          <a:ln w="28575">
            <a:solidFill>
              <a:schemeClr val="tx1"/>
            </a:solidFill>
          </a:ln>
        </p:spPr>
      </p:pic>
      <p:sp>
        <p:nvSpPr>
          <p:cNvPr id="13" name="object 13"/>
          <p:cNvSpPr/>
          <p:nvPr/>
        </p:nvSpPr>
        <p:spPr>
          <a:xfrm>
            <a:off x="2314824" y="5328926"/>
            <a:ext cx="2514600" cy="855726"/>
          </a:xfrm>
          <a:custGeom>
            <a:avLst/>
            <a:gdLst/>
            <a:ahLst/>
            <a:cxnLst/>
            <a:rect l="l" t="t" r="r" b="b"/>
            <a:pathLst>
              <a:path w="2514600" h="855726">
                <a:moveTo>
                  <a:pt x="104" y="758770"/>
                </a:moveTo>
                <a:lnTo>
                  <a:pt x="10831" y="799829"/>
                </a:lnTo>
                <a:lnTo>
                  <a:pt x="36441" y="832089"/>
                </a:lnTo>
                <a:lnTo>
                  <a:pt x="73031" y="851655"/>
                </a:lnTo>
                <a:lnTo>
                  <a:pt x="101600" y="855726"/>
                </a:lnTo>
                <a:lnTo>
                  <a:pt x="2417644" y="855621"/>
                </a:lnTo>
                <a:lnTo>
                  <a:pt x="2458703" y="844899"/>
                </a:lnTo>
                <a:lnTo>
                  <a:pt x="2490963" y="819295"/>
                </a:lnTo>
                <a:lnTo>
                  <a:pt x="2510529" y="782703"/>
                </a:lnTo>
                <a:lnTo>
                  <a:pt x="2514600" y="754126"/>
                </a:lnTo>
                <a:lnTo>
                  <a:pt x="2514495" y="343081"/>
                </a:lnTo>
                <a:lnTo>
                  <a:pt x="2503773" y="302022"/>
                </a:lnTo>
                <a:lnTo>
                  <a:pt x="2478169" y="269762"/>
                </a:lnTo>
                <a:lnTo>
                  <a:pt x="2441577" y="250196"/>
                </a:lnTo>
                <a:lnTo>
                  <a:pt x="2413000" y="246125"/>
                </a:lnTo>
                <a:lnTo>
                  <a:pt x="2095500" y="246125"/>
                </a:lnTo>
                <a:lnTo>
                  <a:pt x="2454275" y="0"/>
                </a:lnTo>
                <a:lnTo>
                  <a:pt x="1466850" y="246125"/>
                </a:lnTo>
                <a:lnTo>
                  <a:pt x="96957" y="246230"/>
                </a:lnTo>
                <a:lnTo>
                  <a:pt x="82538" y="247910"/>
                </a:lnTo>
                <a:lnTo>
                  <a:pt x="68806" y="251532"/>
                </a:lnTo>
                <a:lnTo>
                  <a:pt x="55907" y="256952"/>
                </a:lnTo>
                <a:lnTo>
                  <a:pt x="43983" y="264026"/>
                </a:lnTo>
                <a:lnTo>
                  <a:pt x="33181" y="272608"/>
                </a:lnTo>
                <a:lnTo>
                  <a:pt x="23644" y="282556"/>
                </a:lnTo>
                <a:lnTo>
                  <a:pt x="15518" y="293725"/>
                </a:lnTo>
                <a:lnTo>
                  <a:pt x="8945" y="305970"/>
                </a:lnTo>
                <a:lnTo>
                  <a:pt x="4072" y="319148"/>
                </a:lnTo>
                <a:lnTo>
                  <a:pt x="1042" y="333115"/>
                </a:lnTo>
                <a:lnTo>
                  <a:pt x="0" y="347725"/>
                </a:lnTo>
                <a:lnTo>
                  <a:pt x="104" y="758770"/>
                </a:lnTo>
                <a:close/>
              </a:path>
            </a:pathLst>
          </a:custGeom>
          <a:solidFill>
            <a:srgbClr val="FFFF99"/>
          </a:solidFill>
        </p:spPr>
        <p:txBody>
          <a:bodyPr wrap="square" lIns="0" tIns="0" rIns="0" bIns="0" rtlCol="0">
            <a:noAutofit/>
          </a:bodyPr>
          <a:lstStyle/>
          <a:p>
            <a:endParaRPr lang="en-US" dirty="0"/>
          </a:p>
          <a:p>
            <a:endParaRPr dirty="0"/>
          </a:p>
        </p:txBody>
      </p:sp>
      <p:sp>
        <p:nvSpPr>
          <p:cNvPr id="14" name="object 14"/>
          <p:cNvSpPr/>
          <p:nvPr/>
        </p:nvSpPr>
        <p:spPr>
          <a:xfrm>
            <a:off x="2314824" y="5328926"/>
            <a:ext cx="2514600" cy="855726"/>
          </a:xfrm>
          <a:custGeom>
            <a:avLst/>
            <a:gdLst/>
            <a:ahLst/>
            <a:cxnLst/>
            <a:rect l="l" t="t" r="r" b="b"/>
            <a:pathLst>
              <a:path w="2514600" h="855726">
                <a:moveTo>
                  <a:pt x="0" y="347725"/>
                </a:moveTo>
                <a:lnTo>
                  <a:pt x="1042" y="333115"/>
                </a:lnTo>
                <a:lnTo>
                  <a:pt x="4072" y="319148"/>
                </a:lnTo>
                <a:lnTo>
                  <a:pt x="8945" y="305970"/>
                </a:lnTo>
                <a:lnTo>
                  <a:pt x="15518" y="293725"/>
                </a:lnTo>
                <a:lnTo>
                  <a:pt x="23644" y="282556"/>
                </a:lnTo>
                <a:lnTo>
                  <a:pt x="33181" y="272608"/>
                </a:lnTo>
                <a:lnTo>
                  <a:pt x="43983" y="264026"/>
                </a:lnTo>
                <a:lnTo>
                  <a:pt x="55907" y="256952"/>
                </a:lnTo>
                <a:lnTo>
                  <a:pt x="68806" y="251532"/>
                </a:lnTo>
                <a:lnTo>
                  <a:pt x="82538" y="247910"/>
                </a:lnTo>
                <a:lnTo>
                  <a:pt x="96957" y="246230"/>
                </a:lnTo>
                <a:lnTo>
                  <a:pt x="101600" y="246125"/>
                </a:lnTo>
                <a:lnTo>
                  <a:pt x="1466850" y="246125"/>
                </a:lnTo>
                <a:lnTo>
                  <a:pt x="2454275" y="0"/>
                </a:lnTo>
                <a:lnTo>
                  <a:pt x="2095500" y="246125"/>
                </a:lnTo>
                <a:lnTo>
                  <a:pt x="2413000" y="246125"/>
                </a:lnTo>
                <a:lnTo>
                  <a:pt x="2427610" y="247167"/>
                </a:lnTo>
                <a:lnTo>
                  <a:pt x="2441577" y="250196"/>
                </a:lnTo>
                <a:lnTo>
                  <a:pt x="2454755" y="255067"/>
                </a:lnTo>
                <a:lnTo>
                  <a:pt x="2467000" y="261637"/>
                </a:lnTo>
                <a:lnTo>
                  <a:pt x="2478169" y="269762"/>
                </a:lnTo>
                <a:lnTo>
                  <a:pt x="2488117" y="279297"/>
                </a:lnTo>
                <a:lnTo>
                  <a:pt x="2496699" y="290098"/>
                </a:lnTo>
                <a:lnTo>
                  <a:pt x="2503773" y="302022"/>
                </a:lnTo>
                <a:lnTo>
                  <a:pt x="2509193" y="314923"/>
                </a:lnTo>
                <a:lnTo>
                  <a:pt x="2512815" y="328657"/>
                </a:lnTo>
                <a:lnTo>
                  <a:pt x="2514495" y="343081"/>
                </a:lnTo>
                <a:lnTo>
                  <a:pt x="2514600" y="347725"/>
                </a:lnTo>
                <a:lnTo>
                  <a:pt x="2514600" y="500125"/>
                </a:lnTo>
                <a:lnTo>
                  <a:pt x="2514600" y="754126"/>
                </a:lnTo>
                <a:lnTo>
                  <a:pt x="2513558" y="768736"/>
                </a:lnTo>
                <a:lnTo>
                  <a:pt x="2510529" y="782703"/>
                </a:lnTo>
                <a:lnTo>
                  <a:pt x="2505658" y="795881"/>
                </a:lnTo>
                <a:lnTo>
                  <a:pt x="2499088" y="808126"/>
                </a:lnTo>
                <a:lnTo>
                  <a:pt x="2490963" y="819295"/>
                </a:lnTo>
                <a:lnTo>
                  <a:pt x="2481428" y="829243"/>
                </a:lnTo>
                <a:lnTo>
                  <a:pt x="2470627" y="837825"/>
                </a:lnTo>
                <a:lnTo>
                  <a:pt x="2458703" y="844899"/>
                </a:lnTo>
                <a:lnTo>
                  <a:pt x="2445802" y="850319"/>
                </a:lnTo>
                <a:lnTo>
                  <a:pt x="2432068" y="853941"/>
                </a:lnTo>
                <a:lnTo>
                  <a:pt x="2417644" y="855621"/>
                </a:lnTo>
                <a:lnTo>
                  <a:pt x="2413000" y="855726"/>
                </a:lnTo>
                <a:lnTo>
                  <a:pt x="2095500" y="855726"/>
                </a:lnTo>
                <a:lnTo>
                  <a:pt x="1466850" y="855726"/>
                </a:lnTo>
                <a:lnTo>
                  <a:pt x="101600" y="855726"/>
                </a:lnTo>
                <a:lnTo>
                  <a:pt x="86994" y="854684"/>
                </a:lnTo>
                <a:lnTo>
                  <a:pt x="73031" y="851655"/>
                </a:lnTo>
                <a:lnTo>
                  <a:pt x="59855" y="846784"/>
                </a:lnTo>
                <a:lnTo>
                  <a:pt x="47610" y="840214"/>
                </a:lnTo>
                <a:lnTo>
                  <a:pt x="36441" y="832089"/>
                </a:lnTo>
                <a:lnTo>
                  <a:pt x="26491" y="822554"/>
                </a:lnTo>
                <a:lnTo>
                  <a:pt x="17906" y="811753"/>
                </a:lnTo>
                <a:lnTo>
                  <a:pt x="10831" y="799829"/>
                </a:lnTo>
                <a:lnTo>
                  <a:pt x="5409" y="786928"/>
                </a:lnTo>
                <a:lnTo>
                  <a:pt x="1785" y="773194"/>
                </a:lnTo>
                <a:lnTo>
                  <a:pt x="104" y="758770"/>
                </a:lnTo>
                <a:lnTo>
                  <a:pt x="0" y="754126"/>
                </a:lnTo>
                <a:lnTo>
                  <a:pt x="0" y="500125"/>
                </a:lnTo>
                <a:lnTo>
                  <a:pt x="0" y="347725"/>
                </a:lnTo>
                <a:close/>
              </a:path>
            </a:pathLst>
          </a:custGeom>
          <a:ln w="12700">
            <a:solidFill>
              <a:srgbClr val="000000"/>
            </a:solidFill>
          </a:ln>
        </p:spPr>
        <p:txBody>
          <a:bodyPr wrap="square" lIns="0" tIns="0" rIns="0" bIns="0" rtlCol="0">
            <a:noAutofit/>
          </a:bodyPr>
          <a:lstStyle/>
          <a:p>
            <a:endParaRPr/>
          </a:p>
        </p:txBody>
      </p:sp>
      <p:sp>
        <p:nvSpPr>
          <p:cNvPr id="15" name="object 15"/>
          <p:cNvSpPr/>
          <p:nvPr/>
        </p:nvSpPr>
        <p:spPr>
          <a:xfrm>
            <a:off x="6483326" y="3452120"/>
            <a:ext cx="2025650" cy="533400"/>
          </a:xfrm>
          <a:custGeom>
            <a:avLst/>
            <a:gdLst/>
            <a:ahLst/>
            <a:cxnLst/>
            <a:rect l="l" t="t" r="r" b="b"/>
            <a:pathLst>
              <a:path w="2025650" h="533400">
                <a:moveTo>
                  <a:pt x="2025650" y="311150"/>
                </a:moveTo>
                <a:lnTo>
                  <a:pt x="2025650" y="88900"/>
                </a:lnTo>
                <a:lnTo>
                  <a:pt x="2024688" y="75758"/>
                </a:lnTo>
                <a:lnTo>
                  <a:pt x="2009001" y="37049"/>
                </a:lnTo>
                <a:lnTo>
                  <a:pt x="1977999" y="10107"/>
                </a:lnTo>
                <a:lnTo>
                  <a:pt x="1936750" y="0"/>
                </a:lnTo>
                <a:lnTo>
                  <a:pt x="514350" y="0"/>
                </a:lnTo>
                <a:lnTo>
                  <a:pt x="474345" y="9467"/>
                </a:lnTo>
                <a:lnTo>
                  <a:pt x="442917" y="35927"/>
                </a:lnTo>
                <a:lnTo>
                  <a:pt x="426635" y="74324"/>
                </a:lnTo>
                <a:lnTo>
                  <a:pt x="425450" y="88900"/>
                </a:lnTo>
                <a:lnTo>
                  <a:pt x="425450" y="311150"/>
                </a:lnTo>
                <a:lnTo>
                  <a:pt x="0" y="334899"/>
                </a:lnTo>
                <a:lnTo>
                  <a:pt x="425450" y="444500"/>
                </a:lnTo>
                <a:lnTo>
                  <a:pt x="426411" y="457641"/>
                </a:lnTo>
                <a:lnTo>
                  <a:pt x="429626" y="471539"/>
                </a:lnTo>
                <a:lnTo>
                  <a:pt x="450981" y="506889"/>
                </a:lnTo>
                <a:lnTo>
                  <a:pt x="485962" y="528782"/>
                </a:lnTo>
                <a:lnTo>
                  <a:pt x="514350" y="533400"/>
                </a:lnTo>
                <a:lnTo>
                  <a:pt x="1936750" y="533400"/>
                </a:lnTo>
                <a:lnTo>
                  <a:pt x="1976754" y="523932"/>
                </a:lnTo>
                <a:lnTo>
                  <a:pt x="2008182" y="497472"/>
                </a:lnTo>
                <a:lnTo>
                  <a:pt x="2024464" y="459075"/>
                </a:lnTo>
                <a:lnTo>
                  <a:pt x="2025650" y="444500"/>
                </a:lnTo>
                <a:lnTo>
                  <a:pt x="2025650" y="311150"/>
                </a:lnTo>
                <a:close/>
              </a:path>
            </a:pathLst>
          </a:custGeom>
          <a:solidFill>
            <a:srgbClr val="FFFF99"/>
          </a:solidFill>
        </p:spPr>
        <p:txBody>
          <a:bodyPr wrap="square" lIns="0" tIns="0" rIns="0" bIns="0" rtlCol="0">
            <a:noAutofit/>
          </a:bodyPr>
          <a:lstStyle/>
          <a:p>
            <a:endParaRPr dirty="0"/>
          </a:p>
        </p:txBody>
      </p:sp>
      <p:sp>
        <p:nvSpPr>
          <p:cNvPr id="16" name="object 16"/>
          <p:cNvSpPr/>
          <p:nvPr/>
        </p:nvSpPr>
        <p:spPr>
          <a:xfrm>
            <a:off x="6483326" y="3429000"/>
            <a:ext cx="2025650" cy="533400"/>
          </a:xfrm>
          <a:custGeom>
            <a:avLst/>
            <a:gdLst/>
            <a:ahLst/>
            <a:cxnLst/>
            <a:rect l="l" t="t" r="r" b="b"/>
            <a:pathLst>
              <a:path w="2025650" h="533400">
                <a:moveTo>
                  <a:pt x="425450" y="88900"/>
                </a:moveTo>
                <a:lnTo>
                  <a:pt x="426635" y="74324"/>
                </a:lnTo>
                <a:lnTo>
                  <a:pt x="430067" y="60512"/>
                </a:lnTo>
                <a:lnTo>
                  <a:pt x="435557" y="47650"/>
                </a:lnTo>
                <a:lnTo>
                  <a:pt x="442917" y="35927"/>
                </a:lnTo>
                <a:lnTo>
                  <a:pt x="451960" y="25531"/>
                </a:lnTo>
                <a:lnTo>
                  <a:pt x="462499" y="16648"/>
                </a:lnTo>
                <a:lnTo>
                  <a:pt x="474345" y="9467"/>
                </a:lnTo>
                <a:lnTo>
                  <a:pt x="487310" y="4176"/>
                </a:lnTo>
                <a:lnTo>
                  <a:pt x="501208" y="961"/>
                </a:lnTo>
                <a:lnTo>
                  <a:pt x="514350" y="0"/>
                </a:lnTo>
                <a:lnTo>
                  <a:pt x="692150" y="0"/>
                </a:lnTo>
                <a:lnTo>
                  <a:pt x="1092200" y="0"/>
                </a:lnTo>
                <a:lnTo>
                  <a:pt x="1936750" y="0"/>
                </a:lnTo>
                <a:lnTo>
                  <a:pt x="1951325" y="1185"/>
                </a:lnTo>
                <a:lnTo>
                  <a:pt x="1965137" y="4617"/>
                </a:lnTo>
                <a:lnTo>
                  <a:pt x="1977999" y="10107"/>
                </a:lnTo>
                <a:lnTo>
                  <a:pt x="1989722" y="17467"/>
                </a:lnTo>
                <a:lnTo>
                  <a:pt x="2000118" y="26510"/>
                </a:lnTo>
                <a:lnTo>
                  <a:pt x="2009001" y="37049"/>
                </a:lnTo>
                <a:lnTo>
                  <a:pt x="2016182" y="48895"/>
                </a:lnTo>
                <a:lnTo>
                  <a:pt x="2021473" y="61860"/>
                </a:lnTo>
                <a:lnTo>
                  <a:pt x="2024688" y="75758"/>
                </a:lnTo>
                <a:lnTo>
                  <a:pt x="2025650" y="88900"/>
                </a:lnTo>
                <a:lnTo>
                  <a:pt x="2025650" y="311150"/>
                </a:lnTo>
                <a:lnTo>
                  <a:pt x="2025650" y="444500"/>
                </a:lnTo>
                <a:lnTo>
                  <a:pt x="2024464" y="459075"/>
                </a:lnTo>
                <a:lnTo>
                  <a:pt x="2021032" y="472887"/>
                </a:lnTo>
                <a:lnTo>
                  <a:pt x="2015542" y="485749"/>
                </a:lnTo>
                <a:lnTo>
                  <a:pt x="2008182" y="497472"/>
                </a:lnTo>
                <a:lnTo>
                  <a:pt x="1999139" y="507868"/>
                </a:lnTo>
                <a:lnTo>
                  <a:pt x="1988600" y="516751"/>
                </a:lnTo>
                <a:lnTo>
                  <a:pt x="1976754" y="523932"/>
                </a:lnTo>
                <a:lnTo>
                  <a:pt x="1963789" y="529223"/>
                </a:lnTo>
                <a:lnTo>
                  <a:pt x="1949891" y="532438"/>
                </a:lnTo>
                <a:lnTo>
                  <a:pt x="1936750" y="533400"/>
                </a:lnTo>
                <a:lnTo>
                  <a:pt x="1092200" y="533400"/>
                </a:lnTo>
                <a:lnTo>
                  <a:pt x="692150" y="533400"/>
                </a:lnTo>
                <a:lnTo>
                  <a:pt x="514350" y="533400"/>
                </a:lnTo>
                <a:lnTo>
                  <a:pt x="499774" y="532214"/>
                </a:lnTo>
                <a:lnTo>
                  <a:pt x="485962" y="528782"/>
                </a:lnTo>
                <a:lnTo>
                  <a:pt x="473100" y="523292"/>
                </a:lnTo>
                <a:lnTo>
                  <a:pt x="461377" y="515932"/>
                </a:lnTo>
                <a:lnTo>
                  <a:pt x="450981" y="506889"/>
                </a:lnTo>
                <a:lnTo>
                  <a:pt x="442098" y="496350"/>
                </a:lnTo>
                <a:lnTo>
                  <a:pt x="434917" y="484504"/>
                </a:lnTo>
                <a:lnTo>
                  <a:pt x="429626" y="471539"/>
                </a:lnTo>
                <a:lnTo>
                  <a:pt x="426411" y="457641"/>
                </a:lnTo>
                <a:lnTo>
                  <a:pt x="425450" y="444500"/>
                </a:lnTo>
                <a:lnTo>
                  <a:pt x="0" y="334899"/>
                </a:lnTo>
                <a:lnTo>
                  <a:pt x="425450" y="311150"/>
                </a:lnTo>
                <a:lnTo>
                  <a:pt x="425450" y="88900"/>
                </a:lnTo>
                <a:close/>
              </a:path>
            </a:pathLst>
          </a:custGeom>
          <a:ln w="12700">
            <a:solidFill>
              <a:srgbClr val="000000"/>
            </a:solidFill>
          </a:ln>
        </p:spPr>
        <p:txBody>
          <a:bodyPr wrap="square" lIns="0" tIns="0" rIns="0" bIns="0" rtlCol="0">
            <a:noAutofit/>
          </a:bodyPr>
          <a:lstStyle/>
          <a:p>
            <a:endParaRPr/>
          </a:p>
        </p:txBody>
      </p:sp>
      <p:sp>
        <p:nvSpPr>
          <p:cNvPr id="3" name="Title 2"/>
          <p:cNvSpPr>
            <a:spLocks noGrp="1"/>
          </p:cNvSpPr>
          <p:nvPr>
            <p:ph type="title"/>
          </p:nvPr>
        </p:nvSpPr>
        <p:spPr>
          <a:xfrm>
            <a:off x="1828801" y="228600"/>
            <a:ext cx="8509933" cy="859536"/>
          </a:xfrm>
        </p:spPr>
        <p:txBody>
          <a:bodyPr/>
          <a:lstStyle/>
          <a:p>
            <a:r>
              <a:rPr lang="en-US" sz="2400" dirty="0">
                <a:latin typeface="+mn-lt"/>
                <a:cs typeface="Arial"/>
              </a:rPr>
              <a:t>Delive</a:t>
            </a:r>
            <a:r>
              <a:rPr lang="en-US" sz="2400" spc="14" dirty="0">
                <a:latin typeface="+mn-lt"/>
                <a:cs typeface="Arial"/>
              </a:rPr>
              <a:t>r</a:t>
            </a:r>
            <a:r>
              <a:rPr lang="en-US" sz="2400" dirty="0">
                <a:latin typeface="+mn-lt"/>
                <a:cs typeface="Arial"/>
              </a:rPr>
              <a:t>y Processing - Create</a:t>
            </a:r>
            <a:br>
              <a:rPr lang="en-US" sz="2800" dirty="0">
                <a:latin typeface="Arial"/>
                <a:cs typeface="Arial"/>
              </a:rPr>
            </a:br>
            <a:endParaRPr lang="en-US" dirty="0"/>
          </a:p>
        </p:txBody>
      </p:sp>
      <p:sp>
        <p:nvSpPr>
          <p:cNvPr id="6" name="TextBox 5">
            <a:extLst>
              <a:ext uri="{FF2B5EF4-FFF2-40B4-BE49-F238E27FC236}">
                <a16:creationId xmlns:a16="http://schemas.microsoft.com/office/drawing/2014/main" id="{335ED90A-AEF2-45C2-B356-9BC27118F953}"/>
              </a:ext>
            </a:extLst>
          </p:cNvPr>
          <p:cNvSpPr txBox="1"/>
          <p:nvPr/>
        </p:nvSpPr>
        <p:spPr>
          <a:xfrm>
            <a:off x="1919536" y="5644588"/>
            <a:ext cx="3096344" cy="736740"/>
          </a:xfrm>
          <a:prstGeom prst="rect">
            <a:avLst/>
          </a:prstGeom>
          <a:noFill/>
        </p:spPr>
        <p:txBody>
          <a:bodyPr wrap="square" rtlCol="0">
            <a:spAutoFit/>
          </a:bodyPr>
          <a:lstStyle/>
          <a:p>
            <a:pPr marL="516597">
              <a:lnSpc>
                <a:spcPct val="95825"/>
              </a:lnSpc>
              <a:spcBef>
                <a:spcPts val="9874"/>
              </a:spcBef>
            </a:pPr>
            <a:r>
              <a:rPr lang="en-US" sz="1200" spc="-4" dirty="0">
                <a:latin typeface="Arial"/>
                <a:cs typeface="Arial"/>
              </a:rPr>
              <a:t>D</a:t>
            </a:r>
            <a:r>
              <a:rPr lang="en-US" sz="1200" dirty="0">
                <a:latin typeface="Arial"/>
                <a:cs typeface="Arial"/>
              </a:rPr>
              <a:t>eli</a:t>
            </a:r>
            <a:r>
              <a:rPr lang="en-US" sz="1200" spc="-19" dirty="0">
                <a:latin typeface="Arial"/>
                <a:cs typeface="Arial"/>
              </a:rPr>
              <a:t>v</a:t>
            </a:r>
            <a:r>
              <a:rPr lang="en-US" sz="1200" dirty="0">
                <a:latin typeface="Arial"/>
                <a:cs typeface="Arial"/>
              </a:rPr>
              <a:t>eri</a:t>
            </a:r>
            <a:r>
              <a:rPr lang="en-US" sz="1200" spc="-4" dirty="0">
                <a:latin typeface="Arial"/>
                <a:cs typeface="Arial"/>
              </a:rPr>
              <a:t>n</a:t>
            </a:r>
            <a:r>
              <a:rPr lang="en-US" sz="1200" dirty="0">
                <a:latin typeface="Arial"/>
                <a:cs typeface="Arial"/>
              </a:rPr>
              <a:t>g</a:t>
            </a:r>
            <a:r>
              <a:rPr lang="en-US" sz="1200" spc="-19" dirty="0">
                <a:latin typeface="Arial"/>
                <a:cs typeface="Arial"/>
              </a:rPr>
              <a:t> </a:t>
            </a:r>
            <a:r>
              <a:rPr lang="en-US" sz="1200" dirty="0">
                <a:latin typeface="Arial"/>
                <a:cs typeface="Arial"/>
              </a:rPr>
              <a:t>pla</a:t>
            </a:r>
            <a:r>
              <a:rPr lang="en-US" sz="1200" spc="-4" dirty="0">
                <a:latin typeface="Arial"/>
                <a:cs typeface="Arial"/>
              </a:rPr>
              <a:t>n</a:t>
            </a:r>
            <a:r>
              <a:rPr lang="en-US" sz="1200" dirty="0">
                <a:latin typeface="Arial"/>
                <a:cs typeface="Arial"/>
              </a:rPr>
              <a:t>t</a:t>
            </a:r>
            <a:r>
              <a:rPr lang="en-US" sz="1200" spc="-25" dirty="0">
                <a:latin typeface="Arial"/>
                <a:cs typeface="Arial"/>
              </a:rPr>
              <a:t> </a:t>
            </a:r>
            <a:r>
              <a:rPr lang="en-US" sz="1200" dirty="0">
                <a:latin typeface="Arial"/>
                <a:cs typeface="Arial"/>
              </a:rPr>
              <a:t>defaulted</a:t>
            </a:r>
          </a:p>
          <a:p>
            <a:pPr marL="516597">
              <a:lnSpc>
                <a:spcPct val="95825"/>
              </a:lnSpc>
              <a:spcBef>
                <a:spcPts val="70"/>
              </a:spcBef>
            </a:pPr>
            <a:r>
              <a:rPr lang="en-US" sz="1200" spc="4" dirty="0">
                <a:latin typeface="Arial"/>
                <a:cs typeface="Arial"/>
              </a:rPr>
              <a:t>f</a:t>
            </a:r>
            <a:r>
              <a:rPr lang="en-US" sz="1200" dirty="0">
                <a:latin typeface="Arial"/>
                <a:cs typeface="Arial"/>
              </a:rPr>
              <a:t>rom</a:t>
            </a:r>
            <a:r>
              <a:rPr lang="en-US" sz="1200" spc="-34" dirty="0">
                <a:latin typeface="Arial"/>
                <a:cs typeface="Arial"/>
              </a:rPr>
              <a:t> </a:t>
            </a:r>
            <a:r>
              <a:rPr lang="en-US" sz="1200" dirty="0">
                <a:latin typeface="Arial"/>
                <a:cs typeface="Arial"/>
              </a:rPr>
              <a:t>Sales</a:t>
            </a:r>
            <a:r>
              <a:rPr lang="en-US" sz="1200" spc="-14" dirty="0">
                <a:latin typeface="Arial"/>
                <a:cs typeface="Arial"/>
              </a:rPr>
              <a:t> </a:t>
            </a:r>
            <a:r>
              <a:rPr lang="en-US" sz="1200" dirty="0">
                <a:latin typeface="Arial"/>
                <a:cs typeface="Arial"/>
              </a:rPr>
              <a:t>order</a:t>
            </a:r>
          </a:p>
          <a:p>
            <a:endParaRPr lang="en-US" dirty="0"/>
          </a:p>
        </p:txBody>
      </p:sp>
      <p:sp>
        <p:nvSpPr>
          <p:cNvPr id="7" name="TextBox 6">
            <a:extLst>
              <a:ext uri="{FF2B5EF4-FFF2-40B4-BE49-F238E27FC236}">
                <a16:creationId xmlns:a16="http://schemas.microsoft.com/office/drawing/2014/main" id="{2D22F086-3880-4BE7-8DF0-AA5CE497CAE9}"/>
              </a:ext>
            </a:extLst>
          </p:cNvPr>
          <p:cNvSpPr txBox="1"/>
          <p:nvPr/>
        </p:nvSpPr>
        <p:spPr>
          <a:xfrm>
            <a:off x="7032104" y="3429000"/>
            <a:ext cx="1440160" cy="461665"/>
          </a:xfrm>
          <a:prstGeom prst="rect">
            <a:avLst/>
          </a:prstGeom>
          <a:noFill/>
        </p:spPr>
        <p:txBody>
          <a:bodyPr wrap="square" rtlCol="0">
            <a:spAutoFit/>
          </a:bodyPr>
          <a:lstStyle/>
          <a:p>
            <a:r>
              <a:rPr lang="en-US" sz="1200" dirty="0"/>
              <a:t>Picking not complete</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9D2985-A47B-4F02-8C0A-9EBBE5DA0F6A}"/>
              </a:ext>
            </a:extLst>
          </p:cNvPr>
          <p:cNvPicPr>
            <a:picLocks noChangeAspect="1"/>
          </p:cNvPicPr>
          <p:nvPr/>
        </p:nvPicPr>
        <p:blipFill>
          <a:blip r:embed="rId2"/>
          <a:stretch>
            <a:fillRect/>
          </a:stretch>
        </p:blipFill>
        <p:spPr>
          <a:xfrm>
            <a:off x="2008477" y="1212024"/>
            <a:ext cx="7510099" cy="4433951"/>
          </a:xfrm>
          <a:prstGeom prst="rect">
            <a:avLst/>
          </a:prstGeom>
          <a:ln w="28575">
            <a:solidFill>
              <a:schemeClr val="tx1"/>
            </a:solidFill>
          </a:ln>
        </p:spPr>
      </p:pic>
      <p:sp>
        <p:nvSpPr>
          <p:cNvPr id="3" name="Title 2"/>
          <p:cNvSpPr>
            <a:spLocks noGrp="1"/>
          </p:cNvSpPr>
          <p:nvPr>
            <p:ph type="title"/>
          </p:nvPr>
        </p:nvSpPr>
        <p:spPr>
          <a:xfrm>
            <a:off x="2008477" y="304800"/>
            <a:ext cx="8509933" cy="859536"/>
          </a:xfrm>
        </p:spPr>
        <p:txBody>
          <a:bodyPr/>
          <a:lstStyle/>
          <a:p>
            <a:r>
              <a:rPr lang="en-US" sz="2400" dirty="0">
                <a:latin typeface="+mn-lt"/>
                <a:cs typeface="Arial"/>
              </a:rPr>
              <a:t>Delive</a:t>
            </a:r>
            <a:r>
              <a:rPr lang="en-US" sz="2400" spc="14" dirty="0">
                <a:latin typeface="+mn-lt"/>
                <a:cs typeface="Arial"/>
              </a:rPr>
              <a:t>r</a:t>
            </a:r>
            <a:r>
              <a:rPr lang="en-US" sz="2400" dirty="0">
                <a:latin typeface="+mn-lt"/>
                <a:cs typeface="Arial"/>
              </a:rPr>
              <a:t>y Header Views</a:t>
            </a:r>
            <a:br>
              <a:rPr lang="en-US" sz="2800" dirty="0">
                <a:latin typeface="Arial"/>
                <a:cs typeface="Arial"/>
              </a:rPr>
            </a:b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p:cNvSpPr/>
          <p:nvPr/>
        </p:nvSpPr>
        <p:spPr>
          <a:xfrm>
            <a:off x="1952625" y="1371600"/>
            <a:ext cx="2209800" cy="304800"/>
          </a:xfrm>
          <a:custGeom>
            <a:avLst/>
            <a:gdLst/>
            <a:ahLst/>
            <a:cxnLst/>
            <a:rect l="l" t="t" r="r" b="b"/>
            <a:pathLst>
              <a:path w="2209800" h="304800">
                <a:moveTo>
                  <a:pt x="0" y="304800"/>
                </a:moveTo>
                <a:lnTo>
                  <a:pt x="2209800" y="304800"/>
                </a:lnTo>
                <a:lnTo>
                  <a:pt x="2209800" y="0"/>
                </a:lnTo>
                <a:lnTo>
                  <a:pt x="0" y="0"/>
                </a:lnTo>
                <a:lnTo>
                  <a:pt x="0" y="304800"/>
                </a:lnTo>
                <a:close/>
              </a:path>
            </a:pathLst>
          </a:custGeom>
          <a:solidFill>
            <a:srgbClr val="FFFF99"/>
          </a:solidFill>
        </p:spPr>
        <p:txBody>
          <a:bodyPr wrap="square" lIns="0" tIns="0" rIns="0" bIns="0" rtlCol="0">
            <a:noAutofit/>
          </a:bodyPr>
          <a:lstStyle/>
          <a:p>
            <a:endParaRPr sz="1200"/>
          </a:p>
        </p:txBody>
      </p:sp>
      <p:sp>
        <p:nvSpPr>
          <p:cNvPr id="39" name="object 39"/>
          <p:cNvSpPr/>
          <p:nvPr/>
        </p:nvSpPr>
        <p:spPr>
          <a:xfrm>
            <a:off x="4162426" y="1371600"/>
            <a:ext cx="993775" cy="304800"/>
          </a:xfrm>
          <a:custGeom>
            <a:avLst/>
            <a:gdLst/>
            <a:ahLst/>
            <a:cxnLst/>
            <a:rect l="l" t="t" r="r" b="b"/>
            <a:pathLst>
              <a:path w="993775" h="304800">
                <a:moveTo>
                  <a:pt x="0" y="304800"/>
                </a:moveTo>
                <a:lnTo>
                  <a:pt x="993775" y="304800"/>
                </a:lnTo>
                <a:lnTo>
                  <a:pt x="993775" y="0"/>
                </a:lnTo>
                <a:lnTo>
                  <a:pt x="0" y="0"/>
                </a:lnTo>
                <a:lnTo>
                  <a:pt x="0" y="304800"/>
                </a:lnTo>
                <a:close/>
              </a:path>
            </a:pathLst>
          </a:custGeom>
          <a:solidFill>
            <a:srgbClr val="CCFFCC"/>
          </a:solidFill>
        </p:spPr>
        <p:txBody>
          <a:bodyPr wrap="square" lIns="0" tIns="0" rIns="0" bIns="0" rtlCol="0">
            <a:noAutofit/>
          </a:bodyPr>
          <a:lstStyle/>
          <a:p>
            <a:endParaRPr sz="1200"/>
          </a:p>
        </p:txBody>
      </p:sp>
      <p:sp>
        <p:nvSpPr>
          <p:cNvPr id="40" name="object 40"/>
          <p:cNvSpPr/>
          <p:nvPr/>
        </p:nvSpPr>
        <p:spPr>
          <a:xfrm>
            <a:off x="5156200" y="1371600"/>
            <a:ext cx="4597400" cy="304800"/>
          </a:xfrm>
          <a:custGeom>
            <a:avLst/>
            <a:gdLst/>
            <a:ahLst/>
            <a:cxnLst/>
            <a:rect l="l" t="t" r="r" b="b"/>
            <a:pathLst>
              <a:path w="4597400" h="304800">
                <a:moveTo>
                  <a:pt x="0" y="304800"/>
                </a:moveTo>
                <a:lnTo>
                  <a:pt x="4597400" y="304800"/>
                </a:lnTo>
                <a:lnTo>
                  <a:pt x="4597400" y="0"/>
                </a:lnTo>
                <a:lnTo>
                  <a:pt x="0" y="0"/>
                </a:lnTo>
                <a:lnTo>
                  <a:pt x="0" y="304800"/>
                </a:lnTo>
                <a:close/>
              </a:path>
            </a:pathLst>
          </a:custGeom>
          <a:solidFill>
            <a:srgbClr val="FFCC99"/>
          </a:solidFill>
        </p:spPr>
        <p:txBody>
          <a:bodyPr wrap="square" lIns="0" tIns="0" rIns="0" bIns="0" rtlCol="0">
            <a:noAutofit/>
          </a:bodyPr>
          <a:lstStyle/>
          <a:p>
            <a:endParaRPr sz="1200"/>
          </a:p>
        </p:txBody>
      </p:sp>
      <p:sp>
        <p:nvSpPr>
          <p:cNvPr id="41" name="object 41"/>
          <p:cNvSpPr/>
          <p:nvPr/>
        </p:nvSpPr>
        <p:spPr>
          <a:xfrm>
            <a:off x="1952625" y="1676401"/>
            <a:ext cx="2209800" cy="640079"/>
          </a:xfrm>
          <a:custGeom>
            <a:avLst/>
            <a:gdLst/>
            <a:ahLst/>
            <a:cxnLst/>
            <a:rect l="l" t="t" r="r" b="b"/>
            <a:pathLst>
              <a:path w="2209800" h="640079">
                <a:moveTo>
                  <a:pt x="0" y="640079"/>
                </a:moveTo>
                <a:lnTo>
                  <a:pt x="2209800" y="640079"/>
                </a:lnTo>
                <a:lnTo>
                  <a:pt x="2209800" y="0"/>
                </a:lnTo>
                <a:lnTo>
                  <a:pt x="0" y="0"/>
                </a:lnTo>
                <a:lnTo>
                  <a:pt x="0" y="640079"/>
                </a:lnTo>
                <a:close/>
              </a:path>
            </a:pathLst>
          </a:custGeom>
          <a:solidFill>
            <a:srgbClr val="FFFF99"/>
          </a:solidFill>
        </p:spPr>
        <p:txBody>
          <a:bodyPr wrap="square" lIns="0" tIns="0" rIns="0" bIns="0" rtlCol="0">
            <a:noAutofit/>
          </a:bodyPr>
          <a:lstStyle/>
          <a:p>
            <a:endParaRPr sz="1200"/>
          </a:p>
        </p:txBody>
      </p:sp>
      <p:sp>
        <p:nvSpPr>
          <p:cNvPr id="42" name="object 42"/>
          <p:cNvSpPr/>
          <p:nvPr/>
        </p:nvSpPr>
        <p:spPr>
          <a:xfrm>
            <a:off x="4162426" y="1676401"/>
            <a:ext cx="993775" cy="640079"/>
          </a:xfrm>
          <a:custGeom>
            <a:avLst/>
            <a:gdLst/>
            <a:ahLst/>
            <a:cxnLst/>
            <a:rect l="l" t="t" r="r" b="b"/>
            <a:pathLst>
              <a:path w="993775" h="640079">
                <a:moveTo>
                  <a:pt x="0" y="640079"/>
                </a:moveTo>
                <a:lnTo>
                  <a:pt x="993775" y="640079"/>
                </a:lnTo>
                <a:lnTo>
                  <a:pt x="993775" y="0"/>
                </a:lnTo>
                <a:lnTo>
                  <a:pt x="0" y="0"/>
                </a:lnTo>
                <a:lnTo>
                  <a:pt x="0" y="640079"/>
                </a:lnTo>
                <a:close/>
              </a:path>
            </a:pathLst>
          </a:custGeom>
          <a:solidFill>
            <a:srgbClr val="CCFFCC"/>
          </a:solidFill>
        </p:spPr>
        <p:txBody>
          <a:bodyPr wrap="square" lIns="0" tIns="0" rIns="0" bIns="0" rtlCol="0">
            <a:noAutofit/>
          </a:bodyPr>
          <a:lstStyle/>
          <a:p>
            <a:endParaRPr sz="1200"/>
          </a:p>
        </p:txBody>
      </p:sp>
      <p:sp>
        <p:nvSpPr>
          <p:cNvPr id="43" name="object 43"/>
          <p:cNvSpPr/>
          <p:nvPr/>
        </p:nvSpPr>
        <p:spPr>
          <a:xfrm>
            <a:off x="5156200" y="1676401"/>
            <a:ext cx="4597400" cy="640079"/>
          </a:xfrm>
          <a:custGeom>
            <a:avLst/>
            <a:gdLst/>
            <a:ahLst/>
            <a:cxnLst/>
            <a:rect l="l" t="t" r="r" b="b"/>
            <a:pathLst>
              <a:path w="4597400" h="640079">
                <a:moveTo>
                  <a:pt x="0" y="640079"/>
                </a:moveTo>
                <a:lnTo>
                  <a:pt x="4597400" y="640079"/>
                </a:lnTo>
                <a:lnTo>
                  <a:pt x="4597400" y="0"/>
                </a:lnTo>
                <a:lnTo>
                  <a:pt x="0" y="0"/>
                </a:lnTo>
                <a:lnTo>
                  <a:pt x="0" y="640079"/>
                </a:lnTo>
                <a:close/>
              </a:path>
            </a:pathLst>
          </a:custGeom>
          <a:solidFill>
            <a:srgbClr val="FFCC99"/>
          </a:solidFill>
        </p:spPr>
        <p:txBody>
          <a:bodyPr wrap="square" lIns="0" tIns="0" rIns="0" bIns="0" rtlCol="0">
            <a:noAutofit/>
          </a:bodyPr>
          <a:lstStyle/>
          <a:p>
            <a:endParaRPr sz="1200"/>
          </a:p>
        </p:txBody>
      </p:sp>
      <p:sp>
        <p:nvSpPr>
          <p:cNvPr id="44" name="object 44"/>
          <p:cNvSpPr/>
          <p:nvPr/>
        </p:nvSpPr>
        <p:spPr>
          <a:xfrm>
            <a:off x="1952625" y="2316479"/>
            <a:ext cx="2209800" cy="457200"/>
          </a:xfrm>
          <a:custGeom>
            <a:avLst/>
            <a:gdLst/>
            <a:ahLst/>
            <a:cxnLst/>
            <a:rect l="l" t="t" r="r" b="b"/>
            <a:pathLst>
              <a:path w="2209800" h="457200">
                <a:moveTo>
                  <a:pt x="0" y="457200"/>
                </a:moveTo>
                <a:lnTo>
                  <a:pt x="2209800" y="457200"/>
                </a:lnTo>
                <a:lnTo>
                  <a:pt x="2209800" y="0"/>
                </a:lnTo>
                <a:lnTo>
                  <a:pt x="0" y="0"/>
                </a:lnTo>
                <a:lnTo>
                  <a:pt x="0" y="457200"/>
                </a:lnTo>
                <a:close/>
              </a:path>
            </a:pathLst>
          </a:custGeom>
          <a:solidFill>
            <a:srgbClr val="FFFF99"/>
          </a:solidFill>
        </p:spPr>
        <p:txBody>
          <a:bodyPr wrap="square" lIns="0" tIns="0" rIns="0" bIns="0" rtlCol="0">
            <a:noAutofit/>
          </a:bodyPr>
          <a:lstStyle/>
          <a:p>
            <a:endParaRPr sz="1200"/>
          </a:p>
        </p:txBody>
      </p:sp>
      <p:sp>
        <p:nvSpPr>
          <p:cNvPr id="45" name="object 45"/>
          <p:cNvSpPr/>
          <p:nvPr/>
        </p:nvSpPr>
        <p:spPr>
          <a:xfrm>
            <a:off x="4162426" y="2316479"/>
            <a:ext cx="993775" cy="457200"/>
          </a:xfrm>
          <a:custGeom>
            <a:avLst/>
            <a:gdLst/>
            <a:ahLst/>
            <a:cxnLst/>
            <a:rect l="l" t="t" r="r" b="b"/>
            <a:pathLst>
              <a:path w="993775" h="457200">
                <a:moveTo>
                  <a:pt x="0" y="457200"/>
                </a:moveTo>
                <a:lnTo>
                  <a:pt x="993775" y="457200"/>
                </a:lnTo>
                <a:lnTo>
                  <a:pt x="993775" y="0"/>
                </a:lnTo>
                <a:lnTo>
                  <a:pt x="0" y="0"/>
                </a:lnTo>
                <a:lnTo>
                  <a:pt x="0" y="457200"/>
                </a:lnTo>
                <a:close/>
              </a:path>
            </a:pathLst>
          </a:custGeom>
          <a:solidFill>
            <a:srgbClr val="CCFFCC"/>
          </a:solidFill>
        </p:spPr>
        <p:txBody>
          <a:bodyPr wrap="square" lIns="0" tIns="0" rIns="0" bIns="0" rtlCol="0">
            <a:noAutofit/>
          </a:bodyPr>
          <a:lstStyle/>
          <a:p>
            <a:endParaRPr sz="1200"/>
          </a:p>
        </p:txBody>
      </p:sp>
      <p:sp>
        <p:nvSpPr>
          <p:cNvPr id="46" name="object 46"/>
          <p:cNvSpPr/>
          <p:nvPr/>
        </p:nvSpPr>
        <p:spPr>
          <a:xfrm>
            <a:off x="5156200" y="2316479"/>
            <a:ext cx="4597400" cy="457200"/>
          </a:xfrm>
          <a:custGeom>
            <a:avLst/>
            <a:gdLst/>
            <a:ahLst/>
            <a:cxnLst/>
            <a:rect l="l" t="t" r="r" b="b"/>
            <a:pathLst>
              <a:path w="4597400" h="457200">
                <a:moveTo>
                  <a:pt x="0" y="457200"/>
                </a:moveTo>
                <a:lnTo>
                  <a:pt x="4597400" y="457200"/>
                </a:lnTo>
                <a:lnTo>
                  <a:pt x="4597400" y="0"/>
                </a:lnTo>
                <a:lnTo>
                  <a:pt x="0" y="0"/>
                </a:lnTo>
                <a:lnTo>
                  <a:pt x="0" y="457200"/>
                </a:lnTo>
                <a:close/>
              </a:path>
            </a:pathLst>
          </a:custGeom>
          <a:solidFill>
            <a:srgbClr val="FFCC99"/>
          </a:solidFill>
        </p:spPr>
        <p:txBody>
          <a:bodyPr wrap="square" lIns="0" tIns="0" rIns="0" bIns="0" rtlCol="0">
            <a:noAutofit/>
          </a:bodyPr>
          <a:lstStyle/>
          <a:p>
            <a:endParaRPr sz="1200"/>
          </a:p>
        </p:txBody>
      </p:sp>
      <p:sp>
        <p:nvSpPr>
          <p:cNvPr id="47" name="object 47"/>
          <p:cNvSpPr/>
          <p:nvPr/>
        </p:nvSpPr>
        <p:spPr>
          <a:xfrm>
            <a:off x="1952625" y="2773743"/>
            <a:ext cx="2209800" cy="398462"/>
          </a:xfrm>
          <a:custGeom>
            <a:avLst/>
            <a:gdLst/>
            <a:ahLst/>
            <a:cxnLst/>
            <a:rect l="l" t="t" r="r" b="b"/>
            <a:pathLst>
              <a:path w="2209800" h="398462">
                <a:moveTo>
                  <a:pt x="0" y="398462"/>
                </a:moveTo>
                <a:lnTo>
                  <a:pt x="2209800" y="398462"/>
                </a:lnTo>
                <a:lnTo>
                  <a:pt x="2209800" y="0"/>
                </a:lnTo>
                <a:lnTo>
                  <a:pt x="0" y="0"/>
                </a:lnTo>
                <a:lnTo>
                  <a:pt x="0" y="398462"/>
                </a:lnTo>
                <a:close/>
              </a:path>
            </a:pathLst>
          </a:custGeom>
          <a:solidFill>
            <a:srgbClr val="FFFF99"/>
          </a:solidFill>
        </p:spPr>
        <p:txBody>
          <a:bodyPr wrap="square" lIns="0" tIns="0" rIns="0" bIns="0" rtlCol="0">
            <a:noAutofit/>
          </a:bodyPr>
          <a:lstStyle/>
          <a:p>
            <a:endParaRPr sz="1200"/>
          </a:p>
        </p:txBody>
      </p:sp>
      <p:sp>
        <p:nvSpPr>
          <p:cNvPr id="48" name="object 48"/>
          <p:cNvSpPr/>
          <p:nvPr/>
        </p:nvSpPr>
        <p:spPr>
          <a:xfrm>
            <a:off x="4162426" y="2773743"/>
            <a:ext cx="993775" cy="398462"/>
          </a:xfrm>
          <a:custGeom>
            <a:avLst/>
            <a:gdLst/>
            <a:ahLst/>
            <a:cxnLst/>
            <a:rect l="l" t="t" r="r" b="b"/>
            <a:pathLst>
              <a:path w="993775" h="398462">
                <a:moveTo>
                  <a:pt x="0" y="398462"/>
                </a:moveTo>
                <a:lnTo>
                  <a:pt x="993775" y="398462"/>
                </a:lnTo>
                <a:lnTo>
                  <a:pt x="993775" y="0"/>
                </a:lnTo>
                <a:lnTo>
                  <a:pt x="0" y="0"/>
                </a:lnTo>
                <a:lnTo>
                  <a:pt x="0" y="398462"/>
                </a:lnTo>
                <a:close/>
              </a:path>
            </a:pathLst>
          </a:custGeom>
          <a:solidFill>
            <a:srgbClr val="CCFFCC"/>
          </a:solidFill>
        </p:spPr>
        <p:txBody>
          <a:bodyPr wrap="square" lIns="0" tIns="0" rIns="0" bIns="0" rtlCol="0">
            <a:noAutofit/>
          </a:bodyPr>
          <a:lstStyle/>
          <a:p>
            <a:endParaRPr sz="1200"/>
          </a:p>
        </p:txBody>
      </p:sp>
      <p:sp>
        <p:nvSpPr>
          <p:cNvPr id="49" name="object 49"/>
          <p:cNvSpPr/>
          <p:nvPr/>
        </p:nvSpPr>
        <p:spPr>
          <a:xfrm>
            <a:off x="5156200" y="2773743"/>
            <a:ext cx="4597400" cy="398462"/>
          </a:xfrm>
          <a:custGeom>
            <a:avLst/>
            <a:gdLst/>
            <a:ahLst/>
            <a:cxnLst/>
            <a:rect l="l" t="t" r="r" b="b"/>
            <a:pathLst>
              <a:path w="4597400" h="398462">
                <a:moveTo>
                  <a:pt x="0" y="398462"/>
                </a:moveTo>
                <a:lnTo>
                  <a:pt x="4597400" y="398462"/>
                </a:lnTo>
                <a:lnTo>
                  <a:pt x="4597400" y="0"/>
                </a:lnTo>
                <a:lnTo>
                  <a:pt x="0" y="0"/>
                </a:lnTo>
                <a:lnTo>
                  <a:pt x="0" y="398462"/>
                </a:lnTo>
                <a:close/>
              </a:path>
            </a:pathLst>
          </a:custGeom>
          <a:solidFill>
            <a:srgbClr val="FFCC99"/>
          </a:solidFill>
        </p:spPr>
        <p:txBody>
          <a:bodyPr wrap="square" lIns="0" tIns="0" rIns="0" bIns="0" rtlCol="0">
            <a:noAutofit/>
          </a:bodyPr>
          <a:lstStyle/>
          <a:p>
            <a:endParaRPr sz="1200"/>
          </a:p>
        </p:txBody>
      </p:sp>
      <p:sp>
        <p:nvSpPr>
          <p:cNvPr id="50" name="object 50"/>
          <p:cNvSpPr/>
          <p:nvPr/>
        </p:nvSpPr>
        <p:spPr>
          <a:xfrm>
            <a:off x="1952625" y="3172205"/>
            <a:ext cx="2209800" cy="457200"/>
          </a:xfrm>
          <a:custGeom>
            <a:avLst/>
            <a:gdLst/>
            <a:ahLst/>
            <a:cxnLst/>
            <a:rect l="l" t="t" r="r" b="b"/>
            <a:pathLst>
              <a:path w="2209800" h="457200">
                <a:moveTo>
                  <a:pt x="0" y="457200"/>
                </a:moveTo>
                <a:lnTo>
                  <a:pt x="2209800" y="457200"/>
                </a:lnTo>
                <a:lnTo>
                  <a:pt x="2209800" y="0"/>
                </a:lnTo>
                <a:lnTo>
                  <a:pt x="0" y="0"/>
                </a:lnTo>
                <a:lnTo>
                  <a:pt x="0" y="457200"/>
                </a:lnTo>
                <a:close/>
              </a:path>
            </a:pathLst>
          </a:custGeom>
          <a:solidFill>
            <a:srgbClr val="FFFF99"/>
          </a:solidFill>
        </p:spPr>
        <p:txBody>
          <a:bodyPr wrap="square" lIns="0" tIns="0" rIns="0" bIns="0" rtlCol="0">
            <a:noAutofit/>
          </a:bodyPr>
          <a:lstStyle/>
          <a:p>
            <a:endParaRPr sz="1200"/>
          </a:p>
        </p:txBody>
      </p:sp>
      <p:sp>
        <p:nvSpPr>
          <p:cNvPr id="51" name="object 51"/>
          <p:cNvSpPr/>
          <p:nvPr/>
        </p:nvSpPr>
        <p:spPr>
          <a:xfrm>
            <a:off x="4162426" y="3172205"/>
            <a:ext cx="993775" cy="457200"/>
          </a:xfrm>
          <a:custGeom>
            <a:avLst/>
            <a:gdLst/>
            <a:ahLst/>
            <a:cxnLst/>
            <a:rect l="l" t="t" r="r" b="b"/>
            <a:pathLst>
              <a:path w="993775" h="457200">
                <a:moveTo>
                  <a:pt x="0" y="457200"/>
                </a:moveTo>
                <a:lnTo>
                  <a:pt x="993775" y="457200"/>
                </a:lnTo>
                <a:lnTo>
                  <a:pt x="993775" y="0"/>
                </a:lnTo>
                <a:lnTo>
                  <a:pt x="0" y="0"/>
                </a:lnTo>
                <a:lnTo>
                  <a:pt x="0" y="457200"/>
                </a:lnTo>
                <a:close/>
              </a:path>
            </a:pathLst>
          </a:custGeom>
          <a:solidFill>
            <a:srgbClr val="CCFFCC"/>
          </a:solidFill>
        </p:spPr>
        <p:txBody>
          <a:bodyPr wrap="square" lIns="0" tIns="0" rIns="0" bIns="0" rtlCol="0">
            <a:noAutofit/>
          </a:bodyPr>
          <a:lstStyle/>
          <a:p>
            <a:endParaRPr sz="1200"/>
          </a:p>
        </p:txBody>
      </p:sp>
      <p:sp>
        <p:nvSpPr>
          <p:cNvPr id="52" name="object 52"/>
          <p:cNvSpPr/>
          <p:nvPr/>
        </p:nvSpPr>
        <p:spPr>
          <a:xfrm>
            <a:off x="5156200" y="3172205"/>
            <a:ext cx="4597400" cy="457200"/>
          </a:xfrm>
          <a:custGeom>
            <a:avLst/>
            <a:gdLst/>
            <a:ahLst/>
            <a:cxnLst/>
            <a:rect l="l" t="t" r="r" b="b"/>
            <a:pathLst>
              <a:path w="4597400" h="457200">
                <a:moveTo>
                  <a:pt x="0" y="457200"/>
                </a:moveTo>
                <a:lnTo>
                  <a:pt x="4597400" y="457200"/>
                </a:lnTo>
                <a:lnTo>
                  <a:pt x="4597400" y="0"/>
                </a:lnTo>
                <a:lnTo>
                  <a:pt x="0" y="0"/>
                </a:lnTo>
                <a:lnTo>
                  <a:pt x="0" y="457200"/>
                </a:lnTo>
                <a:close/>
              </a:path>
            </a:pathLst>
          </a:custGeom>
          <a:solidFill>
            <a:srgbClr val="FFCC99"/>
          </a:solidFill>
        </p:spPr>
        <p:txBody>
          <a:bodyPr wrap="square" lIns="0" tIns="0" rIns="0" bIns="0" rtlCol="0">
            <a:noAutofit/>
          </a:bodyPr>
          <a:lstStyle/>
          <a:p>
            <a:endParaRPr sz="1200"/>
          </a:p>
        </p:txBody>
      </p:sp>
      <p:sp>
        <p:nvSpPr>
          <p:cNvPr id="53" name="object 53"/>
          <p:cNvSpPr/>
          <p:nvPr/>
        </p:nvSpPr>
        <p:spPr>
          <a:xfrm>
            <a:off x="1952625" y="3629405"/>
            <a:ext cx="2209800" cy="457200"/>
          </a:xfrm>
          <a:custGeom>
            <a:avLst/>
            <a:gdLst/>
            <a:ahLst/>
            <a:cxnLst/>
            <a:rect l="l" t="t" r="r" b="b"/>
            <a:pathLst>
              <a:path w="2209800" h="457200">
                <a:moveTo>
                  <a:pt x="0" y="457200"/>
                </a:moveTo>
                <a:lnTo>
                  <a:pt x="2209800" y="457200"/>
                </a:lnTo>
                <a:lnTo>
                  <a:pt x="2209800" y="0"/>
                </a:lnTo>
                <a:lnTo>
                  <a:pt x="0" y="0"/>
                </a:lnTo>
                <a:lnTo>
                  <a:pt x="0" y="457200"/>
                </a:lnTo>
                <a:close/>
              </a:path>
            </a:pathLst>
          </a:custGeom>
          <a:solidFill>
            <a:srgbClr val="FFFF99"/>
          </a:solidFill>
        </p:spPr>
        <p:txBody>
          <a:bodyPr wrap="square" lIns="0" tIns="0" rIns="0" bIns="0" rtlCol="0">
            <a:noAutofit/>
          </a:bodyPr>
          <a:lstStyle/>
          <a:p>
            <a:endParaRPr sz="1200"/>
          </a:p>
        </p:txBody>
      </p:sp>
      <p:sp>
        <p:nvSpPr>
          <p:cNvPr id="54" name="object 54"/>
          <p:cNvSpPr/>
          <p:nvPr/>
        </p:nvSpPr>
        <p:spPr>
          <a:xfrm>
            <a:off x="4162426" y="3629405"/>
            <a:ext cx="993775" cy="457200"/>
          </a:xfrm>
          <a:custGeom>
            <a:avLst/>
            <a:gdLst/>
            <a:ahLst/>
            <a:cxnLst/>
            <a:rect l="l" t="t" r="r" b="b"/>
            <a:pathLst>
              <a:path w="993775" h="457200">
                <a:moveTo>
                  <a:pt x="0" y="457200"/>
                </a:moveTo>
                <a:lnTo>
                  <a:pt x="993775" y="457200"/>
                </a:lnTo>
                <a:lnTo>
                  <a:pt x="993775" y="0"/>
                </a:lnTo>
                <a:lnTo>
                  <a:pt x="0" y="0"/>
                </a:lnTo>
                <a:lnTo>
                  <a:pt x="0" y="457200"/>
                </a:lnTo>
                <a:close/>
              </a:path>
            </a:pathLst>
          </a:custGeom>
          <a:solidFill>
            <a:srgbClr val="CCFFCC"/>
          </a:solidFill>
        </p:spPr>
        <p:txBody>
          <a:bodyPr wrap="square" lIns="0" tIns="0" rIns="0" bIns="0" rtlCol="0">
            <a:noAutofit/>
          </a:bodyPr>
          <a:lstStyle/>
          <a:p>
            <a:endParaRPr sz="1200"/>
          </a:p>
        </p:txBody>
      </p:sp>
      <p:sp>
        <p:nvSpPr>
          <p:cNvPr id="55" name="object 55"/>
          <p:cNvSpPr/>
          <p:nvPr/>
        </p:nvSpPr>
        <p:spPr>
          <a:xfrm>
            <a:off x="5156200" y="3629405"/>
            <a:ext cx="4597400" cy="457200"/>
          </a:xfrm>
          <a:custGeom>
            <a:avLst/>
            <a:gdLst/>
            <a:ahLst/>
            <a:cxnLst/>
            <a:rect l="l" t="t" r="r" b="b"/>
            <a:pathLst>
              <a:path w="4597400" h="457200">
                <a:moveTo>
                  <a:pt x="0" y="457200"/>
                </a:moveTo>
                <a:lnTo>
                  <a:pt x="4597400" y="457200"/>
                </a:lnTo>
                <a:lnTo>
                  <a:pt x="4597400" y="0"/>
                </a:lnTo>
                <a:lnTo>
                  <a:pt x="0" y="0"/>
                </a:lnTo>
                <a:lnTo>
                  <a:pt x="0" y="457200"/>
                </a:lnTo>
                <a:close/>
              </a:path>
            </a:pathLst>
          </a:custGeom>
          <a:solidFill>
            <a:srgbClr val="FFCC99"/>
          </a:solidFill>
        </p:spPr>
        <p:txBody>
          <a:bodyPr wrap="square" lIns="0" tIns="0" rIns="0" bIns="0" rtlCol="0">
            <a:noAutofit/>
          </a:bodyPr>
          <a:lstStyle/>
          <a:p>
            <a:endParaRPr sz="1200"/>
          </a:p>
        </p:txBody>
      </p:sp>
      <p:sp>
        <p:nvSpPr>
          <p:cNvPr id="56" name="object 56"/>
          <p:cNvSpPr/>
          <p:nvPr/>
        </p:nvSpPr>
        <p:spPr>
          <a:xfrm>
            <a:off x="1952625" y="4086605"/>
            <a:ext cx="2209800" cy="457200"/>
          </a:xfrm>
          <a:custGeom>
            <a:avLst/>
            <a:gdLst/>
            <a:ahLst/>
            <a:cxnLst/>
            <a:rect l="l" t="t" r="r" b="b"/>
            <a:pathLst>
              <a:path w="2209800" h="457200">
                <a:moveTo>
                  <a:pt x="0" y="457200"/>
                </a:moveTo>
                <a:lnTo>
                  <a:pt x="2209800" y="457200"/>
                </a:lnTo>
                <a:lnTo>
                  <a:pt x="2209800" y="0"/>
                </a:lnTo>
                <a:lnTo>
                  <a:pt x="0" y="0"/>
                </a:lnTo>
                <a:lnTo>
                  <a:pt x="0" y="457200"/>
                </a:lnTo>
                <a:close/>
              </a:path>
            </a:pathLst>
          </a:custGeom>
          <a:solidFill>
            <a:srgbClr val="FFFF99"/>
          </a:solidFill>
        </p:spPr>
        <p:txBody>
          <a:bodyPr wrap="square" lIns="0" tIns="0" rIns="0" bIns="0" rtlCol="0">
            <a:noAutofit/>
          </a:bodyPr>
          <a:lstStyle/>
          <a:p>
            <a:endParaRPr sz="1200"/>
          </a:p>
        </p:txBody>
      </p:sp>
      <p:sp>
        <p:nvSpPr>
          <p:cNvPr id="57" name="object 57"/>
          <p:cNvSpPr/>
          <p:nvPr/>
        </p:nvSpPr>
        <p:spPr>
          <a:xfrm>
            <a:off x="4162426" y="4086605"/>
            <a:ext cx="993775" cy="457200"/>
          </a:xfrm>
          <a:custGeom>
            <a:avLst/>
            <a:gdLst/>
            <a:ahLst/>
            <a:cxnLst/>
            <a:rect l="l" t="t" r="r" b="b"/>
            <a:pathLst>
              <a:path w="993775" h="457200">
                <a:moveTo>
                  <a:pt x="0" y="457200"/>
                </a:moveTo>
                <a:lnTo>
                  <a:pt x="993775" y="457200"/>
                </a:lnTo>
                <a:lnTo>
                  <a:pt x="993775" y="0"/>
                </a:lnTo>
                <a:lnTo>
                  <a:pt x="0" y="0"/>
                </a:lnTo>
                <a:lnTo>
                  <a:pt x="0" y="457200"/>
                </a:lnTo>
                <a:close/>
              </a:path>
            </a:pathLst>
          </a:custGeom>
          <a:solidFill>
            <a:srgbClr val="CCFFCC"/>
          </a:solidFill>
        </p:spPr>
        <p:txBody>
          <a:bodyPr wrap="square" lIns="0" tIns="0" rIns="0" bIns="0" rtlCol="0">
            <a:noAutofit/>
          </a:bodyPr>
          <a:lstStyle/>
          <a:p>
            <a:endParaRPr sz="1200"/>
          </a:p>
        </p:txBody>
      </p:sp>
      <p:sp>
        <p:nvSpPr>
          <p:cNvPr id="58" name="object 58"/>
          <p:cNvSpPr/>
          <p:nvPr/>
        </p:nvSpPr>
        <p:spPr>
          <a:xfrm>
            <a:off x="5156200" y="4086605"/>
            <a:ext cx="4597400" cy="457200"/>
          </a:xfrm>
          <a:custGeom>
            <a:avLst/>
            <a:gdLst/>
            <a:ahLst/>
            <a:cxnLst/>
            <a:rect l="l" t="t" r="r" b="b"/>
            <a:pathLst>
              <a:path w="4597400" h="457200">
                <a:moveTo>
                  <a:pt x="0" y="457200"/>
                </a:moveTo>
                <a:lnTo>
                  <a:pt x="4597400" y="457200"/>
                </a:lnTo>
                <a:lnTo>
                  <a:pt x="4597400" y="0"/>
                </a:lnTo>
                <a:lnTo>
                  <a:pt x="0" y="0"/>
                </a:lnTo>
                <a:lnTo>
                  <a:pt x="0" y="457200"/>
                </a:lnTo>
                <a:close/>
              </a:path>
            </a:pathLst>
          </a:custGeom>
          <a:solidFill>
            <a:srgbClr val="FFCC99"/>
          </a:solidFill>
        </p:spPr>
        <p:txBody>
          <a:bodyPr wrap="square" lIns="0" tIns="0" rIns="0" bIns="0" rtlCol="0">
            <a:noAutofit/>
          </a:bodyPr>
          <a:lstStyle/>
          <a:p>
            <a:endParaRPr sz="1200"/>
          </a:p>
        </p:txBody>
      </p:sp>
      <p:sp>
        <p:nvSpPr>
          <p:cNvPr id="59" name="object 59"/>
          <p:cNvSpPr/>
          <p:nvPr/>
        </p:nvSpPr>
        <p:spPr>
          <a:xfrm>
            <a:off x="1952625" y="4543806"/>
            <a:ext cx="2209800" cy="457200"/>
          </a:xfrm>
          <a:custGeom>
            <a:avLst/>
            <a:gdLst/>
            <a:ahLst/>
            <a:cxnLst/>
            <a:rect l="l" t="t" r="r" b="b"/>
            <a:pathLst>
              <a:path w="2209800" h="457200">
                <a:moveTo>
                  <a:pt x="0" y="457200"/>
                </a:moveTo>
                <a:lnTo>
                  <a:pt x="2209800" y="457200"/>
                </a:lnTo>
                <a:lnTo>
                  <a:pt x="2209800" y="0"/>
                </a:lnTo>
                <a:lnTo>
                  <a:pt x="0" y="0"/>
                </a:lnTo>
                <a:lnTo>
                  <a:pt x="0" y="457200"/>
                </a:lnTo>
                <a:close/>
              </a:path>
            </a:pathLst>
          </a:custGeom>
          <a:solidFill>
            <a:srgbClr val="FFFF99"/>
          </a:solidFill>
        </p:spPr>
        <p:txBody>
          <a:bodyPr wrap="square" lIns="0" tIns="0" rIns="0" bIns="0" rtlCol="0">
            <a:noAutofit/>
          </a:bodyPr>
          <a:lstStyle/>
          <a:p>
            <a:endParaRPr sz="1200"/>
          </a:p>
        </p:txBody>
      </p:sp>
      <p:sp>
        <p:nvSpPr>
          <p:cNvPr id="60" name="object 60"/>
          <p:cNvSpPr/>
          <p:nvPr/>
        </p:nvSpPr>
        <p:spPr>
          <a:xfrm>
            <a:off x="4162426" y="4543806"/>
            <a:ext cx="993775" cy="457200"/>
          </a:xfrm>
          <a:custGeom>
            <a:avLst/>
            <a:gdLst/>
            <a:ahLst/>
            <a:cxnLst/>
            <a:rect l="l" t="t" r="r" b="b"/>
            <a:pathLst>
              <a:path w="993775" h="457200">
                <a:moveTo>
                  <a:pt x="0" y="457200"/>
                </a:moveTo>
                <a:lnTo>
                  <a:pt x="993775" y="457200"/>
                </a:lnTo>
                <a:lnTo>
                  <a:pt x="993775" y="0"/>
                </a:lnTo>
                <a:lnTo>
                  <a:pt x="0" y="0"/>
                </a:lnTo>
                <a:lnTo>
                  <a:pt x="0" y="457200"/>
                </a:lnTo>
                <a:close/>
              </a:path>
            </a:pathLst>
          </a:custGeom>
          <a:solidFill>
            <a:srgbClr val="CCFFCC"/>
          </a:solidFill>
        </p:spPr>
        <p:txBody>
          <a:bodyPr wrap="square" lIns="0" tIns="0" rIns="0" bIns="0" rtlCol="0">
            <a:noAutofit/>
          </a:bodyPr>
          <a:lstStyle/>
          <a:p>
            <a:endParaRPr sz="1200"/>
          </a:p>
        </p:txBody>
      </p:sp>
      <p:sp>
        <p:nvSpPr>
          <p:cNvPr id="61" name="object 61"/>
          <p:cNvSpPr/>
          <p:nvPr/>
        </p:nvSpPr>
        <p:spPr>
          <a:xfrm>
            <a:off x="5156200" y="4543806"/>
            <a:ext cx="4597400" cy="457200"/>
          </a:xfrm>
          <a:custGeom>
            <a:avLst/>
            <a:gdLst/>
            <a:ahLst/>
            <a:cxnLst/>
            <a:rect l="l" t="t" r="r" b="b"/>
            <a:pathLst>
              <a:path w="4597400" h="457200">
                <a:moveTo>
                  <a:pt x="0" y="457200"/>
                </a:moveTo>
                <a:lnTo>
                  <a:pt x="4597400" y="457200"/>
                </a:lnTo>
                <a:lnTo>
                  <a:pt x="4597400" y="0"/>
                </a:lnTo>
                <a:lnTo>
                  <a:pt x="0" y="0"/>
                </a:lnTo>
                <a:lnTo>
                  <a:pt x="0" y="457200"/>
                </a:lnTo>
                <a:close/>
              </a:path>
            </a:pathLst>
          </a:custGeom>
          <a:solidFill>
            <a:srgbClr val="FFCC99"/>
          </a:solidFill>
        </p:spPr>
        <p:txBody>
          <a:bodyPr wrap="square" lIns="0" tIns="0" rIns="0" bIns="0" rtlCol="0">
            <a:noAutofit/>
          </a:bodyPr>
          <a:lstStyle/>
          <a:p>
            <a:endParaRPr sz="1200"/>
          </a:p>
        </p:txBody>
      </p:sp>
      <p:sp>
        <p:nvSpPr>
          <p:cNvPr id="62" name="object 62"/>
          <p:cNvSpPr/>
          <p:nvPr/>
        </p:nvSpPr>
        <p:spPr>
          <a:xfrm>
            <a:off x="1952625" y="5000943"/>
            <a:ext cx="2209800" cy="640079"/>
          </a:xfrm>
          <a:custGeom>
            <a:avLst/>
            <a:gdLst/>
            <a:ahLst/>
            <a:cxnLst/>
            <a:rect l="l" t="t" r="r" b="b"/>
            <a:pathLst>
              <a:path w="2209800" h="640079">
                <a:moveTo>
                  <a:pt x="0" y="640080"/>
                </a:moveTo>
                <a:lnTo>
                  <a:pt x="2209800" y="640080"/>
                </a:lnTo>
                <a:lnTo>
                  <a:pt x="2209800" y="0"/>
                </a:lnTo>
                <a:lnTo>
                  <a:pt x="0" y="0"/>
                </a:lnTo>
                <a:lnTo>
                  <a:pt x="0" y="640080"/>
                </a:lnTo>
                <a:close/>
              </a:path>
            </a:pathLst>
          </a:custGeom>
          <a:solidFill>
            <a:srgbClr val="FFFF99"/>
          </a:solidFill>
        </p:spPr>
        <p:txBody>
          <a:bodyPr wrap="square" lIns="0" tIns="0" rIns="0" bIns="0" rtlCol="0">
            <a:noAutofit/>
          </a:bodyPr>
          <a:lstStyle/>
          <a:p>
            <a:endParaRPr sz="1200"/>
          </a:p>
        </p:txBody>
      </p:sp>
      <p:sp>
        <p:nvSpPr>
          <p:cNvPr id="63" name="object 63"/>
          <p:cNvSpPr/>
          <p:nvPr/>
        </p:nvSpPr>
        <p:spPr>
          <a:xfrm>
            <a:off x="4162426" y="5000943"/>
            <a:ext cx="993775" cy="640079"/>
          </a:xfrm>
          <a:custGeom>
            <a:avLst/>
            <a:gdLst/>
            <a:ahLst/>
            <a:cxnLst/>
            <a:rect l="l" t="t" r="r" b="b"/>
            <a:pathLst>
              <a:path w="993775" h="640079">
                <a:moveTo>
                  <a:pt x="0" y="640080"/>
                </a:moveTo>
                <a:lnTo>
                  <a:pt x="993775" y="640080"/>
                </a:lnTo>
                <a:lnTo>
                  <a:pt x="993775" y="0"/>
                </a:lnTo>
                <a:lnTo>
                  <a:pt x="0" y="0"/>
                </a:lnTo>
                <a:lnTo>
                  <a:pt x="0" y="640080"/>
                </a:lnTo>
                <a:close/>
              </a:path>
            </a:pathLst>
          </a:custGeom>
          <a:solidFill>
            <a:srgbClr val="CCFFCC"/>
          </a:solidFill>
        </p:spPr>
        <p:txBody>
          <a:bodyPr wrap="square" lIns="0" tIns="0" rIns="0" bIns="0" rtlCol="0">
            <a:noAutofit/>
          </a:bodyPr>
          <a:lstStyle/>
          <a:p>
            <a:endParaRPr sz="1200"/>
          </a:p>
        </p:txBody>
      </p:sp>
      <p:sp>
        <p:nvSpPr>
          <p:cNvPr id="64" name="object 64"/>
          <p:cNvSpPr/>
          <p:nvPr/>
        </p:nvSpPr>
        <p:spPr>
          <a:xfrm>
            <a:off x="5156200" y="5000943"/>
            <a:ext cx="4597400" cy="640079"/>
          </a:xfrm>
          <a:custGeom>
            <a:avLst/>
            <a:gdLst/>
            <a:ahLst/>
            <a:cxnLst/>
            <a:rect l="l" t="t" r="r" b="b"/>
            <a:pathLst>
              <a:path w="4597400" h="640079">
                <a:moveTo>
                  <a:pt x="0" y="640080"/>
                </a:moveTo>
                <a:lnTo>
                  <a:pt x="4597400" y="640080"/>
                </a:lnTo>
                <a:lnTo>
                  <a:pt x="4597400" y="0"/>
                </a:lnTo>
                <a:lnTo>
                  <a:pt x="0" y="0"/>
                </a:lnTo>
                <a:lnTo>
                  <a:pt x="0" y="640080"/>
                </a:lnTo>
                <a:close/>
              </a:path>
            </a:pathLst>
          </a:custGeom>
          <a:solidFill>
            <a:srgbClr val="FFCC99"/>
          </a:solidFill>
        </p:spPr>
        <p:txBody>
          <a:bodyPr wrap="square" lIns="0" tIns="0" rIns="0" bIns="0" rtlCol="0">
            <a:noAutofit/>
          </a:bodyPr>
          <a:lstStyle/>
          <a:p>
            <a:endParaRPr sz="1200"/>
          </a:p>
        </p:txBody>
      </p:sp>
      <p:sp>
        <p:nvSpPr>
          <p:cNvPr id="65" name="object 65"/>
          <p:cNvSpPr/>
          <p:nvPr/>
        </p:nvSpPr>
        <p:spPr>
          <a:xfrm>
            <a:off x="1952625" y="5641022"/>
            <a:ext cx="2209800" cy="457200"/>
          </a:xfrm>
          <a:custGeom>
            <a:avLst/>
            <a:gdLst/>
            <a:ahLst/>
            <a:cxnLst/>
            <a:rect l="l" t="t" r="r" b="b"/>
            <a:pathLst>
              <a:path w="2209800" h="457200">
                <a:moveTo>
                  <a:pt x="0" y="457199"/>
                </a:moveTo>
                <a:lnTo>
                  <a:pt x="2209800" y="457199"/>
                </a:lnTo>
                <a:lnTo>
                  <a:pt x="2209800" y="0"/>
                </a:lnTo>
                <a:lnTo>
                  <a:pt x="0" y="0"/>
                </a:lnTo>
                <a:lnTo>
                  <a:pt x="0" y="457199"/>
                </a:lnTo>
                <a:close/>
              </a:path>
            </a:pathLst>
          </a:custGeom>
          <a:solidFill>
            <a:srgbClr val="FFFF99"/>
          </a:solidFill>
        </p:spPr>
        <p:txBody>
          <a:bodyPr wrap="square" lIns="0" tIns="0" rIns="0" bIns="0" rtlCol="0">
            <a:noAutofit/>
          </a:bodyPr>
          <a:lstStyle/>
          <a:p>
            <a:endParaRPr sz="1200"/>
          </a:p>
        </p:txBody>
      </p:sp>
      <p:sp>
        <p:nvSpPr>
          <p:cNvPr id="66" name="object 66"/>
          <p:cNvSpPr/>
          <p:nvPr/>
        </p:nvSpPr>
        <p:spPr>
          <a:xfrm>
            <a:off x="4162426" y="5641022"/>
            <a:ext cx="993775" cy="457200"/>
          </a:xfrm>
          <a:custGeom>
            <a:avLst/>
            <a:gdLst/>
            <a:ahLst/>
            <a:cxnLst/>
            <a:rect l="l" t="t" r="r" b="b"/>
            <a:pathLst>
              <a:path w="993775" h="457200">
                <a:moveTo>
                  <a:pt x="0" y="457199"/>
                </a:moveTo>
                <a:lnTo>
                  <a:pt x="993775" y="457199"/>
                </a:lnTo>
                <a:lnTo>
                  <a:pt x="993775" y="0"/>
                </a:lnTo>
                <a:lnTo>
                  <a:pt x="0" y="0"/>
                </a:lnTo>
                <a:lnTo>
                  <a:pt x="0" y="457199"/>
                </a:lnTo>
                <a:close/>
              </a:path>
            </a:pathLst>
          </a:custGeom>
          <a:solidFill>
            <a:srgbClr val="CCFFCC"/>
          </a:solidFill>
        </p:spPr>
        <p:txBody>
          <a:bodyPr wrap="square" lIns="0" tIns="0" rIns="0" bIns="0" rtlCol="0">
            <a:noAutofit/>
          </a:bodyPr>
          <a:lstStyle/>
          <a:p>
            <a:endParaRPr sz="1200"/>
          </a:p>
        </p:txBody>
      </p:sp>
      <p:sp>
        <p:nvSpPr>
          <p:cNvPr id="67" name="object 67"/>
          <p:cNvSpPr/>
          <p:nvPr/>
        </p:nvSpPr>
        <p:spPr>
          <a:xfrm>
            <a:off x="5156200" y="5641022"/>
            <a:ext cx="4597400" cy="457200"/>
          </a:xfrm>
          <a:custGeom>
            <a:avLst/>
            <a:gdLst/>
            <a:ahLst/>
            <a:cxnLst/>
            <a:rect l="l" t="t" r="r" b="b"/>
            <a:pathLst>
              <a:path w="4597400" h="457200">
                <a:moveTo>
                  <a:pt x="0" y="457199"/>
                </a:moveTo>
                <a:lnTo>
                  <a:pt x="4597400" y="457199"/>
                </a:lnTo>
                <a:lnTo>
                  <a:pt x="4597400" y="0"/>
                </a:lnTo>
                <a:lnTo>
                  <a:pt x="0" y="0"/>
                </a:lnTo>
                <a:lnTo>
                  <a:pt x="0" y="457199"/>
                </a:lnTo>
                <a:close/>
              </a:path>
            </a:pathLst>
          </a:custGeom>
          <a:solidFill>
            <a:srgbClr val="FFCC99"/>
          </a:solidFill>
        </p:spPr>
        <p:txBody>
          <a:bodyPr wrap="square" lIns="0" tIns="0" rIns="0" bIns="0" rtlCol="0">
            <a:noAutofit/>
          </a:bodyPr>
          <a:lstStyle/>
          <a:p>
            <a:endParaRPr sz="1200"/>
          </a:p>
        </p:txBody>
      </p:sp>
      <p:sp>
        <p:nvSpPr>
          <p:cNvPr id="68" name="object 68"/>
          <p:cNvSpPr/>
          <p:nvPr/>
        </p:nvSpPr>
        <p:spPr>
          <a:xfrm>
            <a:off x="4162425" y="1365250"/>
            <a:ext cx="0" cy="4739322"/>
          </a:xfrm>
          <a:custGeom>
            <a:avLst/>
            <a:gdLst/>
            <a:ahLst/>
            <a:cxnLst/>
            <a:rect l="l" t="t" r="r" b="b"/>
            <a:pathLst>
              <a:path h="4739322">
                <a:moveTo>
                  <a:pt x="0" y="0"/>
                </a:moveTo>
                <a:lnTo>
                  <a:pt x="0" y="4739322"/>
                </a:lnTo>
              </a:path>
            </a:pathLst>
          </a:custGeom>
          <a:ln w="12700">
            <a:solidFill>
              <a:srgbClr val="000000"/>
            </a:solidFill>
          </a:ln>
        </p:spPr>
        <p:txBody>
          <a:bodyPr wrap="square" lIns="0" tIns="0" rIns="0" bIns="0" rtlCol="0">
            <a:noAutofit/>
          </a:bodyPr>
          <a:lstStyle/>
          <a:p>
            <a:endParaRPr sz="1200"/>
          </a:p>
        </p:txBody>
      </p:sp>
      <p:sp>
        <p:nvSpPr>
          <p:cNvPr id="69" name="object 69"/>
          <p:cNvSpPr/>
          <p:nvPr/>
        </p:nvSpPr>
        <p:spPr>
          <a:xfrm>
            <a:off x="5156200" y="1365250"/>
            <a:ext cx="0" cy="4739322"/>
          </a:xfrm>
          <a:custGeom>
            <a:avLst/>
            <a:gdLst/>
            <a:ahLst/>
            <a:cxnLst/>
            <a:rect l="l" t="t" r="r" b="b"/>
            <a:pathLst>
              <a:path h="4739322">
                <a:moveTo>
                  <a:pt x="0" y="0"/>
                </a:moveTo>
                <a:lnTo>
                  <a:pt x="0" y="4739322"/>
                </a:lnTo>
              </a:path>
            </a:pathLst>
          </a:custGeom>
          <a:ln w="12700">
            <a:solidFill>
              <a:srgbClr val="000000"/>
            </a:solidFill>
          </a:ln>
        </p:spPr>
        <p:txBody>
          <a:bodyPr wrap="square" lIns="0" tIns="0" rIns="0" bIns="0" rtlCol="0">
            <a:noAutofit/>
          </a:bodyPr>
          <a:lstStyle/>
          <a:p>
            <a:endParaRPr sz="1200"/>
          </a:p>
        </p:txBody>
      </p:sp>
      <p:sp>
        <p:nvSpPr>
          <p:cNvPr id="70" name="object 70"/>
          <p:cNvSpPr/>
          <p:nvPr/>
        </p:nvSpPr>
        <p:spPr>
          <a:xfrm>
            <a:off x="1946276" y="1676400"/>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71" name="object 71"/>
          <p:cNvSpPr/>
          <p:nvPr/>
        </p:nvSpPr>
        <p:spPr>
          <a:xfrm>
            <a:off x="1946276" y="2316479"/>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72" name="object 72"/>
          <p:cNvSpPr/>
          <p:nvPr/>
        </p:nvSpPr>
        <p:spPr>
          <a:xfrm>
            <a:off x="1946276" y="2773679"/>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73" name="object 73"/>
          <p:cNvSpPr/>
          <p:nvPr/>
        </p:nvSpPr>
        <p:spPr>
          <a:xfrm>
            <a:off x="1946276" y="3172205"/>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74" name="object 74"/>
          <p:cNvSpPr/>
          <p:nvPr/>
        </p:nvSpPr>
        <p:spPr>
          <a:xfrm>
            <a:off x="1946276" y="3629405"/>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75" name="object 75"/>
          <p:cNvSpPr/>
          <p:nvPr/>
        </p:nvSpPr>
        <p:spPr>
          <a:xfrm>
            <a:off x="1946276" y="4086605"/>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76" name="object 76"/>
          <p:cNvSpPr/>
          <p:nvPr/>
        </p:nvSpPr>
        <p:spPr>
          <a:xfrm>
            <a:off x="1946276" y="4543806"/>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77" name="object 77"/>
          <p:cNvSpPr/>
          <p:nvPr/>
        </p:nvSpPr>
        <p:spPr>
          <a:xfrm>
            <a:off x="1946276" y="5001006"/>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78" name="object 78"/>
          <p:cNvSpPr/>
          <p:nvPr/>
        </p:nvSpPr>
        <p:spPr>
          <a:xfrm>
            <a:off x="1946276" y="5641022"/>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79" name="object 79"/>
          <p:cNvSpPr/>
          <p:nvPr/>
        </p:nvSpPr>
        <p:spPr>
          <a:xfrm>
            <a:off x="1952625" y="1365250"/>
            <a:ext cx="0" cy="4739322"/>
          </a:xfrm>
          <a:custGeom>
            <a:avLst/>
            <a:gdLst/>
            <a:ahLst/>
            <a:cxnLst/>
            <a:rect l="l" t="t" r="r" b="b"/>
            <a:pathLst>
              <a:path h="4739322">
                <a:moveTo>
                  <a:pt x="0" y="0"/>
                </a:moveTo>
                <a:lnTo>
                  <a:pt x="0" y="4739322"/>
                </a:lnTo>
              </a:path>
            </a:pathLst>
          </a:custGeom>
          <a:ln w="12700">
            <a:solidFill>
              <a:srgbClr val="000000"/>
            </a:solidFill>
          </a:ln>
        </p:spPr>
        <p:txBody>
          <a:bodyPr wrap="square" lIns="0" tIns="0" rIns="0" bIns="0" rtlCol="0">
            <a:noAutofit/>
          </a:bodyPr>
          <a:lstStyle/>
          <a:p>
            <a:endParaRPr sz="1200"/>
          </a:p>
        </p:txBody>
      </p:sp>
      <p:sp>
        <p:nvSpPr>
          <p:cNvPr id="80" name="object 80"/>
          <p:cNvSpPr/>
          <p:nvPr/>
        </p:nvSpPr>
        <p:spPr>
          <a:xfrm>
            <a:off x="9753600" y="1365250"/>
            <a:ext cx="0" cy="4739322"/>
          </a:xfrm>
          <a:custGeom>
            <a:avLst/>
            <a:gdLst/>
            <a:ahLst/>
            <a:cxnLst/>
            <a:rect l="l" t="t" r="r" b="b"/>
            <a:pathLst>
              <a:path h="4739322">
                <a:moveTo>
                  <a:pt x="0" y="0"/>
                </a:moveTo>
                <a:lnTo>
                  <a:pt x="0" y="4739322"/>
                </a:lnTo>
              </a:path>
            </a:pathLst>
          </a:custGeom>
          <a:ln w="12700">
            <a:solidFill>
              <a:srgbClr val="000000"/>
            </a:solidFill>
          </a:ln>
        </p:spPr>
        <p:txBody>
          <a:bodyPr wrap="square" lIns="0" tIns="0" rIns="0" bIns="0" rtlCol="0">
            <a:noAutofit/>
          </a:bodyPr>
          <a:lstStyle/>
          <a:p>
            <a:endParaRPr sz="1200"/>
          </a:p>
        </p:txBody>
      </p:sp>
      <p:sp>
        <p:nvSpPr>
          <p:cNvPr id="81" name="object 81"/>
          <p:cNvSpPr/>
          <p:nvPr/>
        </p:nvSpPr>
        <p:spPr>
          <a:xfrm>
            <a:off x="1946276" y="1371600"/>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82" name="object 82"/>
          <p:cNvSpPr/>
          <p:nvPr/>
        </p:nvSpPr>
        <p:spPr>
          <a:xfrm>
            <a:off x="1946276" y="6098222"/>
            <a:ext cx="7813675" cy="0"/>
          </a:xfrm>
          <a:custGeom>
            <a:avLst/>
            <a:gdLst/>
            <a:ahLst/>
            <a:cxnLst/>
            <a:rect l="l" t="t" r="r" b="b"/>
            <a:pathLst>
              <a:path w="7813675">
                <a:moveTo>
                  <a:pt x="0" y="0"/>
                </a:moveTo>
                <a:lnTo>
                  <a:pt x="7813675" y="0"/>
                </a:lnTo>
              </a:path>
            </a:pathLst>
          </a:custGeom>
          <a:ln w="12700">
            <a:solidFill>
              <a:srgbClr val="000000"/>
            </a:solidFill>
          </a:ln>
        </p:spPr>
        <p:txBody>
          <a:bodyPr wrap="square" lIns="0" tIns="0" rIns="0" bIns="0" rtlCol="0">
            <a:noAutofit/>
          </a:bodyPr>
          <a:lstStyle/>
          <a:p>
            <a:endParaRPr sz="1200"/>
          </a:p>
        </p:txBody>
      </p:sp>
      <p:sp>
        <p:nvSpPr>
          <p:cNvPr id="31" name="object 31"/>
          <p:cNvSpPr txBox="1"/>
          <p:nvPr/>
        </p:nvSpPr>
        <p:spPr>
          <a:xfrm>
            <a:off x="1952625" y="1371600"/>
            <a:ext cx="2209800" cy="304800"/>
          </a:xfrm>
          <a:prstGeom prst="rect">
            <a:avLst/>
          </a:prstGeom>
        </p:spPr>
        <p:txBody>
          <a:bodyPr wrap="square" lIns="0" tIns="0" rIns="0" bIns="0" rtlCol="0">
            <a:noAutofit/>
          </a:bodyPr>
          <a:lstStyle/>
          <a:p>
            <a:pPr marL="91668">
              <a:lnSpc>
                <a:spcPct val="95825"/>
              </a:lnSpc>
              <a:spcBef>
                <a:spcPts val="320"/>
              </a:spcBef>
            </a:pPr>
            <a:r>
              <a:rPr sz="1200" b="1" spc="4" dirty="0">
                <a:latin typeface="Arial"/>
                <a:cs typeface="Arial"/>
              </a:rPr>
              <a:t>I</a:t>
            </a:r>
            <a:r>
              <a:rPr sz="1200" b="1" dirty="0">
                <a:latin typeface="Arial"/>
                <a:cs typeface="Arial"/>
              </a:rPr>
              <a:t>m</a:t>
            </a:r>
            <a:r>
              <a:rPr sz="1200" b="1" spc="-4" dirty="0">
                <a:latin typeface="Arial"/>
                <a:cs typeface="Arial"/>
              </a:rPr>
              <a:t>po</a:t>
            </a:r>
            <a:r>
              <a:rPr sz="1200" b="1" spc="4" dirty="0">
                <a:latin typeface="Arial"/>
                <a:cs typeface="Arial"/>
              </a:rPr>
              <a:t>r</a:t>
            </a:r>
            <a:r>
              <a:rPr sz="1200" b="1" dirty="0">
                <a:latin typeface="Arial"/>
                <a:cs typeface="Arial"/>
              </a:rPr>
              <a:t>ta</a:t>
            </a:r>
            <a:r>
              <a:rPr sz="1200" b="1" spc="-4" dirty="0">
                <a:latin typeface="Arial"/>
                <a:cs typeface="Arial"/>
              </a:rPr>
              <a:t>n</a:t>
            </a:r>
            <a:r>
              <a:rPr sz="1200" b="1" dirty="0">
                <a:latin typeface="Arial"/>
                <a:cs typeface="Arial"/>
              </a:rPr>
              <a:t>t</a:t>
            </a:r>
            <a:r>
              <a:rPr sz="1200" b="1" spc="-39" dirty="0">
                <a:latin typeface="Arial"/>
                <a:cs typeface="Arial"/>
              </a:rPr>
              <a:t> </a:t>
            </a:r>
            <a:r>
              <a:rPr sz="1200" b="1" spc="-4" dirty="0">
                <a:latin typeface="Arial"/>
                <a:cs typeface="Arial"/>
              </a:rPr>
              <a:t>F</a:t>
            </a:r>
            <a:r>
              <a:rPr sz="1200" b="1" spc="4" dirty="0">
                <a:latin typeface="Arial"/>
                <a:cs typeface="Arial"/>
              </a:rPr>
              <a:t>i</a:t>
            </a:r>
            <a:r>
              <a:rPr sz="1200" b="1" dirty="0">
                <a:latin typeface="Arial"/>
                <a:cs typeface="Arial"/>
              </a:rPr>
              <a:t>e</a:t>
            </a:r>
            <a:r>
              <a:rPr sz="1200" b="1" spc="4" dirty="0">
                <a:latin typeface="Arial"/>
                <a:cs typeface="Arial"/>
              </a:rPr>
              <a:t>l</a:t>
            </a:r>
            <a:r>
              <a:rPr sz="1200" b="1" spc="-4" dirty="0">
                <a:latin typeface="Arial"/>
                <a:cs typeface="Arial"/>
              </a:rPr>
              <a:t>d</a:t>
            </a:r>
            <a:r>
              <a:rPr sz="1200" b="1" dirty="0">
                <a:latin typeface="Arial"/>
                <a:cs typeface="Arial"/>
              </a:rPr>
              <a:t>s</a:t>
            </a:r>
            <a:endParaRPr sz="1200" dirty="0">
              <a:latin typeface="Arial"/>
              <a:cs typeface="Arial"/>
            </a:endParaRPr>
          </a:p>
        </p:txBody>
      </p:sp>
      <p:sp>
        <p:nvSpPr>
          <p:cNvPr id="30" name="object 30"/>
          <p:cNvSpPr txBox="1"/>
          <p:nvPr/>
        </p:nvSpPr>
        <p:spPr>
          <a:xfrm>
            <a:off x="4162426" y="1371600"/>
            <a:ext cx="993775" cy="304800"/>
          </a:xfrm>
          <a:prstGeom prst="rect">
            <a:avLst/>
          </a:prstGeom>
        </p:spPr>
        <p:txBody>
          <a:bodyPr wrap="square" lIns="0" tIns="0" rIns="0" bIns="0" rtlCol="0">
            <a:noAutofit/>
          </a:bodyPr>
          <a:lstStyle/>
          <a:p>
            <a:pPr marL="91948">
              <a:lnSpc>
                <a:spcPct val="95825"/>
              </a:lnSpc>
              <a:spcBef>
                <a:spcPts val="320"/>
              </a:spcBef>
            </a:pPr>
            <a:r>
              <a:rPr sz="1200" b="1" dirty="0">
                <a:latin typeface="Arial"/>
                <a:cs typeface="Arial"/>
              </a:rPr>
              <a:t>Sc</a:t>
            </a:r>
            <a:r>
              <a:rPr sz="1200" b="1" spc="4" dirty="0">
                <a:latin typeface="Arial"/>
                <a:cs typeface="Arial"/>
              </a:rPr>
              <a:t>r</a:t>
            </a:r>
            <a:r>
              <a:rPr sz="1200" b="1" dirty="0">
                <a:latin typeface="Arial"/>
                <a:cs typeface="Arial"/>
              </a:rPr>
              <a:t>een</a:t>
            </a:r>
            <a:endParaRPr sz="1200" dirty="0">
              <a:latin typeface="Arial"/>
              <a:cs typeface="Arial"/>
            </a:endParaRPr>
          </a:p>
        </p:txBody>
      </p:sp>
      <p:sp>
        <p:nvSpPr>
          <p:cNvPr id="29" name="object 29"/>
          <p:cNvSpPr txBox="1"/>
          <p:nvPr/>
        </p:nvSpPr>
        <p:spPr>
          <a:xfrm>
            <a:off x="5156200" y="1371600"/>
            <a:ext cx="4597400" cy="304800"/>
          </a:xfrm>
          <a:prstGeom prst="rect">
            <a:avLst/>
          </a:prstGeom>
        </p:spPr>
        <p:txBody>
          <a:bodyPr wrap="square" lIns="0" tIns="0" rIns="0" bIns="0" rtlCol="0">
            <a:noAutofit/>
          </a:bodyPr>
          <a:lstStyle/>
          <a:p>
            <a:pPr marL="92201">
              <a:lnSpc>
                <a:spcPct val="95825"/>
              </a:lnSpc>
              <a:spcBef>
                <a:spcPts val="425"/>
              </a:spcBef>
            </a:pPr>
            <a:r>
              <a:rPr sz="1200" b="1" spc="-39" dirty="0">
                <a:latin typeface="Arial"/>
                <a:cs typeface="Arial"/>
              </a:rPr>
              <a:t>A</a:t>
            </a:r>
            <a:r>
              <a:rPr sz="1200" b="1" spc="-4" dirty="0">
                <a:latin typeface="Arial"/>
                <a:cs typeface="Arial"/>
              </a:rPr>
              <a:t>pp</a:t>
            </a:r>
            <a:r>
              <a:rPr sz="1200" b="1" spc="4" dirty="0">
                <a:latin typeface="Arial"/>
                <a:cs typeface="Arial"/>
              </a:rPr>
              <a:t>li</a:t>
            </a:r>
            <a:r>
              <a:rPr sz="1200" b="1" dirty="0">
                <a:latin typeface="Arial"/>
                <a:cs typeface="Arial"/>
              </a:rPr>
              <a:t>cat</a:t>
            </a:r>
            <a:r>
              <a:rPr sz="1200" b="1" spc="4" dirty="0">
                <a:latin typeface="Arial"/>
                <a:cs typeface="Arial"/>
              </a:rPr>
              <a:t>i</a:t>
            </a:r>
            <a:r>
              <a:rPr sz="1200" b="1" spc="-4" dirty="0">
                <a:latin typeface="Arial"/>
                <a:cs typeface="Arial"/>
              </a:rPr>
              <a:t>o</a:t>
            </a:r>
            <a:r>
              <a:rPr sz="1200" b="1" dirty="0">
                <a:latin typeface="Arial"/>
                <a:cs typeface="Arial"/>
              </a:rPr>
              <a:t>n</a:t>
            </a:r>
            <a:endParaRPr sz="1200">
              <a:latin typeface="Arial"/>
              <a:cs typeface="Arial"/>
            </a:endParaRPr>
          </a:p>
        </p:txBody>
      </p:sp>
      <p:sp>
        <p:nvSpPr>
          <p:cNvPr id="28" name="object 28"/>
          <p:cNvSpPr txBox="1"/>
          <p:nvPr/>
        </p:nvSpPr>
        <p:spPr>
          <a:xfrm>
            <a:off x="1952625" y="1676401"/>
            <a:ext cx="2209800" cy="640079"/>
          </a:xfrm>
          <a:prstGeom prst="rect">
            <a:avLst/>
          </a:prstGeom>
        </p:spPr>
        <p:txBody>
          <a:bodyPr wrap="square" lIns="0" tIns="0" rIns="0" bIns="0" rtlCol="0">
            <a:noAutofit/>
          </a:bodyPr>
          <a:lstStyle/>
          <a:p>
            <a:pPr marL="91668">
              <a:lnSpc>
                <a:spcPct val="95825"/>
              </a:lnSpc>
              <a:spcBef>
                <a:spcPts val="325"/>
              </a:spcBef>
            </a:pPr>
            <a:r>
              <a:rPr sz="1200" dirty="0">
                <a:latin typeface="Arial"/>
                <a:cs typeface="Arial"/>
              </a:rPr>
              <a:t>Da</a:t>
            </a:r>
            <a:r>
              <a:rPr sz="1200" spc="4" dirty="0">
                <a:latin typeface="Arial"/>
                <a:cs typeface="Arial"/>
              </a:rPr>
              <a:t>te</a:t>
            </a:r>
            <a:r>
              <a:rPr sz="1200" dirty="0">
                <a:latin typeface="Arial"/>
                <a:cs typeface="Arial"/>
              </a:rPr>
              <a:t>s</a:t>
            </a:r>
            <a:r>
              <a:rPr sz="1200" spc="-19" dirty="0">
                <a:latin typeface="Arial"/>
                <a:cs typeface="Arial"/>
              </a:rPr>
              <a:t> </a:t>
            </a:r>
            <a:r>
              <a:rPr sz="1200" spc="4" dirty="0">
                <a:latin typeface="Arial"/>
                <a:cs typeface="Arial"/>
              </a:rPr>
              <a:t>an</a:t>
            </a:r>
            <a:r>
              <a:rPr sz="1200" dirty="0">
                <a:latin typeface="Arial"/>
                <a:cs typeface="Arial"/>
              </a:rPr>
              <a:t>d</a:t>
            </a:r>
            <a:r>
              <a:rPr sz="1200" spc="-29" dirty="0">
                <a:latin typeface="Arial"/>
                <a:cs typeface="Arial"/>
              </a:rPr>
              <a:t> </a:t>
            </a:r>
            <a:r>
              <a:rPr sz="1200" dirty="0">
                <a:latin typeface="Arial"/>
                <a:cs typeface="Arial"/>
              </a:rPr>
              <a:t>O</a:t>
            </a:r>
            <a:r>
              <a:rPr sz="1200" spc="-9" dirty="0">
                <a:latin typeface="Arial"/>
                <a:cs typeface="Arial"/>
              </a:rPr>
              <a:t>v</a:t>
            </a:r>
            <a:r>
              <a:rPr sz="1200" spc="4" dirty="0">
                <a:latin typeface="Arial"/>
                <a:cs typeface="Arial"/>
              </a:rPr>
              <a:t>e</a:t>
            </a:r>
            <a:r>
              <a:rPr sz="1200" dirty="0">
                <a:latin typeface="Arial"/>
                <a:cs typeface="Arial"/>
              </a:rPr>
              <a:t>rall </a:t>
            </a:r>
            <a:r>
              <a:rPr sz="1200" spc="4" dirty="0">
                <a:latin typeface="Arial"/>
                <a:cs typeface="Arial"/>
              </a:rPr>
              <a:t>S</a:t>
            </a:r>
            <a:r>
              <a:rPr sz="1200" dirty="0">
                <a:latin typeface="Arial"/>
                <a:cs typeface="Arial"/>
              </a:rPr>
              <a:t>t</a:t>
            </a:r>
            <a:r>
              <a:rPr sz="1200" spc="4" dirty="0">
                <a:latin typeface="Arial"/>
                <a:cs typeface="Arial"/>
              </a:rPr>
              <a:t>a</a:t>
            </a:r>
            <a:r>
              <a:rPr sz="1200" dirty="0">
                <a:latin typeface="Arial"/>
                <a:cs typeface="Arial"/>
              </a:rPr>
              <a:t>t</a:t>
            </a:r>
            <a:r>
              <a:rPr sz="1200" spc="4" dirty="0">
                <a:latin typeface="Arial"/>
                <a:cs typeface="Arial"/>
              </a:rPr>
              <a:t>u</a:t>
            </a:r>
            <a:r>
              <a:rPr sz="1200" dirty="0">
                <a:latin typeface="Arial"/>
                <a:cs typeface="Arial"/>
              </a:rPr>
              <a:t>s</a:t>
            </a:r>
          </a:p>
        </p:txBody>
      </p:sp>
      <p:sp>
        <p:nvSpPr>
          <p:cNvPr id="27" name="object 27"/>
          <p:cNvSpPr txBox="1"/>
          <p:nvPr/>
        </p:nvSpPr>
        <p:spPr>
          <a:xfrm>
            <a:off x="4162426" y="1676401"/>
            <a:ext cx="993775" cy="640079"/>
          </a:xfrm>
          <a:prstGeom prst="rect">
            <a:avLst/>
          </a:prstGeom>
        </p:spPr>
        <p:txBody>
          <a:bodyPr wrap="square" lIns="0" tIns="0" rIns="0" bIns="0" rtlCol="0">
            <a:noAutofit/>
          </a:bodyPr>
          <a:lstStyle/>
          <a:p>
            <a:pPr marL="91948">
              <a:lnSpc>
                <a:spcPct val="95825"/>
              </a:lnSpc>
              <a:spcBef>
                <a:spcPts val="325"/>
              </a:spcBef>
            </a:pPr>
            <a:r>
              <a:rPr sz="1200" dirty="0">
                <a:latin typeface="Arial"/>
                <a:cs typeface="Arial"/>
              </a:rPr>
              <a:t>Proc</a:t>
            </a:r>
            <a:r>
              <a:rPr sz="1200" spc="4" dirty="0">
                <a:latin typeface="Arial"/>
                <a:cs typeface="Arial"/>
              </a:rPr>
              <a:t>e</a:t>
            </a:r>
            <a:r>
              <a:rPr sz="1200" dirty="0">
                <a:latin typeface="Arial"/>
                <a:cs typeface="Arial"/>
              </a:rPr>
              <a:t>ssing</a:t>
            </a:r>
            <a:endParaRPr sz="1200">
              <a:latin typeface="Arial"/>
              <a:cs typeface="Arial"/>
            </a:endParaRPr>
          </a:p>
        </p:txBody>
      </p:sp>
      <p:sp>
        <p:nvSpPr>
          <p:cNvPr id="26" name="object 26"/>
          <p:cNvSpPr txBox="1"/>
          <p:nvPr/>
        </p:nvSpPr>
        <p:spPr>
          <a:xfrm>
            <a:off x="5156200" y="1676401"/>
            <a:ext cx="4597400" cy="640079"/>
          </a:xfrm>
          <a:prstGeom prst="rect">
            <a:avLst/>
          </a:prstGeom>
        </p:spPr>
        <p:txBody>
          <a:bodyPr wrap="square" lIns="0" tIns="0" rIns="0" bIns="0" rtlCol="0">
            <a:noAutofit/>
          </a:bodyPr>
          <a:lstStyle/>
          <a:p>
            <a:pPr marL="92201" marR="215673">
              <a:lnSpc>
                <a:spcPct val="100041"/>
              </a:lnSpc>
              <a:spcBef>
                <a:spcPts val="425"/>
              </a:spcBef>
            </a:pPr>
            <a:r>
              <a:rPr sz="1200" spc="9" dirty="0">
                <a:latin typeface="Arial"/>
                <a:cs typeface="Arial"/>
              </a:rPr>
              <a:t>T</a:t>
            </a:r>
            <a:r>
              <a:rPr sz="1200" spc="4" dirty="0">
                <a:latin typeface="Arial"/>
                <a:cs typeface="Arial"/>
              </a:rPr>
              <a:t>h</a:t>
            </a:r>
            <a:r>
              <a:rPr sz="1200" dirty="0">
                <a:latin typeface="Arial"/>
                <a:cs typeface="Arial"/>
              </a:rPr>
              <a:t>is</a:t>
            </a:r>
            <a:r>
              <a:rPr sz="1200" spc="-24"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14" dirty="0">
                <a:latin typeface="Arial"/>
                <a:cs typeface="Arial"/>
              </a:rPr>
              <a:t> </a:t>
            </a:r>
            <a:r>
              <a:rPr sz="1200" spc="-4" dirty="0">
                <a:latin typeface="Arial"/>
                <a:cs typeface="Arial"/>
              </a:rPr>
              <a:t>g</a:t>
            </a:r>
            <a:r>
              <a:rPr sz="1200" dirty="0">
                <a:latin typeface="Arial"/>
                <a:cs typeface="Arial"/>
              </a:rPr>
              <a:t>i</a:t>
            </a:r>
            <a:r>
              <a:rPr sz="1200" spc="-14" dirty="0">
                <a:latin typeface="Arial"/>
                <a:cs typeface="Arial"/>
              </a:rPr>
              <a:t>v</a:t>
            </a:r>
            <a:r>
              <a:rPr sz="1200" spc="4" dirty="0">
                <a:latin typeface="Arial"/>
                <a:cs typeface="Arial"/>
              </a:rPr>
              <a:t>e</a:t>
            </a:r>
            <a:r>
              <a:rPr sz="1200" dirty="0">
                <a:latin typeface="Arial"/>
                <a:cs typeface="Arial"/>
              </a:rPr>
              <a:t>s </a:t>
            </a:r>
            <a:r>
              <a:rPr sz="1200" spc="4" dirty="0">
                <a:latin typeface="Arial"/>
                <a:cs typeface="Arial"/>
              </a:rPr>
              <a:t>th</a:t>
            </a:r>
            <a:r>
              <a:rPr sz="1200" dirty="0">
                <a:latin typeface="Arial"/>
                <a:cs typeface="Arial"/>
              </a:rPr>
              <a:t>e</a:t>
            </a:r>
            <a:r>
              <a:rPr sz="1200" spc="-4" dirty="0">
                <a:latin typeface="Arial"/>
                <a:cs typeface="Arial"/>
              </a:rPr>
              <a:t> </a:t>
            </a:r>
            <a:r>
              <a:rPr sz="1200" spc="4" dirty="0">
                <a:latin typeface="Arial"/>
                <a:cs typeface="Arial"/>
              </a:rPr>
              <a:t>d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r>
              <a:rPr sz="1200" spc="-2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da</a:t>
            </a:r>
            <a:r>
              <a:rPr sz="1200" dirty="0">
                <a:latin typeface="Arial"/>
                <a:cs typeface="Arial"/>
              </a:rPr>
              <a:t>t</a:t>
            </a:r>
            <a:r>
              <a:rPr sz="1200" spc="4" dirty="0">
                <a:latin typeface="Arial"/>
                <a:cs typeface="Arial"/>
              </a:rPr>
              <a:t>e</a:t>
            </a:r>
            <a:r>
              <a:rPr sz="1200" dirty="0">
                <a:latin typeface="Arial"/>
                <a:cs typeface="Arial"/>
              </a:rPr>
              <a:t>s</a:t>
            </a:r>
            <a:r>
              <a:rPr sz="1200" spc="-1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p</a:t>
            </a:r>
            <a:r>
              <a:rPr sz="1200" dirty="0">
                <a:latin typeface="Arial"/>
                <a:cs typeface="Arial"/>
              </a:rPr>
              <a:t>ick</a:t>
            </a:r>
            <a:r>
              <a:rPr sz="1200" spc="-4" dirty="0">
                <a:latin typeface="Arial"/>
                <a:cs typeface="Arial"/>
              </a:rPr>
              <a:t>i</a:t>
            </a:r>
            <a:r>
              <a:rPr sz="1200" spc="4" dirty="0">
                <a:latin typeface="Arial"/>
                <a:cs typeface="Arial"/>
              </a:rPr>
              <a:t>n</a:t>
            </a:r>
            <a:r>
              <a:rPr sz="1200" spc="-4" dirty="0">
                <a:latin typeface="Arial"/>
                <a:cs typeface="Arial"/>
              </a:rPr>
              <a:t>g</a:t>
            </a:r>
            <a:r>
              <a:rPr sz="1200" dirty="0">
                <a:latin typeface="Arial"/>
                <a:cs typeface="Arial"/>
              </a:rPr>
              <a:t>,</a:t>
            </a:r>
            <a:r>
              <a:rPr sz="1200" spc="-19" dirty="0">
                <a:latin typeface="Arial"/>
                <a:cs typeface="Arial"/>
              </a:rPr>
              <a:t> </a:t>
            </a:r>
            <a:r>
              <a:rPr sz="1200" dirty="0">
                <a:latin typeface="Arial"/>
                <a:cs typeface="Arial"/>
              </a:rPr>
              <a:t>lo</a:t>
            </a:r>
            <a:r>
              <a:rPr sz="1200" spc="4" dirty="0">
                <a:latin typeface="Arial"/>
                <a:cs typeface="Arial"/>
              </a:rPr>
              <a:t>ad</a:t>
            </a:r>
            <a:r>
              <a:rPr sz="1200" dirty="0">
                <a:latin typeface="Arial"/>
                <a:cs typeface="Arial"/>
              </a:rPr>
              <a:t>in</a:t>
            </a:r>
            <a:r>
              <a:rPr sz="1200" spc="-4" dirty="0">
                <a:latin typeface="Arial"/>
                <a:cs typeface="Arial"/>
              </a:rPr>
              <a:t>g</a:t>
            </a:r>
            <a:r>
              <a:rPr sz="1200" dirty="0">
                <a:latin typeface="Arial"/>
                <a:cs typeface="Arial"/>
              </a:rPr>
              <a:t>, </a:t>
            </a:r>
            <a:r>
              <a:rPr sz="1200" spc="4" dirty="0">
                <a:latin typeface="Arial"/>
                <a:cs typeface="Arial"/>
              </a:rPr>
              <a:t>p</a:t>
            </a:r>
            <a:r>
              <a:rPr sz="1200" dirty="0">
                <a:latin typeface="Arial"/>
                <a:cs typeface="Arial"/>
              </a:rPr>
              <a:t>la</a:t>
            </a:r>
            <a:r>
              <a:rPr sz="1200" spc="4" dirty="0">
                <a:latin typeface="Arial"/>
                <a:cs typeface="Arial"/>
              </a:rPr>
              <a:t>nn</a:t>
            </a:r>
            <a:r>
              <a:rPr sz="1200" spc="-4" dirty="0">
                <a:latin typeface="Arial"/>
                <a:cs typeface="Arial"/>
              </a:rPr>
              <a:t>e</a:t>
            </a:r>
            <a:r>
              <a:rPr sz="1200" dirty="0">
                <a:latin typeface="Arial"/>
                <a:cs typeface="Arial"/>
              </a:rPr>
              <a:t>d</a:t>
            </a:r>
            <a:r>
              <a:rPr sz="1200" spc="-50" dirty="0">
                <a:latin typeface="Arial"/>
                <a:cs typeface="Arial"/>
              </a:rPr>
              <a:t> </a:t>
            </a:r>
            <a:r>
              <a:rPr sz="1200" dirty="0">
                <a:latin typeface="Arial"/>
                <a:cs typeface="Arial"/>
              </a:rPr>
              <a:t>GI</a:t>
            </a:r>
            <a:r>
              <a:rPr sz="1200" spc="19" dirty="0">
                <a:latin typeface="Arial"/>
                <a:cs typeface="Arial"/>
              </a:rPr>
              <a:t> </a:t>
            </a:r>
            <a:r>
              <a:rPr sz="1200" spc="4" dirty="0">
                <a:latin typeface="Arial"/>
                <a:cs typeface="Arial"/>
              </a:rPr>
              <a:t>an</a:t>
            </a:r>
            <a:r>
              <a:rPr sz="1200" dirty="0">
                <a:latin typeface="Arial"/>
                <a:cs typeface="Arial"/>
              </a:rPr>
              <a:t>d</a:t>
            </a:r>
            <a:r>
              <a:rPr sz="1200" spc="-29" dirty="0">
                <a:latin typeface="Arial"/>
                <a:cs typeface="Arial"/>
              </a:rPr>
              <a:t>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y</a:t>
            </a:r>
            <a:r>
              <a:rPr sz="1200" spc="-14" dirty="0">
                <a:latin typeface="Arial"/>
                <a:cs typeface="Arial"/>
              </a:rPr>
              <a:t> </a:t>
            </a:r>
            <a:r>
              <a:rPr sz="1200" spc="4" dirty="0">
                <a:latin typeface="Arial"/>
                <a:cs typeface="Arial"/>
              </a:rPr>
              <a:t>da</a:t>
            </a:r>
            <a:r>
              <a:rPr sz="1200" dirty="0">
                <a:latin typeface="Arial"/>
                <a:cs typeface="Arial"/>
              </a:rPr>
              <a:t>t</a:t>
            </a:r>
            <a:r>
              <a:rPr sz="1200" spc="4" dirty="0">
                <a:latin typeface="Arial"/>
                <a:cs typeface="Arial"/>
              </a:rPr>
              <a:t>e</a:t>
            </a:r>
            <a:r>
              <a:rPr sz="1200" dirty="0">
                <a:latin typeface="Arial"/>
                <a:cs typeface="Arial"/>
              </a:rPr>
              <a:t>.</a:t>
            </a:r>
            <a:r>
              <a:rPr sz="1200" spc="-79" dirty="0">
                <a:latin typeface="Arial"/>
                <a:cs typeface="Arial"/>
              </a:rPr>
              <a:t> </a:t>
            </a:r>
            <a:r>
              <a:rPr sz="1200" dirty="0">
                <a:latin typeface="Arial"/>
                <a:cs typeface="Arial"/>
              </a:rPr>
              <a:t>Also</a:t>
            </a:r>
            <a:r>
              <a:rPr sz="1200" spc="-4" dirty="0">
                <a:latin typeface="Arial"/>
                <a:cs typeface="Arial"/>
              </a:rPr>
              <a:t> </a:t>
            </a:r>
            <a:r>
              <a:rPr sz="1200" dirty="0">
                <a:latin typeface="Arial"/>
                <a:cs typeface="Arial"/>
              </a:rPr>
              <a:t>it s</a:t>
            </a:r>
            <a:r>
              <a:rPr sz="1200" spc="4" dirty="0">
                <a:latin typeface="Arial"/>
                <a:cs typeface="Arial"/>
              </a:rPr>
              <a:t>ho</a:t>
            </a:r>
            <a:r>
              <a:rPr sz="1200" spc="-14" dirty="0">
                <a:latin typeface="Arial"/>
                <a:cs typeface="Arial"/>
              </a:rPr>
              <a:t>w</a:t>
            </a:r>
            <a:r>
              <a:rPr sz="1200" dirty="0">
                <a:latin typeface="Arial"/>
                <a:cs typeface="Arial"/>
              </a:rPr>
              <a:t>s</a:t>
            </a:r>
            <a:r>
              <a:rPr sz="1200" spc="-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spc="4" dirty="0">
                <a:latin typeface="Arial"/>
                <a:cs typeface="Arial"/>
              </a:rPr>
              <a:t>o</a:t>
            </a:r>
            <a:r>
              <a:rPr sz="1200" spc="-9" dirty="0">
                <a:latin typeface="Arial"/>
                <a:cs typeface="Arial"/>
              </a:rPr>
              <a:t>v</a:t>
            </a:r>
            <a:r>
              <a:rPr sz="1200" spc="4" dirty="0">
                <a:latin typeface="Arial"/>
                <a:cs typeface="Arial"/>
              </a:rPr>
              <a:t>e</a:t>
            </a:r>
            <a:r>
              <a:rPr sz="1200" dirty="0">
                <a:latin typeface="Arial"/>
                <a:cs typeface="Arial"/>
              </a:rPr>
              <a:t>rall</a:t>
            </a:r>
            <a:r>
              <a:rPr sz="1200" spc="-9" dirty="0">
                <a:latin typeface="Arial"/>
                <a:cs typeface="Arial"/>
              </a:rPr>
              <a:t> </a:t>
            </a:r>
            <a:r>
              <a:rPr sz="1200" dirty="0">
                <a:latin typeface="Arial"/>
                <a:cs typeface="Arial"/>
              </a:rPr>
              <a:t>st</a:t>
            </a:r>
            <a:r>
              <a:rPr sz="1200" spc="4" dirty="0">
                <a:latin typeface="Arial"/>
                <a:cs typeface="Arial"/>
              </a:rPr>
              <a:t>a</a:t>
            </a:r>
            <a:r>
              <a:rPr sz="1200" dirty="0">
                <a:latin typeface="Arial"/>
                <a:cs typeface="Arial"/>
              </a:rPr>
              <a:t>t</a:t>
            </a:r>
            <a:r>
              <a:rPr sz="1200" spc="4" dirty="0">
                <a:latin typeface="Arial"/>
                <a:cs typeface="Arial"/>
              </a:rPr>
              <a:t>u</a:t>
            </a:r>
            <a:r>
              <a:rPr sz="1200" dirty="0">
                <a:latin typeface="Arial"/>
                <a:cs typeface="Arial"/>
              </a:rPr>
              <a:t>s</a:t>
            </a:r>
            <a:r>
              <a:rPr sz="1200" spc="-19" dirty="0">
                <a:latin typeface="Arial"/>
                <a:cs typeface="Arial"/>
              </a:rPr>
              <a:t> </a:t>
            </a:r>
            <a:r>
              <a:rPr sz="1200" spc="4" dirty="0">
                <a:latin typeface="Arial"/>
                <a:cs typeface="Arial"/>
              </a:rPr>
              <a:t>o</a:t>
            </a:r>
            <a:r>
              <a:rPr sz="1200" dirty="0">
                <a:latin typeface="Arial"/>
                <a:cs typeface="Arial"/>
              </a:rPr>
              <a:t>f t</a:t>
            </a:r>
            <a:r>
              <a:rPr sz="1200" spc="4" dirty="0">
                <a:latin typeface="Arial"/>
                <a:cs typeface="Arial"/>
              </a:rPr>
              <a:t>h</a:t>
            </a:r>
            <a:r>
              <a:rPr sz="1200" dirty="0">
                <a:latin typeface="Arial"/>
                <a:cs typeface="Arial"/>
              </a:rPr>
              <a:t>e</a:t>
            </a:r>
            <a:r>
              <a:rPr sz="1200" spc="-14" dirty="0">
                <a:latin typeface="Arial"/>
                <a:cs typeface="Arial"/>
              </a:rPr>
              <a:t> </a:t>
            </a:r>
            <a:r>
              <a:rPr sz="1200" spc="4" dirty="0">
                <a:latin typeface="Arial"/>
                <a:cs typeface="Arial"/>
              </a:rPr>
              <a:t>a</a:t>
            </a:r>
            <a:r>
              <a:rPr sz="1200" dirty="0">
                <a:latin typeface="Arial"/>
                <a:cs typeface="Arial"/>
              </a:rPr>
              <a:t>cti</a:t>
            </a:r>
            <a:r>
              <a:rPr sz="1200" spc="-9" dirty="0">
                <a:latin typeface="Arial"/>
                <a:cs typeface="Arial"/>
              </a:rPr>
              <a:t>v</a:t>
            </a:r>
            <a:r>
              <a:rPr sz="1200" dirty="0">
                <a:latin typeface="Arial"/>
                <a:cs typeface="Arial"/>
              </a:rPr>
              <a:t>ities</a:t>
            </a:r>
            <a:r>
              <a:rPr sz="1200" spc="-4" dirty="0">
                <a:latin typeface="Arial"/>
                <a:cs typeface="Arial"/>
              </a:rPr>
              <a:t> </a:t>
            </a:r>
            <a:r>
              <a:rPr sz="1200" dirty="0">
                <a:latin typeface="Arial"/>
                <a:cs typeface="Arial"/>
              </a:rPr>
              <a:t>s</a:t>
            </a:r>
            <a:r>
              <a:rPr sz="1200" spc="4" dirty="0">
                <a:latin typeface="Arial"/>
                <a:cs typeface="Arial"/>
              </a:rPr>
              <a:t>u</a:t>
            </a:r>
            <a:r>
              <a:rPr sz="1200" dirty="0">
                <a:latin typeface="Arial"/>
                <a:cs typeface="Arial"/>
              </a:rPr>
              <a:t>ch</a:t>
            </a:r>
            <a:r>
              <a:rPr sz="1200" spc="-4" dirty="0">
                <a:latin typeface="Arial"/>
                <a:cs typeface="Arial"/>
              </a:rPr>
              <a:t> </a:t>
            </a:r>
            <a:r>
              <a:rPr sz="1200" spc="4" dirty="0">
                <a:latin typeface="Arial"/>
                <a:cs typeface="Arial"/>
              </a:rPr>
              <a:t>a</a:t>
            </a:r>
            <a:r>
              <a:rPr sz="1200" dirty="0">
                <a:latin typeface="Arial"/>
                <a:cs typeface="Arial"/>
              </a:rPr>
              <a:t>s</a:t>
            </a:r>
            <a:r>
              <a:rPr sz="1200" spc="-9" dirty="0">
                <a:latin typeface="Arial"/>
                <a:cs typeface="Arial"/>
              </a:rPr>
              <a:t> </a:t>
            </a:r>
            <a:r>
              <a:rPr sz="1200" spc="4" dirty="0">
                <a:latin typeface="Arial"/>
                <a:cs typeface="Arial"/>
              </a:rPr>
              <a:t>p</a:t>
            </a:r>
            <a:r>
              <a:rPr sz="1200" dirty="0">
                <a:latin typeface="Arial"/>
                <a:cs typeface="Arial"/>
              </a:rPr>
              <a:t>ick,</a:t>
            </a:r>
            <a:r>
              <a:rPr sz="1200" spc="-9" dirty="0">
                <a:latin typeface="Arial"/>
                <a:cs typeface="Arial"/>
              </a:rPr>
              <a:t> </a:t>
            </a:r>
            <a:r>
              <a:rPr sz="1200" spc="4" dirty="0">
                <a:latin typeface="Arial"/>
                <a:cs typeface="Arial"/>
              </a:rPr>
              <a:t>pa</a:t>
            </a:r>
            <a:r>
              <a:rPr sz="1200" dirty="0">
                <a:latin typeface="Arial"/>
                <a:cs typeface="Arial"/>
              </a:rPr>
              <a:t>ck</a:t>
            </a:r>
            <a:r>
              <a:rPr sz="1200" spc="-9" dirty="0">
                <a:latin typeface="Arial"/>
                <a:cs typeface="Arial"/>
              </a:rPr>
              <a:t> </a:t>
            </a:r>
            <a:r>
              <a:rPr sz="1200" spc="4" dirty="0">
                <a:latin typeface="Arial"/>
                <a:cs typeface="Arial"/>
              </a:rPr>
              <a:t>an</a:t>
            </a:r>
            <a:r>
              <a:rPr sz="1200" dirty="0">
                <a:latin typeface="Arial"/>
                <a:cs typeface="Arial"/>
              </a:rPr>
              <a:t>d</a:t>
            </a:r>
            <a:r>
              <a:rPr sz="1200" spc="-14" dirty="0">
                <a:latin typeface="Arial"/>
                <a:cs typeface="Arial"/>
              </a:rPr>
              <a:t> </a:t>
            </a:r>
            <a:r>
              <a:rPr sz="1200" spc="-4" dirty="0">
                <a:latin typeface="Arial"/>
                <a:cs typeface="Arial"/>
              </a:rPr>
              <a:t>g</a:t>
            </a:r>
            <a:r>
              <a:rPr sz="1200" spc="4" dirty="0">
                <a:latin typeface="Arial"/>
                <a:cs typeface="Arial"/>
              </a:rPr>
              <a:t>ood</a:t>
            </a:r>
            <a:r>
              <a:rPr sz="1200" dirty="0">
                <a:latin typeface="Arial"/>
                <a:cs typeface="Arial"/>
              </a:rPr>
              <a:t>s</a:t>
            </a:r>
            <a:r>
              <a:rPr sz="1200" spc="-19" dirty="0">
                <a:latin typeface="Arial"/>
                <a:cs typeface="Arial"/>
              </a:rPr>
              <a:t> </a:t>
            </a:r>
            <a:r>
              <a:rPr sz="1200" dirty="0">
                <a:latin typeface="Arial"/>
                <a:cs typeface="Arial"/>
              </a:rPr>
              <a:t>issu</a:t>
            </a:r>
            <a:r>
              <a:rPr sz="1200" spc="4" dirty="0">
                <a:latin typeface="Arial"/>
                <a:cs typeface="Arial"/>
              </a:rPr>
              <a:t>e</a:t>
            </a:r>
            <a:r>
              <a:rPr sz="1200" dirty="0">
                <a:latin typeface="Arial"/>
                <a:cs typeface="Arial"/>
              </a:rPr>
              <a:t>.</a:t>
            </a:r>
            <a:endParaRPr sz="1200">
              <a:latin typeface="Arial"/>
              <a:cs typeface="Arial"/>
            </a:endParaRPr>
          </a:p>
        </p:txBody>
      </p:sp>
      <p:sp>
        <p:nvSpPr>
          <p:cNvPr id="25" name="object 25"/>
          <p:cNvSpPr txBox="1"/>
          <p:nvPr/>
        </p:nvSpPr>
        <p:spPr>
          <a:xfrm>
            <a:off x="1952625" y="2316479"/>
            <a:ext cx="2209800" cy="457200"/>
          </a:xfrm>
          <a:prstGeom prst="rect">
            <a:avLst/>
          </a:prstGeom>
        </p:spPr>
        <p:txBody>
          <a:bodyPr wrap="square" lIns="0" tIns="0" rIns="0" bIns="0" rtlCol="0">
            <a:noAutofit/>
          </a:bodyPr>
          <a:lstStyle/>
          <a:p>
            <a:pPr marL="91668" marR="541479">
              <a:lnSpc>
                <a:spcPct val="100041"/>
              </a:lnSpc>
              <a:spcBef>
                <a:spcPts val="330"/>
              </a:spcBef>
            </a:pPr>
            <a:r>
              <a:rPr sz="1200" spc="-4" dirty="0">
                <a:latin typeface="Arial"/>
                <a:cs typeface="Arial"/>
              </a:rPr>
              <a:t>Wa</a:t>
            </a:r>
            <a:r>
              <a:rPr sz="1200" dirty="0">
                <a:latin typeface="Arial"/>
                <a:cs typeface="Arial"/>
              </a:rPr>
              <a:t>re</a:t>
            </a:r>
            <a:r>
              <a:rPr sz="1200" spc="-4" dirty="0">
                <a:latin typeface="Arial"/>
                <a:cs typeface="Arial"/>
              </a:rPr>
              <a:t>hou</a:t>
            </a:r>
            <a:r>
              <a:rPr sz="1200" dirty="0">
                <a:latin typeface="Arial"/>
                <a:cs typeface="Arial"/>
              </a:rPr>
              <a:t>s</a:t>
            </a:r>
            <a:r>
              <a:rPr sz="1200" spc="4" dirty="0">
                <a:latin typeface="Arial"/>
                <a:cs typeface="Arial"/>
              </a:rPr>
              <a:t>e</a:t>
            </a:r>
            <a:r>
              <a:rPr sz="1200" dirty="0">
                <a:latin typeface="Arial"/>
                <a:cs typeface="Arial"/>
              </a:rPr>
              <a:t>,</a:t>
            </a:r>
            <a:r>
              <a:rPr sz="1200" spc="-39" dirty="0">
                <a:latin typeface="Arial"/>
                <a:cs typeface="Arial"/>
              </a:rPr>
              <a:t> </a:t>
            </a:r>
            <a:r>
              <a:rPr sz="1200" spc="4" dirty="0">
                <a:latin typeface="Arial"/>
                <a:cs typeface="Arial"/>
              </a:rPr>
              <a:t>pa</a:t>
            </a:r>
            <a:r>
              <a:rPr sz="1200" dirty="0">
                <a:latin typeface="Arial"/>
                <a:cs typeface="Arial"/>
              </a:rPr>
              <a:t>ck</a:t>
            </a:r>
            <a:r>
              <a:rPr sz="1200" spc="4" dirty="0">
                <a:latin typeface="Arial"/>
                <a:cs typeface="Arial"/>
              </a:rPr>
              <a:t>a</a:t>
            </a:r>
            <a:r>
              <a:rPr sz="1200" spc="-4" dirty="0">
                <a:latin typeface="Arial"/>
                <a:cs typeface="Arial"/>
              </a:rPr>
              <a:t>g</a:t>
            </a:r>
            <a:r>
              <a:rPr sz="1200" spc="4" dirty="0">
                <a:latin typeface="Arial"/>
                <a:cs typeface="Arial"/>
              </a:rPr>
              <a:t>e</a:t>
            </a:r>
            <a:r>
              <a:rPr sz="1200" dirty="0">
                <a:latin typeface="Arial"/>
                <a:cs typeface="Arial"/>
              </a:rPr>
              <a:t>s, </a:t>
            </a:r>
            <a:r>
              <a:rPr sz="1200" spc="-14" dirty="0">
                <a:latin typeface="Arial"/>
                <a:cs typeface="Arial"/>
              </a:rPr>
              <a:t>w</a:t>
            </a:r>
            <a:r>
              <a:rPr sz="1200" spc="4" dirty="0">
                <a:latin typeface="Arial"/>
                <a:cs typeface="Arial"/>
              </a:rPr>
              <a:t>e</a:t>
            </a:r>
            <a:r>
              <a:rPr sz="1200" dirty="0">
                <a:latin typeface="Arial"/>
                <a:cs typeface="Arial"/>
              </a:rPr>
              <a:t>i</a:t>
            </a:r>
            <a:r>
              <a:rPr sz="1200" spc="-9" dirty="0">
                <a:latin typeface="Arial"/>
                <a:cs typeface="Arial"/>
              </a:rPr>
              <a:t>g</a:t>
            </a:r>
            <a:r>
              <a:rPr sz="1200" spc="4" dirty="0">
                <a:latin typeface="Arial"/>
                <a:cs typeface="Arial"/>
              </a:rPr>
              <a:t>h</a:t>
            </a:r>
            <a:r>
              <a:rPr sz="1200" dirty="0">
                <a:latin typeface="Arial"/>
                <a:cs typeface="Arial"/>
              </a:rPr>
              <a:t>t</a:t>
            </a:r>
            <a:r>
              <a:rPr sz="1200" spc="-4" dirty="0">
                <a:latin typeface="Arial"/>
                <a:cs typeface="Arial"/>
              </a:rPr>
              <a:t> </a:t>
            </a:r>
            <a:r>
              <a:rPr sz="1200" spc="4" dirty="0">
                <a:latin typeface="Arial"/>
                <a:cs typeface="Arial"/>
              </a:rPr>
              <a:t>an</a:t>
            </a:r>
            <a:r>
              <a:rPr sz="1200" dirty="0">
                <a:latin typeface="Arial"/>
                <a:cs typeface="Arial"/>
              </a:rPr>
              <a:t>d</a:t>
            </a:r>
            <a:r>
              <a:rPr sz="1200" spc="-29" dirty="0">
                <a:latin typeface="Arial"/>
                <a:cs typeface="Arial"/>
              </a:rPr>
              <a:t> </a:t>
            </a:r>
            <a:r>
              <a:rPr sz="1200" spc="-9" dirty="0">
                <a:latin typeface="Arial"/>
                <a:cs typeface="Arial"/>
              </a:rPr>
              <a:t>v</a:t>
            </a:r>
            <a:r>
              <a:rPr sz="1200" spc="4" dirty="0">
                <a:latin typeface="Arial"/>
                <a:cs typeface="Arial"/>
              </a:rPr>
              <a:t>o</a:t>
            </a:r>
            <a:r>
              <a:rPr sz="1200" dirty="0">
                <a:latin typeface="Arial"/>
                <a:cs typeface="Arial"/>
              </a:rPr>
              <a:t>lu</a:t>
            </a:r>
            <a:r>
              <a:rPr sz="1200" spc="9" dirty="0">
                <a:latin typeface="Arial"/>
                <a:cs typeface="Arial"/>
              </a:rPr>
              <a:t>m</a:t>
            </a:r>
            <a:r>
              <a:rPr sz="1200" dirty="0">
                <a:latin typeface="Arial"/>
                <a:cs typeface="Arial"/>
              </a:rPr>
              <a:t>e</a:t>
            </a:r>
          </a:p>
        </p:txBody>
      </p:sp>
      <p:sp>
        <p:nvSpPr>
          <p:cNvPr id="24" name="object 24"/>
          <p:cNvSpPr txBox="1"/>
          <p:nvPr/>
        </p:nvSpPr>
        <p:spPr>
          <a:xfrm>
            <a:off x="4162426" y="2316479"/>
            <a:ext cx="993775" cy="457200"/>
          </a:xfrm>
          <a:prstGeom prst="rect">
            <a:avLst/>
          </a:prstGeom>
        </p:spPr>
        <p:txBody>
          <a:bodyPr wrap="square" lIns="0" tIns="0" rIns="0" bIns="0" rtlCol="0">
            <a:noAutofit/>
          </a:bodyPr>
          <a:lstStyle/>
          <a:p>
            <a:pPr marL="91948">
              <a:lnSpc>
                <a:spcPct val="95825"/>
              </a:lnSpc>
              <a:spcBef>
                <a:spcPts val="330"/>
              </a:spcBef>
            </a:pPr>
            <a:r>
              <a:rPr sz="1200" dirty="0">
                <a:latin typeface="Arial"/>
                <a:cs typeface="Arial"/>
              </a:rPr>
              <a:t>Pick</a:t>
            </a:r>
            <a:r>
              <a:rPr sz="1200" spc="-4" dirty="0">
                <a:latin typeface="Arial"/>
                <a:cs typeface="Arial"/>
              </a:rPr>
              <a:t>i</a:t>
            </a:r>
            <a:r>
              <a:rPr sz="1200" spc="4" dirty="0">
                <a:latin typeface="Arial"/>
                <a:cs typeface="Arial"/>
              </a:rPr>
              <a:t>n</a:t>
            </a:r>
            <a:r>
              <a:rPr sz="1200" dirty="0">
                <a:latin typeface="Arial"/>
                <a:cs typeface="Arial"/>
              </a:rPr>
              <a:t>g</a:t>
            </a:r>
            <a:endParaRPr sz="1200">
              <a:latin typeface="Arial"/>
              <a:cs typeface="Arial"/>
            </a:endParaRPr>
          </a:p>
        </p:txBody>
      </p:sp>
      <p:sp>
        <p:nvSpPr>
          <p:cNvPr id="23" name="object 23"/>
          <p:cNvSpPr txBox="1"/>
          <p:nvPr/>
        </p:nvSpPr>
        <p:spPr>
          <a:xfrm>
            <a:off x="5156200" y="2316479"/>
            <a:ext cx="4597400" cy="457200"/>
          </a:xfrm>
          <a:prstGeom prst="rect">
            <a:avLst/>
          </a:prstGeom>
        </p:spPr>
        <p:txBody>
          <a:bodyPr wrap="square" lIns="0" tIns="0" rIns="0" bIns="0" rtlCol="0">
            <a:noAutofit/>
          </a:bodyPr>
          <a:lstStyle/>
          <a:p>
            <a:pPr marL="92201" marR="103050">
              <a:lnSpc>
                <a:spcPct val="100041"/>
              </a:lnSpc>
              <a:spcBef>
                <a:spcPts val="425"/>
              </a:spcBef>
            </a:pPr>
            <a:r>
              <a:rPr sz="1200" spc="9" dirty="0">
                <a:latin typeface="Arial"/>
                <a:cs typeface="Arial"/>
              </a:rPr>
              <a:t>T</a:t>
            </a:r>
            <a:r>
              <a:rPr sz="1200" spc="4" dirty="0">
                <a:latin typeface="Arial"/>
                <a:cs typeface="Arial"/>
              </a:rPr>
              <a:t>h</a:t>
            </a:r>
            <a:r>
              <a:rPr sz="1200" dirty="0">
                <a:latin typeface="Arial"/>
                <a:cs typeface="Arial"/>
              </a:rPr>
              <a:t>is</a:t>
            </a:r>
            <a:r>
              <a:rPr sz="1200" spc="-24"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14" dirty="0">
                <a:latin typeface="Arial"/>
                <a:cs typeface="Arial"/>
              </a:rPr>
              <a:t> </a:t>
            </a:r>
            <a:r>
              <a:rPr sz="1200" spc="-4" dirty="0">
                <a:latin typeface="Arial"/>
                <a:cs typeface="Arial"/>
              </a:rPr>
              <a:t>g</a:t>
            </a:r>
            <a:r>
              <a:rPr sz="1200" dirty="0">
                <a:latin typeface="Arial"/>
                <a:cs typeface="Arial"/>
              </a:rPr>
              <a:t>i</a:t>
            </a:r>
            <a:r>
              <a:rPr sz="1200" spc="-14" dirty="0">
                <a:latin typeface="Arial"/>
                <a:cs typeface="Arial"/>
              </a:rPr>
              <a:t>v</a:t>
            </a:r>
            <a:r>
              <a:rPr sz="1200" spc="4" dirty="0">
                <a:latin typeface="Arial"/>
                <a:cs typeface="Arial"/>
              </a:rPr>
              <a:t>e</a:t>
            </a:r>
            <a:r>
              <a:rPr sz="1200" dirty="0">
                <a:latin typeface="Arial"/>
                <a:cs typeface="Arial"/>
              </a:rPr>
              <a:t>s </a:t>
            </a:r>
            <a:r>
              <a:rPr sz="1200" spc="4" dirty="0">
                <a:latin typeface="Arial"/>
                <a:cs typeface="Arial"/>
              </a:rPr>
              <a:t>th</a:t>
            </a:r>
            <a:r>
              <a:rPr sz="1200" dirty="0">
                <a:latin typeface="Arial"/>
                <a:cs typeface="Arial"/>
              </a:rPr>
              <a:t>e</a:t>
            </a:r>
            <a:r>
              <a:rPr sz="1200" spc="-4" dirty="0">
                <a:latin typeface="Arial"/>
                <a:cs typeface="Arial"/>
              </a:rPr>
              <a:t> </a:t>
            </a:r>
            <a:r>
              <a:rPr sz="1200" spc="4" dirty="0">
                <a:latin typeface="Arial"/>
                <a:cs typeface="Arial"/>
              </a:rPr>
              <a:t>d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r>
              <a:rPr sz="1200" spc="-2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spc="-14" dirty="0">
                <a:latin typeface="Arial"/>
                <a:cs typeface="Arial"/>
              </a:rPr>
              <a:t>w</a:t>
            </a:r>
            <a:r>
              <a:rPr sz="1200" spc="4" dirty="0">
                <a:latin typeface="Arial"/>
                <a:cs typeface="Arial"/>
              </a:rPr>
              <a:t>a</a:t>
            </a:r>
            <a:r>
              <a:rPr sz="1200" dirty="0">
                <a:latin typeface="Arial"/>
                <a:cs typeface="Arial"/>
              </a:rPr>
              <a:t>re </a:t>
            </a:r>
            <a:r>
              <a:rPr sz="1200" spc="4" dirty="0">
                <a:latin typeface="Arial"/>
                <a:cs typeface="Arial"/>
              </a:rPr>
              <a:t>hou</a:t>
            </a:r>
            <a:r>
              <a:rPr sz="1200" dirty="0">
                <a:latin typeface="Arial"/>
                <a:cs typeface="Arial"/>
              </a:rPr>
              <a:t>se</a:t>
            </a:r>
            <a:r>
              <a:rPr sz="1200" spc="-29" dirty="0">
                <a:latin typeface="Arial"/>
                <a:cs typeface="Arial"/>
              </a:rPr>
              <a:t> </a:t>
            </a:r>
            <a:r>
              <a:rPr sz="1200" spc="4" dirty="0">
                <a:latin typeface="Arial"/>
                <a:cs typeface="Arial"/>
              </a:rPr>
              <a:t>no</a:t>
            </a:r>
            <a:r>
              <a:rPr sz="1200" dirty="0">
                <a:latin typeface="Arial"/>
                <a:cs typeface="Arial"/>
              </a:rPr>
              <a:t>.</a:t>
            </a:r>
            <a:r>
              <a:rPr sz="1200" spc="-19" dirty="0">
                <a:latin typeface="Arial"/>
                <a:cs typeface="Arial"/>
              </a:rPr>
              <a:t> </a:t>
            </a:r>
            <a:r>
              <a:rPr sz="1200" dirty="0">
                <a:latin typeface="Arial"/>
                <a:cs typeface="Arial"/>
              </a:rPr>
              <a:t>s</a:t>
            </a:r>
            <a:r>
              <a:rPr sz="1200" spc="4" dirty="0">
                <a:latin typeface="Arial"/>
                <a:cs typeface="Arial"/>
              </a:rPr>
              <a:t>p</a:t>
            </a:r>
            <a:r>
              <a:rPr sz="1200" dirty="0">
                <a:latin typeface="Arial"/>
                <a:cs typeface="Arial"/>
              </a:rPr>
              <a:t>l</a:t>
            </a:r>
            <a:r>
              <a:rPr sz="1200" spc="-4" dirty="0">
                <a:latin typeface="Arial"/>
                <a:cs typeface="Arial"/>
              </a:rPr>
              <a:t>i</a:t>
            </a:r>
            <a:r>
              <a:rPr sz="1200" dirty="0">
                <a:latin typeface="Arial"/>
                <a:cs typeface="Arial"/>
              </a:rPr>
              <a:t>t</a:t>
            </a:r>
            <a:r>
              <a:rPr sz="1200" spc="4" dirty="0">
                <a:latin typeface="Arial"/>
                <a:cs typeface="Arial"/>
              </a:rPr>
              <a:t>t</a:t>
            </a:r>
            <a:r>
              <a:rPr sz="1200" dirty="0">
                <a:latin typeface="Arial"/>
                <a:cs typeface="Arial"/>
              </a:rPr>
              <a:t>ing</a:t>
            </a:r>
            <a:r>
              <a:rPr sz="1200" spc="-14" dirty="0">
                <a:latin typeface="Arial"/>
                <a:cs typeface="Arial"/>
              </a:rPr>
              <a:t> </a:t>
            </a:r>
            <a:r>
              <a:rPr sz="1200" dirty="0">
                <a:latin typeface="Arial"/>
                <a:cs typeface="Arial"/>
              </a:rPr>
              <a:t>in</a:t>
            </a:r>
            <a:r>
              <a:rPr sz="1200" spc="4" dirty="0">
                <a:latin typeface="Arial"/>
                <a:cs typeface="Arial"/>
              </a:rPr>
              <a:t>d</a:t>
            </a:r>
            <a:r>
              <a:rPr sz="1200" dirty="0">
                <a:latin typeface="Arial"/>
                <a:cs typeface="Arial"/>
              </a:rPr>
              <a:t>ica</a:t>
            </a:r>
            <a:r>
              <a:rPr sz="1200" spc="4" dirty="0">
                <a:latin typeface="Arial"/>
                <a:cs typeface="Arial"/>
              </a:rPr>
              <a:t>to</a:t>
            </a:r>
            <a:r>
              <a:rPr sz="1200" spc="-64" dirty="0">
                <a:latin typeface="Arial"/>
                <a:cs typeface="Arial"/>
              </a:rPr>
              <a:t>r</a:t>
            </a:r>
            <a:r>
              <a:rPr sz="1200" dirty="0">
                <a:latin typeface="Arial"/>
                <a:cs typeface="Arial"/>
              </a:rPr>
              <a:t>, </a:t>
            </a:r>
            <a:r>
              <a:rPr sz="1200" spc="4" dirty="0">
                <a:latin typeface="Arial"/>
                <a:cs typeface="Arial"/>
              </a:rPr>
              <a:t>no</a:t>
            </a:r>
            <a:r>
              <a:rPr sz="1200" dirty="0">
                <a:latin typeface="Arial"/>
                <a:cs typeface="Arial"/>
              </a:rPr>
              <a:t>.</a:t>
            </a:r>
            <a:r>
              <a:rPr sz="1200" spc="-1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spc="4" dirty="0">
                <a:latin typeface="Arial"/>
                <a:cs typeface="Arial"/>
              </a:rPr>
              <a:t>pa</a:t>
            </a:r>
            <a:r>
              <a:rPr sz="1200" dirty="0">
                <a:latin typeface="Arial"/>
                <a:cs typeface="Arial"/>
              </a:rPr>
              <a:t>ck</a:t>
            </a:r>
            <a:r>
              <a:rPr sz="1200" spc="4" dirty="0">
                <a:latin typeface="Arial"/>
                <a:cs typeface="Arial"/>
              </a:rPr>
              <a:t>a</a:t>
            </a:r>
            <a:r>
              <a:rPr sz="1200" spc="-4" dirty="0">
                <a:latin typeface="Arial"/>
                <a:cs typeface="Arial"/>
              </a:rPr>
              <a:t>g</a:t>
            </a:r>
            <a:r>
              <a:rPr sz="1200" spc="4" dirty="0">
                <a:latin typeface="Arial"/>
                <a:cs typeface="Arial"/>
              </a:rPr>
              <a:t>e</a:t>
            </a:r>
            <a:r>
              <a:rPr sz="1200" dirty="0">
                <a:latin typeface="Arial"/>
                <a:cs typeface="Arial"/>
              </a:rPr>
              <a:t>s,</a:t>
            </a:r>
            <a:r>
              <a:rPr sz="1200" spc="-29" dirty="0">
                <a:latin typeface="Arial"/>
                <a:cs typeface="Arial"/>
              </a:rPr>
              <a:t> </a:t>
            </a:r>
            <a:r>
              <a:rPr sz="1200" spc="-4" dirty="0">
                <a:latin typeface="Arial"/>
                <a:cs typeface="Arial"/>
              </a:rPr>
              <a:t>g</a:t>
            </a:r>
            <a:r>
              <a:rPr sz="1200" dirty="0">
                <a:latin typeface="Arial"/>
                <a:cs typeface="Arial"/>
              </a:rPr>
              <a:t>ross</a:t>
            </a:r>
            <a:r>
              <a:rPr sz="1200" spc="4" dirty="0">
                <a:latin typeface="Arial"/>
                <a:cs typeface="Arial"/>
              </a:rPr>
              <a:t> </a:t>
            </a:r>
            <a:r>
              <a:rPr sz="1200" spc="-14" dirty="0">
                <a:latin typeface="Arial"/>
                <a:cs typeface="Arial"/>
              </a:rPr>
              <a:t>w</a:t>
            </a:r>
            <a:r>
              <a:rPr sz="1200" spc="4" dirty="0">
                <a:latin typeface="Arial"/>
                <a:cs typeface="Arial"/>
              </a:rPr>
              <a:t>e</a:t>
            </a:r>
            <a:r>
              <a:rPr sz="1200" dirty="0">
                <a:latin typeface="Arial"/>
                <a:cs typeface="Arial"/>
              </a:rPr>
              <a:t>i</a:t>
            </a:r>
            <a:r>
              <a:rPr sz="1200" spc="-9" dirty="0">
                <a:latin typeface="Arial"/>
                <a:cs typeface="Arial"/>
              </a:rPr>
              <a:t>g</a:t>
            </a:r>
            <a:r>
              <a:rPr sz="1200" spc="4" dirty="0">
                <a:latin typeface="Arial"/>
                <a:cs typeface="Arial"/>
              </a:rPr>
              <a:t>h</a:t>
            </a:r>
            <a:r>
              <a:rPr sz="1200" dirty="0">
                <a:latin typeface="Arial"/>
                <a:cs typeface="Arial"/>
              </a:rPr>
              <a:t>t</a:t>
            </a:r>
            <a:r>
              <a:rPr sz="1200" spc="4" dirty="0">
                <a:latin typeface="Arial"/>
                <a:cs typeface="Arial"/>
              </a:rPr>
              <a:t> an</a:t>
            </a:r>
            <a:r>
              <a:rPr sz="1200" dirty="0">
                <a:latin typeface="Arial"/>
                <a:cs typeface="Arial"/>
              </a:rPr>
              <a:t>d</a:t>
            </a:r>
            <a:r>
              <a:rPr sz="1200" spc="-14" dirty="0">
                <a:latin typeface="Arial"/>
                <a:cs typeface="Arial"/>
              </a:rPr>
              <a:t> </a:t>
            </a:r>
            <a:r>
              <a:rPr sz="1200" spc="-9" dirty="0">
                <a:latin typeface="Arial"/>
                <a:cs typeface="Arial"/>
              </a:rPr>
              <a:t>v</a:t>
            </a:r>
            <a:r>
              <a:rPr sz="1200" spc="4" dirty="0">
                <a:latin typeface="Arial"/>
                <a:cs typeface="Arial"/>
              </a:rPr>
              <a:t>o</a:t>
            </a:r>
            <a:r>
              <a:rPr sz="1200" dirty="0">
                <a:latin typeface="Arial"/>
                <a:cs typeface="Arial"/>
              </a:rPr>
              <a:t>lu</a:t>
            </a:r>
            <a:r>
              <a:rPr sz="1200" spc="9" dirty="0">
                <a:latin typeface="Arial"/>
                <a:cs typeface="Arial"/>
              </a:rPr>
              <a:t>m</a:t>
            </a:r>
            <a:r>
              <a:rPr sz="1200" spc="4" dirty="0">
                <a:latin typeface="Arial"/>
                <a:cs typeface="Arial"/>
              </a:rPr>
              <a:t>e</a:t>
            </a:r>
            <a:r>
              <a:rPr sz="1200" dirty="0">
                <a:latin typeface="Arial"/>
                <a:cs typeface="Arial"/>
              </a:rPr>
              <a:t>.</a:t>
            </a:r>
            <a:endParaRPr sz="1200">
              <a:latin typeface="Arial"/>
              <a:cs typeface="Arial"/>
            </a:endParaRPr>
          </a:p>
        </p:txBody>
      </p:sp>
      <p:sp>
        <p:nvSpPr>
          <p:cNvPr id="22" name="object 22"/>
          <p:cNvSpPr txBox="1"/>
          <p:nvPr/>
        </p:nvSpPr>
        <p:spPr>
          <a:xfrm>
            <a:off x="1952625" y="2773680"/>
            <a:ext cx="2209800" cy="398525"/>
          </a:xfrm>
          <a:prstGeom prst="rect">
            <a:avLst/>
          </a:prstGeom>
        </p:spPr>
        <p:txBody>
          <a:bodyPr wrap="square" lIns="0" tIns="0" rIns="0" bIns="0" rtlCol="0">
            <a:noAutofit/>
          </a:bodyPr>
          <a:lstStyle/>
          <a:p>
            <a:pPr marL="91668">
              <a:lnSpc>
                <a:spcPct val="95825"/>
              </a:lnSpc>
              <a:spcBef>
                <a:spcPts val="330"/>
              </a:spcBef>
            </a:pPr>
            <a:r>
              <a:rPr sz="1200" spc="4" dirty="0">
                <a:latin typeface="Arial"/>
                <a:cs typeface="Arial"/>
              </a:rPr>
              <a:t>Load</a:t>
            </a:r>
            <a:r>
              <a:rPr sz="1200" dirty="0">
                <a:latin typeface="Arial"/>
                <a:cs typeface="Arial"/>
              </a:rPr>
              <a:t>i</a:t>
            </a:r>
            <a:r>
              <a:rPr sz="1200" spc="-9" dirty="0">
                <a:latin typeface="Arial"/>
                <a:cs typeface="Arial"/>
              </a:rPr>
              <a:t>n</a:t>
            </a:r>
            <a:r>
              <a:rPr sz="1200" dirty="0">
                <a:latin typeface="Arial"/>
                <a:cs typeface="Arial"/>
              </a:rPr>
              <a:t>g</a:t>
            </a:r>
            <a:r>
              <a:rPr sz="1200" spc="-50" dirty="0">
                <a:latin typeface="Arial"/>
                <a:cs typeface="Arial"/>
              </a:rPr>
              <a:t> </a:t>
            </a:r>
            <a:r>
              <a:rPr sz="1200" spc="4" dirty="0">
                <a:latin typeface="Arial"/>
                <a:cs typeface="Arial"/>
              </a:rPr>
              <a:t>da</a:t>
            </a:r>
            <a:r>
              <a:rPr sz="1200" dirty="0">
                <a:latin typeface="Arial"/>
                <a:cs typeface="Arial"/>
              </a:rPr>
              <a:t>te</a:t>
            </a:r>
            <a:endParaRPr sz="1200">
              <a:latin typeface="Arial"/>
              <a:cs typeface="Arial"/>
            </a:endParaRPr>
          </a:p>
        </p:txBody>
      </p:sp>
      <p:sp>
        <p:nvSpPr>
          <p:cNvPr id="21" name="object 21"/>
          <p:cNvSpPr txBox="1"/>
          <p:nvPr/>
        </p:nvSpPr>
        <p:spPr>
          <a:xfrm>
            <a:off x="4162426" y="2773680"/>
            <a:ext cx="993775" cy="398525"/>
          </a:xfrm>
          <a:prstGeom prst="rect">
            <a:avLst/>
          </a:prstGeom>
        </p:spPr>
        <p:txBody>
          <a:bodyPr wrap="square" lIns="0" tIns="0" rIns="0" bIns="0" rtlCol="0">
            <a:noAutofit/>
          </a:bodyPr>
          <a:lstStyle/>
          <a:p>
            <a:pPr marL="91948">
              <a:lnSpc>
                <a:spcPct val="95825"/>
              </a:lnSpc>
              <a:spcBef>
                <a:spcPts val="330"/>
              </a:spcBef>
            </a:pPr>
            <a:r>
              <a:rPr sz="1200" spc="4" dirty="0">
                <a:latin typeface="Arial"/>
                <a:cs typeface="Arial"/>
              </a:rPr>
              <a:t>Load</a:t>
            </a:r>
            <a:r>
              <a:rPr sz="1200" dirty="0">
                <a:latin typeface="Arial"/>
                <a:cs typeface="Arial"/>
              </a:rPr>
              <a:t>i</a:t>
            </a:r>
            <a:r>
              <a:rPr sz="1200" spc="-9" dirty="0">
                <a:latin typeface="Arial"/>
                <a:cs typeface="Arial"/>
              </a:rPr>
              <a:t>n</a:t>
            </a:r>
            <a:r>
              <a:rPr sz="1200" dirty="0">
                <a:latin typeface="Arial"/>
                <a:cs typeface="Arial"/>
              </a:rPr>
              <a:t>g</a:t>
            </a:r>
            <a:endParaRPr sz="1200">
              <a:latin typeface="Arial"/>
              <a:cs typeface="Arial"/>
            </a:endParaRPr>
          </a:p>
        </p:txBody>
      </p:sp>
      <p:sp>
        <p:nvSpPr>
          <p:cNvPr id="20" name="object 20"/>
          <p:cNvSpPr txBox="1"/>
          <p:nvPr/>
        </p:nvSpPr>
        <p:spPr>
          <a:xfrm>
            <a:off x="5156200" y="2773680"/>
            <a:ext cx="4597400" cy="398525"/>
          </a:xfrm>
          <a:prstGeom prst="rect">
            <a:avLst/>
          </a:prstGeom>
        </p:spPr>
        <p:txBody>
          <a:bodyPr wrap="square" lIns="0" tIns="0" rIns="0" bIns="0" rtlCol="0">
            <a:noAutofit/>
          </a:bodyPr>
          <a:lstStyle/>
          <a:p>
            <a:pPr>
              <a:lnSpc>
                <a:spcPts val="1300"/>
              </a:lnSpc>
              <a:spcBef>
                <a:spcPts val="8"/>
              </a:spcBef>
            </a:pPr>
            <a:endParaRPr sz="1200"/>
          </a:p>
          <a:p>
            <a:pPr marL="92201">
              <a:lnSpc>
                <a:spcPct val="95825"/>
              </a:lnSpc>
            </a:pPr>
            <a:r>
              <a:rPr sz="1200" spc="9" dirty="0">
                <a:latin typeface="Arial"/>
                <a:cs typeface="Arial"/>
              </a:rPr>
              <a:t>T</a:t>
            </a:r>
            <a:r>
              <a:rPr sz="1200" spc="4" dirty="0">
                <a:latin typeface="Arial"/>
                <a:cs typeface="Arial"/>
              </a:rPr>
              <a:t>h</a:t>
            </a:r>
            <a:r>
              <a:rPr sz="1200" dirty="0">
                <a:latin typeface="Arial"/>
                <a:cs typeface="Arial"/>
              </a:rPr>
              <a:t>is</a:t>
            </a:r>
            <a:r>
              <a:rPr sz="1200" spc="-24"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14" dirty="0">
                <a:latin typeface="Arial"/>
                <a:cs typeface="Arial"/>
              </a:rPr>
              <a:t> </a:t>
            </a:r>
            <a:r>
              <a:rPr sz="1200" spc="-4" dirty="0">
                <a:latin typeface="Arial"/>
                <a:cs typeface="Arial"/>
              </a:rPr>
              <a:t>g</a:t>
            </a:r>
            <a:r>
              <a:rPr sz="1200" dirty="0">
                <a:latin typeface="Arial"/>
                <a:cs typeface="Arial"/>
              </a:rPr>
              <a:t>i</a:t>
            </a:r>
            <a:r>
              <a:rPr sz="1200" spc="-14" dirty="0">
                <a:latin typeface="Arial"/>
                <a:cs typeface="Arial"/>
              </a:rPr>
              <a:t>v</a:t>
            </a:r>
            <a:r>
              <a:rPr sz="1200" spc="4" dirty="0">
                <a:latin typeface="Arial"/>
                <a:cs typeface="Arial"/>
              </a:rPr>
              <a:t>e</a:t>
            </a:r>
            <a:r>
              <a:rPr sz="1200" dirty="0">
                <a:latin typeface="Arial"/>
                <a:cs typeface="Arial"/>
              </a:rPr>
              <a:t>s </a:t>
            </a:r>
            <a:r>
              <a:rPr sz="1200" spc="4" dirty="0">
                <a:latin typeface="Arial"/>
                <a:cs typeface="Arial"/>
              </a:rPr>
              <a:t>d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r>
              <a:rPr sz="1200" spc="-19" dirty="0">
                <a:latin typeface="Arial"/>
                <a:cs typeface="Arial"/>
              </a:rPr>
              <a:t> </a:t>
            </a:r>
            <a:r>
              <a:rPr sz="1200" dirty="0">
                <a:latin typeface="Arial"/>
                <a:cs typeface="Arial"/>
              </a:rPr>
              <a:t>rela</a:t>
            </a:r>
            <a:r>
              <a:rPr sz="1200" spc="4" dirty="0">
                <a:latin typeface="Arial"/>
                <a:cs typeface="Arial"/>
              </a:rPr>
              <a:t>te</a:t>
            </a:r>
            <a:r>
              <a:rPr sz="1200" dirty="0">
                <a:latin typeface="Arial"/>
                <a:cs typeface="Arial"/>
              </a:rPr>
              <a:t>d</a:t>
            </a:r>
            <a:r>
              <a:rPr sz="1200" spc="-29" dirty="0">
                <a:latin typeface="Arial"/>
                <a:cs typeface="Arial"/>
              </a:rPr>
              <a:t> </a:t>
            </a:r>
            <a:r>
              <a:rPr sz="1200" dirty="0">
                <a:latin typeface="Arial"/>
                <a:cs typeface="Arial"/>
              </a:rPr>
              <a:t>to</a:t>
            </a:r>
            <a:r>
              <a:rPr sz="1200" spc="4" dirty="0">
                <a:latin typeface="Arial"/>
                <a:cs typeface="Arial"/>
              </a:rPr>
              <a:t> th</a:t>
            </a:r>
            <a:r>
              <a:rPr sz="1200" dirty="0">
                <a:latin typeface="Arial"/>
                <a:cs typeface="Arial"/>
              </a:rPr>
              <a:t>e</a:t>
            </a:r>
            <a:r>
              <a:rPr sz="1200" spc="-14" dirty="0">
                <a:latin typeface="Arial"/>
                <a:cs typeface="Arial"/>
              </a:rPr>
              <a:t> </a:t>
            </a:r>
            <a:r>
              <a:rPr sz="1200" dirty="0">
                <a:latin typeface="Arial"/>
                <a:cs typeface="Arial"/>
              </a:rPr>
              <a:t>lo</a:t>
            </a:r>
            <a:r>
              <a:rPr sz="1200" spc="4" dirty="0">
                <a:latin typeface="Arial"/>
                <a:cs typeface="Arial"/>
              </a:rPr>
              <a:t>ad</a:t>
            </a:r>
            <a:r>
              <a:rPr sz="1200" dirty="0">
                <a:latin typeface="Arial"/>
                <a:cs typeface="Arial"/>
              </a:rPr>
              <a:t>in</a:t>
            </a:r>
            <a:r>
              <a:rPr sz="1200" spc="-4" dirty="0">
                <a:latin typeface="Arial"/>
                <a:cs typeface="Arial"/>
              </a:rPr>
              <a:t>g</a:t>
            </a:r>
            <a:r>
              <a:rPr sz="1200" dirty="0">
                <a:latin typeface="Arial"/>
                <a:cs typeface="Arial"/>
              </a:rPr>
              <a:t>.</a:t>
            </a:r>
            <a:endParaRPr sz="1200">
              <a:latin typeface="Arial"/>
              <a:cs typeface="Arial"/>
            </a:endParaRPr>
          </a:p>
        </p:txBody>
      </p:sp>
      <p:sp>
        <p:nvSpPr>
          <p:cNvPr id="19" name="object 19"/>
          <p:cNvSpPr txBox="1"/>
          <p:nvPr/>
        </p:nvSpPr>
        <p:spPr>
          <a:xfrm>
            <a:off x="1952625" y="3172205"/>
            <a:ext cx="2209800" cy="457200"/>
          </a:xfrm>
          <a:prstGeom prst="rect">
            <a:avLst/>
          </a:prstGeom>
        </p:spPr>
        <p:txBody>
          <a:bodyPr wrap="square" lIns="0" tIns="0" rIns="0" bIns="0" rtlCol="0">
            <a:noAutofit/>
          </a:bodyPr>
          <a:lstStyle/>
          <a:p>
            <a:pPr marL="91668">
              <a:lnSpc>
                <a:spcPct val="95825"/>
              </a:lnSpc>
              <a:spcBef>
                <a:spcPts val="330"/>
              </a:spcBef>
            </a:pPr>
            <a:r>
              <a:rPr sz="1200" dirty="0">
                <a:latin typeface="Arial"/>
                <a:cs typeface="Arial"/>
              </a:rPr>
              <a:t>S</a:t>
            </a:r>
            <a:r>
              <a:rPr sz="1200" spc="4" dirty="0">
                <a:latin typeface="Arial"/>
                <a:cs typeface="Arial"/>
              </a:rPr>
              <a:t>h</a:t>
            </a:r>
            <a:r>
              <a:rPr sz="1200" dirty="0">
                <a:latin typeface="Arial"/>
                <a:cs typeface="Arial"/>
              </a:rPr>
              <a:t>ip</a:t>
            </a:r>
            <a:r>
              <a:rPr sz="1200" spc="4" dirty="0">
                <a:latin typeface="Arial"/>
                <a:cs typeface="Arial"/>
              </a:rPr>
              <a:t>p</a:t>
            </a:r>
            <a:r>
              <a:rPr sz="1200" dirty="0">
                <a:latin typeface="Arial"/>
                <a:cs typeface="Arial"/>
              </a:rPr>
              <a:t>i</a:t>
            </a:r>
            <a:r>
              <a:rPr sz="1200" spc="-9" dirty="0">
                <a:latin typeface="Arial"/>
                <a:cs typeface="Arial"/>
              </a:rPr>
              <a:t>n</a:t>
            </a:r>
            <a:r>
              <a:rPr sz="1200" dirty="0">
                <a:latin typeface="Arial"/>
                <a:cs typeface="Arial"/>
              </a:rPr>
              <a:t>g</a:t>
            </a:r>
            <a:r>
              <a:rPr sz="1200" spc="-39" dirty="0">
                <a:latin typeface="Arial"/>
                <a:cs typeface="Arial"/>
              </a:rPr>
              <a:t> </a:t>
            </a:r>
            <a:r>
              <a:rPr sz="1200" spc="4" dirty="0">
                <a:latin typeface="Arial"/>
                <a:cs typeface="Arial"/>
              </a:rPr>
              <a:t>po</a:t>
            </a:r>
            <a:r>
              <a:rPr sz="1200" dirty="0">
                <a:latin typeface="Arial"/>
                <a:cs typeface="Arial"/>
              </a:rPr>
              <a:t>in</a:t>
            </a:r>
            <a:r>
              <a:rPr sz="1200" spc="4" dirty="0">
                <a:latin typeface="Arial"/>
                <a:cs typeface="Arial"/>
              </a:rPr>
              <a:t>t</a:t>
            </a:r>
            <a:r>
              <a:rPr sz="1200" dirty="0">
                <a:latin typeface="Arial"/>
                <a:cs typeface="Arial"/>
              </a:rPr>
              <a:t>,</a:t>
            </a:r>
            <a:r>
              <a:rPr sz="1200" spc="-29" dirty="0">
                <a:latin typeface="Arial"/>
                <a:cs typeface="Arial"/>
              </a:rPr>
              <a:t> </a:t>
            </a:r>
            <a:r>
              <a:rPr sz="1200" dirty="0">
                <a:latin typeface="Arial"/>
                <a:cs typeface="Arial"/>
              </a:rPr>
              <a:t>Ro</a:t>
            </a:r>
            <a:r>
              <a:rPr sz="1200" spc="4" dirty="0">
                <a:latin typeface="Arial"/>
                <a:cs typeface="Arial"/>
              </a:rPr>
              <a:t>u</a:t>
            </a:r>
            <a:r>
              <a:rPr sz="1200" dirty="0">
                <a:latin typeface="Arial"/>
                <a:cs typeface="Arial"/>
              </a:rPr>
              <a:t>te</a:t>
            </a:r>
            <a:r>
              <a:rPr sz="1200" spc="-14" dirty="0">
                <a:latin typeface="Arial"/>
                <a:cs typeface="Arial"/>
              </a:rPr>
              <a:t> </a:t>
            </a:r>
            <a:r>
              <a:rPr sz="1200" spc="4" dirty="0">
                <a:latin typeface="Arial"/>
                <a:cs typeface="Arial"/>
              </a:rPr>
              <a:t>an</a:t>
            </a:r>
            <a:r>
              <a:rPr sz="1200" dirty="0">
                <a:latin typeface="Arial"/>
                <a:cs typeface="Arial"/>
              </a:rPr>
              <a:t>d</a:t>
            </a:r>
          </a:p>
          <a:p>
            <a:pPr marL="91668">
              <a:lnSpc>
                <a:spcPct val="95825"/>
              </a:lnSpc>
              <a:spcBef>
                <a:spcPts val="60"/>
              </a:spcBef>
            </a:pPr>
            <a:r>
              <a:rPr sz="1200" dirty="0">
                <a:latin typeface="Arial"/>
                <a:cs typeface="Arial"/>
              </a:rPr>
              <a:t>I</a:t>
            </a:r>
            <a:r>
              <a:rPr sz="1200" spc="4" dirty="0">
                <a:latin typeface="Arial"/>
                <a:cs typeface="Arial"/>
              </a:rPr>
              <a:t>n</a:t>
            </a:r>
            <a:r>
              <a:rPr sz="1200" dirty="0">
                <a:latin typeface="Arial"/>
                <a:cs typeface="Arial"/>
              </a:rPr>
              <a:t>c</a:t>
            </a:r>
            <a:r>
              <a:rPr sz="1200" spc="4" dirty="0">
                <a:latin typeface="Arial"/>
                <a:cs typeface="Arial"/>
              </a:rPr>
              <a:t>o</a:t>
            </a:r>
            <a:r>
              <a:rPr sz="1200" dirty="0">
                <a:latin typeface="Arial"/>
                <a:cs typeface="Arial"/>
              </a:rPr>
              <a:t>t</a:t>
            </a:r>
            <a:r>
              <a:rPr sz="1200" spc="4" dirty="0">
                <a:latin typeface="Arial"/>
                <a:cs typeface="Arial"/>
              </a:rPr>
              <a:t>e</a:t>
            </a:r>
            <a:r>
              <a:rPr sz="1200" dirty="0">
                <a:latin typeface="Arial"/>
                <a:cs typeface="Arial"/>
              </a:rPr>
              <a:t>r</a:t>
            </a:r>
            <a:r>
              <a:rPr sz="1200" spc="4" dirty="0">
                <a:latin typeface="Arial"/>
                <a:cs typeface="Arial"/>
              </a:rPr>
              <a:t>m</a:t>
            </a:r>
            <a:r>
              <a:rPr sz="1200" dirty="0">
                <a:latin typeface="Arial"/>
                <a:cs typeface="Arial"/>
              </a:rPr>
              <a:t>s</a:t>
            </a:r>
          </a:p>
        </p:txBody>
      </p:sp>
      <p:sp>
        <p:nvSpPr>
          <p:cNvPr id="18" name="object 18"/>
          <p:cNvSpPr txBox="1"/>
          <p:nvPr/>
        </p:nvSpPr>
        <p:spPr>
          <a:xfrm>
            <a:off x="4162426" y="3172205"/>
            <a:ext cx="993775" cy="457200"/>
          </a:xfrm>
          <a:prstGeom prst="rect">
            <a:avLst/>
          </a:prstGeom>
        </p:spPr>
        <p:txBody>
          <a:bodyPr wrap="square" lIns="0" tIns="0" rIns="0" bIns="0" rtlCol="0">
            <a:noAutofit/>
          </a:bodyPr>
          <a:lstStyle/>
          <a:p>
            <a:pPr marL="91948">
              <a:lnSpc>
                <a:spcPct val="95825"/>
              </a:lnSpc>
              <a:spcBef>
                <a:spcPts val="330"/>
              </a:spcBef>
            </a:pPr>
            <a:r>
              <a:rPr sz="1200" dirty="0">
                <a:latin typeface="Arial"/>
                <a:cs typeface="Arial"/>
              </a:rPr>
              <a:t>S</a:t>
            </a:r>
            <a:r>
              <a:rPr sz="1200" spc="4" dirty="0">
                <a:latin typeface="Arial"/>
                <a:cs typeface="Arial"/>
              </a:rPr>
              <a:t>h</a:t>
            </a:r>
            <a:r>
              <a:rPr sz="1200" dirty="0">
                <a:latin typeface="Arial"/>
                <a:cs typeface="Arial"/>
              </a:rPr>
              <a:t>ip</a:t>
            </a:r>
            <a:r>
              <a:rPr sz="1200" spc="9" dirty="0">
                <a:latin typeface="Arial"/>
                <a:cs typeface="Arial"/>
              </a:rPr>
              <a:t>m</a:t>
            </a:r>
            <a:r>
              <a:rPr sz="1200" spc="-4" dirty="0">
                <a:latin typeface="Arial"/>
                <a:cs typeface="Arial"/>
              </a:rPr>
              <a:t>e</a:t>
            </a:r>
            <a:r>
              <a:rPr sz="1200" spc="4" dirty="0">
                <a:latin typeface="Arial"/>
                <a:cs typeface="Arial"/>
              </a:rPr>
              <a:t>n</a:t>
            </a:r>
            <a:r>
              <a:rPr sz="1200" dirty="0">
                <a:latin typeface="Arial"/>
                <a:cs typeface="Arial"/>
              </a:rPr>
              <a:t>t</a:t>
            </a:r>
            <a:endParaRPr sz="1200">
              <a:latin typeface="Arial"/>
              <a:cs typeface="Arial"/>
            </a:endParaRPr>
          </a:p>
        </p:txBody>
      </p:sp>
      <p:sp>
        <p:nvSpPr>
          <p:cNvPr id="17" name="object 17"/>
          <p:cNvSpPr txBox="1"/>
          <p:nvPr/>
        </p:nvSpPr>
        <p:spPr>
          <a:xfrm>
            <a:off x="5156200" y="3172205"/>
            <a:ext cx="4597400" cy="457200"/>
          </a:xfrm>
          <a:prstGeom prst="rect">
            <a:avLst/>
          </a:prstGeom>
        </p:spPr>
        <p:txBody>
          <a:bodyPr wrap="square" lIns="0" tIns="0" rIns="0" bIns="0" rtlCol="0">
            <a:noAutofit/>
          </a:bodyPr>
          <a:lstStyle/>
          <a:p>
            <a:pPr marL="92201" marR="267489">
              <a:lnSpc>
                <a:spcPct val="100137"/>
              </a:lnSpc>
              <a:spcBef>
                <a:spcPts val="330"/>
              </a:spcBef>
            </a:pPr>
            <a:r>
              <a:rPr sz="1200" spc="9" dirty="0">
                <a:latin typeface="Arial"/>
                <a:cs typeface="Arial"/>
              </a:rPr>
              <a:t>T</a:t>
            </a:r>
            <a:r>
              <a:rPr sz="1200" spc="4" dirty="0">
                <a:latin typeface="Arial"/>
                <a:cs typeface="Arial"/>
              </a:rPr>
              <a:t>h</a:t>
            </a:r>
            <a:r>
              <a:rPr sz="1200" dirty="0">
                <a:latin typeface="Arial"/>
                <a:cs typeface="Arial"/>
              </a:rPr>
              <a:t>e</a:t>
            </a:r>
            <a:r>
              <a:rPr sz="1200" spc="-29" dirty="0">
                <a:latin typeface="Arial"/>
                <a:cs typeface="Arial"/>
              </a:rPr>
              <a:t> </a:t>
            </a:r>
            <a:r>
              <a:rPr sz="1200" dirty="0">
                <a:latin typeface="Arial"/>
                <a:cs typeface="Arial"/>
              </a:rPr>
              <a:t>s</a:t>
            </a:r>
            <a:r>
              <a:rPr sz="1200" spc="4" dirty="0">
                <a:latin typeface="Arial"/>
                <a:cs typeface="Arial"/>
              </a:rPr>
              <a:t>h</a:t>
            </a:r>
            <a:r>
              <a:rPr sz="1200" dirty="0">
                <a:latin typeface="Arial"/>
                <a:cs typeface="Arial"/>
              </a:rPr>
              <a:t>ip</a:t>
            </a:r>
            <a:r>
              <a:rPr sz="1200" spc="9" dirty="0">
                <a:latin typeface="Arial"/>
                <a:cs typeface="Arial"/>
              </a:rPr>
              <a:t>m</a:t>
            </a:r>
            <a:r>
              <a:rPr sz="1200" spc="4" dirty="0">
                <a:latin typeface="Arial"/>
                <a:cs typeface="Arial"/>
              </a:rPr>
              <a:t>en</a:t>
            </a:r>
            <a:r>
              <a:rPr sz="1200" dirty="0">
                <a:latin typeface="Arial"/>
                <a:cs typeface="Arial"/>
              </a:rPr>
              <a:t>t</a:t>
            </a:r>
            <a:r>
              <a:rPr sz="1200" spc="-39"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14" dirty="0">
                <a:latin typeface="Arial"/>
                <a:cs typeface="Arial"/>
              </a:rPr>
              <a:t> </a:t>
            </a:r>
            <a:r>
              <a:rPr sz="1200" spc="4" dirty="0">
                <a:latin typeface="Arial"/>
                <a:cs typeface="Arial"/>
              </a:rPr>
              <a:t>dep</a:t>
            </a:r>
            <a:r>
              <a:rPr sz="1200" dirty="0">
                <a:latin typeface="Arial"/>
                <a:cs typeface="Arial"/>
              </a:rPr>
              <a:t>icts</a:t>
            </a:r>
            <a:r>
              <a:rPr sz="1200" spc="-1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s</a:t>
            </a:r>
            <a:r>
              <a:rPr sz="1200" spc="4" dirty="0">
                <a:latin typeface="Arial"/>
                <a:cs typeface="Arial"/>
              </a:rPr>
              <a:t>h</a:t>
            </a:r>
            <a:r>
              <a:rPr sz="1200" dirty="0">
                <a:latin typeface="Arial"/>
                <a:cs typeface="Arial"/>
              </a:rPr>
              <a:t>ip</a:t>
            </a:r>
            <a:r>
              <a:rPr sz="1200" spc="9" dirty="0">
                <a:latin typeface="Arial"/>
                <a:cs typeface="Arial"/>
              </a:rPr>
              <a:t>m</a:t>
            </a:r>
            <a:r>
              <a:rPr sz="1200" spc="4" dirty="0">
                <a:latin typeface="Arial"/>
                <a:cs typeface="Arial"/>
              </a:rPr>
              <a:t>en</a:t>
            </a:r>
            <a:r>
              <a:rPr sz="1200" dirty="0">
                <a:latin typeface="Arial"/>
                <a:cs typeface="Arial"/>
              </a:rPr>
              <a:t>t</a:t>
            </a:r>
            <a:r>
              <a:rPr sz="1200" spc="-39" dirty="0">
                <a:latin typeface="Arial"/>
                <a:cs typeface="Arial"/>
              </a:rPr>
              <a:t> </a:t>
            </a:r>
            <a:r>
              <a:rPr sz="1200" dirty="0">
                <a:latin typeface="Arial"/>
                <a:cs typeface="Arial"/>
              </a:rPr>
              <a:t>rela</a:t>
            </a:r>
            <a:r>
              <a:rPr sz="1200" spc="4" dirty="0">
                <a:latin typeface="Arial"/>
                <a:cs typeface="Arial"/>
              </a:rPr>
              <a:t>te</a:t>
            </a:r>
            <a:r>
              <a:rPr sz="1200" dirty="0">
                <a:latin typeface="Arial"/>
                <a:cs typeface="Arial"/>
              </a:rPr>
              <a:t>d</a:t>
            </a:r>
            <a:r>
              <a:rPr sz="1200" spc="-29" dirty="0">
                <a:latin typeface="Arial"/>
                <a:cs typeface="Arial"/>
              </a:rPr>
              <a:t> </a:t>
            </a:r>
            <a:r>
              <a:rPr sz="1200" dirty="0">
                <a:latin typeface="Arial"/>
                <a:cs typeface="Arial"/>
              </a:rPr>
              <a:t>in</a:t>
            </a:r>
            <a:r>
              <a:rPr sz="1200" spc="14" dirty="0">
                <a:latin typeface="Arial"/>
                <a:cs typeface="Arial"/>
              </a:rPr>
              <a:t>f</a:t>
            </a:r>
            <a:r>
              <a:rPr sz="1200" dirty="0">
                <a:latin typeface="Arial"/>
                <a:cs typeface="Arial"/>
              </a:rPr>
              <a:t>o</a:t>
            </a:r>
            <a:r>
              <a:rPr sz="1200" spc="-14" dirty="0">
                <a:latin typeface="Arial"/>
                <a:cs typeface="Arial"/>
              </a:rPr>
              <a:t> </a:t>
            </a:r>
            <a:r>
              <a:rPr sz="1200" dirty="0">
                <a:latin typeface="Arial"/>
                <a:cs typeface="Arial"/>
              </a:rPr>
              <a:t>s</a:t>
            </a:r>
            <a:r>
              <a:rPr sz="1200" spc="4" dirty="0">
                <a:latin typeface="Arial"/>
                <a:cs typeface="Arial"/>
              </a:rPr>
              <a:t>u</a:t>
            </a:r>
            <a:r>
              <a:rPr sz="1200" dirty="0">
                <a:latin typeface="Arial"/>
                <a:cs typeface="Arial"/>
              </a:rPr>
              <a:t>ch</a:t>
            </a:r>
            <a:r>
              <a:rPr sz="1200" spc="-14" dirty="0">
                <a:latin typeface="Arial"/>
                <a:cs typeface="Arial"/>
              </a:rPr>
              <a:t> </a:t>
            </a:r>
            <a:r>
              <a:rPr sz="1200" spc="4" dirty="0">
                <a:latin typeface="Arial"/>
                <a:cs typeface="Arial"/>
              </a:rPr>
              <a:t>a</a:t>
            </a:r>
            <a:r>
              <a:rPr sz="1200" dirty="0">
                <a:latin typeface="Arial"/>
                <a:cs typeface="Arial"/>
              </a:rPr>
              <a:t>s </a:t>
            </a:r>
            <a:r>
              <a:rPr sz="1200" spc="4" dirty="0">
                <a:latin typeface="Arial"/>
                <a:cs typeface="Arial"/>
              </a:rPr>
              <a:t>mod</a:t>
            </a:r>
            <a:r>
              <a:rPr sz="1200" dirty="0">
                <a:latin typeface="Arial"/>
                <a:cs typeface="Arial"/>
              </a:rPr>
              <a:t>e</a:t>
            </a:r>
            <a:r>
              <a:rPr sz="1200" spc="-3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dirty="0">
                <a:latin typeface="Arial"/>
                <a:cs typeface="Arial"/>
              </a:rPr>
              <a:t>tra</a:t>
            </a:r>
            <a:r>
              <a:rPr sz="1200" spc="4" dirty="0">
                <a:latin typeface="Arial"/>
                <a:cs typeface="Arial"/>
              </a:rPr>
              <a:t>n</a:t>
            </a:r>
            <a:r>
              <a:rPr sz="1200" dirty="0">
                <a:latin typeface="Arial"/>
                <a:cs typeface="Arial"/>
              </a:rPr>
              <a:t>s</a:t>
            </a:r>
            <a:r>
              <a:rPr sz="1200" spc="4" dirty="0">
                <a:latin typeface="Arial"/>
                <a:cs typeface="Arial"/>
              </a:rPr>
              <a:t>po</a:t>
            </a:r>
            <a:r>
              <a:rPr sz="1200" dirty="0">
                <a:latin typeface="Arial"/>
                <a:cs typeface="Arial"/>
              </a:rPr>
              <a:t>rt,</a:t>
            </a:r>
            <a:r>
              <a:rPr sz="1200" spc="-19" dirty="0">
                <a:latin typeface="Arial"/>
                <a:cs typeface="Arial"/>
              </a:rPr>
              <a:t> </a:t>
            </a:r>
            <a:r>
              <a:rPr sz="1200" spc="4" dirty="0">
                <a:latin typeface="Arial"/>
                <a:cs typeface="Arial"/>
              </a:rPr>
              <a:t>mean</a:t>
            </a:r>
            <a:r>
              <a:rPr sz="1200" dirty="0">
                <a:latin typeface="Arial"/>
                <a:cs typeface="Arial"/>
              </a:rPr>
              <a:t>s</a:t>
            </a:r>
            <a:r>
              <a:rPr sz="1200" spc="-2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dirty="0">
                <a:latin typeface="Arial"/>
                <a:cs typeface="Arial"/>
              </a:rPr>
              <a:t>tra</a:t>
            </a:r>
            <a:r>
              <a:rPr sz="1200" spc="4" dirty="0">
                <a:latin typeface="Arial"/>
                <a:cs typeface="Arial"/>
              </a:rPr>
              <a:t>n</a:t>
            </a:r>
            <a:r>
              <a:rPr sz="1200" dirty="0">
                <a:latin typeface="Arial"/>
                <a:cs typeface="Arial"/>
              </a:rPr>
              <a:t>s</a:t>
            </a:r>
            <a:r>
              <a:rPr sz="1200" spc="4" dirty="0">
                <a:latin typeface="Arial"/>
                <a:cs typeface="Arial"/>
              </a:rPr>
              <a:t>po</a:t>
            </a:r>
            <a:r>
              <a:rPr sz="1200" dirty="0">
                <a:latin typeface="Arial"/>
                <a:cs typeface="Arial"/>
              </a:rPr>
              <a:t>rt,</a:t>
            </a:r>
            <a:r>
              <a:rPr sz="1200" spc="-19"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dirty="0">
                <a:latin typeface="Arial"/>
                <a:cs typeface="Arial"/>
              </a:rPr>
              <a:t>la</a:t>
            </a:r>
            <a:r>
              <a:rPr sz="1200" spc="4" dirty="0">
                <a:latin typeface="Arial"/>
                <a:cs typeface="Arial"/>
              </a:rPr>
              <a:t>d</a:t>
            </a:r>
            <a:r>
              <a:rPr sz="1200" dirty="0">
                <a:latin typeface="Arial"/>
                <a:cs typeface="Arial"/>
              </a:rPr>
              <a:t>ing</a:t>
            </a:r>
            <a:r>
              <a:rPr sz="1200" spc="-34" dirty="0">
                <a:latin typeface="Arial"/>
                <a:cs typeface="Arial"/>
              </a:rPr>
              <a:t> </a:t>
            </a:r>
            <a:r>
              <a:rPr sz="1200" spc="4" dirty="0">
                <a:latin typeface="Arial"/>
                <a:cs typeface="Arial"/>
              </a:rPr>
              <a:t>e</a:t>
            </a:r>
            <a:r>
              <a:rPr sz="1200" dirty="0">
                <a:latin typeface="Arial"/>
                <a:cs typeface="Arial"/>
              </a:rPr>
              <a:t>tc.</a:t>
            </a:r>
            <a:endParaRPr sz="1200">
              <a:latin typeface="Arial"/>
              <a:cs typeface="Arial"/>
            </a:endParaRPr>
          </a:p>
        </p:txBody>
      </p:sp>
      <p:sp>
        <p:nvSpPr>
          <p:cNvPr id="16" name="object 16"/>
          <p:cNvSpPr txBox="1"/>
          <p:nvPr/>
        </p:nvSpPr>
        <p:spPr>
          <a:xfrm>
            <a:off x="1952625" y="3629405"/>
            <a:ext cx="2209800" cy="457200"/>
          </a:xfrm>
          <a:prstGeom prst="rect">
            <a:avLst/>
          </a:prstGeom>
        </p:spPr>
        <p:txBody>
          <a:bodyPr wrap="square" lIns="0" tIns="0" rIns="0" bIns="0" rtlCol="0">
            <a:noAutofit/>
          </a:bodyPr>
          <a:lstStyle/>
          <a:p>
            <a:pPr marL="91668">
              <a:lnSpc>
                <a:spcPct val="95825"/>
              </a:lnSpc>
              <a:spcBef>
                <a:spcPts val="330"/>
              </a:spcBef>
            </a:pPr>
            <a:r>
              <a:rPr sz="1200" spc="19" dirty="0">
                <a:latin typeface="Arial"/>
                <a:cs typeface="Arial"/>
              </a:rPr>
              <a:t>W</a:t>
            </a:r>
            <a:r>
              <a:rPr sz="1200" spc="-4" dirty="0">
                <a:latin typeface="Arial"/>
                <a:cs typeface="Arial"/>
              </a:rPr>
              <a:t>e</a:t>
            </a:r>
            <a:r>
              <a:rPr sz="1200" dirty="0">
                <a:latin typeface="Arial"/>
                <a:cs typeface="Arial"/>
              </a:rPr>
              <a:t>i</a:t>
            </a:r>
            <a:r>
              <a:rPr sz="1200" spc="-9" dirty="0">
                <a:latin typeface="Arial"/>
                <a:cs typeface="Arial"/>
              </a:rPr>
              <a:t>g</a:t>
            </a:r>
            <a:r>
              <a:rPr sz="1200" spc="-4" dirty="0">
                <a:latin typeface="Arial"/>
                <a:cs typeface="Arial"/>
              </a:rPr>
              <a:t>h</a:t>
            </a:r>
            <a:r>
              <a:rPr sz="1200" dirty="0">
                <a:latin typeface="Arial"/>
                <a:cs typeface="Arial"/>
              </a:rPr>
              <a:t>ts</a:t>
            </a:r>
            <a:r>
              <a:rPr sz="1200" spc="-29" dirty="0">
                <a:latin typeface="Arial"/>
                <a:cs typeface="Arial"/>
              </a:rPr>
              <a:t> </a:t>
            </a:r>
            <a:r>
              <a:rPr sz="1200" spc="4" dirty="0">
                <a:latin typeface="Arial"/>
                <a:cs typeface="Arial"/>
              </a:rPr>
              <a:t>an</a:t>
            </a:r>
            <a:r>
              <a:rPr sz="1200" dirty="0">
                <a:latin typeface="Arial"/>
                <a:cs typeface="Arial"/>
              </a:rPr>
              <a:t>d</a:t>
            </a:r>
            <a:r>
              <a:rPr sz="1200" spc="-29" dirty="0">
                <a:latin typeface="Arial"/>
                <a:cs typeface="Arial"/>
              </a:rPr>
              <a:t> </a:t>
            </a:r>
            <a:r>
              <a:rPr sz="1200" spc="-9" dirty="0">
                <a:latin typeface="Arial"/>
                <a:cs typeface="Arial"/>
              </a:rPr>
              <a:t>v</a:t>
            </a:r>
            <a:r>
              <a:rPr sz="1200" spc="4" dirty="0">
                <a:latin typeface="Arial"/>
                <a:cs typeface="Arial"/>
              </a:rPr>
              <a:t>o</a:t>
            </a:r>
            <a:r>
              <a:rPr sz="1200" dirty="0">
                <a:latin typeface="Arial"/>
                <a:cs typeface="Arial"/>
              </a:rPr>
              <a:t>lu</a:t>
            </a:r>
            <a:r>
              <a:rPr sz="1200" spc="9" dirty="0">
                <a:latin typeface="Arial"/>
                <a:cs typeface="Arial"/>
              </a:rPr>
              <a:t>m</a:t>
            </a:r>
            <a:r>
              <a:rPr sz="1200" spc="4" dirty="0">
                <a:latin typeface="Arial"/>
                <a:cs typeface="Arial"/>
              </a:rPr>
              <a:t>e</a:t>
            </a:r>
            <a:r>
              <a:rPr sz="1200" dirty="0">
                <a:latin typeface="Arial"/>
                <a:cs typeface="Arial"/>
              </a:rPr>
              <a:t>s</a:t>
            </a:r>
            <a:endParaRPr sz="1200">
              <a:latin typeface="Arial"/>
              <a:cs typeface="Arial"/>
            </a:endParaRPr>
          </a:p>
        </p:txBody>
      </p:sp>
      <p:sp>
        <p:nvSpPr>
          <p:cNvPr id="15" name="object 15"/>
          <p:cNvSpPr txBox="1"/>
          <p:nvPr/>
        </p:nvSpPr>
        <p:spPr>
          <a:xfrm>
            <a:off x="4162426" y="3629405"/>
            <a:ext cx="993775" cy="457200"/>
          </a:xfrm>
          <a:prstGeom prst="rect">
            <a:avLst/>
          </a:prstGeom>
        </p:spPr>
        <p:txBody>
          <a:bodyPr wrap="square" lIns="0" tIns="0" rIns="0" bIns="0" rtlCol="0">
            <a:noAutofit/>
          </a:bodyPr>
          <a:lstStyle/>
          <a:p>
            <a:pPr marL="91948">
              <a:lnSpc>
                <a:spcPct val="95825"/>
              </a:lnSpc>
              <a:spcBef>
                <a:spcPts val="330"/>
              </a:spcBef>
            </a:pPr>
            <a:r>
              <a:rPr sz="1200" spc="4" dirty="0">
                <a:latin typeface="Arial"/>
                <a:cs typeface="Arial"/>
              </a:rPr>
              <a:t>Load</a:t>
            </a:r>
            <a:r>
              <a:rPr sz="1200" dirty="0">
                <a:latin typeface="Arial"/>
                <a:cs typeface="Arial"/>
              </a:rPr>
              <a:t>i</a:t>
            </a:r>
            <a:r>
              <a:rPr sz="1200" spc="-9" dirty="0">
                <a:latin typeface="Arial"/>
                <a:cs typeface="Arial"/>
              </a:rPr>
              <a:t>n</a:t>
            </a:r>
            <a:r>
              <a:rPr sz="1200" dirty="0">
                <a:latin typeface="Arial"/>
                <a:cs typeface="Arial"/>
              </a:rPr>
              <a:t>g</a:t>
            </a:r>
            <a:endParaRPr sz="1200">
              <a:latin typeface="Arial"/>
              <a:cs typeface="Arial"/>
            </a:endParaRPr>
          </a:p>
        </p:txBody>
      </p:sp>
      <p:sp>
        <p:nvSpPr>
          <p:cNvPr id="14" name="object 14"/>
          <p:cNvSpPr txBox="1"/>
          <p:nvPr/>
        </p:nvSpPr>
        <p:spPr>
          <a:xfrm>
            <a:off x="5156200" y="3629405"/>
            <a:ext cx="4597400" cy="457200"/>
          </a:xfrm>
          <a:prstGeom prst="rect">
            <a:avLst/>
          </a:prstGeom>
        </p:spPr>
        <p:txBody>
          <a:bodyPr wrap="square" lIns="0" tIns="0" rIns="0" bIns="0" rtlCol="0">
            <a:noAutofit/>
          </a:bodyPr>
          <a:lstStyle/>
          <a:p>
            <a:pPr marL="92201" marR="349328">
              <a:lnSpc>
                <a:spcPct val="100041"/>
              </a:lnSpc>
              <a:spcBef>
                <a:spcPts val="330"/>
              </a:spcBef>
            </a:pPr>
            <a:r>
              <a:rPr sz="1200" spc="-114" dirty="0">
                <a:latin typeface="Arial"/>
                <a:cs typeface="Arial"/>
              </a:rPr>
              <a:t>Y</a:t>
            </a:r>
            <a:r>
              <a:rPr sz="1200" spc="4" dirty="0">
                <a:latin typeface="Arial"/>
                <a:cs typeface="Arial"/>
              </a:rPr>
              <a:t>o</a:t>
            </a:r>
            <a:r>
              <a:rPr sz="1200" dirty="0">
                <a:latin typeface="Arial"/>
                <a:cs typeface="Arial"/>
              </a:rPr>
              <a:t>u</a:t>
            </a:r>
            <a:r>
              <a:rPr sz="1200" spc="-14" dirty="0">
                <a:latin typeface="Arial"/>
                <a:cs typeface="Arial"/>
              </a:rPr>
              <a:t> w</a:t>
            </a:r>
            <a:r>
              <a:rPr sz="1200" dirty="0">
                <a:latin typeface="Arial"/>
                <a:cs typeface="Arial"/>
              </a:rPr>
              <a:t>i</a:t>
            </a:r>
            <a:r>
              <a:rPr sz="1200" spc="-4" dirty="0">
                <a:latin typeface="Arial"/>
                <a:cs typeface="Arial"/>
              </a:rPr>
              <a:t>l</a:t>
            </a:r>
            <a:r>
              <a:rPr sz="1200" dirty="0">
                <a:latin typeface="Arial"/>
                <a:cs typeface="Arial"/>
              </a:rPr>
              <a:t>l</a:t>
            </a:r>
            <a:r>
              <a:rPr sz="1200" spc="9" dirty="0">
                <a:latin typeface="Arial"/>
                <a:cs typeface="Arial"/>
              </a:rPr>
              <a:t> </a:t>
            </a:r>
            <a:r>
              <a:rPr sz="1200" spc="14" dirty="0">
                <a:latin typeface="Arial"/>
                <a:cs typeface="Arial"/>
              </a:rPr>
              <a:t>f</a:t>
            </a:r>
            <a:r>
              <a:rPr sz="1200" dirty="0">
                <a:latin typeface="Arial"/>
                <a:cs typeface="Arial"/>
              </a:rPr>
              <a:t>ind</a:t>
            </a:r>
            <a:r>
              <a:rPr sz="1200" spc="-2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spc="4" dirty="0">
                <a:latin typeface="Arial"/>
                <a:cs typeface="Arial"/>
              </a:rPr>
              <a:t>p</a:t>
            </a:r>
            <a:r>
              <a:rPr sz="1200" dirty="0">
                <a:latin typeface="Arial"/>
                <a:cs typeface="Arial"/>
              </a:rPr>
              <a:t>icked</a:t>
            </a:r>
            <a:r>
              <a:rPr sz="1200" spc="-14" dirty="0">
                <a:latin typeface="Arial"/>
                <a:cs typeface="Arial"/>
              </a:rPr>
              <a:t> </a:t>
            </a:r>
            <a:r>
              <a:rPr sz="1200" spc="-4" dirty="0">
                <a:latin typeface="Arial"/>
                <a:cs typeface="Arial"/>
              </a:rPr>
              <a:t>q</a:t>
            </a:r>
            <a:r>
              <a:rPr sz="1200" spc="4" dirty="0">
                <a:latin typeface="Arial"/>
                <a:cs typeface="Arial"/>
              </a:rPr>
              <a:t>uan</a:t>
            </a:r>
            <a:r>
              <a:rPr sz="1200" dirty="0">
                <a:latin typeface="Arial"/>
                <a:cs typeface="Arial"/>
              </a:rPr>
              <a:t>tity</a:t>
            </a:r>
            <a:r>
              <a:rPr sz="1200" spc="-19" dirty="0">
                <a:latin typeface="Arial"/>
                <a:cs typeface="Arial"/>
              </a:rPr>
              <a:t> </a:t>
            </a:r>
            <a:r>
              <a:rPr sz="1200" spc="4" dirty="0">
                <a:latin typeface="Arial"/>
                <a:cs typeface="Arial"/>
              </a:rPr>
              <a:t>an</a:t>
            </a:r>
            <a:r>
              <a:rPr sz="1200" dirty="0">
                <a:latin typeface="Arial"/>
                <a:cs typeface="Arial"/>
              </a:rPr>
              <a:t>d</a:t>
            </a:r>
            <a:r>
              <a:rPr sz="1200" spc="-29" dirty="0">
                <a:latin typeface="Arial"/>
                <a:cs typeface="Arial"/>
              </a:rPr>
              <a:t> </a:t>
            </a:r>
            <a:r>
              <a:rPr sz="1200" spc="-9" dirty="0">
                <a:latin typeface="Arial"/>
                <a:cs typeface="Arial"/>
              </a:rPr>
              <a:t>v</a:t>
            </a:r>
            <a:r>
              <a:rPr sz="1200" spc="4" dirty="0">
                <a:latin typeface="Arial"/>
                <a:cs typeface="Arial"/>
              </a:rPr>
              <a:t>o</a:t>
            </a:r>
            <a:r>
              <a:rPr sz="1200" dirty="0">
                <a:latin typeface="Arial"/>
                <a:cs typeface="Arial"/>
              </a:rPr>
              <a:t>lu</a:t>
            </a:r>
            <a:r>
              <a:rPr sz="1200" spc="9" dirty="0">
                <a:latin typeface="Arial"/>
                <a:cs typeface="Arial"/>
              </a:rPr>
              <a:t>m</a:t>
            </a:r>
            <a:r>
              <a:rPr sz="1200" dirty="0">
                <a:latin typeface="Arial"/>
                <a:cs typeface="Arial"/>
              </a:rPr>
              <a:t>e</a:t>
            </a:r>
            <a:r>
              <a:rPr sz="1200" spc="-1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e</a:t>
            </a:r>
            <a:r>
              <a:rPr sz="1200" spc="-9" dirty="0">
                <a:latin typeface="Arial"/>
                <a:cs typeface="Arial"/>
              </a:rPr>
              <a:t>v</a:t>
            </a:r>
            <a:r>
              <a:rPr sz="1200" spc="4" dirty="0">
                <a:latin typeface="Arial"/>
                <a:cs typeface="Arial"/>
              </a:rPr>
              <a:t>e</a:t>
            </a:r>
            <a:r>
              <a:rPr sz="1200" dirty="0">
                <a:latin typeface="Arial"/>
                <a:cs typeface="Arial"/>
              </a:rPr>
              <a:t>ry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y it</a:t>
            </a:r>
            <a:r>
              <a:rPr sz="1200" spc="4" dirty="0">
                <a:latin typeface="Arial"/>
                <a:cs typeface="Arial"/>
              </a:rPr>
              <a:t>e</a:t>
            </a:r>
            <a:r>
              <a:rPr sz="1200" dirty="0">
                <a:latin typeface="Arial"/>
                <a:cs typeface="Arial"/>
              </a:rPr>
              <a:t>m</a:t>
            </a:r>
            <a:endParaRPr sz="1200">
              <a:latin typeface="Arial"/>
              <a:cs typeface="Arial"/>
            </a:endParaRPr>
          </a:p>
        </p:txBody>
      </p:sp>
      <p:sp>
        <p:nvSpPr>
          <p:cNvPr id="13" name="object 13"/>
          <p:cNvSpPr txBox="1"/>
          <p:nvPr/>
        </p:nvSpPr>
        <p:spPr>
          <a:xfrm>
            <a:off x="1952625" y="4086605"/>
            <a:ext cx="2209800" cy="457200"/>
          </a:xfrm>
          <a:prstGeom prst="rect">
            <a:avLst/>
          </a:prstGeom>
        </p:spPr>
        <p:txBody>
          <a:bodyPr wrap="square" lIns="0" tIns="0" rIns="0" bIns="0" rtlCol="0">
            <a:noAutofit/>
          </a:bodyPr>
          <a:lstStyle/>
          <a:p>
            <a:pPr marL="91668" marR="912878">
              <a:lnSpc>
                <a:spcPct val="100041"/>
              </a:lnSpc>
              <a:spcBef>
                <a:spcPts val="330"/>
              </a:spcBef>
            </a:pPr>
            <a:r>
              <a:rPr sz="1200" dirty="0">
                <a:latin typeface="Arial"/>
                <a:cs typeface="Arial"/>
              </a:rPr>
              <a:t>B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spc="4" dirty="0">
                <a:latin typeface="Arial"/>
                <a:cs typeface="Arial"/>
              </a:rPr>
              <a:t>b</a:t>
            </a:r>
            <a:r>
              <a:rPr sz="1200" dirty="0">
                <a:latin typeface="Arial"/>
                <a:cs typeface="Arial"/>
              </a:rPr>
              <a:t>lock,</a:t>
            </a:r>
            <a:r>
              <a:rPr sz="1200" spc="-14" dirty="0">
                <a:latin typeface="Arial"/>
                <a:cs typeface="Arial"/>
              </a:rPr>
              <a:t> </a:t>
            </a:r>
            <a:r>
              <a:rPr sz="1200" dirty="0">
                <a:latin typeface="Arial"/>
                <a:cs typeface="Arial"/>
              </a:rPr>
              <a:t>R</a:t>
            </a:r>
            <a:r>
              <a:rPr sz="1200" spc="-4" dirty="0">
                <a:latin typeface="Arial"/>
                <a:cs typeface="Arial"/>
              </a:rPr>
              <a:t>i</a:t>
            </a:r>
            <a:r>
              <a:rPr sz="1200" dirty="0">
                <a:latin typeface="Arial"/>
                <a:cs typeface="Arial"/>
              </a:rPr>
              <a:t>sk </a:t>
            </a:r>
            <a:r>
              <a:rPr sz="1200" spc="4" dirty="0">
                <a:latin typeface="Arial"/>
                <a:cs typeface="Arial"/>
              </a:rPr>
              <a:t>mana</a:t>
            </a:r>
            <a:r>
              <a:rPr sz="1200" spc="-4" dirty="0">
                <a:latin typeface="Arial"/>
                <a:cs typeface="Arial"/>
              </a:rPr>
              <a:t>ge</a:t>
            </a:r>
            <a:r>
              <a:rPr sz="1200" spc="4" dirty="0">
                <a:latin typeface="Arial"/>
                <a:cs typeface="Arial"/>
              </a:rPr>
              <a:t>m</a:t>
            </a:r>
            <a:r>
              <a:rPr sz="1200" spc="-4" dirty="0">
                <a:latin typeface="Arial"/>
                <a:cs typeface="Arial"/>
              </a:rPr>
              <a:t>en</a:t>
            </a:r>
            <a:r>
              <a:rPr sz="1200" dirty="0">
                <a:latin typeface="Arial"/>
                <a:cs typeface="Arial"/>
              </a:rPr>
              <a:t>t</a:t>
            </a:r>
            <a:endParaRPr sz="1200">
              <a:latin typeface="Arial"/>
              <a:cs typeface="Arial"/>
            </a:endParaRPr>
          </a:p>
        </p:txBody>
      </p:sp>
      <p:sp>
        <p:nvSpPr>
          <p:cNvPr id="12" name="object 12"/>
          <p:cNvSpPr txBox="1"/>
          <p:nvPr/>
        </p:nvSpPr>
        <p:spPr>
          <a:xfrm>
            <a:off x="4162426" y="4086605"/>
            <a:ext cx="993775" cy="457200"/>
          </a:xfrm>
          <a:prstGeom prst="rect">
            <a:avLst/>
          </a:prstGeom>
        </p:spPr>
        <p:txBody>
          <a:bodyPr wrap="square" lIns="0" tIns="0" rIns="0" bIns="0" rtlCol="0">
            <a:noAutofit/>
          </a:bodyPr>
          <a:lstStyle/>
          <a:p>
            <a:pPr marL="91948" marR="137619">
              <a:lnSpc>
                <a:spcPct val="100041"/>
              </a:lnSpc>
              <a:spcBef>
                <a:spcPts val="330"/>
              </a:spcBef>
            </a:pPr>
            <a:r>
              <a:rPr sz="1200" dirty="0">
                <a:latin typeface="Arial"/>
                <a:cs typeface="Arial"/>
              </a:rPr>
              <a:t>Fin</a:t>
            </a:r>
            <a:r>
              <a:rPr sz="1200" spc="4" dirty="0">
                <a:latin typeface="Arial"/>
                <a:cs typeface="Arial"/>
              </a:rPr>
              <a:t>an</a:t>
            </a:r>
            <a:r>
              <a:rPr sz="1200" dirty="0">
                <a:latin typeface="Arial"/>
                <a:cs typeface="Arial"/>
              </a:rPr>
              <a:t>cial </a:t>
            </a:r>
            <a:r>
              <a:rPr sz="1200" spc="4" dirty="0">
                <a:latin typeface="Arial"/>
                <a:cs typeface="Arial"/>
              </a:rPr>
              <a:t>p</a:t>
            </a:r>
            <a:r>
              <a:rPr sz="1200" dirty="0">
                <a:latin typeface="Arial"/>
                <a:cs typeface="Arial"/>
              </a:rPr>
              <a:t>roc</a:t>
            </a:r>
            <a:r>
              <a:rPr sz="1200" spc="4" dirty="0">
                <a:latin typeface="Arial"/>
                <a:cs typeface="Arial"/>
              </a:rPr>
              <a:t>e</a:t>
            </a:r>
            <a:r>
              <a:rPr sz="1200" dirty="0">
                <a:latin typeface="Arial"/>
                <a:cs typeface="Arial"/>
              </a:rPr>
              <a:t>ssing</a:t>
            </a:r>
            <a:endParaRPr sz="1200">
              <a:latin typeface="Arial"/>
              <a:cs typeface="Arial"/>
            </a:endParaRPr>
          </a:p>
        </p:txBody>
      </p:sp>
      <p:sp>
        <p:nvSpPr>
          <p:cNvPr id="11" name="object 11"/>
          <p:cNvSpPr txBox="1"/>
          <p:nvPr/>
        </p:nvSpPr>
        <p:spPr>
          <a:xfrm>
            <a:off x="5156200" y="4086605"/>
            <a:ext cx="4597400" cy="457200"/>
          </a:xfrm>
          <a:prstGeom prst="rect">
            <a:avLst/>
          </a:prstGeom>
        </p:spPr>
        <p:txBody>
          <a:bodyPr wrap="square" lIns="0" tIns="0" rIns="0" bIns="0" rtlCol="0">
            <a:noAutofit/>
          </a:bodyPr>
          <a:lstStyle/>
          <a:p>
            <a:pPr marL="92201" marR="168124">
              <a:lnSpc>
                <a:spcPct val="100041"/>
              </a:lnSpc>
              <a:spcBef>
                <a:spcPts val="330"/>
              </a:spcBef>
            </a:pPr>
            <a:r>
              <a:rPr sz="1200" dirty="0">
                <a:latin typeface="Arial"/>
                <a:cs typeface="Arial"/>
              </a:rPr>
              <a:t>It</a:t>
            </a:r>
            <a:r>
              <a:rPr sz="1200" spc="-4" dirty="0">
                <a:latin typeface="Arial"/>
                <a:cs typeface="Arial"/>
              </a:rPr>
              <a:t> g</a:t>
            </a:r>
            <a:r>
              <a:rPr sz="1200" dirty="0">
                <a:latin typeface="Arial"/>
                <a:cs typeface="Arial"/>
              </a:rPr>
              <a:t>i</a:t>
            </a:r>
            <a:r>
              <a:rPr sz="1200" spc="-14" dirty="0">
                <a:latin typeface="Arial"/>
                <a:cs typeface="Arial"/>
              </a:rPr>
              <a:t>v</a:t>
            </a:r>
            <a:r>
              <a:rPr sz="1200" spc="4" dirty="0">
                <a:latin typeface="Arial"/>
                <a:cs typeface="Arial"/>
              </a:rPr>
              <a:t>e</a:t>
            </a:r>
            <a:r>
              <a:rPr sz="1200" dirty="0">
                <a:latin typeface="Arial"/>
                <a:cs typeface="Arial"/>
              </a:rPr>
              <a:t>s</a:t>
            </a:r>
            <a:r>
              <a:rPr sz="1200" spc="1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st</a:t>
            </a:r>
            <a:r>
              <a:rPr sz="1200" spc="4" dirty="0">
                <a:latin typeface="Arial"/>
                <a:cs typeface="Arial"/>
              </a:rPr>
              <a:t>a</a:t>
            </a:r>
            <a:r>
              <a:rPr sz="1200" dirty="0">
                <a:latin typeface="Arial"/>
                <a:cs typeface="Arial"/>
              </a:rPr>
              <a:t>t</a:t>
            </a:r>
            <a:r>
              <a:rPr sz="1200" spc="4" dirty="0">
                <a:latin typeface="Arial"/>
                <a:cs typeface="Arial"/>
              </a:rPr>
              <a:t>u</a:t>
            </a:r>
            <a:r>
              <a:rPr sz="1200" dirty="0">
                <a:latin typeface="Arial"/>
                <a:cs typeface="Arial"/>
              </a:rPr>
              <a:t>s</a:t>
            </a:r>
            <a:r>
              <a:rPr sz="1200" spc="-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14"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a:t>
            </a:r>
            <a:r>
              <a:rPr sz="1200" spc="-4" dirty="0">
                <a:latin typeface="Arial"/>
                <a:cs typeface="Arial"/>
              </a:rPr>
              <a:t>n</a:t>
            </a:r>
            <a:r>
              <a:rPr sz="1200" dirty="0">
                <a:latin typeface="Arial"/>
                <a:cs typeface="Arial"/>
              </a:rPr>
              <a:t>t</a:t>
            </a:r>
            <a:r>
              <a:rPr sz="1200" spc="-3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spc="4" dirty="0">
                <a:latin typeface="Arial"/>
                <a:cs typeface="Arial"/>
              </a:rPr>
              <a:t>b</a:t>
            </a:r>
            <a:r>
              <a:rPr sz="1200" dirty="0">
                <a:latin typeface="Arial"/>
                <a:cs typeface="Arial"/>
              </a:rPr>
              <a:t>lock</a:t>
            </a:r>
            <a:r>
              <a:rPr sz="1200" spc="-4" dirty="0">
                <a:latin typeface="Arial"/>
                <a:cs typeface="Arial"/>
              </a:rPr>
              <a:t> </a:t>
            </a:r>
            <a:r>
              <a:rPr sz="1200" dirty="0">
                <a:latin typeface="Arial"/>
                <a:cs typeface="Arial"/>
              </a:rPr>
              <a:t>,</a:t>
            </a:r>
            <a:r>
              <a:rPr sz="1200" spc="4" dirty="0">
                <a:latin typeface="Arial"/>
                <a:cs typeface="Arial"/>
              </a:rPr>
              <a:t> 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 st</a:t>
            </a:r>
            <a:r>
              <a:rPr sz="1200" spc="4" dirty="0">
                <a:latin typeface="Arial"/>
                <a:cs typeface="Arial"/>
              </a:rPr>
              <a:t>a</a:t>
            </a:r>
            <a:r>
              <a:rPr sz="1200" dirty="0">
                <a:latin typeface="Arial"/>
                <a:cs typeface="Arial"/>
              </a:rPr>
              <a:t>t</a:t>
            </a:r>
            <a:r>
              <a:rPr sz="1200" spc="4" dirty="0">
                <a:latin typeface="Arial"/>
                <a:cs typeface="Arial"/>
              </a:rPr>
              <a:t>u</a:t>
            </a:r>
            <a:r>
              <a:rPr sz="1200" dirty="0">
                <a:latin typeface="Arial"/>
                <a:cs typeface="Arial"/>
              </a:rPr>
              <a:t>s</a:t>
            </a:r>
            <a:r>
              <a:rPr sz="1200" spc="-19" dirty="0">
                <a:latin typeface="Arial"/>
                <a:cs typeface="Arial"/>
              </a:rPr>
              <a:t> </a:t>
            </a:r>
            <a:r>
              <a:rPr sz="1200" spc="4" dirty="0">
                <a:latin typeface="Arial"/>
                <a:cs typeface="Arial"/>
              </a:rPr>
              <a:t>e</a:t>
            </a:r>
            <a:r>
              <a:rPr sz="1200" dirty="0">
                <a:latin typeface="Arial"/>
                <a:cs typeface="Arial"/>
              </a:rPr>
              <a:t>tc.</a:t>
            </a:r>
            <a:r>
              <a:rPr sz="1200" spc="-64" dirty="0">
                <a:latin typeface="Arial"/>
                <a:cs typeface="Arial"/>
              </a:rPr>
              <a:t> </a:t>
            </a:r>
            <a:r>
              <a:rPr sz="1200" dirty="0">
                <a:latin typeface="Arial"/>
                <a:cs typeface="Arial"/>
              </a:rPr>
              <a:t>Also</a:t>
            </a:r>
            <a:r>
              <a:rPr sz="1200" spc="-4" dirty="0">
                <a:latin typeface="Arial"/>
                <a:cs typeface="Arial"/>
              </a:rPr>
              <a:t> </a:t>
            </a:r>
            <a:r>
              <a:rPr sz="1200" dirty="0">
                <a:latin typeface="Arial"/>
                <a:cs typeface="Arial"/>
              </a:rPr>
              <a:t>it </a:t>
            </a:r>
            <a:r>
              <a:rPr sz="1200" spc="-4" dirty="0">
                <a:latin typeface="Arial"/>
                <a:cs typeface="Arial"/>
              </a:rPr>
              <a:t>g</a:t>
            </a:r>
            <a:r>
              <a:rPr sz="1200" dirty="0">
                <a:latin typeface="Arial"/>
                <a:cs typeface="Arial"/>
              </a:rPr>
              <a:t>i</a:t>
            </a:r>
            <a:r>
              <a:rPr sz="1200" spc="-14" dirty="0">
                <a:latin typeface="Arial"/>
                <a:cs typeface="Arial"/>
              </a:rPr>
              <a:t>v</a:t>
            </a:r>
            <a:r>
              <a:rPr sz="1200" spc="4" dirty="0">
                <a:latin typeface="Arial"/>
                <a:cs typeface="Arial"/>
              </a:rPr>
              <a:t>e</a:t>
            </a:r>
            <a:r>
              <a:rPr sz="1200" dirty="0">
                <a:latin typeface="Arial"/>
                <a:cs typeface="Arial"/>
              </a:rPr>
              <a:t>s </a:t>
            </a:r>
            <a:r>
              <a:rPr sz="1200" spc="4" dirty="0">
                <a:latin typeface="Arial"/>
                <a:cs typeface="Arial"/>
              </a:rPr>
              <a:t>th</a:t>
            </a:r>
            <a:r>
              <a:rPr sz="1200" dirty="0">
                <a:latin typeface="Arial"/>
                <a:cs typeface="Arial"/>
              </a:rPr>
              <a:t>e</a:t>
            </a:r>
            <a:r>
              <a:rPr sz="1200" spc="-4" dirty="0">
                <a:latin typeface="Arial"/>
                <a:cs typeface="Arial"/>
              </a:rPr>
              <a:t> </a:t>
            </a:r>
            <a:r>
              <a:rPr sz="1200" spc="4" dirty="0">
                <a:latin typeface="Arial"/>
                <a:cs typeface="Arial"/>
              </a:rPr>
              <a:t>d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r>
              <a:rPr sz="1200" spc="-1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spc="14" dirty="0">
                <a:latin typeface="Arial"/>
                <a:cs typeface="Arial"/>
              </a:rPr>
              <a:t>f</a:t>
            </a:r>
            <a:r>
              <a:rPr sz="1200" dirty="0">
                <a:latin typeface="Arial"/>
                <a:cs typeface="Arial"/>
              </a:rPr>
              <a:t>in</a:t>
            </a:r>
            <a:r>
              <a:rPr sz="1200" spc="4" dirty="0">
                <a:latin typeface="Arial"/>
                <a:cs typeface="Arial"/>
              </a:rPr>
              <a:t>an</a:t>
            </a:r>
            <a:r>
              <a:rPr sz="1200" dirty="0">
                <a:latin typeface="Arial"/>
                <a:cs typeface="Arial"/>
              </a:rPr>
              <a:t>cial</a:t>
            </a:r>
            <a:r>
              <a:rPr sz="1200" spc="-44"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a:t>
            </a:r>
            <a:r>
              <a:rPr sz="1200" spc="-4" dirty="0">
                <a:latin typeface="Arial"/>
                <a:cs typeface="Arial"/>
              </a:rPr>
              <a:t>n</a:t>
            </a:r>
            <a:r>
              <a:rPr sz="1200" dirty="0">
                <a:latin typeface="Arial"/>
                <a:cs typeface="Arial"/>
              </a:rPr>
              <a:t>t</a:t>
            </a:r>
            <a:r>
              <a:rPr sz="1200" spc="-39" dirty="0">
                <a:latin typeface="Arial"/>
                <a:cs typeface="Arial"/>
              </a:rPr>
              <a:t> </a:t>
            </a:r>
            <a:r>
              <a:rPr sz="1200" spc="4" dirty="0">
                <a:latin typeface="Arial"/>
                <a:cs typeface="Arial"/>
              </a:rPr>
              <a:t>numbe</a:t>
            </a:r>
            <a:r>
              <a:rPr sz="1200" dirty="0">
                <a:latin typeface="Arial"/>
                <a:cs typeface="Arial"/>
              </a:rPr>
              <a:t>r</a:t>
            </a:r>
            <a:endParaRPr sz="1200">
              <a:latin typeface="Arial"/>
              <a:cs typeface="Arial"/>
            </a:endParaRPr>
          </a:p>
        </p:txBody>
      </p:sp>
      <p:sp>
        <p:nvSpPr>
          <p:cNvPr id="10" name="object 10"/>
          <p:cNvSpPr txBox="1"/>
          <p:nvPr/>
        </p:nvSpPr>
        <p:spPr>
          <a:xfrm>
            <a:off x="1952625" y="4543806"/>
            <a:ext cx="2209800" cy="457200"/>
          </a:xfrm>
          <a:prstGeom prst="rect">
            <a:avLst/>
          </a:prstGeom>
        </p:spPr>
        <p:txBody>
          <a:bodyPr wrap="square" lIns="0" tIns="0" rIns="0" bIns="0" rtlCol="0">
            <a:noAutofit/>
          </a:bodyPr>
          <a:lstStyle/>
          <a:p>
            <a:pPr marL="91668">
              <a:lnSpc>
                <a:spcPct val="95825"/>
              </a:lnSpc>
              <a:spcBef>
                <a:spcPts val="330"/>
              </a:spcBef>
            </a:pPr>
            <a:r>
              <a:rPr sz="1200" dirty="0">
                <a:latin typeface="Arial"/>
                <a:cs typeface="Arial"/>
              </a:rPr>
              <a:t>P</a:t>
            </a:r>
            <a:r>
              <a:rPr sz="1200" spc="4" dirty="0">
                <a:latin typeface="Arial"/>
                <a:cs typeface="Arial"/>
              </a:rPr>
              <a:t>a</a:t>
            </a:r>
            <a:r>
              <a:rPr sz="1200" dirty="0">
                <a:latin typeface="Arial"/>
                <a:cs typeface="Arial"/>
              </a:rPr>
              <a:t>rtn</a:t>
            </a:r>
            <a:r>
              <a:rPr sz="1200" spc="4" dirty="0">
                <a:latin typeface="Arial"/>
                <a:cs typeface="Arial"/>
              </a:rPr>
              <a:t>e</a:t>
            </a:r>
            <a:r>
              <a:rPr sz="1200" dirty="0">
                <a:latin typeface="Arial"/>
                <a:cs typeface="Arial"/>
              </a:rPr>
              <a:t>r</a:t>
            </a:r>
            <a:endParaRPr sz="1200">
              <a:latin typeface="Arial"/>
              <a:cs typeface="Arial"/>
            </a:endParaRPr>
          </a:p>
        </p:txBody>
      </p:sp>
      <p:sp>
        <p:nvSpPr>
          <p:cNvPr id="9" name="object 9"/>
          <p:cNvSpPr txBox="1"/>
          <p:nvPr/>
        </p:nvSpPr>
        <p:spPr>
          <a:xfrm>
            <a:off x="4162426" y="4543806"/>
            <a:ext cx="993775" cy="457200"/>
          </a:xfrm>
          <a:prstGeom prst="rect">
            <a:avLst/>
          </a:prstGeom>
        </p:spPr>
        <p:txBody>
          <a:bodyPr wrap="square" lIns="0" tIns="0" rIns="0" bIns="0" rtlCol="0">
            <a:noAutofit/>
          </a:bodyPr>
          <a:lstStyle/>
          <a:p>
            <a:pPr marL="91948">
              <a:lnSpc>
                <a:spcPct val="95825"/>
              </a:lnSpc>
              <a:spcBef>
                <a:spcPts val="330"/>
              </a:spcBef>
            </a:pPr>
            <a:r>
              <a:rPr sz="1200" dirty="0">
                <a:latin typeface="Arial"/>
                <a:cs typeface="Arial"/>
              </a:rPr>
              <a:t>P</a:t>
            </a:r>
            <a:r>
              <a:rPr sz="1200" spc="4" dirty="0">
                <a:latin typeface="Arial"/>
                <a:cs typeface="Arial"/>
              </a:rPr>
              <a:t>a</a:t>
            </a:r>
            <a:r>
              <a:rPr sz="1200" dirty="0">
                <a:latin typeface="Arial"/>
                <a:cs typeface="Arial"/>
              </a:rPr>
              <a:t>rtn</a:t>
            </a:r>
            <a:r>
              <a:rPr sz="1200" spc="4" dirty="0">
                <a:latin typeface="Arial"/>
                <a:cs typeface="Arial"/>
              </a:rPr>
              <a:t>e</a:t>
            </a:r>
            <a:r>
              <a:rPr sz="1200" dirty="0">
                <a:latin typeface="Arial"/>
                <a:cs typeface="Arial"/>
              </a:rPr>
              <a:t>r</a:t>
            </a:r>
            <a:endParaRPr sz="1200">
              <a:latin typeface="Arial"/>
              <a:cs typeface="Arial"/>
            </a:endParaRPr>
          </a:p>
        </p:txBody>
      </p:sp>
      <p:sp>
        <p:nvSpPr>
          <p:cNvPr id="8" name="object 8"/>
          <p:cNvSpPr txBox="1"/>
          <p:nvPr/>
        </p:nvSpPr>
        <p:spPr>
          <a:xfrm>
            <a:off x="5156200" y="4543806"/>
            <a:ext cx="4597400" cy="457200"/>
          </a:xfrm>
          <a:prstGeom prst="rect">
            <a:avLst/>
          </a:prstGeom>
        </p:spPr>
        <p:txBody>
          <a:bodyPr wrap="square" lIns="0" tIns="0" rIns="0" bIns="0" rtlCol="0">
            <a:noAutofit/>
          </a:bodyPr>
          <a:lstStyle/>
          <a:p>
            <a:pPr marL="92201" marR="436806">
              <a:lnSpc>
                <a:spcPct val="100041"/>
              </a:lnSpc>
              <a:spcBef>
                <a:spcPts val="330"/>
              </a:spcBef>
            </a:pPr>
            <a:r>
              <a:rPr sz="1200" dirty="0">
                <a:latin typeface="Arial"/>
                <a:cs typeface="Arial"/>
              </a:rPr>
              <a:t>Da</a:t>
            </a:r>
            <a:r>
              <a:rPr sz="1200" spc="4" dirty="0">
                <a:latin typeface="Arial"/>
                <a:cs typeface="Arial"/>
              </a:rPr>
              <a:t>t</a:t>
            </a:r>
            <a:r>
              <a:rPr sz="1200" dirty="0">
                <a:latin typeface="Arial"/>
                <a:cs typeface="Arial"/>
              </a:rPr>
              <a:t>a</a:t>
            </a:r>
            <a:r>
              <a:rPr sz="1200" spc="-14" dirty="0">
                <a:latin typeface="Arial"/>
                <a:cs typeface="Arial"/>
              </a:rPr>
              <a:t> </a:t>
            </a:r>
            <a:r>
              <a:rPr sz="1200" spc="4" dirty="0">
                <a:latin typeface="Arial"/>
                <a:cs typeface="Arial"/>
              </a:rPr>
              <a:t>o</a:t>
            </a:r>
            <a:r>
              <a:rPr sz="1200" dirty="0">
                <a:latin typeface="Arial"/>
                <a:cs typeface="Arial"/>
              </a:rPr>
              <a:t>n</a:t>
            </a:r>
            <a:r>
              <a:rPr sz="1200" spc="-1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is</a:t>
            </a:r>
            <a:r>
              <a:rPr sz="1200" spc="-9"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14" dirty="0">
                <a:latin typeface="Arial"/>
                <a:cs typeface="Arial"/>
              </a:rPr>
              <a:t> </a:t>
            </a:r>
            <a:r>
              <a:rPr sz="1200" dirty="0">
                <a:latin typeface="Arial"/>
                <a:cs typeface="Arial"/>
              </a:rPr>
              <a:t>incl</a:t>
            </a:r>
            <a:r>
              <a:rPr sz="1200" spc="4" dirty="0">
                <a:latin typeface="Arial"/>
                <a:cs typeface="Arial"/>
              </a:rPr>
              <a:t>ude</a:t>
            </a:r>
            <a:r>
              <a:rPr sz="1200" dirty="0">
                <a:latin typeface="Arial"/>
                <a:cs typeface="Arial"/>
              </a:rPr>
              <a:t>s</a:t>
            </a:r>
            <a:r>
              <a:rPr sz="1200" spc="-2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spc="4" dirty="0">
                <a:latin typeface="Arial"/>
                <a:cs typeface="Arial"/>
              </a:rPr>
              <a:t>numbe</a:t>
            </a:r>
            <a:r>
              <a:rPr sz="1200" dirty="0">
                <a:latin typeface="Arial"/>
                <a:cs typeface="Arial"/>
              </a:rPr>
              <a:t>r</a:t>
            </a:r>
            <a:r>
              <a:rPr sz="1200" spc="-34"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s</a:t>
            </a:r>
            <a:r>
              <a:rPr sz="1200" spc="4" dirty="0">
                <a:latin typeface="Arial"/>
                <a:cs typeface="Arial"/>
              </a:rPr>
              <a:t>o</a:t>
            </a:r>
            <a:r>
              <a:rPr sz="1200" dirty="0">
                <a:latin typeface="Arial"/>
                <a:cs typeface="Arial"/>
              </a:rPr>
              <a:t>ld</a:t>
            </a:r>
            <a:r>
              <a:rPr sz="1200" spc="-19" dirty="0">
                <a:latin typeface="Arial"/>
                <a:cs typeface="Arial"/>
              </a:rPr>
              <a:t> </a:t>
            </a:r>
            <a:r>
              <a:rPr sz="1200" dirty="0">
                <a:latin typeface="Arial"/>
                <a:cs typeface="Arial"/>
              </a:rPr>
              <a:t>to</a:t>
            </a:r>
            <a:r>
              <a:rPr sz="1200" spc="4" dirty="0">
                <a:latin typeface="Arial"/>
                <a:cs typeface="Arial"/>
              </a:rPr>
              <a:t> pa</a:t>
            </a:r>
            <a:r>
              <a:rPr sz="1200" dirty="0">
                <a:latin typeface="Arial"/>
                <a:cs typeface="Arial"/>
              </a:rPr>
              <a:t>rt</a:t>
            </a:r>
            <a:r>
              <a:rPr sz="1200" spc="-94" dirty="0">
                <a:latin typeface="Arial"/>
                <a:cs typeface="Arial"/>
              </a:rPr>
              <a:t>y</a:t>
            </a:r>
            <a:r>
              <a:rPr sz="1200" dirty="0">
                <a:latin typeface="Arial"/>
                <a:cs typeface="Arial"/>
              </a:rPr>
              <a:t>, c</a:t>
            </a:r>
            <a:r>
              <a:rPr sz="1200" spc="-4" dirty="0">
                <a:latin typeface="Arial"/>
                <a:cs typeface="Arial"/>
              </a:rPr>
              <a:t>r</a:t>
            </a:r>
            <a:r>
              <a:rPr sz="1200" spc="4" dirty="0">
                <a:latin typeface="Arial"/>
                <a:cs typeface="Arial"/>
              </a:rPr>
              <a:t>ed</a:t>
            </a:r>
            <a:r>
              <a:rPr sz="1200" dirty="0">
                <a:latin typeface="Arial"/>
                <a:cs typeface="Arial"/>
              </a:rPr>
              <a:t>it</a:t>
            </a:r>
            <a:r>
              <a:rPr sz="1200" spc="-19" dirty="0">
                <a:latin typeface="Arial"/>
                <a:cs typeface="Arial"/>
              </a:rPr>
              <a:t> </a:t>
            </a:r>
            <a:r>
              <a:rPr sz="1200" dirty="0">
                <a:latin typeface="Arial"/>
                <a:cs typeface="Arial"/>
              </a:rPr>
              <a:t>re</a:t>
            </a:r>
            <a:r>
              <a:rPr sz="1200" spc="4" dirty="0">
                <a:latin typeface="Arial"/>
                <a:cs typeface="Arial"/>
              </a:rPr>
              <a:t>p</a:t>
            </a:r>
            <a:r>
              <a:rPr sz="1200" dirty="0">
                <a:latin typeface="Arial"/>
                <a:cs typeface="Arial"/>
              </a:rPr>
              <a:t>res</a:t>
            </a:r>
            <a:r>
              <a:rPr sz="1200" spc="4" dirty="0">
                <a:latin typeface="Arial"/>
                <a:cs typeface="Arial"/>
              </a:rPr>
              <a:t>en</a:t>
            </a:r>
            <a:r>
              <a:rPr sz="1200" dirty="0">
                <a:latin typeface="Arial"/>
                <a:cs typeface="Arial"/>
              </a:rPr>
              <a:t>t</a:t>
            </a:r>
            <a:r>
              <a:rPr sz="1200" spc="4" dirty="0">
                <a:latin typeface="Arial"/>
                <a:cs typeface="Arial"/>
              </a:rPr>
              <a:t>a</a:t>
            </a:r>
            <a:r>
              <a:rPr sz="1200" dirty="0">
                <a:latin typeface="Arial"/>
                <a:cs typeface="Arial"/>
              </a:rPr>
              <a:t>ti</a:t>
            </a:r>
            <a:r>
              <a:rPr sz="1200" spc="-9" dirty="0">
                <a:latin typeface="Arial"/>
                <a:cs typeface="Arial"/>
              </a:rPr>
              <a:t>v</a:t>
            </a:r>
            <a:r>
              <a:rPr sz="1200" dirty="0">
                <a:latin typeface="Arial"/>
                <a:cs typeface="Arial"/>
              </a:rPr>
              <a:t>e</a:t>
            </a:r>
            <a:r>
              <a:rPr sz="1200" spc="-39" dirty="0">
                <a:latin typeface="Arial"/>
                <a:cs typeface="Arial"/>
              </a:rPr>
              <a:t> </a:t>
            </a:r>
            <a:r>
              <a:rPr sz="1200" spc="4" dirty="0">
                <a:latin typeface="Arial"/>
                <a:cs typeface="Arial"/>
              </a:rPr>
              <a:t>an</a:t>
            </a:r>
            <a:r>
              <a:rPr sz="1200" dirty="0">
                <a:latin typeface="Arial"/>
                <a:cs typeface="Arial"/>
              </a:rPr>
              <a:t>d</a:t>
            </a:r>
            <a:r>
              <a:rPr sz="1200" spc="-1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s</a:t>
            </a:r>
            <a:r>
              <a:rPr sz="1200" spc="4" dirty="0">
                <a:latin typeface="Arial"/>
                <a:cs typeface="Arial"/>
              </a:rPr>
              <a:t>h</a:t>
            </a:r>
            <a:r>
              <a:rPr sz="1200" dirty="0">
                <a:latin typeface="Arial"/>
                <a:cs typeface="Arial"/>
              </a:rPr>
              <a:t>ip</a:t>
            </a:r>
            <a:r>
              <a:rPr sz="1200" spc="-19" dirty="0">
                <a:latin typeface="Arial"/>
                <a:cs typeface="Arial"/>
              </a:rPr>
              <a:t> </a:t>
            </a:r>
            <a:r>
              <a:rPr sz="1200" dirty="0">
                <a:latin typeface="Arial"/>
                <a:cs typeface="Arial"/>
              </a:rPr>
              <a:t>to</a:t>
            </a:r>
            <a:r>
              <a:rPr sz="1200" spc="4" dirty="0">
                <a:latin typeface="Arial"/>
                <a:cs typeface="Arial"/>
              </a:rPr>
              <a:t> pa</a:t>
            </a:r>
            <a:r>
              <a:rPr sz="1200" dirty="0">
                <a:latin typeface="Arial"/>
                <a:cs typeface="Arial"/>
              </a:rPr>
              <a:t>rty</a:t>
            </a:r>
            <a:endParaRPr sz="1200">
              <a:latin typeface="Arial"/>
              <a:cs typeface="Arial"/>
            </a:endParaRPr>
          </a:p>
        </p:txBody>
      </p:sp>
      <p:sp>
        <p:nvSpPr>
          <p:cNvPr id="7" name="object 7"/>
          <p:cNvSpPr txBox="1"/>
          <p:nvPr/>
        </p:nvSpPr>
        <p:spPr>
          <a:xfrm>
            <a:off x="1952625" y="5001006"/>
            <a:ext cx="2209800" cy="640016"/>
          </a:xfrm>
          <a:prstGeom prst="rect">
            <a:avLst/>
          </a:prstGeom>
        </p:spPr>
        <p:txBody>
          <a:bodyPr wrap="square" lIns="0" tIns="0" rIns="0" bIns="0" rtlCol="0">
            <a:noAutofit/>
          </a:bodyPr>
          <a:lstStyle/>
          <a:p>
            <a:pPr marL="91668">
              <a:lnSpc>
                <a:spcPct val="95825"/>
              </a:lnSpc>
              <a:spcBef>
                <a:spcPts val="334"/>
              </a:spcBef>
            </a:pPr>
            <a:r>
              <a:rPr sz="1200" dirty="0">
                <a:latin typeface="Arial"/>
                <a:cs typeface="Arial"/>
              </a:rPr>
              <a:t>S</a:t>
            </a:r>
            <a:r>
              <a:rPr sz="1200" spc="4" dirty="0">
                <a:latin typeface="Arial"/>
                <a:cs typeface="Arial"/>
              </a:rPr>
              <a:t>h</a:t>
            </a:r>
            <a:r>
              <a:rPr sz="1200" dirty="0">
                <a:latin typeface="Arial"/>
                <a:cs typeface="Arial"/>
              </a:rPr>
              <a:t>ip</a:t>
            </a:r>
            <a:r>
              <a:rPr sz="1200" spc="4" dirty="0">
                <a:latin typeface="Arial"/>
                <a:cs typeface="Arial"/>
              </a:rPr>
              <a:t>p</a:t>
            </a:r>
            <a:r>
              <a:rPr sz="1200" dirty="0">
                <a:latin typeface="Arial"/>
                <a:cs typeface="Arial"/>
              </a:rPr>
              <a:t>i</a:t>
            </a:r>
            <a:r>
              <a:rPr sz="1200" spc="-9" dirty="0">
                <a:latin typeface="Arial"/>
                <a:cs typeface="Arial"/>
              </a:rPr>
              <a:t>n</a:t>
            </a:r>
            <a:r>
              <a:rPr sz="1200" dirty="0">
                <a:latin typeface="Arial"/>
                <a:cs typeface="Arial"/>
              </a:rPr>
              <a:t>g</a:t>
            </a:r>
            <a:r>
              <a:rPr sz="1200" spc="-39" dirty="0">
                <a:latin typeface="Arial"/>
                <a:cs typeface="Arial"/>
              </a:rPr>
              <a:t> </a:t>
            </a:r>
            <a:r>
              <a:rPr sz="1200" dirty="0">
                <a:latin typeface="Arial"/>
                <a:cs typeface="Arial"/>
              </a:rPr>
              <a:t>I</a:t>
            </a:r>
            <a:r>
              <a:rPr sz="1200" spc="4" dirty="0">
                <a:latin typeface="Arial"/>
                <a:cs typeface="Arial"/>
              </a:rPr>
              <a:t>n</a:t>
            </a:r>
            <a:r>
              <a:rPr sz="1200" dirty="0">
                <a:latin typeface="Arial"/>
                <a:cs typeface="Arial"/>
              </a:rPr>
              <a:t>structi</a:t>
            </a:r>
            <a:r>
              <a:rPr sz="1200" spc="4" dirty="0">
                <a:latin typeface="Arial"/>
                <a:cs typeface="Arial"/>
              </a:rPr>
              <a:t>on</a:t>
            </a:r>
            <a:r>
              <a:rPr sz="1200" dirty="0">
                <a:latin typeface="Arial"/>
                <a:cs typeface="Arial"/>
              </a:rPr>
              <a:t>s</a:t>
            </a:r>
            <a:endParaRPr sz="1200">
              <a:latin typeface="Arial"/>
              <a:cs typeface="Arial"/>
            </a:endParaRPr>
          </a:p>
        </p:txBody>
      </p:sp>
      <p:sp>
        <p:nvSpPr>
          <p:cNvPr id="6" name="object 6"/>
          <p:cNvSpPr txBox="1"/>
          <p:nvPr/>
        </p:nvSpPr>
        <p:spPr>
          <a:xfrm>
            <a:off x="4162426" y="5001006"/>
            <a:ext cx="993775" cy="640016"/>
          </a:xfrm>
          <a:prstGeom prst="rect">
            <a:avLst/>
          </a:prstGeom>
        </p:spPr>
        <p:txBody>
          <a:bodyPr wrap="square" lIns="0" tIns="0" rIns="0" bIns="0" rtlCol="0">
            <a:noAutofit/>
          </a:bodyPr>
          <a:lstStyle/>
          <a:p>
            <a:pPr marL="91948">
              <a:lnSpc>
                <a:spcPct val="95825"/>
              </a:lnSpc>
              <a:spcBef>
                <a:spcPts val="334"/>
              </a:spcBef>
            </a:pPr>
            <a:r>
              <a:rPr sz="1200" spc="-119" dirty="0">
                <a:latin typeface="Arial"/>
                <a:cs typeface="Arial"/>
              </a:rPr>
              <a:t>T</a:t>
            </a:r>
            <a:r>
              <a:rPr sz="1200" spc="4" dirty="0">
                <a:latin typeface="Arial"/>
                <a:cs typeface="Arial"/>
              </a:rPr>
              <a:t>e</a:t>
            </a:r>
            <a:r>
              <a:rPr sz="1200" spc="-9" dirty="0">
                <a:latin typeface="Arial"/>
                <a:cs typeface="Arial"/>
              </a:rPr>
              <a:t>x</a:t>
            </a:r>
            <a:r>
              <a:rPr sz="1200" dirty="0">
                <a:latin typeface="Arial"/>
                <a:cs typeface="Arial"/>
              </a:rPr>
              <a:t>t</a:t>
            </a:r>
            <a:endParaRPr sz="1200">
              <a:latin typeface="Arial"/>
              <a:cs typeface="Arial"/>
            </a:endParaRPr>
          </a:p>
        </p:txBody>
      </p:sp>
      <p:sp>
        <p:nvSpPr>
          <p:cNvPr id="5" name="object 5"/>
          <p:cNvSpPr txBox="1"/>
          <p:nvPr/>
        </p:nvSpPr>
        <p:spPr>
          <a:xfrm>
            <a:off x="5156200" y="5001006"/>
            <a:ext cx="4597400" cy="640016"/>
          </a:xfrm>
          <a:prstGeom prst="rect">
            <a:avLst/>
          </a:prstGeom>
        </p:spPr>
        <p:txBody>
          <a:bodyPr wrap="square" lIns="0" tIns="0" rIns="0" bIns="0" rtlCol="0">
            <a:noAutofit/>
          </a:bodyPr>
          <a:lstStyle/>
          <a:p>
            <a:pPr marL="92201" marR="150446">
              <a:lnSpc>
                <a:spcPct val="100041"/>
              </a:lnSpc>
              <a:spcBef>
                <a:spcPts val="334"/>
              </a:spcBef>
            </a:pPr>
            <a:r>
              <a:rPr sz="1200" spc="-119" dirty="0">
                <a:latin typeface="Arial"/>
                <a:cs typeface="Arial"/>
              </a:rPr>
              <a:t>T</a:t>
            </a:r>
            <a:r>
              <a:rPr sz="1200" spc="4" dirty="0">
                <a:latin typeface="Arial"/>
                <a:cs typeface="Arial"/>
              </a:rPr>
              <a:t>e</a:t>
            </a:r>
            <a:r>
              <a:rPr sz="1200" spc="-9" dirty="0">
                <a:latin typeface="Arial"/>
                <a:cs typeface="Arial"/>
              </a:rPr>
              <a:t>x</a:t>
            </a:r>
            <a:r>
              <a:rPr sz="1200" dirty="0">
                <a:latin typeface="Arial"/>
                <a:cs typeface="Arial"/>
              </a:rPr>
              <a:t>t</a:t>
            </a:r>
            <a:r>
              <a:rPr sz="1200" spc="-4" dirty="0">
                <a:latin typeface="Arial"/>
                <a:cs typeface="Arial"/>
              </a:rPr>
              <a:t> </a:t>
            </a:r>
            <a:r>
              <a:rPr sz="1200" dirty="0">
                <a:latin typeface="Arial"/>
                <a:cs typeface="Arial"/>
              </a:rPr>
              <a:t>rela</a:t>
            </a:r>
            <a:r>
              <a:rPr sz="1200" spc="4" dirty="0">
                <a:latin typeface="Arial"/>
                <a:cs typeface="Arial"/>
              </a:rPr>
              <a:t>te</a:t>
            </a:r>
            <a:r>
              <a:rPr sz="1200" dirty="0">
                <a:latin typeface="Arial"/>
                <a:cs typeface="Arial"/>
              </a:rPr>
              <a:t>d</a:t>
            </a:r>
            <a:r>
              <a:rPr sz="1200" spc="-29" dirty="0">
                <a:latin typeface="Arial"/>
                <a:cs typeface="Arial"/>
              </a:rPr>
              <a:t> </a:t>
            </a:r>
            <a:r>
              <a:rPr sz="1200" dirty="0">
                <a:latin typeface="Arial"/>
                <a:cs typeface="Arial"/>
              </a:rPr>
              <a:t>to</a:t>
            </a:r>
            <a:r>
              <a:rPr sz="1200" spc="4" dirty="0">
                <a:latin typeface="Arial"/>
                <a:cs typeface="Arial"/>
              </a:rPr>
              <a:t> </a:t>
            </a:r>
            <a:r>
              <a:rPr sz="1200" dirty="0">
                <a:latin typeface="Arial"/>
                <a:cs typeface="Arial"/>
              </a:rPr>
              <a:t>s</a:t>
            </a:r>
            <a:r>
              <a:rPr sz="1200" spc="4" dirty="0">
                <a:latin typeface="Arial"/>
                <a:cs typeface="Arial"/>
              </a:rPr>
              <a:t>h</a:t>
            </a:r>
            <a:r>
              <a:rPr sz="1200" dirty="0">
                <a:latin typeface="Arial"/>
                <a:cs typeface="Arial"/>
              </a:rPr>
              <a:t>ip</a:t>
            </a:r>
            <a:r>
              <a:rPr sz="1200" spc="4" dirty="0">
                <a:latin typeface="Arial"/>
                <a:cs typeface="Arial"/>
              </a:rPr>
              <a:t>p</a:t>
            </a:r>
            <a:r>
              <a:rPr sz="1200" dirty="0">
                <a:latin typeface="Arial"/>
                <a:cs typeface="Arial"/>
              </a:rPr>
              <a:t>ing</a:t>
            </a:r>
            <a:r>
              <a:rPr sz="1200" spc="-34" dirty="0">
                <a:latin typeface="Arial"/>
                <a:cs typeface="Arial"/>
              </a:rPr>
              <a:t> </a:t>
            </a:r>
            <a:r>
              <a:rPr sz="1200" dirty="0">
                <a:latin typeface="Arial"/>
                <a:cs typeface="Arial"/>
              </a:rPr>
              <a:t>s</a:t>
            </a:r>
            <a:r>
              <a:rPr sz="1200" spc="4" dirty="0">
                <a:latin typeface="Arial"/>
                <a:cs typeface="Arial"/>
              </a:rPr>
              <a:t>u</a:t>
            </a:r>
            <a:r>
              <a:rPr sz="1200" dirty="0">
                <a:latin typeface="Arial"/>
                <a:cs typeface="Arial"/>
              </a:rPr>
              <a:t>ch</a:t>
            </a:r>
            <a:r>
              <a:rPr sz="1200" spc="-14" dirty="0">
                <a:latin typeface="Arial"/>
                <a:cs typeface="Arial"/>
              </a:rPr>
              <a:t> </a:t>
            </a:r>
            <a:r>
              <a:rPr sz="1200" spc="4" dirty="0">
                <a:latin typeface="Arial"/>
                <a:cs typeface="Arial"/>
              </a:rPr>
              <a:t>a</a:t>
            </a:r>
            <a:r>
              <a:rPr sz="1200" dirty="0">
                <a:latin typeface="Arial"/>
                <a:cs typeface="Arial"/>
              </a:rPr>
              <a:t>s</a:t>
            </a:r>
            <a:r>
              <a:rPr sz="1200" spc="-9" dirty="0">
                <a:latin typeface="Arial"/>
                <a:cs typeface="Arial"/>
              </a:rPr>
              <a:t> </a:t>
            </a:r>
            <a:r>
              <a:rPr sz="1200" dirty="0">
                <a:latin typeface="Arial"/>
                <a:cs typeface="Arial"/>
              </a:rPr>
              <a:t>t</a:t>
            </a:r>
            <a:r>
              <a:rPr sz="1200" spc="4" dirty="0">
                <a:latin typeface="Arial"/>
                <a:cs typeface="Arial"/>
              </a:rPr>
              <a:t>e</a:t>
            </a:r>
            <a:r>
              <a:rPr sz="1200" dirty="0">
                <a:latin typeface="Arial"/>
                <a:cs typeface="Arial"/>
              </a:rPr>
              <a:t>r</a:t>
            </a:r>
            <a:r>
              <a:rPr sz="1200" spc="4" dirty="0">
                <a:latin typeface="Arial"/>
                <a:cs typeface="Arial"/>
              </a:rPr>
              <a:t>m</a:t>
            </a:r>
            <a:r>
              <a:rPr sz="1200" dirty="0">
                <a:latin typeface="Arial"/>
                <a:cs typeface="Arial"/>
              </a:rPr>
              <a:t>s </a:t>
            </a:r>
            <a:r>
              <a:rPr sz="1200" spc="4" dirty="0">
                <a:latin typeface="Arial"/>
                <a:cs typeface="Arial"/>
              </a:rPr>
              <a:t>o</a:t>
            </a:r>
            <a:r>
              <a:rPr sz="1200" dirty="0">
                <a:latin typeface="Arial"/>
                <a:cs typeface="Arial"/>
              </a:rPr>
              <a:t>f</a:t>
            </a:r>
            <a:r>
              <a:rPr sz="1200" spc="-4" dirty="0">
                <a:latin typeface="Arial"/>
                <a:cs typeface="Arial"/>
              </a:rPr>
              <a:t>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a:t>
            </a:r>
            <a:r>
              <a:rPr sz="1200" spc="-100" dirty="0">
                <a:latin typeface="Arial"/>
                <a:cs typeface="Arial"/>
              </a:rPr>
              <a:t>y</a:t>
            </a:r>
            <a:r>
              <a:rPr sz="1200" dirty="0">
                <a:latin typeface="Arial"/>
                <a:cs typeface="Arial"/>
              </a:rPr>
              <a:t>,</a:t>
            </a:r>
            <a:r>
              <a:rPr sz="1200" spc="4" dirty="0">
                <a:latin typeface="Arial"/>
                <a:cs typeface="Arial"/>
              </a:rPr>
              <a:t> pa</a:t>
            </a:r>
            <a:r>
              <a:rPr sz="1200" spc="-9" dirty="0">
                <a:latin typeface="Arial"/>
                <a:cs typeface="Arial"/>
              </a:rPr>
              <a:t>y</a:t>
            </a:r>
            <a:r>
              <a:rPr sz="1200" spc="4" dirty="0">
                <a:latin typeface="Arial"/>
                <a:cs typeface="Arial"/>
              </a:rPr>
              <a:t>men</a:t>
            </a:r>
            <a:r>
              <a:rPr sz="1200" dirty="0">
                <a:latin typeface="Arial"/>
                <a:cs typeface="Arial"/>
              </a:rPr>
              <a:t>t</a:t>
            </a:r>
            <a:r>
              <a:rPr sz="1200" spc="-29" dirty="0">
                <a:latin typeface="Arial"/>
                <a:cs typeface="Arial"/>
              </a:rPr>
              <a:t> </a:t>
            </a:r>
            <a:r>
              <a:rPr sz="1200" spc="4" dirty="0">
                <a:latin typeface="Arial"/>
                <a:cs typeface="Arial"/>
              </a:rPr>
              <a:t>an</a:t>
            </a:r>
            <a:r>
              <a:rPr sz="1200" dirty="0">
                <a:latin typeface="Arial"/>
                <a:cs typeface="Arial"/>
              </a:rPr>
              <a:t>d s</a:t>
            </a:r>
            <a:r>
              <a:rPr sz="1200" spc="4" dirty="0">
                <a:latin typeface="Arial"/>
                <a:cs typeface="Arial"/>
              </a:rPr>
              <a:t>h</a:t>
            </a:r>
            <a:r>
              <a:rPr sz="1200" dirty="0">
                <a:latin typeface="Arial"/>
                <a:cs typeface="Arial"/>
              </a:rPr>
              <a:t>ip</a:t>
            </a:r>
            <a:r>
              <a:rPr sz="1200" spc="4" dirty="0">
                <a:latin typeface="Arial"/>
                <a:cs typeface="Arial"/>
              </a:rPr>
              <a:t>p</a:t>
            </a:r>
            <a:r>
              <a:rPr sz="1200" dirty="0">
                <a:latin typeface="Arial"/>
                <a:cs typeface="Arial"/>
              </a:rPr>
              <a:t>ing</a:t>
            </a:r>
            <a:r>
              <a:rPr sz="1200" spc="-50" dirty="0">
                <a:latin typeface="Arial"/>
                <a:cs typeface="Arial"/>
              </a:rPr>
              <a:t> </a:t>
            </a:r>
            <a:r>
              <a:rPr sz="1200" dirty="0">
                <a:latin typeface="Arial"/>
                <a:cs typeface="Arial"/>
              </a:rPr>
              <a:t>ins</a:t>
            </a:r>
            <a:r>
              <a:rPr sz="1200" spc="4" dirty="0">
                <a:latin typeface="Arial"/>
                <a:cs typeface="Arial"/>
              </a:rPr>
              <a:t>t</a:t>
            </a:r>
            <a:r>
              <a:rPr sz="1200" dirty="0">
                <a:latin typeface="Arial"/>
                <a:cs typeface="Arial"/>
              </a:rPr>
              <a:t>ructio</a:t>
            </a:r>
            <a:r>
              <a:rPr sz="1200" spc="4" dirty="0">
                <a:latin typeface="Arial"/>
                <a:cs typeface="Arial"/>
              </a:rPr>
              <a:t>n</a:t>
            </a:r>
            <a:r>
              <a:rPr sz="1200" dirty="0">
                <a:latin typeface="Arial"/>
                <a:cs typeface="Arial"/>
              </a:rPr>
              <a:t>s</a:t>
            </a:r>
            <a:r>
              <a:rPr sz="1200" spc="-29"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4" dirty="0">
                <a:latin typeface="Arial"/>
                <a:cs typeface="Arial"/>
              </a:rPr>
              <a:t> </a:t>
            </a:r>
            <a:r>
              <a:rPr sz="1200" spc="4" dirty="0">
                <a:latin typeface="Arial"/>
                <a:cs typeface="Arial"/>
              </a:rPr>
              <a:t>b</a:t>
            </a:r>
            <a:r>
              <a:rPr sz="1200" dirty="0">
                <a:latin typeface="Arial"/>
                <a:cs typeface="Arial"/>
              </a:rPr>
              <a:t>e</a:t>
            </a:r>
            <a:r>
              <a:rPr sz="1200" spc="-14" dirty="0">
                <a:latin typeface="Arial"/>
                <a:cs typeface="Arial"/>
              </a:rPr>
              <a:t> </a:t>
            </a:r>
            <a:r>
              <a:rPr sz="1200" spc="4" dirty="0">
                <a:latin typeface="Arial"/>
                <a:cs typeface="Arial"/>
              </a:rPr>
              <a:t>ma</a:t>
            </a:r>
            <a:r>
              <a:rPr sz="1200" dirty="0">
                <a:latin typeface="Arial"/>
                <a:cs typeface="Arial"/>
              </a:rPr>
              <a:t>in</a:t>
            </a:r>
            <a:r>
              <a:rPr sz="1200" spc="4" dirty="0">
                <a:latin typeface="Arial"/>
                <a:cs typeface="Arial"/>
              </a:rPr>
              <a:t>ta</a:t>
            </a:r>
            <a:r>
              <a:rPr sz="1200" dirty="0">
                <a:latin typeface="Arial"/>
                <a:cs typeface="Arial"/>
              </a:rPr>
              <a:t>in</a:t>
            </a:r>
            <a:r>
              <a:rPr sz="1200" spc="4" dirty="0">
                <a:latin typeface="Arial"/>
                <a:cs typeface="Arial"/>
              </a:rPr>
              <a:t>e</a:t>
            </a:r>
            <a:r>
              <a:rPr sz="1200" dirty="0">
                <a:latin typeface="Arial"/>
                <a:cs typeface="Arial"/>
              </a:rPr>
              <a:t>d</a:t>
            </a:r>
            <a:r>
              <a:rPr sz="1200" spc="-49" dirty="0">
                <a:latin typeface="Arial"/>
                <a:cs typeface="Arial"/>
              </a:rPr>
              <a:t> </a:t>
            </a:r>
            <a:r>
              <a:rPr sz="1200" dirty="0">
                <a:latin typeface="Arial"/>
                <a:cs typeface="Arial"/>
              </a:rPr>
              <a:t>in</a:t>
            </a:r>
            <a:r>
              <a:rPr sz="1200" spc="-4" dirty="0">
                <a:latin typeface="Arial"/>
                <a:cs typeface="Arial"/>
              </a:rPr>
              <a:t> </a:t>
            </a:r>
            <a:r>
              <a:rPr sz="1200" dirty="0">
                <a:latin typeface="Arial"/>
                <a:cs typeface="Arial"/>
              </a:rPr>
              <a:t>t</a:t>
            </a:r>
            <a:r>
              <a:rPr sz="1200" spc="4" dirty="0">
                <a:latin typeface="Arial"/>
                <a:cs typeface="Arial"/>
              </a:rPr>
              <a:t>e</a:t>
            </a:r>
            <a:r>
              <a:rPr sz="1200" spc="-9" dirty="0">
                <a:latin typeface="Arial"/>
                <a:cs typeface="Arial"/>
              </a:rPr>
              <a:t>x</a:t>
            </a:r>
            <a:r>
              <a:rPr sz="1200" dirty="0">
                <a:latin typeface="Arial"/>
                <a:cs typeface="Arial"/>
              </a:rPr>
              <a:t>t</a:t>
            </a:r>
            <a:r>
              <a:rPr sz="1200" spc="14" dirty="0">
                <a:latin typeface="Arial"/>
                <a:cs typeface="Arial"/>
              </a:rPr>
              <a:t> f</a:t>
            </a:r>
            <a:r>
              <a:rPr sz="1200" spc="4" dirty="0">
                <a:latin typeface="Arial"/>
                <a:cs typeface="Arial"/>
              </a:rPr>
              <a:t>o</a:t>
            </a:r>
            <a:r>
              <a:rPr sz="1200" dirty="0">
                <a:latin typeface="Arial"/>
                <a:cs typeface="Arial"/>
              </a:rPr>
              <a:t>r</a:t>
            </a:r>
            <a:r>
              <a:rPr sz="1200" spc="-24" dirty="0">
                <a:latin typeface="Arial"/>
                <a:cs typeface="Arial"/>
              </a:rPr>
              <a:t> </a:t>
            </a:r>
            <a:r>
              <a:rPr sz="1200" spc="4" dirty="0">
                <a:latin typeface="Arial"/>
                <a:cs typeface="Arial"/>
              </a:rPr>
              <a:t>p</a:t>
            </a:r>
            <a:r>
              <a:rPr sz="1200" dirty="0">
                <a:latin typeface="Arial"/>
                <a:cs typeface="Arial"/>
              </a:rPr>
              <a:t>r</a:t>
            </a:r>
            <a:r>
              <a:rPr sz="1200" spc="-4" dirty="0">
                <a:latin typeface="Arial"/>
                <a:cs typeface="Arial"/>
              </a:rPr>
              <a:t>i</a:t>
            </a:r>
            <a:r>
              <a:rPr sz="1200" spc="4" dirty="0">
                <a:latin typeface="Arial"/>
                <a:cs typeface="Arial"/>
              </a:rPr>
              <a:t>n</a:t>
            </a:r>
            <a:r>
              <a:rPr sz="1200" dirty="0">
                <a:latin typeface="Arial"/>
                <a:cs typeface="Arial"/>
              </a:rPr>
              <a:t>ti</a:t>
            </a:r>
            <a:r>
              <a:rPr sz="1200" spc="4" dirty="0">
                <a:latin typeface="Arial"/>
                <a:cs typeface="Arial"/>
              </a:rPr>
              <a:t>n</a:t>
            </a:r>
            <a:r>
              <a:rPr sz="1200" dirty="0">
                <a:latin typeface="Arial"/>
                <a:cs typeface="Arial"/>
              </a:rPr>
              <a:t>g</a:t>
            </a:r>
            <a:r>
              <a:rPr sz="1200" spc="-14" dirty="0">
                <a:latin typeface="Arial"/>
                <a:cs typeface="Arial"/>
              </a:rPr>
              <a:t> </a:t>
            </a:r>
            <a:r>
              <a:rPr sz="1200" spc="4" dirty="0">
                <a:latin typeface="Arial"/>
                <a:cs typeface="Arial"/>
              </a:rPr>
              <a:t>o</a:t>
            </a:r>
            <a:r>
              <a:rPr sz="1200" dirty="0">
                <a:latin typeface="Arial"/>
                <a:cs typeface="Arial"/>
              </a:rPr>
              <a:t>n</a:t>
            </a:r>
            <a:r>
              <a:rPr sz="1200" spc="-1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 </a:t>
            </a:r>
            <a:r>
              <a:rPr sz="1200" spc="4" dirty="0">
                <a:latin typeface="Arial"/>
                <a:cs typeface="Arial"/>
              </a:rPr>
              <a:t>do</a:t>
            </a:r>
            <a:r>
              <a:rPr sz="1200" dirty="0">
                <a:latin typeface="Arial"/>
                <a:cs typeface="Arial"/>
              </a:rPr>
              <a:t>c</a:t>
            </a:r>
            <a:r>
              <a:rPr sz="1200" spc="4" dirty="0">
                <a:latin typeface="Arial"/>
                <a:cs typeface="Arial"/>
              </a:rPr>
              <a:t>um</a:t>
            </a:r>
            <a:r>
              <a:rPr sz="1200" spc="-4" dirty="0">
                <a:latin typeface="Arial"/>
                <a:cs typeface="Arial"/>
              </a:rPr>
              <a:t>en</a:t>
            </a:r>
            <a:r>
              <a:rPr sz="1200" dirty="0">
                <a:latin typeface="Arial"/>
                <a:cs typeface="Arial"/>
              </a:rPr>
              <a:t>ts.</a:t>
            </a:r>
          </a:p>
        </p:txBody>
      </p:sp>
      <p:sp>
        <p:nvSpPr>
          <p:cNvPr id="4" name="object 4"/>
          <p:cNvSpPr txBox="1"/>
          <p:nvPr/>
        </p:nvSpPr>
        <p:spPr>
          <a:xfrm>
            <a:off x="1952625" y="5641022"/>
            <a:ext cx="2209800" cy="457200"/>
          </a:xfrm>
          <a:prstGeom prst="rect">
            <a:avLst/>
          </a:prstGeom>
        </p:spPr>
        <p:txBody>
          <a:bodyPr wrap="square" lIns="0" tIns="0" rIns="0" bIns="0" rtlCol="0">
            <a:noAutofit/>
          </a:bodyPr>
          <a:lstStyle/>
          <a:p>
            <a:pPr marL="91668">
              <a:lnSpc>
                <a:spcPct val="95825"/>
              </a:lnSpc>
              <a:spcBef>
                <a:spcPts val="335"/>
              </a:spcBef>
            </a:pPr>
            <a:r>
              <a:rPr sz="1200" dirty="0">
                <a:latin typeface="Arial"/>
                <a:cs typeface="Arial"/>
              </a:rPr>
              <a:t>S</a:t>
            </a:r>
            <a:r>
              <a:rPr sz="1200" spc="4" dirty="0">
                <a:latin typeface="Arial"/>
                <a:cs typeface="Arial"/>
              </a:rPr>
              <a:t>h</a:t>
            </a:r>
            <a:r>
              <a:rPr sz="1200" dirty="0">
                <a:latin typeface="Arial"/>
                <a:cs typeface="Arial"/>
              </a:rPr>
              <a:t>ip</a:t>
            </a:r>
            <a:r>
              <a:rPr sz="1200" spc="4" dirty="0">
                <a:latin typeface="Arial"/>
                <a:cs typeface="Arial"/>
              </a:rPr>
              <a:t>p</a:t>
            </a:r>
            <a:r>
              <a:rPr sz="1200" dirty="0">
                <a:latin typeface="Arial"/>
                <a:cs typeface="Arial"/>
              </a:rPr>
              <a:t>i</a:t>
            </a:r>
            <a:r>
              <a:rPr sz="1200" spc="-9" dirty="0">
                <a:latin typeface="Arial"/>
                <a:cs typeface="Arial"/>
              </a:rPr>
              <a:t>n</a:t>
            </a:r>
            <a:r>
              <a:rPr sz="1200" dirty="0">
                <a:latin typeface="Arial"/>
                <a:cs typeface="Arial"/>
              </a:rPr>
              <a:t>g</a:t>
            </a:r>
            <a:r>
              <a:rPr sz="1200" spc="-39" dirty="0">
                <a:latin typeface="Arial"/>
                <a:cs typeface="Arial"/>
              </a:rPr>
              <a:t> </a:t>
            </a:r>
            <a:r>
              <a:rPr sz="1200" dirty="0">
                <a:latin typeface="Arial"/>
                <a:cs typeface="Arial"/>
              </a:rPr>
              <a:t>c</a:t>
            </a:r>
            <a:r>
              <a:rPr sz="1200" spc="4" dirty="0">
                <a:latin typeface="Arial"/>
                <a:cs typeface="Arial"/>
              </a:rPr>
              <a:t>o</a:t>
            </a:r>
            <a:r>
              <a:rPr sz="1200" dirty="0">
                <a:latin typeface="Arial"/>
                <a:cs typeface="Arial"/>
              </a:rPr>
              <a:t>st</a:t>
            </a:r>
            <a:endParaRPr sz="1200">
              <a:latin typeface="Arial"/>
              <a:cs typeface="Arial"/>
            </a:endParaRPr>
          </a:p>
        </p:txBody>
      </p:sp>
      <p:sp>
        <p:nvSpPr>
          <p:cNvPr id="3" name="object 3"/>
          <p:cNvSpPr txBox="1"/>
          <p:nvPr/>
        </p:nvSpPr>
        <p:spPr>
          <a:xfrm>
            <a:off x="4162426" y="5641022"/>
            <a:ext cx="993775" cy="457200"/>
          </a:xfrm>
          <a:prstGeom prst="rect">
            <a:avLst/>
          </a:prstGeom>
        </p:spPr>
        <p:txBody>
          <a:bodyPr wrap="square" lIns="0" tIns="0" rIns="0" bIns="0" rtlCol="0">
            <a:noAutofit/>
          </a:bodyPr>
          <a:lstStyle/>
          <a:p>
            <a:pPr marL="91948">
              <a:lnSpc>
                <a:spcPct val="95825"/>
              </a:lnSpc>
              <a:spcBef>
                <a:spcPts val="335"/>
              </a:spcBef>
            </a:pPr>
            <a:r>
              <a:rPr sz="1200" dirty="0">
                <a:latin typeface="Arial"/>
                <a:cs typeface="Arial"/>
              </a:rPr>
              <a:t>c</a:t>
            </a:r>
            <a:r>
              <a:rPr sz="1200" spc="4" dirty="0">
                <a:latin typeface="Arial"/>
                <a:cs typeface="Arial"/>
              </a:rPr>
              <a:t>ond</a:t>
            </a:r>
            <a:r>
              <a:rPr sz="1200" dirty="0">
                <a:latin typeface="Arial"/>
                <a:cs typeface="Arial"/>
              </a:rPr>
              <a:t>ition</a:t>
            </a:r>
            <a:endParaRPr sz="1200">
              <a:latin typeface="Arial"/>
              <a:cs typeface="Arial"/>
            </a:endParaRPr>
          </a:p>
        </p:txBody>
      </p:sp>
      <p:sp>
        <p:nvSpPr>
          <p:cNvPr id="2" name="object 2"/>
          <p:cNvSpPr txBox="1"/>
          <p:nvPr/>
        </p:nvSpPr>
        <p:spPr>
          <a:xfrm>
            <a:off x="5156200" y="5641022"/>
            <a:ext cx="4597400" cy="457200"/>
          </a:xfrm>
          <a:prstGeom prst="rect">
            <a:avLst/>
          </a:prstGeom>
        </p:spPr>
        <p:txBody>
          <a:bodyPr wrap="square" lIns="0" tIns="0" rIns="0" bIns="0" rtlCol="0">
            <a:noAutofit/>
          </a:bodyPr>
          <a:lstStyle/>
          <a:p>
            <a:pPr marL="92201" marR="97258">
              <a:lnSpc>
                <a:spcPct val="100041"/>
              </a:lnSpc>
              <a:spcBef>
                <a:spcPts val="335"/>
              </a:spcBef>
            </a:pPr>
            <a:r>
              <a:rPr sz="1200" spc="9" dirty="0">
                <a:latin typeface="Arial"/>
                <a:cs typeface="Arial"/>
              </a:rPr>
              <a:t>T</a:t>
            </a:r>
            <a:r>
              <a:rPr sz="1200" spc="4" dirty="0">
                <a:latin typeface="Arial"/>
                <a:cs typeface="Arial"/>
              </a:rPr>
              <a:t>h</a:t>
            </a:r>
            <a:r>
              <a:rPr sz="1200" dirty="0">
                <a:latin typeface="Arial"/>
                <a:cs typeface="Arial"/>
              </a:rPr>
              <a:t>e</a:t>
            </a:r>
            <a:r>
              <a:rPr sz="1200" spc="-29" dirty="0">
                <a:latin typeface="Arial"/>
                <a:cs typeface="Arial"/>
              </a:rPr>
              <a:t> </a:t>
            </a:r>
            <a:r>
              <a:rPr sz="1200" dirty="0">
                <a:latin typeface="Arial"/>
                <a:cs typeface="Arial"/>
              </a:rPr>
              <a:t>s</a:t>
            </a:r>
            <a:r>
              <a:rPr sz="1200" spc="4" dirty="0">
                <a:latin typeface="Arial"/>
                <a:cs typeface="Arial"/>
              </a:rPr>
              <a:t>h</a:t>
            </a:r>
            <a:r>
              <a:rPr sz="1200" dirty="0">
                <a:latin typeface="Arial"/>
                <a:cs typeface="Arial"/>
              </a:rPr>
              <a:t>ip</a:t>
            </a:r>
            <a:r>
              <a:rPr sz="1200" spc="4" dirty="0">
                <a:latin typeface="Arial"/>
                <a:cs typeface="Arial"/>
              </a:rPr>
              <a:t>p</a:t>
            </a:r>
            <a:r>
              <a:rPr sz="1200" dirty="0">
                <a:latin typeface="Arial"/>
                <a:cs typeface="Arial"/>
              </a:rPr>
              <a:t>ing</a:t>
            </a:r>
            <a:r>
              <a:rPr sz="1200" spc="-34" dirty="0">
                <a:latin typeface="Arial"/>
                <a:cs typeface="Arial"/>
              </a:rPr>
              <a:t> </a:t>
            </a:r>
            <a:r>
              <a:rPr sz="1200" dirty="0">
                <a:latin typeface="Arial"/>
                <a:cs typeface="Arial"/>
              </a:rPr>
              <a:t>c</a:t>
            </a:r>
            <a:r>
              <a:rPr sz="1200" spc="4" dirty="0">
                <a:latin typeface="Arial"/>
                <a:cs typeface="Arial"/>
              </a:rPr>
              <a:t>o</a:t>
            </a:r>
            <a:r>
              <a:rPr sz="1200" dirty="0">
                <a:latin typeface="Arial"/>
                <a:cs typeface="Arial"/>
              </a:rPr>
              <a:t>st</a:t>
            </a:r>
            <a:r>
              <a:rPr sz="1200" spc="-4" dirty="0">
                <a:latin typeface="Arial"/>
                <a:cs typeface="Arial"/>
              </a:rPr>
              <a:t> </a:t>
            </a:r>
            <a:r>
              <a:rPr sz="1200" dirty="0">
                <a:latin typeface="Arial"/>
                <a:cs typeface="Arial"/>
              </a:rPr>
              <a:t>rela</a:t>
            </a:r>
            <a:r>
              <a:rPr sz="1200" spc="4" dirty="0">
                <a:latin typeface="Arial"/>
                <a:cs typeface="Arial"/>
              </a:rPr>
              <a:t>te</a:t>
            </a:r>
            <a:r>
              <a:rPr sz="1200" dirty="0">
                <a:latin typeface="Arial"/>
                <a:cs typeface="Arial"/>
              </a:rPr>
              <a:t>d</a:t>
            </a:r>
            <a:r>
              <a:rPr sz="1200" spc="-14" dirty="0">
                <a:latin typeface="Arial"/>
                <a:cs typeface="Arial"/>
              </a:rPr>
              <a:t> </a:t>
            </a:r>
            <a:r>
              <a:rPr sz="1200" spc="4" dirty="0">
                <a:latin typeface="Arial"/>
                <a:cs typeface="Arial"/>
              </a:rPr>
              <a:t>p</a:t>
            </a:r>
            <a:r>
              <a:rPr sz="1200" dirty="0">
                <a:latin typeface="Arial"/>
                <a:cs typeface="Arial"/>
              </a:rPr>
              <a:t>r</a:t>
            </a:r>
            <a:r>
              <a:rPr sz="1200" spc="-4" dirty="0">
                <a:latin typeface="Arial"/>
                <a:cs typeface="Arial"/>
              </a:rPr>
              <a:t>i</a:t>
            </a:r>
            <a:r>
              <a:rPr sz="1200" dirty="0">
                <a:latin typeface="Arial"/>
                <a:cs typeface="Arial"/>
              </a:rPr>
              <a:t>cing</a:t>
            </a:r>
            <a:r>
              <a:rPr sz="1200" spc="-1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14" dirty="0">
                <a:latin typeface="Arial"/>
                <a:cs typeface="Arial"/>
              </a:rPr>
              <a:t> </a:t>
            </a:r>
            <a:r>
              <a:rPr sz="1200" spc="4" dirty="0">
                <a:latin typeface="Arial"/>
                <a:cs typeface="Arial"/>
              </a:rPr>
              <a:t>b</a:t>
            </a:r>
            <a:r>
              <a:rPr sz="1200" dirty="0">
                <a:latin typeface="Arial"/>
                <a:cs typeface="Arial"/>
              </a:rPr>
              <a:t>e</a:t>
            </a:r>
            <a:r>
              <a:rPr sz="1200" spc="-4" dirty="0">
                <a:latin typeface="Arial"/>
                <a:cs typeface="Arial"/>
              </a:rPr>
              <a:t> </a:t>
            </a:r>
            <a:r>
              <a:rPr sz="1200" dirty="0">
                <a:latin typeface="Arial"/>
                <a:cs typeface="Arial"/>
              </a:rPr>
              <a:t>c</a:t>
            </a:r>
            <a:r>
              <a:rPr sz="1200" spc="4" dirty="0">
                <a:latin typeface="Arial"/>
                <a:cs typeface="Arial"/>
              </a:rPr>
              <a:t>ap</a:t>
            </a:r>
            <a:r>
              <a:rPr sz="1200" dirty="0">
                <a:latin typeface="Arial"/>
                <a:cs typeface="Arial"/>
              </a:rPr>
              <a:t>t</a:t>
            </a:r>
            <a:r>
              <a:rPr sz="1200" spc="4" dirty="0">
                <a:latin typeface="Arial"/>
                <a:cs typeface="Arial"/>
              </a:rPr>
              <a:t>u</a:t>
            </a:r>
            <a:r>
              <a:rPr sz="1200" dirty="0">
                <a:latin typeface="Arial"/>
                <a:cs typeface="Arial"/>
              </a:rPr>
              <a:t>red</a:t>
            </a:r>
            <a:r>
              <a:rPr sz="1200" spc="-39" dirty="0">
                <a:latin typeface="Arial"/>
                <a:cs typeface="Arial"/>
              </a:rPr>
              <a:t> </a:t>
            </a:r>
            <a:r>
              <a:rPr sz="1200" dirty="0">
                <a:latin typeface="Arial"/>
                <a:cs typeface="Arial"/>
              </a:rPr>
              <a:t>in</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c</a:t>
            </a:r>
            <a:r>
              <a:rPr sz="1200" spc="4" dirty="0">
                <a:latin typeface="Arial"/>
                <a:cs typeface="Arial"/>
              </a:rPr>
              <a:t>ond</a:t>
            </a:r>
            <a:r>
              <a:rPr sz="1200" dirty="0">
                <a:latin typeface="Arial"/>
                <a:cs typeface="Arial"/>
              </a:rPr>
              <a:t>ition scre</a:t>
            </a:r>
            <a:r>
              <a:rPr sz="1200" spc="4" dirty="0">
                <a:latin typeface="Arial"/>
                <a:cs typeface="Arial"/>
              </a:rPr>
              <a:t>en</a:t>
            </a:r>
            <a:r>
              <a:rPr sz="1200" dirty="0">
                <a:latin typeface="Arial"/>
                <a:cs typeface="Arial"/>
              </a:rPr>
              <a:t>.</a:t>
            </a:r>
          </a:p>
        </p:txBody>
      </p:sp>
      <p:sp>
        <p:nvSpPr>
          <p:cNvPr id="32" name="Title 31"/>
          <p:cNvSpPr>
            <a:spLocks noGrp="1"/>
          </p:cNvSpPr>
          <p:nvPr>
            <p:ph type="title"/>
          </p:nvPr>
        </p:nvSpPr>
        <p:spPr>
          <a:xfrm>
            <a:off x="1925494" y="304800"/>
            <a:ext cx="8509933" cy="859536"/>
          </a:xfrm>
        </p:spPr>
        <p:txBody>
          <a:bodyPr/>
          <a:lstStyle/>
          <a:p>
            <a:r>
              <a:rPr lang="en-US" sz="2400" dirty="0">
                <a:latin typeface="+mn-lt"/>
                <a:cs typeface="Arial"/>
              </a:rPr>
              <a:t>Delive</a:t>
            </a:r>
            <a:r>
              <a:rPr lang="en-US" sz="2400" spc="14" dirty="0">
                <a:latin typeface="+mn-lt"/>
                <a:cs typeface="Arial"/>
              </a:rPr>
              <a:t>r</a:t>
            </a:r>
            <a:r>
              <a:rPr lang="en-US" sz="2400" dirty="0">
                <a:latin typeface="+mn-lt"/>
                <a:cs typeface="Arial"/>
              </a:rPr>
              <a:t>y Header Views</a:t>
            </a:r>
            <a:br>
              <a:rPr lang="en-US" sz="2800" dirty="0">
                <a:latin typeface="Arial"/>
                <a:cs typeface="Arial"/>
              </a:rPr>
            </a:b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51CC4F9-A241-445B-B4E5-3A18D6B5FE8E}"/>
              </a:ext>
            </a:extLst>
          </p:cNvPr>
          <p:cNvPicPr>
            <a:picLocks noChangeAspect="1"/>
          </p:cNvPicPr>
          <p:nvPr/>
        </p:nvPicPr>
        <p:blipFill>
          <a:blip r:embed="rId2"/>
          <a:stretch>
            <a:fillRect/>
          </a:stretch>
        </p:blipFill>
        <p:spPr>
          <a:xfrm>
            <a:off x="1828801" y="1126299"/>
            <a:ext cx="7696200" cy="4605401"/>
          </a:xfrm>
          <a:prstGeom prst="rect">
            <a:avLst/>
          </a:prstGeom>
          <a:ln w="28575">
            <a:solidFill>
              <a:schemeClr val="tx1"/>
            </a:solidFill>
          </a:ln>
        </p:spPr>
      </p:pic>
      <p:sp>
        <p:nvSpPr>
          <p:cNvPr id="3" name="Title 2"/>
          <p:cNvSpPr>
            <a:spLocks noGrp="1"/>
          </p:cNvSpPr>
          <p:nvPr>
            <p:ph type="title"/>
          </p:nvPr>
        </p:nvSpPr>
        <p:spPr>
          <a:xfrm>
            <a:off x="1828801" y="290604"/>
            <a:ext cx="8509933" cy="859536"/>
          </a:xfrm>
        </p:spPr>
        <p:txBody>
          <a:bodyPr/>
          <a:lstStyle/>
          <a:p>
            <a:r>
              <a:rPr lang="en-US" sz="2400" dirty="0">
                <a:latin typeface="+mn-lt"/>
                <a:cs typeface="Arial"/>
              </a:rPr>
              <a:t>Delive</a:t>
            </a:r>
            <a:r>
              <a:rPr lang="en-US" sz="2400" spc="14" dirty="0">
                <a:latin typeface="+mn-lt"/>
                <a:cs typeface="Arial"/>
              </a:rPr>
              <a:t>r</a:t>
            </a:r>
            <a:r>
              <a:rPr lang="en-US" sz="2400" dirty="0">
                <a:latin typeface="+mn-lt"/>
                <a:cs typeface="Arial"/>
              </a:rPr>
              <a:t>y Item Views</a:t>
            </a:r>
            <a:br>
              <a:rPr lang="en-US" sz="2800" dirty="0">
                <a:latin typeface="Arial"/>
                <a:cs typeface="Arial"/>
              </a:rPr>
            </a:b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object 35"/>
          <p:cNvSpPr/>
          <p:nvPr/>
        </p:nvSpPr>
        <p:spPr>
          <a:xfrm>
            <a:off x="2133600" y="1447800"/>
            <a:ext cx="1820926" cy="304800"/>
          </a:xfrm>
          <a:custGeom>
            <a:avLst/>
            <a:gdLst/>
            <a:ahLst/>
            <a:cxnLst/>
            <a:rect l="l" t="t" r="r" b="b"/>
            <a:pathLst>
              <a:path w="1820926" h="304800">
                <a:moveTo>
                  <a:pt x="0" y="304800"/>
                </a:moveTo>
                <a:lnTo>
                  <a:pt x="1820926" y="304800"/>
                </a:lnTo>
                <a:lnTo>
                  <a:pt x="1820926" y="0"/>
                </a:lnTo>
                <a:lnTo>
                  <a:pt x="0" y="0"/>
                </a:lnTo>
                <a:lnTo>
                  <a:pt x="0" y="304800"/>
                </a:lnTo>
                <a:close/>
              </a:path>
            </a:pathLst>
          </a:custGeom>
          <a:solidFill>
            <a:srgbClr val="FFFF99"/>
          </a:solidFill>
        </p:spPr>
        <p:txBody>
          <a:bodyPr wrap="square" lIns="0" tIns="0" rIns="0" bIns="0" rtlCol="0">
            <a:noAutofit/>
          </a:bodyPr>
          <a:lstStyle/>
          <a:p>
            <a:endParaRPr/>
          </a:p>
        </p:txBody>
      </p:sp>
      <p:sp>
        <p:nvSpPr>
          <p:cNvPr id="36" name="object 36"/>
          <p:cNvSpPr/>
          <p:nvPr/>
        </p:nvSpPr>
        <p:spPr>
          <a:xfrm>
            <a:off x="3954527" y="1447800"/>
            <a:ext cx="1401699" cy="304800"/>
          </a:xfrm>
          <a:custGeom>
            <a:avLst/>
            <a:gdLst/>
            <a:ahLst/>
            <a:cxnLst/>
            <a:rect l="l" t="t" r="r" b="b"/>
            <a:pathLst>
              <a:path w="1401699" h="304800">
                <a:moveTo>
                  <a:pt x="0" y="304800"/>
                </a:moveTo>
                <a:lnTo>
                  <a:pt x="1401699" y="304800"/>
                </a:lnTo>
                <a:lnTo>
                  <a:pt x="1401699" y="0"/>
                </a:lnTo>
                <a:lnTo>
                  <a:pt x="0" y="0"/>
                </a:lnTo>
                <a:lnTo>
                  <a:pt x="0" y="304800"/>
                </a:lnTo>
                <a:close/>
              </a:path>
            </a:pathLst>
          </a:custGeom>
          <a:solidFill>
            <a:srgbClr val="CCFFCC"/>
          </a:solidFill>
        </p:spPr>
        <p:txBody>
          <a:bodyPr wrap="square" lIns="0" tIns="0" rIns="0" bIns="0" rtlCol="0">
            <a:noAutofit/>
          </a:bodyPr>
          <a:lstStyle/>
          <a:p>
            <a:endParaRPr/>
          </a:p>
        </p:txBody>
      </p:sp>
      <p:sp>
        <p:nvSpPr>
          <p:cNvPr id="37" name="object 37"/>
          <p:cNvSpPr/>
          <p:nvPr/>
        </p:nvSpPr>
        <p:spPr>
          <a:xfrm>
            <a:off x="5356226" y="1447800"/>
            <a:ext cx="4625975" cy="304800"/>
          </a:xfrm>
          <a:custGeom>
            <a:avLst/>
            <a:gdLst/>
            <a:ahLst/>
            <a:cxnLst/>
            <a:rect l="l" t="t" r="r" b="b"/>
            <a:pathLst>
              <a:path w="4625975" h="304800">
                <a:moveTo>
                  <a:pt x="0" y="304800"/>
                </a:moveTo>
                <a:lnTo>
                  <a:pt x="4625975" y="304800"/>
                </a:lnTo>
                <a:lnTo>
                  <a:pt x="4625975" y="0"/>
                </a:lnTo>
                <a:lnTo>
                  <a:pt x="0" y="0"/>
                </a:lnTo>
                <a:lnTo>
                  <a:pt x="0" y="304800"/>
                </a:lnTo>
                <a:close/>
              </a:path>
            </a:pathLst>
          </a:custGeom>
          <a:solidFill>
            <a:srgbClr val="FFCC99"/>
          </a:solidFill>
        </p:spPr>
        <p:txBody>
          <a:bodyPr wrap="square" lIns="0" tIns="0" rIns="0" bIns="0" rtlCol="0">
            <a:noAutofit/>
          </a:bodyPr>
          <a:lstStyle/>
          <a:p>
            <a:endParaRPr/>
          </a:p>
        </p:txBody>
      </p:sp>
      <p:sp>
        <p:nvSpPr>
          <p:cNvPr id="38" name="object 38"/>
          <p:cNvSpPr/>
          <p:nvPr/>
        </p:nvSpPr>
        <p:spPr>
          <a:xfrm>
            <a:off x="2133600" y="1752600"/>
            <a:ext cx="1820926" cy="457200"/>
          </a:xfrm>
          <a:custGeom>
            <a:avLst/>
            <a:gdLst/>
            <a:ahLst/>
            <a:cxnLst/>
            <a:rect l="l" t="t" r="r" b="b"/>
            <a:pathLst>
              <a:path w="1820926" h="457200">
                <a:moveTo>
                  <a:pt x="0" y="457200"/>
                </a:moveTo>
                <a:lnTo>
                  <a:pt x="1820926" y="457200"/>
                </a:lnTo>
                <a:lnTo>
                  <a:pt x="1820926" y="0"/>
                </a:lnTo>
                <a:lnTo>
                  <a:pt x="0" y="0"/>
                </a:lnTo>
                <a:lnTo>
                  <a:pt x="0" y="457200"/>
                </a:lnTo>
                <a:close/>
              </a:path>
            </a:pathLst>
          </a:custGeom>
          <a:solidFill>
            <a:srgbClr val="FFFF99"/>
          </a:solidFill>
        </p:spPr>
        <p:txBody>
          <a:bodyPr wrap="square" lIns="0" tIns="0" rIns="0" bIns="0" rtlCol="0">
            <a:noAutofit/>
          </a:bodyPr>
          <a:lstStyle/>
          <a:p>
            <a:endParaRPr/>
          </a:p>
        </p:txBody>
      </p:sp>
      <p:sp>
        <p:nvSpPr>
          <p:cNvPr id="39" name="object 39"/>
          <p:cNvSpPr/>
          <p:nvPr/>
        </p:nvSpPr>
        <p:spPr>
          <a:xfrm>
            <a:off x="3954527" y="1752600"/>
            <a:ext cx="1401699" cy="457200"/>
          </a:xfrm>
          <a:custGeom>
            <a:avLst/>
            <a:gdLst/>
            <a:ahLst/>
            <a:cxnLst/>
            <a:rect l="l" t="t" r="r" b="b"/>
            <a:pathLst>
              <a:path w="1401699" h="457200">
                <a:moveTo>
                  <a:pt x="0" y="457200"/>
                </a:moveTo>
                <a:lnTo>
                  <a:pt x="1401699" y="457200"/>
                </a:lnTo>
                <a:lnTo>
                  <a:pt x="1401699" y="0"/>
                </a:lnTo>
                <a:lnTo>
                  <a:pt x="0" y="0"/>
                </a:lnTo>
                <a:lnTo>
                  <a:pt x="0" y="457200"/>
                </a:lnTo>
                <a:close/>
              </a:path>
            </a:pathLst>
          </a:custGeom>
          <a:solidFill>
            <a:srgbClr val="CCFFCC"/>
          </a:solidFill>
        </p:spPr>
        <p:txBody>
          <a:bodyPr wrap="square" lIns="0" tIns="0" rIns="0" bIns="0" rtlCol="0">
            <a:noAutofit/>
          </a:bodyPr>
          <a:lstStyle/>
          <a:p>
            <a:endParaRPr/>
          </a:p>
        </p:txBody>
      </p:sp>
      <p:sp>
        <p:nvSpPr>
          <p:cNvPr id="40" name="object 40"/>
          <p:cNvSpPr/>
          <p:nvPr/>
        </p:nvSpPr>
        <p:spPr>
          <a:xfrm>
            <a:off x="5356226" y="1752600"/>
            <a:ext cx="4625975" cy="457200"/>
          </a:xfrm>
          <a:custGeom>
            <a:avLst/>
            <a:gdLst/>
            <a:ahLst/>
            <a:cxnLst/>
            <a:rect l="l" t="t" r="r" b="b"/>
            <a:pathLst>
              <a:path w="4625975" h="457200">
                <a:moveTo>
                  <a:pt x="0" y="457200"/>
                </a:moveTo>
                <a:lnTo>
                  <a:pt x="4625975" y="457200"/>
                </a:lnTo>
                <a:lnTo>
                  <a:pt x="4625975" y="0"/>
                </a:lnTo>
                <a:lnTo>
                  <a:pt x="0" y="0"/>
                </a:lnTo>
                <a:lnTo>
                  <a:pt x="0" y="457200"/>
                </a:lnTo>
                <a:close/>
              </a:path>
            </a:pathLst>
          </a:custGeom>
          <a:solidFill>
            <a:srgbClr val="FFCC99"/>
          </a:solidFill>
        </p:spPr>
        <p:txBody>
          <a:bodyPr wrap="square" lIns="0" tIns="0" rIns="0" bIns="0" rtlCol="0">
            <a:noAutofit/>
          </a:bodyPr>
          <a:lstStyle/>
          <a:p>
            <a:endParaRPr/>
          </a:p>
        </p:txBody>
      </p:sp>
      <p:sp>
        <p:nvSpPr>
          <p:cNvPr id="41" name="object 41"/>
          <p:cNvSpPr/>
          <p:nvPr/>
        </p:nvSpPr>
        <p:spPr>
          <a:xfrm>
            <a:off x="2133600" y="2209801"/>
            <a:ext cx="1820926" cy="640079"/>
          </a:xfrm>
          <a:custGeom>
            <a:avLst/>
            <a:gdLst/>
            <a:ahLst/>
            <a:cxnLst/>
            <a:rect l="l" t="t" r="r" b="b"/>
            <a:pathLst>
              <a:path w="1820926" h="640079">
                <a:moveTo>
                  <a:pt x="0" y="640079"/>
                </a:moveTo>
                <a:lnTo>
                  <a:pt x="1820926" y="640079"/>
                </a:lnTo>
                <a:lnTo>
                  <a:pt x="1820926" y="0"/>
                </a:lnTo>
                <a:lnTo>
                  <a:pt x="0" y="0"/>
                </a:lnTo>
                <a:lnTo>
                  <a:pt x="0" y="640079"/>
                </a:lnTo>
                <a:close/>
              </a:path>
            </a:pathLst>
          </a:custGeom>
          <a:solidFill>
            <a:srgbClr val="FFFF99"/>
          </a:solidFill>
        </p:spPr>
        <p:txBody>
          <a:bodyPr wrap="square" lIns="0" tIns="0" rIns="0" bIns="0" rtlCol="0">
            <a:noAutofit/>
          </a:bodyPr>
          <a:lstStyle/>
          <a:p>
            <a:endParaRPr/>
          </a:p>
        </p:txBody>
      </p:sp>
      <p:sp>
        <p:nvSpPr>
          <p:cNvPr id="42" name="object 42"/>
          <p:cNvSpPr/>
          <p:nvPr/>
        </p:nvSpPr>
        <p:spPr>
          <a:xfrm>
            <a:off x="3954527" y="2209801"/>
            <a:ext cx="1401699" cy="640079"/>
          </a:xfrm>
          <a:custGeom>
            <a:avLst/>
            <a:gdLst/>
            <a:ahLst/>
            <a:cxnLst/>
            <a:rect l="l" t="t" r="r" b="b"/>
            <a:pathLst>
              <a:path w="1401699" h="640079">
                <a:moveTo>
                  <a:pt x="0" y="640079"/>
                </a:moveTo>
                <a:lnTo>
                  <a:pt x="1401699" y="640079"/>
                </a:lnTo>
                <a:lnTo>
                  <a:pt x="1401699" y="0"/>
                </a:lnTo>
                <a:lnTo>
                  <a:pt x="0" y="0"/>
                </a:lnTo>
                <a:lnTo>
                  <a:pt x="0" y="640079"/>
                </a:lnTo>
                <a:close/>
              </a:path>
            </a:pathLst>
          </a:custGeom>
          <a:solidFill>
            <a:srgbClr val="CCFFCC"/>
          </a:solidFill>
        </p:spPr>
        <p:txBody>
          <a:bodyPr wrap="square" lIns="0" tIns="0" rIns="0" bIns="0" rtlCol="0">
            <a:noAutofit/>
          </a:bodyPr>
          <a:lstStyle/>
          <a:p>
            <a:endParaRPr/>
          </a:p>
        </p:txBody>
      </p:sp>
      <p:sp>
        <p:nvSpPr>
          <p:cNvPr id="43" name="object 43"/>
          <p:cNvSpPr/>
          <p:nvPr/>
        </p:nvSpPr>
        <p:spPr>
          <a:xfrm>
            <a:off x="5356226" y="2209801"/>
            <a:ext cx="4625975" cy="640079"/>
          </a:xfrm>
          <a:custGeom>
            <a:avLst/>
            <a:gdLst/>
            <a:ahLst/>
            <a:cxnLst/>
            <a:rect l="l" t="t" r="r" b="b"/>
            <a:pathLst>
              <a:path w="4625975" h="640079">
                <a:moveTo>
                  <a:pt x="0" y="640079"/>
                </a:moveTo>
                <a:lnTo>
                  <a:pt x="4625975" y="640079"/>
                </a:lnTo>
                <a:lnTo>
                  <a:pt x="4625975" y="0"/>
                </a:lnTo>
                <a:lnTo>
                  <a:pt x="0" y="0"/>
                </a:lnTo>
                <a:lnTo>
                  <a:pt x="0" y="640079"/>
                </a:lnTo>
                <a:close/>
              </a:path>
            </a:pathLst>
          </a:custGeom>
          <a:solidFill>
            <a:srgbClr val="FFCC99"/>
          </a:solidFill>
        </p:spPr>
        <p:txBody>
          <a:bodyPr wrap="square" lIns="0" tIns="0" rIns="0" bIns="0" rtlCol="0">
            <a:noAutofit/>
          </a:bodyPr>
          <a:lstStyle/>
          <a:p>
            <a:endParaRPr/>
          </a:p>
        </p:txBody>
      </p:sp>
      <p:sp>
        <p:nvSpPr>
          <p:cNvPr id="44" name="object 44"/>
          <p:cNvSpPr/>
          <p:nvPr/>
        </p:nvSpPr>
        <p:spPr>
          <a:xfrm>
            <a:off x="2133600" y="2849879"/>
            <a:ext cx="1820926" cy="457200"/>
          </a:xfrm>
          <a:custGeom>
            <a:avLst/>
            <a:gdLst/>
            <a:ahLst/>
            <a:cxnLst/>
            <a:rect l="l" t="t" r="r" b="b"/>
            <a:pathLst>
              <a:path w="1820926" h="457200">
                <a:moveTo>
                  <a:pt x="0" y="457200"/>
                </a:moveTo>
                <a:lnTo>
                  <a:pt x="1820926" y="457200"/>
                </a:lnTo>
                <a:lnTo>
                  <a:pt x="1820926" y="0"/>
                </a:lnTo>
                <a:lnTo>
                  <a:pt x="0" y="0"/>
                </a:lnTo>
                <a:lnTo>
                  <a:pt x="0" y="457200"/>
                </a:lnTo>
                <a:close/>
              </a:path>
            </a:pathLst>
          </a:custGeom>
          <a:solidFill>
            <a:srgbClr val="FFFF99"/>
          </a:solidFill>
        </p:spPr>
        <p:txBody>
          <a:bodyPr wrap="square" lIns="0" tIns="0" rIns="0" bIns="0" rtlCol="0">
            <a:noAutofit/>
          </a:bodyPr>
          <a:lstStyle/>
          <a:p>
            <a:endParaRPr/>
          </a:p>
        </p:txBody>
      </p:sp>
      <p:sp>
        <p:nvSpPr>
          <p:cNvPr id="45" name="object 45"/>
          <p:cNvSpPr/>
          <p:nvPr/>
        </p:nvSpPr>
        <p:spPr>
          <a:xfrm>
            <a:off x="3954527" y="2849879"/>
            <a:ext cx="1401699" cy="457200"/>
          </a:xfrm>
          <a:custGeom>
            <a:avLst/>
            <a:gdLst/>
            <a:ahLst/>
            <a:cxnLst/>
            <a:rect l="l" t="t" r="r" b="b"/>
            <a:pathLst>
              <a:path w="1401699" h="457200">
                <a:moveTo>
                  <a:pt x="0" y="457200"/>
                </a:moveTo>
                <a:lnTo>
                  <a:pt x="1401699" y="457200"/>
                </a:lnTo>
                <a:lnTo>
                  <a:pt x="1401699" y="0"/>
                </a:lnTo>
                <a:lnTo>
                  <a:pt x="0" y="0"/>
                </a:lnTo>
                <a:lnTo>
                  <a:pt x="0" y="457200"/>
                </a:lnTo>
                <a:close/>
              </a:path>
            </a:pathLst>
          </a:custGeom>
          <a:solidFill>
            <a:srgbClr val="CCFFCC"/>
          </a:solidFill>
        </p:spPr>
        <p:txBody>
          <a:bodyPr wrap="square" lIns="0" tIns="0" rIns="0" bIns="0" rtlCol="0">
            <a:noAutofit/>
          </a:bodyPr>
          <a:lstStyle/>
          <a:p>
            <a:endParaRPr/>
          </a:p>
        </p:txBody>
      </p:sp>
      <p:sp>
        <p:nvSpPr>
          <p:cNvPr id="46" name="object 46"/>
          <p:cNvSpPr/>
          <p:nvPr/>
        </p:nvSpPr>
        <p:spPr>
          <a:xfrm>
            <a:off x="5356226" y="2849879"/>
            <a:ext cx="4625975" cy="457200"/>
          </a:xfrm>
          <a:custGeom>
            <a:avLst/>
            <a:gdLst/>
            <a:ahLst/>
            <a:cxnLst/>
            <a:rect l="l" t="t" r="r" b="b"/>
            <a:pathLst>
              <a:path w="4625975" h="457200">
                <a:moveTo>
                  <a:pt x="0" y="457200"/>
                </a:moveTo>
                <a:lnTo>
                  <a:pt x="4625975" y="457200"/>
                </a:lnTo>
                <a:lnTo>
                  <a:pt x="4625975" y="0"/>
                </a:lnTo>
                <a:lnTo>
                  <a:pt x="0" y="0"/>
                </a:lnTo>
                <a:lnTo>
                  <a:pt x="0" y="457200"/>
                </a:lnTo>
                <a:close/>
              </a:path>
            </a:pathLst>
          </a:custGeom>
          <a:solidFill>
            <a:srgbClr val="FFCC99"/>
          </a:solidFill>
        </p:spPr>
        <p:txBody>
          <a:bodyPr wrap="square" lIns="0" tIns="0" rIns="0" bIns="0" rtlCol="0">
            <a:noAutofit/>
          </a:bodyPr>
          <a:lstStyle/>
          <a:p>
            <a:endParaRPr/>
          </a:p>
        </p:txBody>
      </p:sp>
      <p:sp>
        <p:nvSpPr>
          <p:cNvPr id="47" name="object 47"/>
          <p:cNvSpPr/>
          <p:nvPr/>
        </p:nvSpPr>
        <p:spPr>
          <a:xfrm>
            <a:off x="2133600" y="3307079"/>
            <a:ext cx="1820926" cy="457200"/>
          </a:xfrm>
          <a:custGeom>
            <a:avLst/>
            <a:gdLst/>
            <a:ahLst/>
            <a:cxnLst/>
            <a:rect l="l" t="t" r="r" b="b"/>
            <a:pathLst>
              <a:path w="1820926" h="457200">
                <a:moveTo>
                  <a:pt x="0" y="457200"/>
                </a:moveTo>
                <a:lnTo>
                  <a:pt x="1820926" y="457200"/>
                </a:lnTo>
                <a:lnTo>
                  <a:pt x="1820926" y="0"/>
                </a:lnTo>
                <a:lnTo>
                  <a:pt x="0" y="0"/>
                </a:lnTo>
                <a:lnTo>
                  <a:pt x="0" y="457200"/>
                </a:lnTo>
                <a:close/>
              </a:path>
            </a:pathLst>
          </a:custGeom>
          <a:solidFill>
            <a:srgbClr val="FFFF99"/>
          </a:solidFill>
        </p:spPr>
        <p:txBody>
          <a:bodyPr wrap="square" lIns="0" tIns="0" rIns="0" bIns="0" rtlCol="0">
            <a:noAutofit/>
          </a:bodyPr>
          <a:lstStyle/>
          <a:p>
            <a:endParaRPr/>
          </a:p>
        </p:txBody>
      </p:sp>
      <p:sp>
        <p:nvSpPr>
          <p:cNvPr id="48" name="object 48"/>
          <p:cNvSpPr/>
          <p:nvPr/>
        </p:nvSpPr>
        <p:spPr>
          <a:xfrm>
            <a:off x="3954527" y="3307079"/>
            <a:ext cx="1401699" cy="457200"/>
          </a:xfrm>
          <a:custGeom>
            <a:avLst/>
            <a:gdLst/>
            <a:ahLst/>
            <a:cxnLst/>
            <a:rect l="l" t="t" r="r" b="b"/>
            <a:pathLst>
              <a:path w="1401699" h="457200">
                <a:moveTo>
                  <a:pt x="0" y="457200"/>
                </a:moveTo>
                <a:lnTo>
                  <a:pt x="1401699" y="457200"/>
                </a:lnTo>
                <a:lnTo>
                  <a:pt x="1401699" y="0"/>
                </a:lnTo>
                <a:lnTo>
                  <a:pt x="0" y="0"/>
                </a:lnTo>
                <a:lnTo>
                  <a:pt x="0" y="457200"/>
                </a:lnTo>
                <a:close/>
              </a:path>
            </a:pathLst>
          </a:custGeom>
          <a:solidFill>
            <a:srgbClr val="CCFFCC"/>
          </a:solidFill>
        </p:spPr>
        <p:txBody>
          <a:bodyPr wrap="square" lIns="0" tIns="0" rIns="0" bIns="0" rtlCol="0">
            <a:noAutofit/>
          </a:bodyPr>
          <a:lstStyle/>
          <a:p>
            <a:endParaRPr/>
          </a:p>
        </p:txBody>
      </p:sp>
      <p:sp>
        <p:nvSpPr>
          <p:cNvPr id="49" name="object 49"/>
          <p:cNvSpPr/>
          <p:nvPr/>
        </p:nvSpPr>
        <p:spPr>
          <a:xfrm>
            <a:off x="5356226" y="3307079"/>
            <a:ext cx="4625975" cy="457200"/>
          </a:xfrm>
          <a:custGeom>
            <a:avLst/>
            <a:gdLst/>
            <a:ahLst/>
            <a:cxnLst/>
            <a:rect l="l" t="t" r="r" b="b"/>
            <a:pathLst>
              <a:path w="4625975" h="457200">
                <a:moveTo>
                  <a:pt x="0" y="457200"/>
                </a:moveTo>
                <a:lnTo>
                  <a:pt x="4625975" y="457200"/>
                </a:lnTo>
                <a:lnTo>
                  <a:pt x="4625975" y="0"/>
                </a:lnTo>
                <a:lnTo>
                  <a:pt x="0" y="0"/>
                </a:lnTo>
                <a:lnTo>
                  <a:pt x="0" y="457200"/>
                </a:lnTo>
                <a:close/>
              </a:path>
            </a:pathLst>
          </a:custGeom>
          <a:solidFill>
            <a:srgbClr val="FFCC99"/>
          </a:solidFill>
        </p:spPr>
        <p:txBody>
          <a:bodyPr wrap="square" lIns="0" tIns="0" rIns="0" bIns="0" rtlCol="0">
            <a:noAutofit/>
          </a:bodyPr>
          <a:lstStyle/>
          <a:p>
            <a:endParaRPr/>
          </a:p>
        </p:txBody>
      </p:sp>
      <p:sp>
        <p:nvSpPr>
          <p:cNvPr id="50" name="object 50"/>
          <p:cNvSpPr/>
          <p:nvPr/>
        </p:nvSpPr>
        <p:spPr>
          <a:xfrm>
            <a:off x="2133600" y="3764279"/>
            <a:ext cx="1820926" cy="457200"/>
          </a:xfrm>
          <a:custGeom>
            <a:avLst/>
            <a:gdLst/>
            <a:ahLst/>
            <a:cxnLst/>
            <a:rect l="l" t="t" r="r" b="b"/>
            <a:pathLst>
              <a:path w="1820926" h="457200">
                <a:moveTo>
                  <a:pt x="0" y="457200"/>
                </a:moveTo>
                <a:lnTo>
                  <a:pt x="1820926" y="457200"/>
                </a:lnTo>
                <a:lnTo>
                  <a:pt x="1820926" y="0"/>
                </a:lnTo>
                <a:lnTo>
                  <a:pt x="0" y="0"/>
                </a:lnTo>
                <a:lnTo>
                  <a:pt x="0" y="457200"/>
                </a:lnTo>
                <a:close/>
              </a:path>
            </a:pathLst>
          </a:custGeom>
          <a:solidFill>
            <a:srgbClr val="FFFF99"/>
          </a:solidFill>
        </p:spPr>
        <p:txBody>
          <a:bodyPr wrap="square" lIns="0" tIns="0" rIns="0" bIns="0" rtlCol="0">
            <a:noAutofit/>
          </a:bodyPr>
          <a:lstStyle/>
          <a:p>
            <a:endParaRPr/>
          </a:p>
        </p:txBody>
      </p:sp>
      <p:sp>
        <p:nvSpPr>
          <p:cNvPr id="51" name="object 51"/>
          <p:cNvSpPr/>
          <p:nvPr/>
        </p:nvSpPr>
        <p:spPr>
          <a:xfrm>
            <a:off x="3954527" y="3764279"/>
            <a:ext cx="1401699" cy="457200"/>
          </a:xfrm>
          <a:custGeom>
            <a:avLst/>
            <a:gdLst/>
            <a:ahLst/>
            <a:cxnLst/>
            <a:rect l="l" t="t" r="r" b="b"/>
            <a:pathLst>
              <a:path w="1401699" h="457200">
                <a:moveTo>
                  <a:pt x="0" y="457200"/>
                </a:moveTo>
                <a:lnTo>
                  <a:pt x="1401699" y="457200"/>
                </a:lnTo>
                <a:lnTo>
                  <a:pt x="1401699" y="0"/>
                </a:lnTo>
                <a:lnTo>
                  <a:pt x="0" y="0"/>
                </a:lnTo>
                <a:lnTo>
                  <a:pt x="0" y="457200"/>
                </a:lnTo>
                <a:close/>
              </a:path>
            </a:pathLst>
          </a:custGeom>
          <a:solidFill>
            <a:srgbClr val="CCFFCC"/>
          </a:solidFill>
        </p:spPr>
        <p:txBody>
          <a:bodyPr wrap="square" lIns="0" tIns="0" rIns="0" bIns="0" rtlCol="0">
            <a:noAutofit/>
          </a:bodyPr>
          <a:lstStyle/>
          <a:p>
            <a:endParaRPr/>
          </a:p>
        </p:txBody>
      </p:sp>
      <p:sp>
        <p:nvSpPr>
          <p:cNvPr id="52" name="object 52"/>
          <p:cNvSpPr/>
          <p:nvPr/>
        </p:nvSpPr>
        <p:spPr>
          <a:xfrm>
            <a:off x="5356226" y="3764279"/>
            <a:ext cx="4625975" cy="457200"/>
          </a:xfrm>
          <a:custGeom>
            <a:avLst/>
            <a:gdLst/>
            <a:ahLst/>
            <a:cxnLst/>
            <a:rect l="l" t="t" r="r" b="b"/>
            <a:pathLst>
              <a:path w="4625975" h="457200">
                <a:moveTo>
                  <a:pt x="0" y="457200"/>
                </a:moveTo>
                <a:lnTo>
                  <a:pt x="4625975" y="457200"/>
                </a:lnTo>
                <a:lnTo>
                  <a:pt x="4625975" y="0"/>
                </a:lnTo>
                <a:lnTo>
                  <a:pt x="0" y="0"/>
                </a:lnTo>
                <a:lnTo>
                  <a:pt x="0" y="457200"/>
                </a:lnTo>
                <a:close/>
              </a:path>
            </a:pathLst>
          </a:custGeom>
          <a:solidFill>
            <a:srgbClr val="FFCC99"/>
          </a:solidFill>
        </p:spPr>
        <p:txBody>
          <a:bodyPr wrap="square" lIns="0" tIns="0" rIns="0" bIns="0" rtlCol="0">
            <a:noAutofit/>
          </a:bodyPr>
          <a:lstStyle/>
          <a:p>
            <a:endParaRPr/>
          </a:p>
        </p:txBody>
      </p:sp>
      <p:sp>
        <p:nvSpPr>
          <p:cNvPr id="53" name="object 53"/>
          <p:cNvSpPr/>
          <p:nvPr/>
        </p:nvSpPr>
        <p:spPr>
          <a:xfrm>
            <a:off x="2133600" y="4221480"/>
            <a:ext cx="1820926" cy="457200"/>
          </a:xfrm>
          <a:custGeom>
            <a:avLst/>
            <a:gdLst/>
            <a:ahLst/>
            <a:cxnLst/>
            <a:rect l="l" t="t" r="r" b="b"/>
            <a:pathLst>
              <a:path w="1820926" h="457200">
                <a:moveTo>
                  <a:pt x="0" y="457200"/>
                </a:moveTo>
                <a:lnTo>
                  <a:pt x="1820926" y="457200"/>
                </a:lnTo>
                <a:lnTo>
                  <a:pt x="1820926" y="0"/>
                </a:lnTo>
                <a:lnTo>
                  <a:pt x="0" y="0"/>
                </a:lnTo>
                <a:lnTo>
                  <a:pt x="0" y="457200"/>
                </a:lnTo>
                <a:close/>
              </a:path>
            </a:pathLst>
          </a:custGeom>
          <a:solidFill>
            <a:srgbClr val="FFFF99"/>
          </a:solidFill>
        </p:spPr>
        <p:txBody>
          <a:bodyPr wrap="square" lIns="0" tIns="0" rIns="0" bIns="0" rtlCol="0">
            <a:noAutofit/>
          </a:bodyPr>
          <a:lstStyle/>
          <a:p>
            <a:endParaRPr/>
          </a:p>
        </p:txBody>
      </p:sp>
      <p:sp>
        <p:nvSpPr>
          <p:cNvPr id="54" name="object 54"/>
          <p:cNvSpPr/>
          <p:nvPr/>
        </p:nvSpPr>
        <p:spPr>
          <a:xfrm>
            <a:off x="3954527" y="4221480"/>
            <a:ext cx="1401699" cy="457200"/>
          </a:xfrm>
          <a:custGeom>
            <a:avLst/>
            <a:gdLst/>
            <a:ahLst/>
            <a:cxnLst/>
            <a:rect l="l" t="t" r="r" b="b"/>
            <a:pathLst>
              <a:path w="1401699" h="457200">
                <a:moveTo>
                  <a:pt x="0" y="457200"/>
                </a:moveTo>
                <a:lnTo>
                  <a:pt x="1401699" y="457200"/>
                </a:lnTo>
                <a:lnTo>
                  <a:pt x="1401699" y="0"/>
                </a:lnTo>
                <a:lnTo>
                  <a:pt x="0" y="0"/>
                </a:lnTo>
                <a:lnTo>
                  <a:pt x="0" y="457200"/>
                </a:lnTo>
                <a:close/>
              </a:path>
            </a:pathLst>
          </a:custGeom>
          <a:solidFill>
            <a:srgbClr val="CCFFCC"/>
          </a:solidFill>
        </p:spPr>
        <p:txBody>
          <a:bodyPr wrap="square" lIns="0" tIns="0" rIns="0" bIns="0" rtlCol="0">
            <a:noAutofit/>
          </a:bodyPr>
          <a:lstStyle/>
          <a:p>
            <a:endParaRPr/>
          </a:p>
        </p:txBody>
      </p:sp>
      <p:sp>
        <p:nvSpPr>
          <p:cNvPr id="55" name="object 55"/>
          <p:cNvSpPr/>
          <p:nvPr/>
        </p:nvSpPr>
        <p:spPr>
          <a:xfrm>
            <a:off x="5356226" y="4221480"/>
            <a:ext cx="4625975" cy="457200"/>
          </a:xfrm>
          <a:custGeom>
            <a:avLst/>
            <a:gdLst/>
            <a:ahLst/>
            <a:cxnLst/>
            <a:rect l="l" t="t" r="r" b="b"/>
            <a:pathLst>
              <a:path w="4625975" h="457200">
                <a:moveTo>
                  <a:pt x="0" y="457200"/>
                </a:moveTo>
                <a:lnTo>
                  <a:pt x="4625975" y="457200"/>
                </a:lnTo>
                <a:lnTo>
                  <a:pt x="4625975" y="0"/>
                </a:lnTo>
                <a:lnTo>
                  <a:pt x="0" y="0"/>
                </a:lnTo>
                <a:lnTo>
                  <a:pt x="0" y="457200"/>
                </a:lnTo>
                <a:close/>
              </a:path>
            </a:pathLst>
          </a:custGeom>
          <a:solidFill>
            <a:srgbClr val="FFCC99"/>
          </a:solidFill>
        </p:spPr>
        <p:txBody>
          <a:bodyPr wrap="square" lIns="0" tIns="0" rIns="0" bIns="0" rtlCol="0">
            <a:noAutofit/>
          </a:bodyPr>
          <a:lstStyle/>
          <a:p>
            <a:endParaRPr/>
          </a:p>
        </p:txBody>
      </p:sp>
      <p:sp>
        <p:nvSpPr>
          <p:cNvPr id="56" name="object 56"/>
          <p:cNvSpPr/>
          <p:nvPr/>
        </p:nvSpPr>
        <p:spPr>
          <a:xfrm>
            <a:off x="2133600" y="4678681"/>
            <a:ext cx="1820926" cy="640079"/>
          </a:xfrm>
          <a:custGeom>
            <a:avLst/>
            <a:gdLst/>
            <a:ahLst/>
            <a:cxnLst/>
            <a:rect l="l" t="t" r="r" b="b"/>
            <a:pathLst>
              <a:path w="1820926" h="640079">
                <a:moveTo>
                  <a:pt x="0" y="640080"/>
                </a:moveTo>
                <a:lnTo>
                  <a:pt x="1820926" y="640080"/>
                </a:lnTo>
                <a:lnTo>
                  <a:pt x="1820926" y="0"/>
                </a:lnTo>
                <a:lnTo>
                  <a:pt x="0" y="0"/>
                </a:lnTo>
                <a:lnTo>
                  <a:pt x="0" y="640080"/>
                </a:lnTo>
                <a:close/>
              </a:path>
            </a:pathLst>
          </a:custGeom>
          <a:solidFill>
            <a:srgbClr val="FFFF99"/>
          </a:solidFill>
        </p:spPr>
        <p:txBody>
          <a:bodyPr wrap="square" lIns="0" tIns="0" rIns="0" bIns="0" rtlCol="0">
            <a:noAutofit/>
          </a:bodyPr>
          <a:lstStyle/>
          <a:p>
            <a:endParaRPr/>
          </a:p>
        </p:txBody>
      </p:sp>
      <p:sp>
        <p:nvSpPr>
          <p:cNvPr id="57" name="object 57"/>
          <p:cNvSpPr/>
          <p:nvPr/>
        </p:nvSpPr>
        <p:spPr>
          <a:xfrm>
            <a:off x="3954527" y="4678681"/>
            <a:ext cx="1401699" cy="640079"/>
          </a:xfrm>
          <a:custGeom>
            <a:avLst/>
            <a:gdLst/>
            <a:ahLst/>
            <a:cxnLst/>
            <a:rect l="l" t="t" r="r" b="b"/>
            <a:pathLst>
              <a:path w="1401699" h="640079">
                <a:moveTo>
                  <a:pt x="0" y="640080"/>
                </a:moveTo>
                <a:lnTo>
                  <a:pt x="1401699" y="640080"/>
                </a:lnTo>
                <a:lnTo>
                  <a:pt x="1401699" y="0"/>
                </a:lnTo>
                <a:lnTo>
                  <a:pt x="0" y="0"/>
                </a:lnTo>
                <a:lnTo>
                  <a:pt x="0" y="640080"/>
                </a:lnTo>
                <a:close/>
              </a:path>
            </a:pathLst>
          </a:custGeom>
          <a:solidFill>
            <a:srgbClr val="CCFFCC"/>
          </a:solidFill>
        </p:spPr>
        <p:txBody>
          <a:bodyPr wrap="square" lIns="0" tIns="0" rIns="0" bIns="0" rtlCol="0">
            <a:noAutofit/>
          </a:bodyPr>
          <a:lstStyle/>
          <a:p>
            <a:endParaRPr/>
          </a:p>
        </p:txBody>
      </p:sp>
      <p:sp>
        <p:nvSpPr>
          <p:cNvPr id="58" name="object 58"/>
          <p:cNvSpPr/>
          <p:nvPr/>
        </p:nvSpPr>
        <p:spPr>
          <a:xfrm>
            <a:off x="5356226" y="4678681"/>
            <a:ext cx="4625975" cy="640079"/>
          </a:xfrm>
          <a:custGeom>
            <a:avLst/>
            <a:gdLst/>
            <a:ahLst/>
            <a:cxnLst/>
            <a:rect l="l" t="t" r="r" b="b"/>
            <a:pathLst>
              <a:path w="4625975" h="640079">
                <a:moveTo>
                  <a:pt x="0" y="640080"/>
                </a:moveTo>
                <a:lnTo>
                  <a:pt x="4625975" y="640080"/>
                </a:lnTo>
                <a:lnTo>
                  <a:pt x="4625975" y="0"/>
                </a:lnTo>
                <a:lnTo>
                  <a:pt x="0" y="0"/>
                </a:lnTo>
                <a:lnTo>
                  <a:pt x="0" y="640080"/>
                </a:lnTo>
                <a:close/>
              </a:path>
            </a:pathLst>
          </a:custGeom>
          <a:solidFill>
            <a:srgbClr val="FFCC99"/>
          </a:solidFill>
        </p:spPr>
        <p:txBody>
          <a:bodyPr wrap="square" lIns="0" tIns="0" rIns="0" bIns="0" rtlCol="0">
            <a:noAutofit/>
          </a:bodyPr>
          <a:lstStyle/>
          <a:p>
            <a:endParaRPr/>
          </a:p>
        </p:txBody>
      </p:sp>
      <p:sp>
        <p:nvSpPr>
          <p:cNvPr id="59" name="object 59"/>
          <p:cNvSpPr/>
          <p:nvPr/>
        </p:nvSpPr>
        <p:spPr>
          <a:xfrm>
            <a:off x="2133600" y="5318761"/>
            <a:ext cx="1820926" cy="822959"/>
          </a:xfrm>
          <a:custGeom>
            <a:avLst/>
            <a:gdLst/>
            <a:ahLst/>
            <a:cxnLst/>
            <a:rect l="l" t="t" r="r" b="b"/>
            <a:pathLst>
              <a:path w="1820926" h="822960">
                <a:moveTo>
                  <a:pt x="0" y="822959"/>
                </a:moveTo>
                <a:lnTo>
                  <a:pt x="1820926" y="822959"/>
                </a:lnTo>
                <a:lnTo>
                  <a:pt x="1820926" y="0"/>
                </a:lnTo>
                <a:lnTo>
                  <a:pt x="0" y="0"/>
                </a:lnTo>
                <a:lnTo>
                  <a:pt x="0" y="822959"/>
                </a:lnTo>
                <a:close/>
              </a:path>
            </a:pathLst>
          </a:custGeom>
          <a:solidFill>
            <a:srgbClr val="FFFF99"/>
          </a:solidFill>
        </p:spPr>
        <p:txBody>
          <a:bodyPr wrap="square" lIns="0" tIns="0" rIns="0" bIns="0" rtlCol="0">
            <a:noAutofit/>
          </a:bodyPr>
          <a:lstStyle/>
          <a:p>
            <a:endParaRPr/>
          </a:p>
        </p:txBody>
      </p:sp>
      <p:sp>
        <p:nvSpPr>
          <p:cNvPr id="60" name="object 60"/>
          <p:cNvSpPr/>
          <p:nvPr/>
        </p:nvSpPr>
        <p:spPr>
          <a:xfrm>
            <a:off x="3954527" y="5318761"/>
            <a:ext cx="1401699" cy="822959"/>
          </a:xfrm>
          <a:custGeom>
            <a:avLst/>
            <a:gdLst/>
            <a:ahLst/>
            <a:cxnLst/>
            <a:rect l="l" t="t" r="r" b="b"/>
            <a:pathLst>
              <a:path w="1401699" h="822960">
                <a:moveTo>
                  <a:pt x="0" y="822959"/>
                </a:moveTo>
                <a:lnTo>
                  <a:pt x="1401699" y="822959"/>
                </a:lnTo>
                <a:lnTo>
                  <a:pt x="1401699" y="0"/>
                </a:lnTo>
                <a:lnTo>
                  <a:pt x="0" y="0"/>
                </a:lnTo>
                <a:lnTo>
                  <a:pt x="0" y="822959"/>
                </a:lnTo>
                <a:close/>
              </a:path>
            </a:pathLst>
          </a:custGeom>
          <a:solidFill>
            <a:srgbClr val="CCFFCC"/>
          </a:solidFill>
        </p:spPr>
        <p:txBody>
          <a:bodyPr wrap="square" lIns="0" tIns="0" rIns="0" bIns="0" rtlCol="0">
            <a:noAutofit/>
          </a:bodyPr>
          <a:lstStyle/>
          <a:p>
            <a:endParaRPr/>
          </a:p>
        </p:txBody>
      </p:sp>
      <p:sp>
        <p:nvSpPr>
          <p:cNvPr id="61" name="object 61"/>
          <p:cNvSpPr/>
          <p:nvPr/>
        </p:nvSpPr>
        <p:spPr>
          <a:xfrm>
            <a:off x="5356226" y="5318761"/>
            <a:ext cx="4625975" cy="822959"/>
          </a:xfrm>
          <a:custGeom>
            <a:avLst/>
            <a:gdLst/>
            <a:ahLst/>
            <a:cxnLst/>
            <a:rect l="l" t="t" r="r" b="b"/>
            <a:pathLst>
              <a:path w="4625975" h="822960">
                <a:moveTo>
                  <a:pt x="0" y="822959"/>
                </a:moveTo>
                <a:lnTo>
                  <a:pt x="4625975" y="822959"/>
                </a:lnTo>
                <a:lnTo>
                  <a:pt x="4625975" y="0"/>
                </a:lnTo>
                <a:lnTo>
                  <a:pt x="0" y="0"/>
                </a:lnTo>
                <a:lnTo>
                  <a:pt x="0" y="822959"/>
                </a:lnTo>
                <a:close/>
              </a:path>
            </a:pathLst>
          </a:custGeom>
          <a:solidFill>
            <a:srgbClr val="FFCC99"/>
          </a:solidFill>
        </p:spPr>
        <p:txBody>
          <a:bodyPr wrap="square" lIns="0" tIns="0" rIns="0" bIns="0" rtlCol="0">
            <a:noAutofit/>
          </a:bodyPr>
          <a:lstStyle/>
          <a:p>
            <a:endParaRPr/>
          </a:p>
        </p:txBody>
      </p:sp>
      <p:sp>
        <p:nvSpPr>
          <p:cNvPr id="62" name="object 62"/>
          <p:cNvSpPr/>
          <p:nvPr/>
        </p:nvSpPr>
        <p:spPr>
          <a:xfrm>
            <a:off x="3954526" y="1441450"/>
            <a:ext cx="0" cy="4706620"/>
          </a:xfrm>
          <a:custGeom>
            <a:avLst/>
            <a:gdLst/>
            <a:ahLst/>
            <a:cxnLst/>
            <a:rect l="l" t="t" r="r" b="b"/>
            <a:pathLst>
              <a:path h="4706620">
                <a:moveTo>
                  <a:pt x="0" y="0"/>
                </a:moveTo>
                <a:lnTo>
                  <a:pt x="0" y="4706620"/>
                </a:lnTo>
              </a:path>
            </a:pathLst>
          </a:custGeom>
          <a:ln w="12700">
            <a:solidFill>
              <a:srgbClr val="000000"/>
            </a:solidFill>
          </a:ln>
        </p:spPr>
        <p:txBody>
          <a:bodyPr wrap="square" lIns="0" tIns="0" rIns="0" bIns="0" rtlCol="0">
            <a:noAutofit/>
          </a:bodyPr>
          <a:lstStyle/>
          <a:p>
            <a:endParaRPr/>
          </a:p>
        </p:txBody>
      </p:sp>
      <p:sp>
        <p:nvSpPr>
          <p:cNvPr id="63" name="object 63"/>
          <p:cNvSpPr/>
          <p:nvPr/>
        </p:nvSpPr>
        <p:spPr>
          <a:xfrm>
            <a:off x="5356225" y="1441450"/>
            <a:ext cx="0" cy="4706620"/>
          </a:xfrm>
          <a:custGeom>
            <a:avLst/>
            <a:gdLst/>
            <a:ahLst/>
            <a:cxnLst/>
            <a:rect l="l" t="t" r="r" b="b"/>
            <a:pathLst>
              <a:path h="4706620">
                <a:moveTo>
                  <a:pt x="0" y="0"/>
                </a:moveTo>
                <a:lnTo>
                  <a:pt x="0" y="4706620"/>
                </a:lnTo>
              </a:path>
            </a:pathLst>
          </a:custGeom>
          <a:ln w="12700">
            <a:solidFill>
              <a:srgbClr val="000000"/>
            </a:solidFill>
          </a:ln>
        </p:spPr>
        <p:txBody>
          <a:bodyPr wrap="square" lIns="0" tIns="0" rIns="0" bIns="0" rtlCol="0">
            <a:noAutofit/>
          </a:bodyPr>
          <a:lstStyle/>
          <a:p>
            <a:endParaRPr/>
          </a:p>
        </p:txBody>
      </p:sp>
      <p:sp>
        <p:nvSpPr>
          <p:cNvPr id="64" name="object 64"/>
          <p:cNvSpPr/>
          <p:nvPr/>
        </p:nvSpPr>
        <p:spPr>
          <a:xfrm>
            <a:off x="2127250" y="1752600"/>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65" name="object 65"/>
          <p:cNvSpPr/>
          <p:nvPr/>
        </p:nvSpPr>
        <p:spPr>
          <a:xfrm>
            <a:off x="2127250" y="2209800"/>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66" name="object 66"/>
          <p:cNvSpPr/>
          <p:nvPr/>
        </p:nvSpPr>
        <p:spPr>
          <a:xfrm>
            <a:off x="2127250" y="2849879"/>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67" name="object 67"/>
          <p:cNvSpPr/>
          <p:nvPr/>
        </p:nvSpPr>
        <p:spPr>
          <a:xfrm>
            <a:off x="2127250" y="3307079"/>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68" name="object 68"/>
          <p:cNvSpPr/>
          <p:nvPr/>
        </p:nvSpPr>
        <p:spPr>
          <a:xfrm>
            <a:off x="2127250" y="3764279"/>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69" name="object 69"/>
          <p:cNvSpPr/>
          <p:nvPr/>
        </p:nvSpPr>
        <p:spPr>
          <a:xfrm>
            <a:off x="2127250" y="4221480"/>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70" name="object 70"/>
          <p:cNvSpPr/>
          <p:nvPr/>
        </p:nvSpPr>
        <p:spPr>
          <a:xfrm>
            <a:off x="2127250" y="4678680"/>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71" name="object 71"/>
          <p:cNvSpPr/>
          <p:nvPr/>
        </p:nvSpPr>
        <p:spPr>
          <a:xfrm>
            <a:off x="2127250" y="5318760"/>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72" name="object 72"/>
          <p:cNvSpPr/>
          <p:nvPr/>
        </p:nvSpPr>
        <p:spPr>
          <a:xfrm>
            <a:off x="2133600" y="1441450"/>
            <a:ext cx="0" cy="4706620"/>
          </a:xfrm>
          <a:custGeom>
            <a:avLst/>
            <a:gdLst/>
            <a:ahLst/>
            <a:cxnLst/>
            <a:rect l="l" t="t" r="r" b="b"/>
            <a:pathLst>
              <a:path h="4706620">
                <a:moveTo>
                  <a:pt x="0" y="0"/>
                </a:moveTo>
                <a:lnTo>
                  <a:pt x="0" y="4706620"/>
                </a:lnTo>
              </a:path>
            </a:pathLst>
          </a:custGeom>
          <a:ln w="12700">
            <a:solidFill>
              <a:srgbClr val="000000"/>
            </a:solidFill>
          </a:ln>
        </p:spPr>
        <p:txBody>
          <a:bodyPr wrap="square" lIns="0" tIns="0" rIns="0" bIns="0" rtlCol="0">
            <a:noAutofit/>
          </a:bodyPr>
          <a:lstStyle/>
          <a:p>
            <a:endParaRPr/>
          </a:p>
        </p:txBody>
      </p:sp>
      <p:sp>
        <p:nvSpPr>
          <p:cNvPr id="73" name="object 73"/>
          <p:cNvSpPr/>
          <p:nvPr/>
        </p:nvSpPr>
        <p:spPr>
          <a:xfrm>
            <a:off x="9982200" y="1441450"/>
            <a:ext cx="0" cy="4706620"/>
          </a:xfrm>
          <a:custGeom>
            <a:avLst/>
            <a:gdLst/>
            <a:ahLst/>
            <a:cxnLst/>
            <a:rect l="l" t="t" r="r" b="b"/>
            <a:pathLst>
              <a:path h="4706620">
                <a:moveTo>
                  <a:pt x="0" y="0"/>
                </a:moveTo>
                <a:lnTo>
                  <a:pt x="0" y="4706620"/>
                </a:lnTo>
              </a:path>
            </a:pathLst>
          </a:custGeom>
          <a:ln w="12700">
            <a:solidFill>
              <a:srgbClr val="000000"/>
            </a:solidFill>
          </a:ln>
        </p:spPr>
        <p:txBody>
          <a:bodyPr wrap="square" lIns="0" tIns="0" rIns="0" bIns="0" rtlCol="0">
            <a:noAutofit/>
          </a:bodyPr>
          <a:lstStyle/>
          <a:p>
            <a:endParaRPr/>
          </a:p>
        </p:txBody>
      </p:sp>
      <p:sp>
        <p:nvSpPr>
          <p:cNvPr id="74" name="object 74"/>
          <p:cNvSpPr/>
          <p:nvPr/>
        </p:nvSpPr>
        <p:spPr>
          <a:xfrm>
            <a:off x="2127250" y="1447800"/>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75" name="object 75"/>
          <p:cNvSpPr/>
          <p:nvPr/>
        </p:nvSpPr>
        <p:spPr>
          <a:xfrm>
            <a:off x="2127250" y="6141720"/>
            <a:ext cx="7861300" cy="0"/>
          </a:xfrm>
          <a:custGeom>
            <a:avLst/>
            <a:gdLst/>
            <a:ahLst/>
            <a:cxnLst/>
            <a:rect l="l" t="t" r="r" b="b"/>
            <a:pathLst>
              <a:path w="7861300">
                <a:moveTo>
                  <a:pt x="0" y="0"/>
                </a:moveTo>
                <a:lnTo>
                  <a:pt x="7861300" y="0"/>
                </a:lnTo>
              </a:path>
            </a:pathLst>
          </a:custGeom>
          <a:ln w="12700">
            <a:solidFill>
              <a:srgbClr val="000000"/>
            </a:solidFill>
          </a:ln>
        </p:spPr>
        <p:txBody>
          <a:bodyPr wrap="square" lIns="0" tIns="0" rIns="0" bIns="0" rtlCol="0">
            <a:noAutofit/>
          </a:bodyPr>
          <a:lstStyle/>
          <a:p>
            <a:endParaRPr/>
          </a:p>
        </p:txBody>
      </p:sp>
      <p:sp>
        <p:nvSpPr>
          <p:cNvPr id="28" name="object 28"/>
          <p:cNvSpPr txBox="1"/>
          <p:nvPr/>
        </p:nvSpPr>
        <p:spPr>
          <a:xfrm>
            <a:off x="2133600" y="1447800"/>
            <a:ext cx="1820926" cy="304800"/>
          </a:xfrm>
          <a:prstGeom prst="rect">
            <a:avLst/>
          </a:prstGeom>
        </p:spPr>
        <p:txBody>
          <a:bodyPr wrap="square" lIns="0" tIns="0" rIns="0" bIns="0" rtlCol="0">
            <a:noAutofit/>
          </a:bodyPr>
          <a:lstStyle/>
          <a:p>
            <a:pPr marL="91440">
              <a:lnSpc>
                <a:spcPct val="95825"/>
              </a:lnSpc>
              <a:spcBef>
                <a:spcPts val="320"/>
              </a:spcBef>
            </a:pPr>
            <a:r>
              <a:rPr sz="1400" b="1" spc="4" dirty="0">
                <a:latin typeface="Arial"/>
                <a:cs typeface="Arial"/>
              </a:rPr>
              <a:t>I</a:t>
            </a:r>
            <a:r>
              <a:rPr sz="1400" b="1" dirty="0">
                <a:latin typeface="Arial"/>
                <a:cs typeface="Arial"/>
              </a:rPr>
              <a:t>m</a:t>
            </a:r>
            <a:r>
              <a:rPr sz="1400" b="1" spc="-4" dirty="0">
                <a:latin typeface="Arial"/>
                <a:cs typeface="Arial"/>
              </a:rPr>
              <a:t>po</a:t>
            </a:r>
            <a:r>
              <a:rPr sz="1400" b="1" spc="4" dirty="0">
                <a:latin typeface="Arial"/>
                <a:cs typeface="Arial"/>
              </a:rPr>
              <a:t>r</a:t>
            </a:r>
            <a:r>
              <a:rPr sz="1400" b="1" dirty="0">
                <a:latin typeface="Arial"/>
                <a:cs typeface="Arial"/>
              </a:rPr>
              <a:t>ta</a:t>
            </a:r>
            <a:r>
              <a:rPr sz="1400" b="1" spc="-4" dirty="0">
                <a:latin typeface="Arial"/>
                <a:cs typeface="Arial"/>
              </a:rPr>
              <a:t>n</a:t>
            </a:r>
            <a:r>
              <a:rPr sz="1400" b="1" dirty="0">
                <a:latin typeface="Arial"/>
                <a:cs typeface="Arial"/>
              </a:rPr>
              <a:t>t</a:t>
            </a:r>
            <a:r>
              <a:rPr sz="1400" b="1" spc="-39" dirty="0">
                <a:latin typeface="Arial"/>
                <a:cs typeface="Arial"/>
              </a:rPr>
              <a:t> </a:t>
            </a:r>
            <a:r>
              <a:rPr sz="1400" b="1" spc="-4" dirty="0">
                <a:latin typeface="Arial"/>
                <a:cs typeface="Arial"/>
              </a:rPr>
              <a:t>F</a:t>
            </a:r>
            <a:r>
              <a:rPr sz="1400" b="1" spc="4" dirty="0">
                <a:latin typeface="Arial"/>
                <a:cs typeface="Arial"/>
              </a:rPr>
              <a:t>i</a:t>
            </a:r>
            <a:r>
              <a:rPr sz="1400" b="1" dirty="0">
                <a:latin typeface="Arial"/>
                <a:cs typeface="Arial"/>
              </a:rPr>
              <a:t>e</a:t>
            </a:r>
            <a:r>
              <a:rPr sz="1400" b="1" spc="4" dirty="0">
                <a:latin typeface="Arial"/>
                <a:cs typeface="Arial"/>
              </a:rPr>
              <a:t>l</a:t>
            </a:r>
            <a:r>
              <a:rPr sz="1400" b="1" spc="-4" dirty="0">
                <a:latin typeface="Arial"/>
                <a:cs typeface="Arial"/>
              </a:rPr>
              <a:t>d</a:t>
            </a:r>
            <a:r>
              <a:rPr sz="1400" b="1" dirty="0">
                <a:latin typeface="Arial"/>
                <a:cs typeface="Arial"/>
              </a:rPr>
              <a:t>s</a:t>
            </a:r>
            <a:endParaRPr sz="1400">
              <a:latin typeface="Arial"/>
              <a:cs typeface="Arial"/>
            </a:endParaRPr>
          </a:p>
        </p:txBody>
      </p:sp>
      <p:sp>
        <p:nvSpPr>
          <p:cNvPr id="27" name="object 27"/>
          <p:cNvSpPr txBox="1"/>
          <p:nvPr/>
        </p:nvSpPr>
        <p:spPr>
          <a:xfrm>
            <a:off x="3954527" y="1447800"/>
            <a:ext cx="1401699" cy="304800"/>
          </a:xfrm>
          <a:prstGeom prst="rect">
            <a:avLst/>
          </a:prstGeom>
        </p:spPr>
        <p:txBody>
          <a:bodyPr wrap="square" lIns="0" tIns="0" rIns="0" bIns="0" rtlCol="0">
            <a:noAutofit/>
          </a:bodyPr>
          <a:lstStyle/>
          <a:p>
            <a:pPr marL="91693">
              <a:lnSpc>
                <a:spcPct val="95825"/>
              </a:lnSpc>
              <a:spcBef>
                <a:spcPts val="320"/>
              </a:spcBef>
            </a:pPr>
            <a:r>
              <a:rPr sz="1400" b="1" dirty="0">
                <a:latin typeface="Arial"/>
                <a:cs typeface="Arial"/>
              </a:rPr>
              <a:t>Sc</a:t>
            </a:r>
            <a:r>
              <a:rPr sz="1400" b="1" spc="4" dirty="0">
                <a:latin typeface="Arial"/>
                <a:cs typeface="Arial"/>
              </a:rPr>
              <a:t>r</a:t>
            </a:r>
            <a:r>
              <a:rPr sz="1400" b="1" dirty="0">
                <a:latin typeface="Arial"/>
                <a:cs typeface="Arial"/>
              </a:rPr>
              <a:t>een</a:t>
            </a:r>
            <a:endParaRPr sz="1400">
              <a:latin typeface="Arial"/>
              <a:cs typeface="Arial"/>
            </a:endParaRPr>
          </a:p>
        </p:txBody>
      </p:sp>
      <p:sp>
        <p:nvSpPr>
          <p:cNvPr id="26" name="object 26"/>
          <p:cNvSpPr txBox="1"/>
          <p:nvPr/>
        </p:nvSpPr>
        <p:spPr>
          <a:xfrm>
            <a:off x="5356226" y="1447800"/>
            <a:ext cx="4625975" cy="304800"/>
          </a:xfrm>
          <a:prstGeom prst="rect">
            <a:avLst/>
          </a:prstGeom>
        </p:spPr>
        <p:txBody>
          <a:bodyPr wrap="square" lIns="0" tIns="0" rIns="0" bIns="0" rtlCol="0">
            <a:noAutofit/>
          </a:bodyPr>
          <a:lstStyle/>
          <a:p>
            <a:pPr marL="92075">
              <a:lnSpc>
                <a:spcPct val="95825"/>
              </a:lnSpc>
              <a:spcBef>
                <a:spcPts val="425"/>
              </a:spcBef>
            </a:pPr>
            <a:r>
              <a:rPr sz="1400" b="1" spc="-39" dirty="0">
                <a:latin typeface="Arial"/>
                <a:cs typeface="Arial"/>
              </a:rPr>
              <a:t>A</a:t>
            </a:r>
            <a:r>
              <a:rPr sz="1400" b="1" spc="-4" dirty="0">
                <a:latin typeface="Arial"/>
                <a:cs typeface="Arial"/>
              </a:rPr>
              <a:t>pp</a:t>
            </a:r>
            <a:r>
              <a:rPr sz="1400" b="1" spc="4" dirty="0">
                <a:latin typeface="Arial"/>
                <a:cs typeface="Arial"/>
              </a:rPr>
              <a:t>li</a:t>
            </a:r>
            <a:r>
              <a:rPr sz="1400" b="1" dirty="0">
                <a:latin typeface="Arial"/>
                <a:cs typeface="Arial"/>
              </a:rPr>
              <a:t>cat</a:t>
            </a:r>
            <a:r>
              <a:rPr sz="1400" b="1" spc="4" dirty="0">
                <a:latin typeface="Arial"/>
                <a:cs typeface="Arial"/>
              </a:rPr>
              <a:t>i</a:t>
            </a:r>
            <a:r>
              <a:rPr sz="1400" b="1" spc="-4" dirty="0">
                <a:latin typeface="Arial"/>
                <a:cs typeface="Arial"/>
              </a:rPr>
              <a:t>o</a:t>
            </a:r>
            <a:r>
              <a:rPr sz="1400" b="1" dirty="0">
                <a:latin typeface="Arial"/>
                <a:cs typeface="Arial"/>
              </a:rPr>
              <a:t>n</a:t>
            </a:r>
            <a:endParaRPr sz="1400">
              <a:latin typeface="Arial"/>
              <a:cs typeface="Arial"/>
            </a:endParaRPr>
          </a:p>
        </p:txBody>
      </p:sp>
      <p:sp>
        <p:nvSpPr>
          <p:cNvPr id="25" name="object 25"/>
          <p:cNvSpPr txBox="1"/>
          <p:nvPr/>
        </p:nvSpPr>
        <p:spPr>
          <a:xfrm>
            <a:off x="2133600" y="1752600"/>
            <a:ext cx="1820926" cy="457200"/>
          </a:xfrm>
          <a:prstGeom prst="rect">
            <a:avLst/>
          </a:prstGeom>
        </p:spPr>
        <p:txBody>
          <a:bodyPr wrap="square" lIns="0" tIns="0" rIns="0" bIns="0" rtlCol="0">
            <a:noAutofit/>
          </a:bodyPr>
          <a:lstStyle/>
          <a:p>
            <a:pPr marL="91440">
              <a:lnSpc>
                <a:spcPct val="95825"/>
              </a:lnSpc>
              <a:spcBef>
                <a:spcPts val="325"/>
              </a:spcBef>
            </a:pPr>
            <a:r>
              <a:rPr sz="1200" dirty="0">
                <a:latin typeface="Arial"/>
                <a:cs typeface="Arial"/>
              </a:rPr>
              <a:t>I</a:t>
            </a:r>
            <a:r>
              <a:rPr sz="1200" spc="4" dirty="0">
                <a:latin typeface="Arial"/>
                <a:cs typeface="Arial"/>
              </a:rPr>
              <a:t>te</a:t>
            </a:r>
            <a:r>
              <a:rPr sz="1200" dirty="0">
                <a:latin typeface="Arial"/>
                <a:cs typeface="Arial"/>
              </a:rPr>
              <a:t>m</a:t>
            </a:r>
            <a:r>
              <a:rPr sz="1200" spc="-14" dirty="0">
                <a:latin typeface="Arial"/>
                <a:cs typeface="Arial"/>
              </a:rPr>
              <a:t> </a:t>
            </a:r>
            <a:r>
              <a:rPr sz="1200" dirty="0">
                <a:latin typeface="Arial"/>
                <a:cs typeface="Arial"/>
              </a:rPr>
              <a:t>st</a:t>
            </a:r>
            <a:r>
              <a:rPr sz="1200" spc="4" dirty="0">
                <a:latin typeface="Arial"/>
                <a:cs typeface="Arial"/>
              </a:rPr>
              <a:t>a</a:t>
            </a:r>
            <a:r>
              <a:rPr sz="1200" dirty="0">
                <a:latin typeface="Arial"/>
                <a:cs typeface="Arial"/>
              </a:rPr>
              <a:t>t</a:t>
            </a:r>
            <a:r>
              <a:rPr sz="1200" spc="4" dirty="0">
                <a:latin typeface="Arial"/>
                <a:cs typeface="Arial"/>
              </a:rPr>
              <a:t>u</a:t>
            </a:r>
            <a:r>
              <a:rPr sz="1200" dirty="0">
                <a:latin typeface="Arial"/>
                <a:cs typeface="Arial"/>
              </a:rPr>
              <a:t>s</a:t>
            </a:r>
            <a:r>
              <a:rPr sz="1200" spc="-9" dirty="0">
                <a:latin typeface="Arial"/>
                <a:cs typeface="Arial"/>
              </a:rPr>
              <a:t> </a:t>
            </a:r>
            <a:r>
              <a:rPr sz="1200" dirty="0">
                <a:latin typeface="Arial"/>
                <a:cs typeface="Arial"/>
              </a:rPr>
              <a:t>&amp;</a:t>
            </a:r>
            <a:r>
              <a:rPr sz="1200" spc="-4" dirty="0">
                <a:latin typeface="Arial"/>
                <a:cs typeface="Arial"/>
              </a:rPr>
              <a:t> </a:t>
            </a:r>
            <a:r>
              <a:rPr sz="1200" dirty="0">
                <a:latin typeface="Arial"/>
                <a:cs typeface="Arial"/>
              </a:rPr>
              <a:t>Q</a:t>
            </a:r>
            <a:r>
              <a:rPr sz="1200" spc="4" dirty="0">
                <a:latin typeface="Arial"/>
                <a:cs typeface="Arial"/>
              </a:rPr>
              <a:t>ua</a:t>
            </a:r>
            <a:r>
              <a:rPr sz="1200" dirty="0">
                <a:latin typeface="Arial"/>
                <a:cs typeface="Arial"/>
              </a:rPr>
              <a:t>l</a:t>
            </a:r>
            <a:r>
              <a:rPr sz="1200" spc="-4" dirty="0">
                <a:latin typeface="Arial"/>
                <a:cs typeface="Arial"/>
              </a:rPr>
              <a:t>i</a:t>
            </a:r>
            <a:r>
              <a:rPr sz="1200" dirty="0">
                <a:latin typeface="Arial"/>
                <a:cs typeface="Arial"/>
              </a:rPr>
              <a:t>ty</a:t>
            </a:r>
            <a:endParaRPr sz="1200">
              <a:latin typeface="Arial"/>
              <a:cs typeface="Arial"/>
            </a:endParaRPr>
          </a:p>
          <a:p>
            <a:pPr marL="91440">
              <a:lnSpc>
                <a:spcPct val="95825"/>
              </a:lnSpc>
              <a:spcBef>
                <a:spcPts val="60"/>
              </a:spcBef>
            </a:pPr>
            <a:r>
              <a:rPr sz="1200" dirty="0">
                <a:latin typeface="Arial"/>
                <a:cs typeface="Arial"/>
              </a:rPr>
              <a:t>I</a:t>
            </a:r>
            <a:r>
              <a:rPr sz="1200" spc="4" dirty="0">
                <a:latin typeface="Arial"/>
                <a:cs typeface="Arial"/>
              </a:rPr>
              <a:t>n</a:t>
            </a:r>
            <a:r>
              <a:rPr sz="1200" dirty="0">
                <a:latin typeface="Arial"/>
                <a:cs typeface="Arial"/>
              </a:rPr>
              <a:t>s</a:t>
            </a:r>
            <a:r>
              <a:rPr sz="1200" spc="4" dirty="0">
                <a:latin typeface="Arial"/>
                <a:cs typeface="Arial"/>
              </a:rPr>
              <a:t>pe</a:t>
            </a:r>
            <a:r>
              <a:rPr sz="1200" dirty="0">
                <a:latin typeface="Arial"/>
                <a:cs typeface="Arial"/>
              </a:rPr>
              <a:t>cti</a:t>
            </a:r>
            <a:r>
              <a:rPr sz="1200" spc="4" dirty="0">
                <a:latin typeface="Arial"/>
                <a:cs typeface="Arial"/>
              </a:rPr>
              <a:t>o</a:t>
            </a:r>
            <a:r>
              <a:rPr sz="1200" dirty="0">
                <a:latin typeface="Arial"/>
                <a:cs typeface="Arial"/>
              </a:rPr>
              <a:t>n</a:t>
            </a:r>
            <a:endParaRPr sz="1200">
              <a:latin typeface="Arial"/>
              <a:cs typeface="Arial"/>
            </a:endParaRPr>
          </a:p>
        </p:txBody>
      </p:sp>
      <p:sp>
        <p:nvSpPr>
          <p:cNvPr id="24" name="object 24"/>
          <p:cNvSpPr txBox="1"/>
          <p:nvPr/>
        </p:nvSpPr>
        <p:spPr>
          <a:xfrm>
            <a:off x="3954527" y="1752600"/>
            <a:ext cx="1401699" cy="457200"/>
          </a:xfrm>
          <a:prstGeom prst="rect">
            <a:avLst/>
          </a:prstGeom>
        </p:spPr>
        <p:txBody>
          <a:bodyPr wrap="square" lIns="0" tIns="0" rIns="0" bIns="0" rtlCol="0">
            <a:noAutofit/>
          </a:bodyPr>
          <a:lstStyle/>
          <a:p>
            <a:pPr marL="91693">
              <a:lnSpc>
                <a:spcPct val="95825"/>
              </a:lnSpc>
              <a:spcBef>
                <a:spcPts val="325"/>
              </a:spcBef>
            </a:pPr>
            <a:r>
              <a:rPr sz="1200" dirty="0">
                <a:latin typeface="Arial"/>
                <a:cs typeface="Arial"/>
              </a:rPr>
              <a:t>Proc</a:t>
            </a:r>
            <a:r>
              <a:rPr sz="1200" spc="4" dirty="0">
                <a:latin typeface="Arial"/>
                <a:cs typeface="Arial"/>
              </a:rPr>
              <a:t>e</a:t>
            </a:r>
            <a:r>
              <a:rPr sz="1200" dirty="0">
                <a:latin typeface="Arial"/>
                <a:cs typeface="Arial"/>
              </a:rPr>
              <a:t>ssing</a:t>
            </a:r>
            <a:endParaRPr sz="1200">
              <a:latin typeface="Arial"/>
              <a:cs typeface="Arial"/>
            </a:endParaRPr>
          </a:p>
        </p:txBody>
      </p:sp>
      <p:sp>
        <p:nvSpPr>
          <p:cNvPr id="23" name="object 23"/>
          <p:cNvSpPr txBox="1"/>
          <p:nvPr/>
        </p:nvSpPr>
        <p:spPr>
          <a:xfrm>
            <a:off x="5356226" y="1752600"/>
            <a:ext cx="4625975" cy="457200"/>
          </a:xfrm>
          <a:prstGeom prst="rect">
            <a:avLst/>
          </a:prstGeom>
        </p:spPr>
        <p:txBody>
          <a:bodyPr wrap="square" lIns="0" tIns="0" rIns="0" bIns="0" rtlCol="0">
            <a:noAutofit/>
          </a:bodyPr>
          <a:lstStyle/>
          <a:p>
            <a:pPr marL="92075" marR="393727">
              <a:lnSpc>
                <a:spcPct val="100041"/>
              </a:lnSpc>
              <a:spcBef>
                <a:spcPts val="400"/>
              </a:spcBef>
            </a:pPr>
            <a:r>
              <a:rPr sz="1200" spc="9" dirty="0">
                <a:latin typeface="Arial"/>
                <a:cs typeface="Arial"/>
              </a:rPr>
              <a:t>T</a:t>
            </a:r>
            <a:r>
              <a:rPr sz="1200" spc="4" dirty="0">
                <a:latin typeface="Arial"/>
                <a:cs typeface="Arial"/>
              </a:rPr>
              <a:t>h</a:t>
            </a:r>
            <a:r>
              <a:rPr sz="1200" dirty="0">
                <a:latin typeface="Arial"/>
                <a:cs typeface="Arial"/>
              </a:rPr>
              <a:t>e</a:t>
            </a:r>
            <a:r>
              <a:rPr sz="1200" spc="-29" dirty="0">
                <a:latin typeface="Arial"/>
                <a:cs typeface="Arial"/>
              </a:rPr>
              <a:t> </a:t>
            </a:r>
            <a:r>
              <a:rPr sz="1200" dirty="0">
                <a:latin typeface="Arial"/>
                <a:cs typeface="Arial"/>
              </a:rPr>
              <a:t>it</a:t>
            </a:r>
            <a:r>
              <a:rPr sz="1200" spc="4" dirty="0">
                <a:latin typeface="Arial"/>
                <a:cs typeface="Arial"/>
              </a:rPr>
              <a:t>e</a:t>
            </a:r>
            <a:r>
              <a:rPr sz="1200" dirty="0">
                <a:latin typeface="Arial"/>
                <a:cs typeface="Arial"/>
              </a:rPr>
              <a:t>m st</a:t>
            </a:r>
            <a:r>
              <a:rPr sz="1200" spc="4" dirty="0">
                <a:latin typeface="Arial"/>
                <a:cs typeface="Arial"/>
              </a:rPr>
              <a:t>a</a:t>
            </a:r>
            <a:r>
              <a:rPr sz="1200" dirty="0">
                <a:latin typeface="Arial"/>
                <a:cs typeface="Arial"/>
              </a:rPr>
              <a:t>t</a:t>
            </a:r>
            <a:r>
              <a:rPr sz="1200" spc="4" dirty="0">
                <a:latin typeface="Arial"/>
                <a:cs typeface="Arial"/>
              </a:rPr>
              <a:t>u</a:t>
            </a:r>
            <a:r>
              <a:rPr sz="1200" dirty="0">
                <a:latin typeface="Arial"/>
                <a:cs typeface="Arial"/>
              </a:rPr>
              <a:t>s</a:t>
            </a:r>
            <a:r>
              <a:rPr sz="1200" spc="-1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p</a:t>
            </a:r>
            <a:r>
              <a:rPr sz="1200" dirty="0">
                <a:latin typeface="Arial"/>
                <a:cs typeface="Arial"/>
              </a:rPr>
              <a:t>ick</a:t>
            </a:r>
            <a:r>
              <a:rPr sz="1200" spc="-4" dirty="0">
                <a:latin typeface="Arial"/>
                <a:cs typeface="Arial"/>
              </a:rPr>
              <a:t>i</a:t>
            </a:r>
            <a:r>
              <a:rPr sz="1200" spc="4" dirty="0">
                <a:latin typeface="Arial"/>
                <a:cs typeface="Arial"/>
              </a:rPr>
              <a:t>n</a:t>
            </a:r>
            <a:r>
              <a:rPr sz="1200" spc="-4" dirty="0">
                <a:latin typeface="Arial"/>
                <a:cs typeface="Arial"/>
              </a:rPr>
              <a:t>g</a:t>
            </a:r>
            <a:r>
              <a:rPr sz="1200" dirty="0">
                <a:latin typeface="Arial"/>
                <a:cs typeface="Arial"/>
              </a:rPr>
              <a:t>,</a:t>
            </a:r>
            <a:r>
              <a:rPr sz="1200" spc="-4" dirty="0">
                <a:latin typeface="Arial"/>
                <a:cs typeface="Arial"/>
              </a:rPr>
              <a:t> </a:t>
            </a:r>
            <a:r>
              <a:rPr sz="1200" spc="4" dirty="0">
                <a:latin typeface="Arial"/>
                <a:cs typeface="Arial"/>
              </a:rPr>
              <a:t>pa</a:t>
            </a:r>
            <a:r>
              <a:rPr sz="1200" dirty="0">
                <a:latin typeface="Arial"/>
                <a:cs typeface="Arial"/>
              </a:rPr>
              <a:t>ckin</a:t>
            </a:r>
            <a:r>
              <a:rPr sz="1200" spc="-4" dirty="0">
                <a:latin typeface="Arial"/>
                <a:cs typeface="Arial"/>
              </a:rPr>
              <a:t>g</a:t>
            </a:r>
            <a:r>
              <a:rPr sz="1200" dirty="0">
                <a:latin typeface="Arial"/>
                <a:cs typeface="Arial"/>
              </a:rPr>
              <a:t>,</a:t>
            </a:r>
            <a:r>
              <a:rPr sz="1200" spc="-19" dirty="0">
                <a:latin typeface="Arial"/>
                <a:cs typeface="Arial"/>
              </a:rPr>
              <a:t> </a:t>
            </a:r>
            <a:r>
              <a:rPr sz="1200" spc="-4" dirty="0">
                <a:latin typeface="Arial"/>
                <a:cs typeface="Arial"/>
              </a:rPr>
              <a:t>g</a:t>
            </a:r>
            <a:r>
              <a:rPr sz="1200" spc="4" dirty="0">
                <a:latin typeface="Arial"/>
                <a:cs typeface="Arial"/>
              </a:rPr>
              <a:t>oo</a:t>
            </a:r>
            <a:r>
              <a:rPr sz="1200" dirty="0">
                <a:latin typeface="Arial"/>
                <a:cs typeface="Arial"/>
              </a:rPr>
              <a:t>d</a:t>
            </a:r>
            <a:r>
              <a:rPr sz="1200" spc="-14" dirty="0">
                <a:latin typeface="Arial"/>
                <a:cs typeface="Arial"/>
              </a:rPr>
              <a:t> </a:t>
            </a:r>
            <a:r>
              <a:rPr sz="1200" dirty="0">
                <a:latin typeface="Arial"/>
                <a:cs typeface="Arial"/>
              </a:rPr>
              <a:t>issue</a:t>
            </a:r>
            <a:r>
              <a:rPr sz="1200" spc="-14" dirty="0">
                <a:latin typeface="Arial"/>
                <a:cs typeface="Arial"/>
              </a:rPr>
              <a:t> </a:t>
            </a:r>
            <a:r>
              <a:rPr sz="1200" dirty="0">
                <a:latin typeface="Arial"/>
                <a:cs typeface="Arial"/>
              </a:rPr>
              <a:t>&amp;</a:t>
            </a:r>
            <a:r>
              <a:rPr sz="1200" spc="4" dirty="0">
                <a:latin typeface="Arial"/>
                <a:cs typeface="Arial"/>
              </a:rPr>
              <a:t> 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spc="-4" dirty="0">
                <a:latin typeface="Arial"/>
                <a:cs typeface="Arial"/>
              </a:rPr>
              <a:t>g</a:t>
            </a:r>
            <a:r>
              <a:rPr sz="1200" dirty="0">
                <a:latin typeface="Arial"/>
                <a:cs typeface="Arial"/>
              </a:rPr>
              <a:t>,</a:t>
            </a:r>
            <a:r>
              <a:rPr sz="1200" spc="327"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 ins</a:t>
            </a:r>
            <a:r>
              <a:rPr sz="1200" spc="4" dirty="0">
                <a:latin typeface="Arial"/>
                <a:cs typeface="Arial"/>
              </a:rPr>
              <a:t>pe</a:t>
            </a:r>
            <a:r>
              <a:rPr sz="1200" dirty="0">
                <a:latin typeface="Arial"/>
                <a:cs typeface="Arial"/>
              </a:rPr>
              <a:t>cti</a:t>
            </a:r>
            <a:r>
              <a:rPr sz="1200" spc="4" dirty="0">
                <a:latin typeface="Arial"/>
                <a:cs typeface="Arial"/>
              </a:rPr>
              <a:t>o</a:t>
            </a:r>
            <a:r>
              <a:rPr sz="1200" dirty="0">
                <a:latin typeface="Arial"/>
                <a:cs typeface="Arial"/>
              </a:rPr>
              <a:t>n</a:t>
            </a:r>
            <a:r>
              <a:rPr sz="1200" spc="-50" dirty="0">
                <a:latin typeface="Arial"/>
                <a:cs typeface="Arial"/>
              </a:rPr>
              <a:t> </a:t>
            </a:r>
            <a:r>
              <a:rPr sz="1200" dirty="0">
                <a:latin typeface="Arial"/>
                <a:cs typeface="Arial"/>
              </a:rPr>
              <a:t>lot</a:t>
            </a:r>
            <a:r>
              <a:rPr sz="1200" spc="-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4" dirty="0">
                <a:latin typeface="Arial"/>
                <a:cs typeface="Arial"/>
              </a:rPr>
              <a:t> </a:t>
            </a:r>
            <a:r>
              <a:rPr sz="1200" spc="-9" dirty="0">
                <a:latin typeface="Arial"/>
                <a:cs typeface="Arial"/>
              </a:rPr>
              <a:t>v</a:t>
            </a:r>
            <a:r>
              <a:rPr sz="1200" dirty="0">
                <a:latin typeface="Arial"/>
                <a:cs typeface="Arial"/>
              </a:rPr>
              <a:t>ie</a:t>
            </a:r>
            <a:r>
              <a:rPr sz="1200" spc="-9" dirty="0">
                <a:latin typeface="Arial"/>
                <a:cs typeface="Arial"/>
              </a:rPr>
              <a:t>w</a:t>
            </a:r>
            <a:r>
              <a:rPr sz="1200" spc="4" dirty="0">
                <a:latin typeface="Arial"/>
                <a:cs typeface="Arial"/>
              </a:rPr>
              <a:t>e</a:t>
            </a:r>
            <a:r>
              <a:rPr sz="1200" dirty="0">
                <a:latin typeface="Arial"/>
                <a:cs typeface="Arial"/>
              </a:rPr>
              <a:t>d</a:t>
            </a:r>
            <a:r>
              <a:rPr sz="1200" spc="-4" dirty="0">
                <a:latin typeface="Arial"/>
                <a:cs typeface="Arial"/>
              </a:rPr>
              <a:t> </a:t>
            </a:r>
            <a:r>
              <a:rPr sz="1200" dirty="0">
                <a:latin typeface="Arial"/>
                <a:cs typeface="Arial"/>
              </a:rPr>
              <a:t>in</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spc="4" dirty="0">
                <a:latin typeface="Arial"/>
                <a:cs typeface="Arial"/>
              </a:rPr>
              <a:t>p</a:t>
            </a:r>
            <a:r>
              <a:rPr sz="1200" dirty="0">
                <a:latin typeface="Arial"/>
                <a:cs typeface="Arial"/>
              </a:rPr>
              <a:t>roc</a:t>
            </a:r>
            <a:r>
              <a:rPr sz="1200" spc="4" dirty="0">
                <a:latin typeface="Arial"/>
                <a:cs typeface="Arial"/>
              </a:rPr>
              <a:t>e</a:t>
            </a:r>
            <a:r>
              <a:rPr sz="1200" dirty="0">
                <a:latin typeface="Arial"/>
                <a:cs typeface="Arial"/>
              </a:rPr>
              <a:t>ssing</a:t>
            </a:r>
            <a:r>
              <a:rPr sz="1200" spc="-24"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endParaRPr sz="1200">
              <a:latin typeface="Arial"/>
              <a:cs typeface="Arial"/>
            </a:endParaRPr>
          </a:p>
        </p:txBody>
      </p:sp>
      <p:sp>
        <p:nvSpPr>
          <p:cNvPr id="22" name="object 22"/>
          <p:cNvSpPr txBox="1"/>
          <p:nvPr/>
        </p:nvSpPr>
        <p:spPr>
          <a:xfrm>
            <a:off x="2133600" y="2209801"/>
            <a:ext cx="1820926" cy="640079"/>
          </a:xfrm>
          <a:prstGeom prst="rect">
            <a:avLst/>
          </a:prstGeom>
        </p:spPr>
        <p:txBody>
          <a:bodyPr wrap="square" lIns="0" tIns="0" rIns="0" bIns="0" rtlCol="0">
            <a:noAutofit/>
          </a:bodyPr>
          <a:lstStyle/>
          <a:p>
            <a:pPr marL="91440">
              <a:lnSpc>
                <a:spcPct val="95825"/>
              </a:lnSpc>
              <a:spcBef>
                <a:spcPts val="330"/>
              </a:spcBef>
            </a:pPr>
            <a:r>
              <a:rPr sz="1200" spc="-4" dirty="0">
                <a:latin typeface="Arial"/>
                <a:cs typeface="Arial"/>
              </a:rPr>
              <a:t>M</a:t>
            </a:r>
            <a:r>
              <a:rPr sz="1200" dirty="0">
                <a:latin typeface="Arial"/>
                <a:cs typeface="Arial"/>
              </a:rPr>
              <a:t>a</a:t>
            </a:r>
            <a:r>
              <a:rPr sz="1200" spc="4" dirty="0">
                <a:latin typeface="Arial"/>
                <a:cs typeface="Arial"/>
              </a:rPr>
              <a:t>t</a:t>
            </a:r>
            <a:r>
              <a:rPr sz="1200" dirty="0">
                <a:latin typeface="Arial"/>
                <a:cs typeface="Arial"/>
              </a:rPr>
              <a:t>er</a:t>
            </a:r>
            <a:r>
              <a:rPr sz="1200" spc="-4" dirty="0">
                <a:latin typeface="Arial"/>
                <a:cs typeface="Arial"/>
              </a:rPr>
              <a:t>i</a:t>
            </a:r>
            <a:r>
              <a:rPr sz="1200" dirty="0">
                <a:latin typeface="Arial"/>
                <a:cs typeface="Arial"/>
              </a:rPr>
              <a:t>al</a:t>
            </a:r>
            <a:r>
              <a:rPr sz="1200" spc="-89" dirty="0">
                <a:latin typeface="Arial"/>
                <a:cs typeface="Arial"/>
              </a:rPr>
              <a:t> </a:t>
            </a:r>
            <a:r>
              <a:rPr sz="1200" dirty="0">
                <a:latin typeface="Arial"/>
                <a:cs typeface="Arial"/>
              </a:rPr>
              <a:t>Attr</a:t>
            </a:r>
            <a:r>
              <a:rPr sz="1200" spc="-4" dirty="0">
                <a:latin typeface="Arial"/>
                <a:cs typeface="Arial"/>
              </a:rPr>
              <a:t>i</a:t>
            </a:r>
            <a:r>
              <a:rPr sz="1200" dirty="0">
                <a:latin typeface="Arial"/>
                <a:cs typeface="Arial"/>
              </a:rPr>
              <a:t>b</a:t>
            </a:r>
            <a:r>
              <a:rPr sz="1200" spc="4" dirty="0">
                <a:latin typeface="Arial"/>
                <a:cs typeface="Arial"/>
              </a:rPr>
              <a:t>u</a:t>
            </a:r>
            <a:r>
              <a:rPr sz="1200" dirty="0">
                <a:latin typeface="Arial"/>
                <a:cs typeface="Arial"/>
              </a:rPr>
              <a:t>t</a:t>
            </a:r>
            <a:r>
              <a:rPr sz="1200" spc="4" dirty="0">
                <a:latin typeface="Arial"/>
                <a:cs typeface="Arial"/>
              </a:rPr>
              <a:t>e</a:t>
            </a:r>
            <a:r>
              <a:rPr sz="1200" dirty="0">
                <a:latin typeface="Arial"/>
                <a:cs typeface="Arial"/>
              </a:rPr>
              <a:t>s</a:t>
            </a:r>
            <a:endParaRPr sz="1200">
              <a:latin typeface="Arial"/>
              <a:cs typeface="Arial"/>
            </a:endParaRPr>
          </a:p>
        </p:txBody>
      </p:sp>
      <p:sp>
        <p:nvSpPr>
          <p:cNvPr id="21" name="object 21"/>
          <p:cNvSpPr txBox="1"/>
          <p:nvPr/>
        </p:nvSpPr>
        <p:spPr>
          <a:xfrm>
            <a:off x="3954527" y="2209801"/>
            <a:ext cx="1401699" cy="640079"/>
          </a:xfrm>
          <a:prstGeom prst="rect">
            <a:avLst/>
          </a:prstGeom>
        </p:spPr>
        <p:txBody>
          <a:bodyPr wrap="square" lIns="0" tIns="0" rIns="0" bIns="0" rtlCol="0">
            <a:noAutofit/>
          </a:bodyPr>
          <a:lstStyle/>
          <a:p>
            <a:pPr marL="91693">
              <a:lnSpc>
                <a:spcPct val="95825"/>
              </a:lnSpc>
              <a:spcBef>
                <a:spcPts val="330"/>
              </a:spcBef>
            </a:pPr>
            <a:r>
              <a:rPr sz="1200" spc="-4" dirty="0">
                <a:latin typeface="Arial"/>
                <a:cs typeface="Arial"/>
              </a:rPr>
              <a:t>M</a:t>
            </a:r>
            <a:r>
              <a:rPr sz="1200" dirty="0">
                <a:latin typeface="Arial"/>
                <a:cs typeface="Arial"/>
              </a:rPr>
              <a:t>a</a:t>
            </a:r>
            <a:r>
              <a:rPr sz="1200" spc="4" dirty="0">
                <a:latin typeface="Arial"/>
                <a:cs typeface="Arial"/>
              </a:rPr>
              <a:t>t</a:t>
            </a:r>
            <a:r>
              <a:rPr sz="1200" dirty="0">
                <a:latin typeface="Arial"/>
                <a:cs typeface="Arial"/>
              </a:rPr>
              <a:t>er</a:t>
            </a:r>
            <a:r>
              <a:rPr sz="1200" spc="-4" dirty="0">
                <a:latin typeface="Arial"/>
                <a:cs typeface="Arial"/>
              </a:rPr>
              <a:t>i</a:t>
            </a:r>
            <a:r>
              <a:rPr sz="1200" dirty="0">
                <a:latin typeface="Arial"/>
                <a:cs typeface="Arial"/>
              </a:rPr>
              <a:t>al</a:t>
            </a:r>
            <a:endParaRPr sz="1200">
              <a:latin typeface="Arial"/>
              <a:cs typeface="Arial"/>
            </a:endParaRPr>
          </a:p>
        </p:txBody>
      </p:sp>
      <p:sp>
        <p:nvSpPr>
          <p:cNvPr id="20" name="object 20"/>
          <p:cNvSpPr txBox="1"/>
          <p:nvPr/>
        </p:nvSpPr>
        <p:spPr>
          <a:xfrm>
            <a:off x="5356226" y="2209801"/>
            <a:ext cx="4625975" cy="640079"/>
          </a:xfrm>
          <a:prstGeom prst="rect">
            <a:avLst/>
          </a:prstGeom>
        </p:spPr>
        <p:txBody>
          <a:bodyPr wrap="square" lIns="0" tIns="0" rIns="0" bIns="0" rtlCol="0">
            <a:noAutofit/>
          </a:bodyPr>
          <a:lstStyle/>
          <a:p>
            <a:pPr marL="92075" marR="71858">
              <a:lnSpc>
                <a:spcPct val="100041"/>
              </a:lnSpc>
              <a:spcBef>
                <a:spcPts val="400"/>
              </a:spcBef>
            </a:pPr>
            <a:r>
              <a:rPr sz="1200" spc="9" dirty="0">
                <a:latin typeface="Arial"/>
                <a:cs typeface="Arial"/>
              </a:rPr>
              <a:t>T</a:t>
            </a:r>
            <a:r>
              <a:rPr sz="1200" dirty="0">
                <a:latin typeface="Arial"/>
                <a:cs typeface="Arial"/>
              </a:rPr>
              <a:t>his</a:t>
            </a:r>
            <a:r>
              <a:rPr sz="1200" spc="-19" dirty="0">
                <a:latin typeface="Arial"/>
                <a:cs typeface="Arial"/>
              </a:rPr>
              <a:t> </a:t>
            </a:r>
            <a:r>
              <a:rPr sz="1200" dirty="0">
                <a:latin typeface="Arial"/>
                <a:cs typeface="Arial"/>
              </a:rPr>
              <a:t>sc</a:t>
            </a:r>
            <a:r>
              <a:rPr sz="1200" spc="-4" dirty="0">
                <a:latin typeface="Arial"/>
                <a:cs typeface="Arial"/>
              </a:rPr>
              <a:t>r</a:t>
            </a:r>
            <a:r>
              <a:rPr sz="1200" dirty="0">
                <a:latin typeface="Arial"/>
                <a:cs typeface="Arial"/>
              </a:rPr>
              <a:t>e</a:t>
            </a:r>
            <a:r>
              <a:rPr sz="1200" spc="4" dirty="0">
                <a:latin typeface="Arial"/>
                <a:cs typeface="Arial"/>
              </a:rPr>
              <a:t>e</a:t>
            </a:r>
            <a:r>
              <a:rPr sz="1200" dirty="0">
                <a:latin typeface="Arial"/>
                <a:cs typeface="Arial"/>
              </a:rPr>
              <a:t>n</a:t>
            </a:r>
            <a:r>
              <a:rPr sz="1200" spc="-14" dirty="0">
                <a:latin typeface="Arial"/>
                <a:cs typeface="Arial"/>
              </a:rPr>
              <a:t> </a:t>
            </a:r>
            <a:r>
              <a:rPr sz="1200" dirty="0">
                <a:latin typeface="Arial"/>
                <a:cs typeface="Arial"/>
              </a:rPr>
              <a:t>sh</a:t>
            </a:r>
            <a:r>
              <a:rPr sz="1200" spc="4" dirty="0">
                <a:latin typeface="Arial"/>
                <a:cs typeface="Arial"/>
              </a:rPr>
              <a:t>o</a:t>
            </a:r>
            <a:r>
              <a:rPr sz="1200" spc="-14" dirty="0">
                <a:latin typeface="Arial"/>
                <a:cs typeface="Arial"/>
              </a:rPr>
              <a:t>w</a:t>
            </a:r>
            <a:r>
              <a:rPr sz="1200" dirty="0">
                <a:latin typeface="Arial"/>
                <a:cs typeface="Arial"/>
              </a:rPr>
              <a:t>s</a:t>
            </a:r>
            <a:r>
              <a:rPr sz="1200" spc="-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a</a:t>
            </a:r>
            <a:r>
              <a:rPr sz="1200" spc="4" dirty="0">
                <a:latin typeface="Arial"/>
                <a:cs typeface="Arial"/>
              </a:rPr>
              <a:t>t</a:t>
            </a:r>
            <a:r>
              <a:rPr sz="1200" dirty="0">
                <a:latin typeface="Arial"/>
                <a:cs typeface="Arial"/>
              </a:rPr>
              <a:t>tr</a:t>
            </a:r>
            <a:r>
              <a:rPr sz="1200" spc="-4" dirty="0">
                <a:latin typeface="Arial"/>
                <a:cs typeface="Arial"/>
              </a:rPr>
              <a:t>i</a:t>
            </a:r>
            <a:r>
              <a:rPr sz="1200" dirty="0">
                <a:latin typeface="Arial"/>
                <a:cs typeface="Arial"/>
              </a:rPr>
              <a:t>b</a:t>
            </a:r>
            <a:r>
              <a:rPr sz="1200" spc="4" dirty="0">
                <a:latin typeface="Arial"/>
                <a:cs typeface="Arial"/>
              </a:rPr>
              <a:t>u</a:t>
            </a:r>
            <a:r>
              <a:rPr sz="1200" dirty="0">
                <a:latin typeface="Arial"/>
                <a:cs typeface="Arial"/>
              </a:rPr>
              <a:t>t</a:t>
            </a:r>
            <a:r>
              <a:rPr sz="1200" spc="4" dirty="0">
                <a:latin typeface="Arial"/>
                <a:cs typeface="Arial"/>
              </a:rPr>
              <a:t>e</a:t>
            </a:r>
            <a:r>
              <a:rPr sz="1200" dirty="0">
                <a:latin typeface="Arial"/>
                <a:cs typeface="Arial"/>
              </a:rPr>
              <a:t>s</a:t>
            </a:r>
            <a:r>
              <a:rPr sz="1200" spc="-34" dirty="0">
                <a:latin typeface="Arial"/>
                <a:cs typeface="Arial"/>
              </a:rPr>
              <a:t> </a:t>
            </a:r>
            <a:r>
              <a:rPr sz="1200" dirty="0">
                <a:latin typeface="Arial"/>
                <a:cs typeface="Arial"/>
              </a:rPr>
              <a:t>of</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spc="4" dirty="0">
                <a:latin typeface="Arial"/>
                <a:cs typeface="Arial"/>
              </a:rPr>
              <a:t>m</a:t>
            </a:r>
            <a:r>
              <a:rPr sz="1200" dirty="0">
                <a:latin typeface="Arial"/>
                <a:cs typeface="Arial"/>
              </a:rPr>
              <a:t>a</a:t>
            </a:r>
            <a:r>
              <a:rPr sz="1200" spc="4" dirty="0">
                <a:latin typeface="Arial"/>
                <a:cs typeface="Arial"/>
              </a:rPr>
              <a:t>t</a:t>
            </a:r>
            <a:r>
              <a:rPr sz="1200" dirty="0">
                <a:latin typeface="Arial"/>
                <a:cs typeface="Arial"/>
              </a:rPr>
              <a:t>er</a:t>
            </a:r>
            <a:r>
              <a:rPr sz="1200" spc="-4" dirty="0">
                <a:latin typeface="Arial"/>
                <a:cs typeface="Arial"/>
              </a:rPr>
              <a:t>i</a:t>
            </a:r>
            <a:r>
              <a:rPr sz="1200" dirty="0">
                <a:latin typeface="Arial"/>
                <a:cs typeface="Arial"/>
              </a:rPr>
              <a:t>al</a:t>
            </a:r>
            <a:r>
              <a:rPr sz="1200" spc="-29" dirty="0">
                <a:latin typeface="Arial"/>
                <a:cs typeface="Arial"/>
              </a:rPr>
              <a:t> </a:t>
            </a:r>
            <a:r>
              <a:rPr sz="1200" dirty="0">
                <a:latin typeface="Arial"/>
                <a:cs typeface="Arial"/>
              </a:rPr>
              <a:t>such</a:t>
            </a:r>
            <a:r>
              <a:rPr sz="1200" spc="-14" dirty="0">
                <a:latin typeface="Arial"/>
                <a:cs typeface="Arial"/>
              </a:rPr>
              <a:t> </a:t>
            </a:r>
            <a:r>
              <a:rPr sz="1200" dirty="0">
                <a:latin typeface="Arial"/>
                <a:cs typeface="Arial"/>
              </a:rPr>
              <a:t>as</a:t>
            </a:r>
            <a:r>
              <a:rPr sz="1200" spc="4" dirty="0">
                <a:latin typeface="Arial"/>
                <a:cs typeface="Arial"/>
              </a:rPr>
              <a:t> </a:t>
            </a:r>
            <a:r>
              <a:rPr sz="1200" dirty="0">
                <a:latin typeface="Arial"/>
                <a:cs typeface="Arial"/>
              </a:rPr>
              <a:t>sto</a:t>
            </a:r>
            <a:r>
              <a:rPr sz="1200" spc="-4" dirty="0">
                <a:latin typeface="Arial"/>
                <a:cs typeface="Arial"/>
              </a:rPr>
              <a:t>r</a:t>
            </a:r>
            <a:r>
              <a:rPr sz="1200" dirty="0">
                <a:latin typeface="Arial"/>
                <a:cs typeface="Arial"/>
              </a:rPr>
              <a:t>a</a:t>
            </a:r>
            <a:r>
              <a:rPr sz="1200" spc="-4" dirty="0">
                <a:latin typeface="Arial"/>
                <a:cs typeface="Arial"/>
              </a:rPr>
              <a:t>g</a:t>
            </a:r>
            <a:r>
              <a:rPr sz="1200" dirty="0">
                <a:latin typeface="Arial"/>
                <a:cs typeface="Arial"/>
              </a:rPr>
              <a:t>e c</a:t>
            </a:r>
            <a:r>
              <a:rPr sz="1200" spc="4" dirty="0">
                <a:latin typeface="Arial"/>
                <a:cs typeface="Arial"/>
              </a:rPr>
              <a:t>ond</a:t>
            </a:r>
            <a:r>
              <a:rPr sz="1200" dirty="0">
                <a:latin typeface="Arial"/>
                <a:cs typeface="Arial"/>
              </a:rPr>
              <a:t>itio</a:t>
            </a:r>
            <a:r>
              <a:rPr sz="1200" spc="-4" dirty="0">
                <a:latin typeface="Arial"/>
                <a:cs typeface="Arial"/>
              </a:rPr>
              <a:t>n</a:t>
            </a:r>
            <a:r>
              <a:rPr sz="1200" dirty="0">
                <a:latin typeface="Arial"/>
                <a:cs typeface="Arial"/>
              </a:rPr>
              <a:t>,</a:t>
            </a:r>
            <a:r>
              <a:rPr sz="1200" spc="-39" dirty="0">
                <a:latin typeface="Arial"/>
                <a:cs typeface="Arial"/>
              </a:rPr>
              <a:t> </a:t>
            </a:r>
            <a:r>
              <a:rPr sz="1200" dirty="0">
                <a:latin typeface="Arial"/>
                <a:cs typeface="Arial"/>
              </a:rPr>
              <a:t>tra</a:t>
            </a:r>
            <a:r>
              <a:rPr sz="1200" spc="4" dirty="0">
                <a:latin typeface="Arial"/>
                <a:cs typeface="Arial"/>
              </a:rPr>
              <a:t>n</a:t>
            </a:r>
            <a:r>
              <a:rPr sz="1200" dirty="0">
                <a:latin typeface="Arial"/>
                <a:cs typeface="Arial"/>
              </a:rPr>
              <a:t>s</a:t>
            </a:r>
            <a:r>
              <a:rPr sz="1200" spc="4" dirty="0">
                <a:latin typeface="Arial"/>
                <a:cs typeface="Arial"/>
              </a:rPr>
              <a:t>po</a:t>
            </a:r>
            <a:r>
              <a:rPr sz="1200" dirty="0">
                <a:latin typeface="Arial"/>
                <a:cs typeface="Arial"/>
              </a:rPr>
              <a:t>rta</a:t>
            </a:r>
            <a:r>
              <a:rPr sz="1200" spc="4" dirty="0">
                <a:latin typeface="Arial"/>
                <a:cs typeface="Arial"/>
              </a:rPr>
              <a:t>t</a:t>
            </a:r>
            <a:r>
              <a:rPr sz="1200" dirty="0">
                <a:latin typeface="Arial"/>
                <a:cs typeface="Arial"/>
              </a:rPr>
              <a:t>ion</a:t>
            </a:r>
            <a:r>
              <a:rPr sz="1200" spc="-39" dirty="0">
                <a:latin typeface="Arial"/>
                <a:cs typeface="Arial"/>
              </a:rPr>
              <a:t> </a:t>
            </a:r>
            <a:r>
              <a:rPr sz="1200" spc="-4" dirty="0">
                <a:latin typeface="Arial"/>
                <a:cs typeface="Arial"/>
              </a:rPr>
              <a:t>g</a:t>
            </a:r>
            <a:r>
              <a:rPr sz="1200" dirty="0">
                <a:latin typeface="Arial"/>
                <a:cs typeface="Arial"/>
              </a:rPr>
              <a:t>ro</a:t>
            </a:r>
            <a:r>
              <a:rPr sz="1200" spc="4" dirty="0">
                <a:latin typeface="Arial"/>
                <a:cs typeface="Arial"/>
              </a:rPr>
              <a:t>up</a:t>
            </a:r>
            <a:r>
              <a:rPr sz="1200" dirty="0">
                <a:latin typeface="Arial"/>
                <a:cs typeface="Arial"/>
              </a:rPr>
              <a:t>,</a:t>
            </a:r>
            <a:r>
              <a:rPr sz="1200" spc="-19" dirty="0">
                <a:latin typeface="Arial"/>
                <a:cs typeface="Arial"/>
              </a:rPr>
              <a:t> </a:t>
            </a:r>
            <a:r>
              <a:rPr sz="1200" dirty="0">
                <a:latin typeface="Arial"/>
                <a:cs typeface="Arial"/>
              </a:rPr>
              <a:t>lo</a:t>
            </a:r>
            <a:r>
              <a:rPr sz="1200" spc="4" dirty="0">
                <a:latin typeface="Arial"/>
                <a:cs typeface="Arial"/>
              </a:rPr>
              <a:t>ad</a:t>
            </a:r>
            <a:r>
              <a:rPr sz="1200" dirty="0">
                <a:latin typeface="Arial"/>
                <a:cs typeface="Arial"/>
              </a:rPr>
              <a:t>ing</a:t>
            </a:r>
            <a:r>
              <a:rPr sz="1200" spc="-34" dirty="0">
                <a:latin typeface="Arial"/>
                <a:cs typeface="Arial"/>
              </a:rPr>
              <a:t> </a:t>
            </a:r>
            <a:r>
              <a:rPr sz="1200" spc="-4" dirty="0">
                <a:latin typeface="Arial"/>
                <a:cs typeface="Arial"/>
              </a:rPr>
              <a:t>g</a:t>
            </a:r>
            <a:r>
              <a:rPr sz="1200" dirty="0">
                <a:latin typeface="Arial"/>
                <a:cs typeface="Arial"/>
              </a:rPr>
              <a:t>ro</a:t>
            </a:r>
            <a:r>
              <a:rPr sz="1200" spc="4" dirty="0">
                <a:latin typeface="Arial"/>
                <a:cs typeface="Arial"/>
              </a:rPr>
              <a:t>up</a:t>
            </a:r>
            <a:r>
              <a:rPr sz="1200" dirty="0">
                <a:latin typeface="Arial"/>
                <a:cs typeface="Arial"/>
              </a:rPr>
              <a:t>,</a:t>
            </a:r>
            <a:r>
              <a:rPr sz="1200" spc="-19" dirty="0">
                <a:latin typeface="Arial"/>
                <a:cs typeface="Arial"/>
              </a:rPr>
              <a:t> </a:t>
            </a:r>
            <a:r>
              <a:rPr sz="1200" spc="4" dirty="0">
                <a:latin typeface="Arial"/>
                <a:cs typeface="Arial"/>
              </a:rPr>
              <a:t>an</a:t>
            </a:r>
            <a:r>
              <a:rPr sz="1200" dirty="0">
                <a:latin typeface="Arial"/>
                <a:cs typeface="Arial"/>
              </a:rPr>
              <a:t>d</a:t>
            </a:r>
            <a:r>
              <a:rPr sz="1200" spc="-14" dirty="0">
                <a:latin typeface="Arial"/>
                <a:cs typeface="Arial"/>
              </a:rPr>
              <a:t> </a:t>
            </a:r>
            <a:r>
              <a:rPr sz="1200" dirty="0">
                <a:latin typeface="Arial"/>
                <a:cs typeface="Arial"/>
              </a:rPr>
              <a:t>s</a:t>
            </a:r>
            <a:r>
              <a:rPr sz="1200" spc="4" dirty="0">
                <a:latin typeface="Arial"/>
                <a:cs typeface="Arial"/>
              </a:rPr>
              <a:t>he</a:t>
            </a:r>
            <a:r>
              <a:rPr sz="1200" dirty="0">
                <a:latin typeface="Arial"/>
                <a:cs typeface="Arial"/>
              </a:rPr>
              <a:t>lf</a:t>
            </a:r>
            <a:r>
              <a:rPr sz="1200" spc="-9" dirty="0">
                <a:latin typeface="Arial"/>
                <a:cs typeface="Arial"/>
              </a:rPr>
              <a:t> </a:t>
            </a:r>
            <a:r>
              <a:rPr sz="1200" dirty="0">
                <a:latin typeface="Arial"/>
                <a:cs typeface="Arial"/>
              </a:rPr>
              <a:t>l</a:t>
            </a:r>
            <a:r>
              <a:rPr sz="1200" spc="-4" dirty="0">
                <a:latin typeface="Arial"/>
                <a:cs typeface="Arial"/>
              </a:rPr>
              <a:t>i</a:t>
            </a:r>
            <a:r>
              <a:rPr sz="1200" spc="14" dirty="0">
                <a:latin typeface="Arial"/>
                <a:cs typeface="Arial"/>
              </a:rPr>
              <a:t>f</a:t>
            </a:r>
            <a:r>
              <a:rPr sz="1200" dirty="0">
                <a:latin typeface="Arial"/>
                <a:cs typeface="Arial"/>
              </a:rPr>
              <a:t>e</a:t>
            </a:r>
            <a:r>
              <a:rPr sz="1200" spc="-14" dirty="0">
                <a:latin typeface="Arial"/>
                <a:cs typeface="Arial"/>
              </a:rPr>
              <a:t> </a:t>
            </a:r>
            <a:r>
              <a:rPr sz="1200" spc="4" dirty="0">
                <a:latin typeface="Arial"/>
                <a:cs typeface="Arial"/>
              </a:rPr>
              <a:t>e</a:t>
            </a:r>
            <a:r>
              <a:rPr sz="1200" spc="-9" dirty="0">
                <a:latin typeface="Arial"/>
                <a:cs typeface="Arial"/>
              </a:rPr>
              <a:t>x</a:t>
            </a:r>
            <a:r>
              <a:rPr sz="1200" spc="4" dirty="0">
                <a:latin typeface="Arial"/>
                <a:cs typeface="Arial"/>
              </a:rPr>
              <a:t>p</a:t>
            </a:r>
            <a:r>
              <a:rPr sz="1200" dirty="0">
                <a:latin typeface="Arial"/>
                <a:cs typeface="Arial"/>
              </a:rPr>
              <a:t>i</a:t>
            </a:r>
            <a:r>
              <a:rPr sz="1200" spc="-4" dirty="0">
                <a:latin typeface="Arial"/>
                <a:cs typeface="Arial"/>
              </a:rPr>
              <a:t>r</a:t>
            </a:r>
            <a:r>
              <a:rPr sz="1200" dirty="0">
                <a:latin typeface="Arial"/>
                <a:cs typeface="Arial"/>
              </a:rPr>
              <a:t>y </a:t>
            </a:r>
            <a:r>
              <a:rPr sz="1200" spc="4" dirty="0">
                <a:latin typeface="Arial"/>
                <a:cs typeface="Arial"/>
              </a:rPr>
              <a:t>da</a:t>
            </a:r>
            <a:r>
              <a:rPr sz="1200" dirty="0">
                <a:latin typeface="Arial"/>
                <a:cs typeface="Arial"/>
              </a:rPr>
              <a:t>te</a:t>
            </a:r>
            <a:r>
              <a:rPr sz="1200" spc="-24" dirty="0">
                <a:latin typeface="Arial"/>
                <a:cs typeface="Arial"/>
              </a:rPr>
              <a:t> </a:t>
            </a:r>
            <a:r>
              <a:rPr sz="1200" spc="4" dirty="0">
                <a:latin typeface="Arial"/>
                <a:cs typeface="Arial"/>
              </a:rPr>
              <a:t>e</a:t>
            </a:r>
            <a:r>
              <a:rPr sz="1200" dirty="0">
                <a:latin typeface="Arial"/>
                <a:cs typeface="Arial"/>
              </a:rPr>
              <a:t>tc.</a:t>
            </a:r>
          </a:p>
        </p:txBody>
      </p:sp>
      <p:sp>
        <p:nvSpPr>
          <p:cNvPr id="19" name="object 19"/>
          <p:cNvSpPr txBox="1"/>
          <p:nvPr/>
        </p:nvSpPr>
        <p:spPr>
          <a:xfrm>
            <a:off x="2133600" y="2849879"/>
            <a:ext cx="1820926" cy="457200"/>
          </a:xfrm>
          <a:prstGeom prst="rect">
            <a:avLst/>
          </a:prstGeom>
        </p:spPr>
        <p:txBody>
          <a:bodyPr wrap="square" lIns="0" tIns="0" rIns="0" bIns="0" rtlCol="0">
            <a:noAutofit/>
          </a:bodyPr>
          <a:lstStyle/>
          <a:p>
            <a:pPr marL="91440">
              <a:lnSpc>
                <a:spcPct val="95825"/>
              </a:lnSpc>
              <a:spcBef>
                <a:spcPts val="330"/>
              </a:spcBef>
            </a:pPr>
            <a:r>
              <a:rPr sz="1200" dirty="0">
                <a:latin typeface="Arial"/>
                <a:cs typeface="Arial"/>
              </a:rPr>
              <a:t>B</a:t>
            </a:r>
            <a:r>
              <a:rPr sz="1200" spc="4" dirty="0">
                <a:latin typeface="Arial"/>
                <a:cs typeface="Arial"/>
              </a:rPr>
              <a:t>a</a:t>
            </a:r>
            <a:r>
              <a:rPr sz="1200" dirty="0">
                <a:latin typeface="Arial"/>
                <a:cs typeface="Arial"/>
              </a:rPr>
              <a:t>tch</a:t>
            </a:r>
            <a:endParaRPr sz="1200">
              <a:latin typeface="Arial"/>
              <a:cs typeface="Arial"/>
            </a:endParaRPr>
          </a:p>
        </p:txBody>
      </p:sp>
      <p:sp>
        <p:nvSpPr>
          <p:cNvPr id="18" name="object 18"/>
          <p:cNvSpPr txBox="1"/>
          <p:nvPr/>
        </p:nvSpPr>
        <p:spPr>
          <a:xfrm>
            <a:off x="3954527" y="2849879"/>
            <a:ext cx="1401699" cy="457200"/>
          </a:xfrm>
          <a:prstGeom prst="rect">
            <a:avLst/>
          </a:prstGeom>
        </p:spPr>
        <p:txBody>
          <a:bodyPr wrap="square" lIns="0" tIns="0" rIns="0" bIns="0" rtlCol="0">
            <a:noAutofit/>
          </a:bodyPr>
          <a:lstStyle/>
          <a:p>
            <a:pPr marL="91693">
              <a:lnSpc>
                <a:spcPct val="95825"/>
              </a:lnSpc>
              <a:spcBef>
                <a:spcPts val="330"/>
              </a:spcBef>
            </a:pPr>
            <a:r>
              <a:rPr sz="1200" dirty="0">
                <a:latin typeface="Arial"/>
                <a:cs typeface="Arial"/>
              </a:rPr>
              <a:t>B</a:t>
            </a:r>
            <a:r>
              <a:rPr sz="1200" spc="4" dirty="0">
                <a:latin typeface="Arial"/>
                <a:cs typeface="Arial"/>
              </a:rPr>
              <a:t>a</a:t>
            </a:r>
            <a:r>
              <a:rPr sz="1200" dirty="0">
                <a:latin typeface="Arial"/>
                <a:cs typeface="Arial"/>
              </a:rPr>
              <a:t>tch</a:t>
            </a:r>
            <a:r>
              <a:rPr sz="1200" spc="-25" dirty="0">
                <a:latin typeface="Arial"/>
                <a:cs typeface="Arial"/>
              </a:rPr>
              <a:t> </a:t>
            </a:r>
            <a:r>
              <a:rPr sz="1200" dirty="0">
                <a:latin typeface="Arial"/>
                <a:cs typeface="Arial"/>
              </a:rPr>
              <a:t>S</a:t>
            </a:r>
            <a:r>
              <a:rPr sz="1200" spc="4" dirty="0">
                <a:latin typeface="Arial"/>
                <a:cs typeface="Arial"/>
              </a:rPr>
              <a:t>p</a:t>
            </a:r>
            <a:r>
              <a:rPr sz="1200" dirty="0">
                <a:latin typeface="Arial"/>
                <a:cs typeface="Arial"/>
              </a:rPr>
              <a:t>l</a:t>
            </a:r>
            <a:r>
              <a:rPr sz="1200" spc="-4" dirty="0">
                <a:latin typeface="Arial"/>
                <a:cs typeface="Arial"/>
              </a:rPr>
              <a:t>i</a:t>
            </a:r>
            <a:r>
              <a:rPr sz="1200" dirty="0">
                <a:latin typeface="Arial"/>
                <a:cs typeface="Arial"/>
              </a:rPr>
              <a:t>t</a:t>
            </a:r>
            <a:endParaRPr sz="1200">
              <a:latin typeface="Arial"/>
              <a:cs typeface="Arial"/>
            </a:endParaRPr>
          </a:p>
        </p:txBody>
      </p:sp>
      <p:sp>
        <p:nvSpPr>
          <p:cNvPr id="17" name="object 17"/>
          <p:cNvSpPr txBox="1"/>
          <p:nvPr/>
        </p:nvSpPr>
        <p:spPr>
          <a:xfrm>
            <a:off x="5356226" y="2849879"/>
            <a:ext cx="4625975" cy="457200"/>
          </a:xfrm>
          <a:prstGeom prst="rect">
            <a:avLst/>
          </a:prstGeom>
        </p:spPr>
        <p:txBody>
          <a:bodyPr wrap="square" lIns="0" tIns="0" rIns="0" bIns="0" rtlCol="0">
            <a:noAutofit/>
          </a:bodyPr>
          <a:lstStyle/>
          <a:p>
            <a:pPr marL="92075" marR="243308">
              <a:lnSpc>
                <a:spcPct val="100041"/>
              </a:lnSpc>
              <a:spcBef>
                <a:spcPts val="425"/>
              </a:spcBef>
            </a:pPr>
            <a:r>
              <a:rPr sz="1200" spc="9" dirty="0">
                <a:latin typeface="Arial"/>
                <a:cs typeface="Arial"/>
              </a:rPr>
              <a:t>T</a:t>
            </a:r>
            <a:r>
              <a:rPr sz="1200" spc="4" dirty="0">
                <a:latin typeface="Arial"/>
                <a:cs typeface="Arial"/>
              </a:rPr>
              <a:t>h</a:t>
            </a:r>
            <a:r>
              <a:rPr sz="1200" dirty="0">
                <a:latin typeface="Arial"/>
                <a:cs typeface="Arial"/>
              </a:rPr>
              <a:t>is</a:t>
            </a:r>
            <a:r>
              <a:rPr sz="1200" spc="-24" dirty="0">
                <a:latin typeface="Arial"/>
                <a:cs typeface="Arial"/>
              </a:rPr>
              <a:t> </a:t>
            </a:r>
            <a:r>
              <a:rPr sz="1200" spc="-4" dirty="0">
                <a:latin typeface="Arial"/>
                <a:cs typeface="Arial"/>
              </a:rPr>
              <a:t>g</a:t>
            </a:r>
            <a:r>
              <a:rPr sz="1200" dirty="0">
                <a:latin typeface="Arial"/>
                <a:cs typeface="Arial"/>
              </a:rPr>
              <a:t>i</a:t>
            </a:r>
            <a:r>
              <a:rPr sz="1200" spc="-14" dirty="0">
                <a:latin typeface="Arial"/>
                <a:cs typeface="Arial"/>
              </a:rPr>
              <a:t>v</a:t>
            </a:r>
            <a:r>
              <a:rPr sz="1200" spc="4" dirty="0">
                <a:latin typeface="Arial"/>
                <a:cs typeface="Arial"/>
              </a:rPr>
              <a:t>e</a:t>
            </a:r>
            <a:r>
              <a:rPr sz="1200" dirty="0">
                <a:latin typeface="Arial"/>
                <a:cs typeface="Arial"/>
              </a:rPr>
              <a:t>s </a:t>
            </a:r>
            <a:r>
              <a:rPr sz="1200" spc="4" dirty="0">
                <a:latin typeface="Arial"/>
                <a:cs typeface="Arial"/>
              </a:rPr>
              <a:t>th</a:t>
            </a:r>
            <a:r>
              <a:rPr sz="1200" dirty="0">
                <a:latin typeface="Arial"/>
                <a:cs typeface="Arial"/>
              </a:rPr>
              <a:t>e</a:t>
            </a:r>
            <a:r>
              <a:rPr sz="1200" spc="-4" dirty="0">
                <a:latin typeface="Arial"/>
                <a:cs typeface="Arial"/>
              </a:rPr>
              <a:t> </a:t>
            </a:r>
            <a:r>
              <a:rPr sz="1200" spc="4" dirty="0">
                <a:latin typeface="Arial"/>
                <a:cs typeface="Arial"/>
              </a:rPr>
              <a:t>d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r>
              <a:rPr sz="1200" spc="-2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ba</a:t>
            </a:r>
            <a:r>
              <a:rPr sz="1200" dirty="0">
                <a:latin typeface="Arial"/>
                <a:cs typeface="Arial"/>
              </a:rPr>
              <a:t>tch</a:t>
            </a:r>
            <a:r>
              <a:rPr sz="1200" spc="-14" dirty="0">
                <a:latin typeface="Arial"/>
                <a:cs typeface="Arial"/>
              </a:rPr>
              <a:t> </a:t>
            </a:r>
            <a:r>
              <a:rPr sz="1200" spc="4" dirty="0">
                <a:latin typeface="Arial"/>
                <a:cs typeface="Arial"/>
              </a:rPr>
              <a:t>de</a:t>
            </a:r>
            <a:r>
              <a:rPr sz="1200" dirty="0">
                <a:latin typeface="Arial"/>
                <a:cs typeface="Arial"/>
              </a:rPr>
              <a:t>t</a:t>
            </a:r>
            <a:r>
              <a:rPr sz="1200" spc="4" dirty="0">
                <a:latin typeface="Arial"/>
                <a:cs typeface="Arial"/>
              </a:rPr>
              <a:t>e</a:t>
            </a:r>
            <a:r>
              <a:rPr sz="1200" dirty="0">
                <a:latin typeface="Arial"/>
                <a:cs typeface="Arial"/>
              </a:rPr>
              <a:t>r</a:t>
            </a:r>
            <a:r>
              <a:rPr sz="1200" spc="4" dirty="0">
                <a:latin typeface="Arial"/>
                <a:cs typeface="Arial"/>
              </a:rPr>
              <a:t>m</a:t>
            </a:r>
            <a:r>
              <a:rPr sz="1200" dirty="0">
                <a:latin typeface="Arial"/>
                <a:cs typeface="Arial"/>
              </a:rPr>
              <a:t>in</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a:t>
            </a:r>
            <a:r>
              <a:rPr sz="1200" spc="-49" dirty="0">
                <a:latin typeface="Arial"/>
                <a:cs typeface="Arial"/>
              </a:rPr>
              <a:t> </a:t>
            </a:r>
            <a:r>
              <a:rPr sz="1200" spc="14" dirty="0">
                <a:latin typeface="Arial"/>
                <a:cs typeface="Arial"/>
              </a:rPr>
              <a:t>f</a:t>
            </a:r>
            <a:r>
              <a:rPr sz="1200" spc="4" dirty="0">
                <a:latin typeface="Arial"/>
                <a:cs typeface="Arial"/>
              </a:rPr>
              <a:t>un</a:t>
            </a:r>
            <a:r>
              <a:rPr sz="1200" dirty="0">
                <a:latin typeface="Arial"/>
                <a:cs typeface="Arial"/>
              </a:rPr>
              <a:t>cti</a:t>
            </a:r>
            <a:r>
              <a:rPr sz="1200" spc="4" dirty="0">
                <a:latin typeface="Arial"/>
                <a:cs typeface="Arial"/>
              </a:rPr>
              <a:t>on</a:t>
            </a:r>
            <a:r>
              <a:rPr sz="1200" spc="-4" dirty="0">
                <a:latin typeface="Arial"/>
                <a:cs typeface="Arial"/>
              </a:rPr>
              <a:t>a</a:t>
            </a:r>
            <a:r>
              <a:rPr sz="1200" dirty="0">
                <a:latin typeface="Arial"/>
                <a:cs typeface="Arial"/>
              </a:rPr>
              <a:t>l</a:t>
            </a:r>
            <a:r>
              <a:rPr sz="1200" spc="-4" dirty="0">
                <a:latin typeface="Arial"/>
                <a:cs typeface="Arial"/>
              </a:rPr>
              <a:t>i</a:t>
            </a:r>
            <a:r>
              <a:rPr sz="1200" dirty="0">
                <a:latin typeface="Arial"/>
                <a:cs typeface="Arial"/>
              </a:rPr>
              <a:t>ty</a:t>
            </a:r>
            <a:r>
              <a:rPr sz="1200" spc="-39" dirty="0">
                <a:latin typeface="Arial"/>
                <a:cs typeface="Arial"/>
              </a:rPr>
              <a:t> </a:t>
            </a:r>
            <a:r>
              <a:rPr sz="1200" spc="4" dirty="0">
                <a:latin typeface="Arial"/>
                <a:cs typeface="Arial"/>
              </a:rPr>
              <a:t>ba</a:t>
            </a:r>
            <a:r>
              <a:rPr sz="1200" dirty="0">
                <a:latin typeface="Arial"/>
                <a:cs typeface="Arial"/>
              </a:rPr>
              <a:t>tc</a:t>
            </a:r>
            <a:r>
              <a:rPr sz="1200" spc="4" dirty="0">
                <a:latin typeface="Arial"/>
                <a:cs typeface="Arial"/>
              </a:rPr>
              <a:t>h</a:t>
            </a:r>
            <a:r>
              <a:rPr sz="1200" dirty="0">
                <a:latin typeface="Arial"/>
                <a:cs typeface="Arial"/>
              </a:rPr>
              <a:t>, </a:t>
            </a:r>
            <a:r>
              <a:rPr sz="1200" spc="-9" dirty="0">
                <a:latin typeface="Arial"/>
                <a:cs typeface="Arial"/>
              </a:rPr>
              <a:t>v</a:t>
            </a:r>
            <a:r>
              <a:rPr sz="1200" spc="4" dirty="0">
                <a:latin typeface="Arial"/>
                <a:cs typeface="Arial"/>
              </a:rPr>
              <a:t>a</a:t>
            </a:r>
            <a:r>
              <a:rPr sz="1200" dirty="0">
                <a:latin typeface="Arial"/>
                <a:cs typeface="Arial"/>
              </a:rPr>
              <a:t>lu</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a:t>
            </a:r>
            <a:r>
              <a:rPr sz="1200" spc="-39"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e</a:t>
            </a:r>
            <a:r>
              <a:rPr sz="1200" dirty="0">
                <a:latin typeface="Arial"/>
                <a:cs typeface="Arial"/>
              </a:rPr>
              <a:t>,</a:t>
            </a:r>
            <a:r>
              <a:rPr sz="1200" spc="4" dirty="0">
                <a:latin typeface="Arial"/>
                <a:cs typeface="Arial"/>
              </a:rPr>
              <a:t> 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y</a:t>
            </a:r>
            <a:r>
              <a:rPr sz="1200" spc="-14" dirty="0">
                <a:latin typeface="Arial"/>
                <a:cs typeface="Arial"/>
              </a:rPr>
              <a:t> </a:t>
            </a:r>
            <a:r>
              <a:rPr sz="1200" spc="-4" dirty="0">
                <a:latin typeface="Arial"/>
                <a:cs typeface="Arial"/>
              </a:rPr>
              <a:t>q</a:t>
            </a:r>
            <a:r>
              <a:rPr sz="1200" spc="4" dirty="0">
                <a:latin typeface="Arial"/>
                <a:cs typeface="Arial"/>
              </a:rPr>
              <a:t>uan</a:t>
            </a:r>
            <a:r>
              <a:rPr sz="1200" dirty="0">
                <a:latin typeface="Arial"/>
                <a:cs typeface="Arial"/>
              </a:rPr>
              <a:t>tity</a:t>
            </a:r>
            <a:r>
              <a:rPr sz="1200" spc="-1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ea</a:t>
            </a:r>
            <a:r>
              <a:rPr sz="1200" dirty="0">
                <a:latin typeface="Arial"/>
                <a:cs typeface="Arial"/>
              </a:rPr>
              <a:t>ch</a:t>
            </a:r>
            <a:r>
              <a:rPr sz="1200" spc="-29" dirty="0">
                <a:latin typeface="Arial"/>
                <a:cs typeface="Arial"/>
              </a:rPr>
              <a:t> </a:t>
            </a:r>
            <a:r>
              <a:rPr sz="1200" dirty="0">
                <a:latin typeface="Arial"/>
                <a:cs typeface="Arial"/>
              </a:rPr>
              <a:t>it</a:t>
            </a:r>
            <a:r>
              <a:rPr sz="1200" spc="4" dirty="0">
                <a:latin typeface="Arial"/>
                <a:cs typeface="Arial"/>
              </a:rPr>
              <a:t>em</a:t>
            </a:r>
            <a:r>
              <a:rPr sz="1200" dirty="0">
                <a:latin typeface="Arial"/>
                <a:cs typeface="Arial"/>
              </a:rPr>
              <a:t>.</a:t>
            </a:r>
            <a:endParaRPr sz="1200">
              <a:latin typeface="Arial"/>
              <a:cs typeface="Arial"/>
            </a:endParaRPr>
          </a:p>
        </p:txBody>
      </p:sp>
      <p:sp>
        <p:nvSpPr>
          <p:cNvPr id="16" name="object 16"/>
          <p:cNvSpPr txBox="1"/>
          <p:nvPr/>
        </p:nvSpPr>
        <p:spPr>
          <a:xfrm>
            <a:off x="2133600" y="3307079"/>
            <a:ext cx="1820926" cy="457200"/>
          </a:xfrm>
          <a:prstGeom prst="rect">
            <a:avLst/>
          </a:prstGeom>
        </p:spPr>
        <p:txBody>
          <a:bodyPr wrap="square" lIns="0" tIns="0" rIns="0" bIns="0" rtlCol="0">
            <a:noAutofit/>
          </a:bodyPr>
          <a:lstStyle/>
          <a:p>
            <a:pPr marL="91440">
              <a:lnSpc>
                <a:spcPct val="95825"/>
              </a:lnSpc>
              <a:spcBef>
                <a:spcPts val="330"/>
              </a:spcBef>
            </a:pPr>
            <a:r>
              <a:rPr sz="1200" dirty="0">
                <a:latin typeface="Arial"/>
                <a:cs typeface="Arial"/>
              </a:rPr>
              <a:t>Q</a:t>
            </a:r>
            <a:r>
              <a:rPr sz="1200" spc="4" dirty="0">
                <a:latin typeface="Arial"/>
                <a:cs typeface="Arial"/>
              </a:rPr>
              <a:t>uan</a:t>
            </a:r>
            <a:r>
              <a:rPr sz="1200" dirty="0">
                <a:latin typeface="Arial"/>
                <a:cs typeface="Arial"/>
              </a:rPr>
              <a:t>titi</a:t>
            </a:r>
            <a:r>
              <a:rPr sz="1200" spc="4" dirty="0">
                <a:latin typeface="Arial"/>
                <a:cs typeface="Arial"/>
              </a:rPr>
              <a:t>e</a:t>
            </a:r>
            <a:r>
              <a:rPr sz="1200" dirty="0">
                <a:latin typeface="Arial"/>
                <a:cs typeface="Arial"/>
              </a:rPr>
              <a:t>s</a:t>
            </a:r>
            <a:r>
              <a:rPr sz="1200" spc="-44" dirty="0">
                <a:latin typeface="Arial"/>
                <a:cs typeface="Arial"/>
              </a:rPr>
              <a:t> </a:t>
            </a:r>
            <a:r>
              <a:rPr sz="1200" dirty="0">
                <a:latin typeface="Arial"/>
                <a:cs typeface="Arial"/>
              </a:rPr>
              <a:t>&amp;</a:t>
            </a:r>
            <a:r>
              <a:rPr sz="1200" spc="4" dirty="0">
                <a:latin typeface="Arial"/>
                <a:cs typeface="Arial"/>
              </a:rPr>
              <a:t> </a:t>
            </a:r>
            <a:r>
              <a:rPr sz="1200" spc="-9" dirty="0">
                <a:latin typeface="Arial"/>
                <a:cs typeface="Arial"/>
              </a:rPr>
              <a:t>w</a:t>
            </a:r>
            <a:r>
              <a:rPr sz="1200" spc="4" dirty="0">
                <a:latin typeface="Arial"/>
                <a:cs typeface="Arial"/>
              </a:rPr>
              <a:t>e</a:t>
            </a:r>
            <a:r>
              <a:rPr sz="1200" dirty="0">
                <a:latin typeface="Arial"/>
                <a:cs typeface="Arial"/>
              </a:rPr>
              <a:t>i</a:t>
            </a:r>
            <a:r>
              <a:rPr sz="1200" spc="-9" dirty="0">
                <a:latin typeface="Arial"/>
                <a:cs typeface="Arial"/>
              </a:rPr>
              <a:t>g</a:t>
            </a:r>
            <a:r>
              <a:rPr sz="1200" spc="4" dirty="0">
                <a:latin typeface="Arial"/>
                <a:cs typeface="Arial"/>
              </a:rPr>
              <a:t>h</a:t>
            </a:r>
            <a:r>
              <a:rPr sz="1200" dirty="0">
                <a:latin typeface="Arial"/>
                <a:cs typeface="Arial"/>
              </a:rPr>
              <a:t>ts</a:t>
            </a:r>
            <a:endParaRPr sz="1200">
              <a:latin typeface="Arial"/>
              <a:cs typeface="Arial"/>
            </a:endParaRPr>
          </a:p>
        </p:txBody>
      </p:sp>
      <p:sp>
        <p:nvSpPr>
          <p:cNvPr id="15" name="object 15"/>
          <p:cNvSpPr txBox="1"/>
          <p:nvPr/>
        </p:nvSpPr>
        <p:spPr>
          <a:xfrm>
            <a:off x="3954527" y="3307079"/>
            <a:ext cx="1401699" cy="457200"/>
          </a:xfrm>
          <a:prstGeom prst="rect">
            <a:avLst/>
          </a:prstGeom>
        </p:spPr>
        <p:txBody>
          <a:bodyPr wrap="square" lIns="0" tIns="0" rIns="0" bIns="0" rtlCol="0">
            <a:noAutofit/>
          </a:bodyPr>
          <a:lstStyle/>
          <a:p>
            <a:pPr marL="91693">
              <a:lnSpc>
                <a:spcPct val="95825"/>
              </a:lnSpc>
              <a:spcBef>
                <a:spcPts val="330"/>
              </a:spcBef>
            </a:pPr>
            <a:r>
              <a:rPr sz="1200" dirty="0">
                <a:latin typeface="Arial"/>
                <a:cs typeface="Arial"/>
              </a:rPr>
              <a:t>Pick</a:t>
            </a:r>
            <a:r>
              <a:rPr sz="1200" spc="-4" dirty="0">
                <a:latin typeface="Arial"/>
                <a:cs typeface="Arial"/>
              </a:rPr>
              <a:t>i</a:t>
            </a:r>
            <a:r>
              <a:rPr sz="1200" spc="4" dirty="0">
                <a:latin typeface="Arial"/>
                <a:cs typeface="Arial"/>
              </a:rPr>
              <a:t>n</a:t>
            </a:r>
            <a:r>
              <a:rPr sz="1200" dirty="0">
                <a:latin typeface="Arial"/>
                <a:cs typeface="Arial"/>
              </a:rPr>
              <a:t>g</a:t>
            </a:r>
            <a:endParaRPr sz="1200">
              <a:latin typeface="Arial"/>
              <a:cs typeface="Arial"/>
            </a:endParaRPr>
          </a:p>
        </p:txBody>
      </p:sp>
      <p:sp>
        <p:nvSpPr>
          <p:cNvPr id="14" name="object 14"/>
          <p:cNvSpPr txBox="1"/>
          <p:nvPr/>
        </p:nvSpPr>
        <p:spPr>
          <a:xfrm>
            <a:off x="5356226" y="3307079"/>
            <a:ext cx="4625975" cy="457200"/>
          </a:xfrm>
          <a:prstGeom prst="rect">
            <a:avLst/>
          </a:prstGeom>
        </p:spPr>
        <p:txBody>
          <a:bodyPr wrap="square" lIns="0" tIns="0" rIns="0" bIns="0" rtlCol="0">
            <a:noAutofit/>
          </a:bodyPr>
          <a:lstStyle/>
          <a:p>
            <a:pPr marL="92075" marR="434266">
              <a:lnSpc>
                <a:spcPct val="100041"/>
              </a:lnSpc>
              <a:spcBef>
                <a:spcPts val="425"/>
              </a:spcBef>
            </a:pPr>
            <a:r>
              <a:rPr sz="1200" spc="9" dirty="0">
                <a:latin typeface="Arial"/>
                <a:cs typeface="Arial"/>
              </a:rPr>
              <a:t>T</a:t>
            </a:r>
            <a:r>
              <a:rPr sz="1200" spc="4" dirty="0">
                <a:latin typeface="Arial"/>
                <a:cs typeface="Arial"/>
              </a:rPr>
              <a:t>h</a:t>
            </a:r>
            <a:r>
              <a:rPr sz="1200" dirty="0">
                <a:latin typeface="Arial"/>
                <a:cs typeface="Arial"/>
              </a:rPr>
              <a:t>is</a:t>
            </a:r>
            <a:r>
              <a:rPr sz="1200" spc="-24" dirty="0">
                <a:latin typeface="Arial"/>
                <a:cs typeface="Arial"/>
              </a:rPr>
              <a:t> </a:t>
            </a:r>
            <a:r>
              <a:rPr sz="1200" spc="-4" dirty="0">
                <a:latin typeface="Arial"/>
                <a:cs typeface="Arial"/>
              </a:rPr>
              <a:t>g</a:t>
            </a:r>
            <a:r>
              <a:rPr sz="1200" dirty="0">
                <a:latin typeface="Arial"/>
                <a:cs typeface="Arial"/>
              </a:rPr>
              <a:t>i</a:t>
            </a:r>
            <a:r>
              <a:rPr sz="1200" spc="-14" dirty="0">
                <a:latin typeface="Arial"/>
                <a:cs typeface="Arial"/>
              </a:rPr>
              <a:t>v</a:t>
            </a:r>
            <a:r>
              <a:rPr sz="1200" spc="4" dirty="0">
                <a:latin typeface="Arial"/>
                <a:cs typeface="Arial"/>
              </a:rPr>
              <a:t>e</a:t>
            </a:r>
            <a:r>
              <a:rPr sz="1200" dirty="0">
                <a:latin typeface="Arial"/>
                <a:cs typeface="Arial"/>
              </a:rPr>
              <a:t>s </a:t>
            </a:r>
            <a:r>
              <a:rPr sz="1200" spc="4" dirty="0">
                <a:latin typeface="Arial"/>
                <a:cs typeface="Arial"/>
              </a:rPr>
              <a:t>d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r>
              <a:rPr sz="1200" spc="-19" dirty="0">
                <a:latin typeface="Arial"/>
                <a:cs typeface="Arial"/>
              </a:rPr>
              <a:t> </a:t>
            </a:r>
            <a:r>
              <a:rPr sz="1200" dirty="0">
                <a:latin typeface="Arial"/>
                <a:cs typeface="Arial"/>
              </a:rPr>
              <a:t>s</a:t>
            </a:r>
            <a:r>
              <a:rPr sz="1200" spc="4" dirty="0">
                <a:latin typeface="Arial"/>
                <a:cs typeface="Arial"/>
              </a:rPr>
              <a:t>u</a:t>
            </a:r>
            <a:r>
              <a:rPr sz="1200" dirty="0">
                <a:latin typeface="Arial"/>
                <a:cs typeface="Arial"/>
              </a:rPr>
              <a:t>ch</a:t>
            </a:r>
            <a:r>
              <a:rPr sz="1200" spc="-14" dirty="0">
                <a:latin typeface="Arial"/>
                <a:cs typeface="Arial"/>
              </a:rPr>
              <a:t> </a:t>
            </a:r>
            <a:r>
              <a:rPr sz="1200" spc="4" dirty="0">
                <a:latin typeface="Arial"/>
                <a:cs typeface="Arial"/>
              </a:rPr>
              <a:t>a</a:t>
            </a:r>
            <a:r>
              <a:rPr sz="1200" dirty="0">
                <a:latin typeface="Arial"/>
                <a:cs typeface="Arial"/>
              </a:rPr>
              <a:t>s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y</a:t>
            </a:r>
            <a:r>
              <a:rPr sz="1200" spc="-24" dirty="0">
                <a:latin typeface="Arial"/>
                <a:cs typeface="Arial"/>
              </a:rPr>
              <a:t> </a:t>
            </a:r>
            <a:r>
              <a:rPr sz="1200" spc="-4" dirty="0">
                <a:latin typeface="Arial"/>
                <a:cs typeface="Arial"/>
              </a:rPr>
              <a:t>q</a:t>
            </a:r>
            <a:r>
              <a:rPr sz="1200" spc="4" dirty="0">
                <a:latin typeface="Arial"/>
                <a:cs typeface="Arial"/>
              </a:rPr>
              <a:t>uan</a:t>
            </a:r>
            <a:r>
              <a:rPr sz="1200" dirty="0">
                <a:latin typeface="Arial"/>
                <a:cs typeface="Arial"/>
              </a:rPr>
              <a:t>tit</a:t>
            </a:r>
            <a:r>
              <a:rPr sz="1200" spc="-94" dirty="0">
                <a:latin typeface="Arial"/>
                <a:cs typeface="Arial"/>
              </a:rPr>
              <a:t>y</a:t>
            </a:r>
            <a:r>
              <a:rPr sz="1200" dirty="0">
                <a:latin typeface="Arial"/>
                <a:cs typeface="Arial"/>
              </a:rPr>
              <a:t>,</a:t>
            </a:r>
            <a:r>
              <a:rPr sz="1200" spc="-4" dirty="0">
                <a:latin typeface="Arial"/>
                <a:cs typeface="Arial"/>
              </a:rPr>
              <a:t> </a:t>
            </a:r>
            <a:r>
              <a:rPr sz="1200" spc="4" dirty="0">
                <a:latin typeface="Arial"/>
                <a:cs typeface="Arial"/>
              </a:rPr>
              <a:t>p</a:t>
            </a:r>
            <a:r>
              <a:rPr sz="1200" dirty="0">
                <a:latin typeface="Arial"/>
                <a:cs typeface="Arial"/>
              </a:rPr>
              <a:t>ick</a:t>
            </a:r>
            <a:r>
              <a:rPr sz="1200" spc="-4" dirty="0">
                <a:latin typeface="Arial"/>
                <a:cs typeface="Arial"/>
              </a:rPr>
              <a:t>i</a:t>
            </a:r>
            <a:r>
              <a:rPr sz="1200" spc="4" dirty="0">
                <a:latin typeface="Arial"/>
                <a:cs typeface="Arial"/>
              </a:rPr>
              <a:t>n</a:t>
            </a:r>
            <a:r>
              <a:rPr sz="1200" dirty="0">
                <a:latin typeface="Arial"/>
                <a:cs typeface="Arial"/>
              </a:rPr>
              <a:t>g</a:t>
            </a:r>
            <a:r>
              <a:rPr sz="1200" spc="-14" dirty="0">
                <a:latin typeface="Arial"/>
                <a:cs typeface="Arial"/>
              </a:rPr>
              <a:t> </a:t>
            </a:r>
            <a:r>
              <a:rPr sz="1200" spc="-4" dirty="0">
                <a:latin typeface="Arial"/>
                <a:cs typeface="Arial"/>
              </a:rPr>
              <a:t>q</a:t>
            </a:r>
            <a:r>
              <a:rPr sz="1200" spc="4" dirty="0">
                <a:latin typeface="Arial"/>
                <a:cs typeface="Arial"/>
              </a:rPr>
              <a:t>uan</a:t>
            </a:r>
            <a:r>
              <a:rPr sz="1200" dirty="0">
                <a:latin typeface="Arial"/>
                <a:cs typeface="Arial"/>
              </a:rPr>
              <a:t>tity</a:t>
            </a:r>
            <a:r>
              <a:rPr sz="1200" spc="-19" dirty="0">
                <a:latin typeface="Arial"/>
                <a:cs typeface="Arial"/>
              </a:rPr>
              <a:t> </a:t>
            </a:r>
            <a:r>
              <a:rPr sz="1200" dirty="0">
                <a:latin typeface="Arial"/>
                <a:cs typeface="Arial"/>
              </a:rPr>
              <a:t>, c</a:t>
            </a:r>
            <a:r>
              <a:rPr sz="1200" spc="4" dirty="0">
                <a:latin typeface="Arial"/>
                <a:cs typeface="Arial"/>
              </a:rPr>
              <a:t>on</a:t>
            </a:r>
            <a:r>
              <a:rPr sz="1200" spc="-9" dirty="0">
                <a:latin typeface="Arial"/>
                <a:cs typeface="Arial"/>
              </a:rPr>
              <a:t>v</a:t>
            </a:r>
            <a:r>
              <a:rPr sz="1200" spc="4" dirty="0">
                <a:latin typeface="Arial"/>
                <a:cs typeface="Arial"/>
              </a:rPr>
              <a:t>e</a:t>
            </a:r>
            <a:r>
              <a:rPr sz="1200" dirty="0">
                <a:latin typeface="Arial"/>
                <a:cs typeface="Arial"/>
              </a:rPr>
              <a:t>rs</a:t>
            </a:r>
            <a:r>
              <a:rPr sz="1200" spc="-4" dirty="0">
                <a:latin typeface="Arial"/>
                <a:cs typeface="Arial"/>
              </a:rPr>
              <a:t>i</a:t>
            </a:r>
            <a:r>
              <a:rPr sz="1200" spc="4" dirty="0">
                <a:latin typeface="Arial"/>
                <a:cs typeface="Arial"/>
              </a:rPr>
              <a:t>o</a:t>
            </a:r>
            <a:r>
              <a:rPr sz="1200" dirty="0">
                <a:latin typeface="Arial"/>
                <a:cs typeface="Arial"/>
              </a:rPr>
              <a:t>n</a:t>
            </a:r>
            <a:r>
              <a:rPr sz="1200" spc="-39" dirty="0">
                <a:latin typeface="Arial"/>
                <a:cs typeface="Arial"/>
              </a:rPr>
              <a:t> </a:t>
            </a:r>
            <a:r>
              <a:rPr sz="1200" dirty="0">
                <a:latin typeface="Arial"/>
                <a:cs typeface="Arial"/>
              </a:rPr>
              <a:t>&amp;</a:t>
            </a:r>
            <a:r>
              <a:rPr sz="1200" spc="4" dirty="0">
                <a:latin typeface="Arial"/>
                <a:cs typeface="Arial"/>
              </a:rPr>
              <a:t> </a:t>
            </a:r>
            <a:r>
              <a:rPr sz="1200" spc="-9" dirty="0">
                <a:latin typeface="Arial"/>
                <a:cs typeface="Arial"/>
              </a:rPr>
              <a:t>w</a:t>
            </a:r>
            <a:r>
              <a:rPr sz="1200" spc="4" dirty="0">
                <a:latin typeface="Arial"/>
                <a:cs typeface="Arial"/>
              </a:rPr>
              <a:t>e</a:t>
            </a:r>
            <a:r>
              <a:rPr sz="1200" dirty="0">
                <a:latin typeface="Arial"/>
                <a:cs typeface="Arial"/>
              </a:rPr>
              <a:t>i</a:t>
            </a:r>
            <a:r>
              <a:rPr sz="1200" spc="-9" dirty="0">
                <a:latin typeface="Arial"/>
                <a:cs typeface="Arial"/>
              </a:rPr>
              <a:t>g</a:t>
            </a:r>
            <a:r>
              <a:rPr sz="1200" spc="4" dirty="0">
                <a:latin typeface="Arial"/>
                <a:cs typeface="Arial"/>
              </a:rPr>
              <a:t>h</a:t>
            </a:r>
            <a:r>
              <a:rPr sz="1200" dirty="0">
                <a:latin typeface="Arial"/>
                <a:cs typeface="Arial"/>
              </a:rPr>
              <a:t>t</a:t>
            </a:r>
            <a:r>
              <a:rPr sz="1200" spc="4" dirty="0">
                <a:latin typeface="Arial"/>
                <a:cs typeface="Arial"/>
              </a:rPr>
              <a:t> an</a:t>
            </a:r>
            <a:r>
              <a:rPr sz="1200" dirty="0">
                <a:latin typeface="Arial"/>
                <a:cs typeface="Arial"/>
              </a:rPr>
              <a:t>d</a:t>
            </a:r>
            <a:r>
              <a:rPr sz="1200" spc="-14" dirty="0">
                <a:latin typeface="Arial"/>
                <a:cs typeface="Arial"/>
              </a:rPr>
              <a:t> w</a:t>
            </a:r>
            <a:r>
              <a:rPr sz="1200" spc="4" dirty="0">
                <a:latin typeface="Arial"/>
                <a:cs typeface="Arial"/>
              </a:rPr>
              <a:t>a</a:t>
            </a:r>
            <a:r>
              <a:rPr sz="1200" dirty="0">
                <a:latin typeface="Arial"/>
                <a:cs typeface="Arial"/>
              </a:rPr>
              <a:t>re</a:t>
            </a:r>
            <a:r>
              <a:rPr sz="1200" spc="4" dirty="0">
                <a:latin typeface="Arial"/>
                <a:cs typeface="Arial"/>
              </a:rPr>
              <a:t>hou</a:t>
            </a:r>
            <a:r>
              <a:rPr sz="1200" dirty="0">
                <a:latin typeface="Arial"/>
                <a:cs typeface="Arial"/>
              </a:rPr>
              <a:t>se</a:t>
            </a:r>
            <a:r>
              <a:rPr sz="1200" spc="-39" dirty="0">
                <a:latin typeface="Arial"/>
                <a:cs typeface="Arial"/>
              </a:rPr>
              <a:t> </a:t>
            </a:r>
            <a:r>
              <a:rPr sz="1200" dirty="0">
                <a:latin typeface="Arial"/>
                <a:cs typeface="Arial"/>
              </a:rPr>
              <a:t>rela</a:t>
            </a:r>
            <a:r>
              <a:rPr sz="1200" spc="4" dirty="0">
                <a:latin typeface="Arial"/>
                <a:cs typeface="Arial"/>
              </a:rPr>
              <a:t>te</a:t>
            </a:r>
            <a:r>
              <a:rPr sz="1200" dirty="0">
                <a:latin typeface="Arial"/>
                <a:cs typeface="Arial"/>
              </a:rPr>
              <a:t>d</a:t>
            </a:r>
            <a:r>
              <a:rPr sz="1200" spc="-29" dirty="0">
                <a:latin typeface="Arial"/>
                <a:cs typeface="Arial"/>
              </a:rPr>
              <a:t> </a:t>
            </a:r>
            <a:r>
              <a:rPr sz="1200" dirty="0">
                <a:latin typeface="Arial"/>
                <a:cs typeface="Arial"/>
              </a:rPr>
              <a:t>in</a:t>
            </a:r>
            <a:r>
              <a:rPr sz="1200" spc="14" dirty="0">
                <a:latin typeface="Arial"/>
                <a:cs typeface="Arial"/>
              </a:rPr>
              <a:t>f</a:t>
            </a:r>
            <a:r>
              <a:rPr sz="1200" spc="4" dirty="0">
                <a:latin typeface="Arial"/>
                <a:cs typeface="Arial"/>
              </a:rPr>
              <a:t>o</a:t>
            </a:r>
            <a:r>
              <a:rPr sz="1200" dirty="0">
                <a:latin typeface="Arial"/>
                <a:cs typeface="Arial"/>
              </a:rPr>
              <a:t>r</a:t>
            </a:r>
            <a:r>
              <a:rPr sz="1200" spc="4" dirty="0">
                <a:latin typeface="Arial"/>
                <a:cs typeface="Arial"/>
              </a:rPr>
              <a:t>ma</a:t>
            </a:r>
            <a:r>
              <a:rPr sz="1200" dirty="0">
                <a:latin typeface="Arial"/>
                <a:cs typeface="Arial"/>
              </a:rPr>
              <a:t>ti</a:t>
            </a:r>
            <a:r>
              <a:rPr sz="1200" spc="4" dirty="0">
                <a:latin typeface="Arial"/>
                <a:cs typeface="Arial"/>
              </a:rPr>
              <a:t>o</a:t>
            </a:r>
            <a:r>
              <a:rPr sz="1200" spc="-4" dirty="0">
                <a:latin typeface="Arial"/>
                <a:cs typeface="Arial"/>
              </a:rPr>
              <a:t>n</a:t>
            </a:r>
            <a:r>
              <a:rPr sz="1200" dirty="0">
                <a:latin typeface="Arial"/>
                <a:cs typeface="Arial"/>
              </a:rPr>
              <a:t>.</a:t>
            </a:r>
            <a:endParaRPr sz="1200">
              <a:latin typeface="Arial"/>
              <a:cs typeface="Arial"/>
            </a:endParaRPr>
          </a:p>
        </p:txBody>
      </p:sp>
      <p:sp>
        <p:nvSpPr>
          <p:cNvPr id="13" name="object 13"/>
          <p:cNvSpPr txBox="1"/>
          <p:nvPr/>
        </p:nvSpPr>
        <p:spPr>
          <a:xfrm>
            <a:off x="2133600" y="3764279"/>
            <a:ext cx="1820926" cy="457200"/>
          </a:xfrm>
          <a:prstGeom prst="rect">
            <a:avLst/>
          </a:prstGeom>
        </p:spPr>
        <p:txBody>
          <a:bodyPr wrap="square" lIns="0" tIns="0" rIns="0" bIns="0" rtlCol="0">
            <a:noAutofit/>
          </a:bodyPr>
          <a:lstStyle/>
          <a:p>
            <a:pPr marL="91440">
              <a:lnSpc>
                <a:spcPct val="95825"/>
              </a:lnSpc>
              <a:spcBef>
                <a:spcPts val="330"/>
              </a:spcBef>
            </a:pPr>
            <a:r>
              <a:rPr sz="1200" dirty="0">
                <a:latin typeface="Arial"/>
                <a:cs typeface="Arial"/>
              </a:rPr>
              <a:t>S</a:t>
            </a:r>
            <a:r>
              <a:rPr sz="1200" spc="4" dirty="0">
                <a:latin typeface="Arial"/>
                <a:cs typeface="Arial"/>
              </a:rPr>
              <a:t>h</a:t>
            </a:r>
            <a:r>
              <a:rPr sz="1200" dirty="0">
                <a:latin typeface="Arial"/>
                <a:cs typeface="Arial"/>
              </a:rPr>
              <a:t>ip</a:t>
            </a:r>
            <a:r>
              <a:rPr sz="1200" spc="-29" dirty="0">
                <a:latin typeface="Arial"/>
                <a:cs typeface="Arial"/>
              </a:rPr>
              <a:t> </a:t>
            </a:r>
            <a:r>
              <a:rPr sz="1200" dirty="0">
                <a:latin typeface="Arial"/>
                <a:cs typeface="Arial"/>
              </a:rPr>
              <a:t>to</a:t>
            </a:r>
            <a:r>
              <a:rPr sz="1200" spc="4" dirty="0">
                <a:latin typeface="Arial"/>
                <a:cs typeface="Arial"/>
              </a:rPr>
              <a:t> p</a:t>
            </a:r>
            <a:r>
              <a:rPr sz="1200" dirty="0">
                <a:latin typeface="Arial"/>
                <a:cs typeface="Arial"/>
              </a:rPr>
              <a:t>arty</a:t>
            </a:r>
            <a:endParaRPr sz="1200">
              <a:latin typeface="Arial"/>
              <a:cs typeface="Arial"/>
            </a:endParaRPr>
          </a:p>
        </p:txBody>
      </p:sp>
      <p:sp>
        <p:nvSpPr>
          <p:cNvPr id="12" name="object 12"/>
          <p:cNvSpPr txBox="1"/>
          <p:nvPr/>
        </p:nvSpPr>
        <p:spPr>
          <a:xfrm>
            <a:off x="3954527" y="3764279"/>
            <a:ext cx="1401699" cy="457200"/>
          </a:xfrm>
          <a:prstGeom prst="rect">
            <a:avLst/>
          </a:prstGeom>
        </p:spPr>
        <p:txBody>
          <a:bodyPr wrap="square" lIns="0" tIns="0" rIns="0" bIns="0" rtlCol="0">
            <a:noAutofit/>
          </a:bodyPr>
          <a:lstStyle/>
          <a:p>
            <a:pPr marL="91693">
              <a:lnSpc>
                <a:spcPct val="95825"/>
              </a:lnSpc>
              <a:spcBef>
                <a:spcPts val="330"/>
              </a:spcBef>
            </a:pPr>
            <a:r>
              <a:rPr sz="1200" dirty="0">
                <a:latin typeface="Arial"/>
                <a:cs typeface="Arial"/>
              </a:rPr>
              <a:t>L</a:t>
            </a:r>
            <a:r>
              <a:rPr sz="1200" spc="4" dirty="0">
                <a:latin typeface="Arial"/>
                <a:cs typeface="Arial"/>
              </a:rPr>
              <a:t>o</a:t>
            </a:r>
            <a:r>
              <a:rPr sz="1200" dirty="0">
                <a:latin typeface="Arial"/>
                <a:cs typeface="Arial"/>
              </a:rPr>
              <a:t>a</a:t>
            </a:r>
            <a:r>
              <a:rPr sz="1200" spc="4" dirty="0">
                <a:latin typeface="Arial"/>
                <a:cs typeface="Arial"/>
              </a:rPr>
              <a:t>d</a:t>
            </a:r>
            <a:r>
              <a:rPr sz="1200" dirty="0">
                <a:latin typeface="Arial"/>
                <a:cs typeface="Arial"/>
              </a:rPr>
              <a:t>i</a:t>
            </a:r>
            <a:r>
              <a:rPr sz="1200" spc="-9" dirty="0">
                <a:latin typeface="Arial"/>
                <a:cs typeface="Arial"/>
              </a:rPr>
              <a:t>n</a:t>
            </a:r>
            <a:r>
              <a:rPr sz="1200" dirty="0">
                <a:latin typeface="Arial"/>
                <a:cs typeface="Arial"/>
              </a:rPr>
              <a:t>g</a:t>
            </a:r>
            <a:r>
              <a:rPr sz="1200" spc="-50" dirty="0">
                <a:latin typeface="Arial"/>
                <a:cs typeface="Arial"/>
              </a:rPr>
              <a:t> </a:t>
            </a:r>
            <a:r>
              <a:rPr sz="1200" dirty="0">
                <a:latin typeface="Arial"/>
                <a:cs typeface="Arial"/>
              </a:rPr>
              <a:t>&amp;</a:t>
            </a:r>
            <a:endParaRPr sz="1200">
              <a:latin typeface="Arial"/>
              <a:cs typeface="Arial"/>
            </a:endParaRPr>
          </a:p>
          <a:p>
            <a:pPr marL="91693">
              <a:lnSpc>
                <a:spcPct val="95825"/>
              </a:lnSpc>
              <a:spcBef>
                <a:spcPts val="60"/>
              </a:spcBef>
            </a:pPr>
            <a:r>
              <a:rPr sz="1200" dirty="0">
                <a:latin typeface="Arial"/>
                <a:cs typeface="Arial"/>
              </a:rPr>
              <a:t>s</a:t>
            </a:r>
            <a:r>
              <a:rPr sz="1200" spc="4" dirty="0">
                <a:latin typeface="Arial"/>
                <a:cs typeface="Arial"/>
              </a:rPr>
              <a:t>h</a:t>
            </a:r>
            <a:r>
              <a:rPr sz="1200" dirty="0">
                <a:latin typeface="Arial"/>
                <a:cs typeface="Arial"/>
              </a:rPr>
              <a:t>ip</a:t>
            </a:r>
            <a:r>
              <a:rPr sz="1200" spc="9" dirty="0">
                <a:latin typeface="Arial"/>
                <a:cs typeface="Arial"/>
              </a:rPr>
              <a:t>m</a:t>
            </a:r>
            <a:r>
              <a:rPr sz="1200" spc="4" dirty="0">
                <a:latin typeface="Arial"/>
                <a:cs typeface="Arial"/>
              </a:rPr>
              <a:t>e</a:t>
            </a:r>
            <a:r>
              <a:rPr sz="1200" spc="-4" dirty="0">
                <a:latin typeface="Arial"/>
                <a:cs typeface="Arial"/>
              </a:rPr>
              <a:t>n</a:t>
            </a:r>
            <a:r>
              <a:rPr sz="1200" dirty="0">
                <a:latin typeface="Arial"/>
                <a:cs typeface="Arial"/>
              </a:rPr>
              <a:t>t</a:t>
            </a:r>
            <a:endParaRPr sz="1200">
              <a:latin typeface="Arial"/>
              <a:cs typeface="Arial"/>
            </a:endParaRPr>
          </a:p>
        </p:txBody>
      </p:sp>
      <p:sp>
        <p:nvSpPr>
          <p:cNvPr id="11" name="object 11"/>
          <p:cNvSpPr txBox="1"/>
          <p:nvPr/>
        </p:nvSpPr>
        <p:spPr>
          <a:xfrm>
            <a:off x="5356226" y="3764279"/>
            <a:ext cx="4625975" cy="457200"/>
          </a:xfrm>
          <a:prstGeom prst="rect">
            <a:avLst/>
          </a:prstGeom>
        </p:spPr>
        <p:txBody>
          <a:bodyPr wrap="square" lIns="0" tIns="0" rIns="0" bIns="0" rtlCol="0">
            <a:noAutofit/>
          </a:bodyPr>
          <a:lstStyle/>
          <a:p>
            <a:pPr marL="92075">
              <a:lnSpc>
                <a:spcPct val="95825"/>
              </a:lnSpc>
              <a:spcBef>
                <a:spcPts val="430"/>
              </a:spcBef>
            </a:pPr>
            <a:r>
              <a:rPr sz="1200" spc="9" dirty="0">
                <a:latin typeface="Arial"/>
                <a:cs typeface="Arial"/>
              </a:rPr>
              <a:t>T</a:t>
            </a:r>
            <a:r>
              <a:rPr sz="1200" dirty="0">
                <a:latin typeface="Arial"/>
                <a:cs typeface="Arial"/>
              </a:rPr>
              <a:t>he</a:t>
            </a:r>
            <a:r>
              <a:rPr sz="1200" spc="-24" dirty="0">
                <a:latin typeface="Arial"/>
                <a:cs typeface="Arial"/>
              </a:rPr>
              <a:t> </a:t>
            </a:r>
            <a:r>
              <a:rPr sz="1200" dirty="0">
                <a:latin typeface="Arial"/>
                <a:cs typeface="Arial"/>
              </a:rPr>
              <a:t>item </a:t>
            </a:r>
            <a:r>
              <a:rPr sz="1200" spc="-14" dirty="0">
                <a:latin typeface="Arial"/>
                <a:cs typeface="Arial"/>
              </a:rPr>
              <a:t>w</a:t>
            </a:r>
            <a:r>
              <a:rPr sz="1200" dirty="0">
                <a:latin typeface="Arial"/>
                <a:cs typeface="Arial"/>
              </a:rPr>
              <a:t>i</a:t>
            </a:r>
            <a:r>
              <a:rPr sz="1200" spc="-4" dirty="0">
                <a:latin typeface="Arial"/>
                <a:cs typeface="Arial"/>
              </a:rPr>
              <a:t>s</a:t>
            </a:r>
            <a:r>
              <a:rPr sz="1200" dirty="0">
                <a:latin typeface="Arial"/>
                <a:cs typeface="Arial"/>
              </a:rPr>
              <a:t>e</a:t>
            </a:r>
            <a:r>
              <a:rPr sz="1200" spc="4" dirty="0">
                <a:latin typeface="Arial"/>
                <a:cs typeface="Arial"/>
              </a:rPr>
              <a:t> </a:t>
            </a:r>
            <a:r>
              <a:rPr sz="1200" dirty="0">
                <a:latin typeface="Arial"/>
                <a:cs typeface="Arial"/>
              </a:rPr>
              <a:t>d</a:t>
            </a:r>
            <a:r>
              <a:rPr sz="1200" spc="4" dirty="0">
                <a:latin typeface="Arial"/>
                <a:cs typeface="Arial"/>
              </a:rPr>
              <a:t>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r>
              <a:rPr sz="1200" spc="-34" dirty="0">
                <a:latin typeface="Arial"/>
                <a:cs typeface="Arial"/>
              </a:rPr>
              <a:t> </a:t>
            </a:r>
            <a:r>
              <a:rPr sz="1200" dirty="0">
                <a:latin typeface="Arial"/>
                <a:cs typeface="Arial"/>
              </a:rPr>
              <a:t>of</a:t>
            </a:r>
            <a:r>
              <a:rPr sz="1200" spc="4" dirty="0">
                <a:latin typeface="Arial"/>
                <a:cs typeface="Arial"/>
              </a:rPr>
              <a:t> </a:t>
            </a:r>
            <a:r>
              <a:rPr sz="1200" dirty="0">
                <a:latin typeface="Arial"/>
                <a:cs typeface="Arial"/>
              </a:rPr>
              <a:t>ship</a:t>
            </a:r>
            <a:r>
              <a:rPr sz="1200" spc="-14" dirty="0">
                <a:latin typeface="Arial"/>
                <a:cs typeface="Arial"/>
              </a:rPr>
              <a:t> </a:t>
            </a:r>
            <a:r>
              <a:rPr sz="1200" dirty="0">
                <a:latin typeface="Arial"/>
                <a:cs typeface="Arial"/>
              </a:rPr>
              <a:t>to</a:t>
            </a:r>
            <a:r>
              <a:rPr sz="1200" spc="4" dirty="0">
                <a:latin typeface="Arial"/>
                <a:cs typeface="Arial"/>
              </a:rPr>
              <a:t> p</a:t>
            </a:r>
            <a:r>
              <a:rPr sz="1200" dirty="0">
                <a:latin typeface="Arial"/>
                <a:cs typeface="Arial"/>
              </a:rPr>
              <a:t>arty</a:t>
            </a:r>
            <a:r>
              <a:rPr sz="1200" spc="-9" dirty="0">
                <a:latin typeface="Arial"/>
                <a:cs typeface="Arial"/>
              </a:rPr>
              <a:t> </a:t>
            </a:r>
            <a:r>
              <a:rPr sz="1200" dirty="0">
                <a:latin typeface="Arial"/>
                <a:cs typeface="Arial"/>
              </a:rPr>
              <a:t>&amp;</a:t>
            </a:r>
            <a:r>
              <a:rPr sz="1200" spc="4" dirty="0">
                <a:latin typeface="Arial"/>
                <a:cs typeface="Arial"/>
              </a:rPr>
              <a:t> </a:t>
            </a:r>
            <a:r>
              <a:rPr sz="1200" dirty="0">
                <a:latin typeface="Arial"/>
                <a:cs typeface="Arial"/>
              </a:rPr>
              <a:t>recei</a:t>
            </a:r>
            <a:r>
              <a:rPr sz="1200" spc="-14" dirty="0">
                <a:latin typeface="Arial"/>
                <a:cs typeface="Arial"/>
              </a:rPr>
              <a:t>v</a:t>
            </a:r>
            <a:r>
              <a:rPr sz="1200" dirty="0">
                <a:latin typeface="Arial"/>
                <a:cs typeface="Arial"/>
              </a:rPr>
              <a:t>ing</a:t>
            </a:r>
            <a:r>
              <a:rPr sz="1200" spc="-14" dirty="0">
                <a:latin typeface="Arial"/>
                <a:cs typeface="Arial"/>
              </a:rPr>
              <a:t> </a:t>
            </a:r>
            <a:r>
              <a:rPr sz="1200" dirty="0">
                <a:latin typeface="Arial"/>
                <a:cs typeface="Arial"/>
              </a:rPr>
              <a:t>p</a:t>
            </a:r>
            <a:r>
              <a:rPr sz="1200" spc="4" dirty="0">
                <a:latin typeface="Arial"/>
                <a:cs typeface="Arial"/>
              </a:rPr>
              <a:t>o</a:t>
            </a:r>
            <a:r>
              <a:rPr sz="1200" dirty="0">
                <a:latin typeface="Arial"/>
                <a:cs typeface="Arial"/>
              </a:rPr>
              <a:t>int</a:t>
            </a:r>
            <a:r>
              <a:rPr sz="1200" spc="-29" dirty="0">
                <a:latin typeface="Arial"/>
                <a:cs typeface="Arial"/>
              </a:rPr>
              <a:t> </a:t>
            </a:r>
            <a:r>
              <a:rPr sz="1200" dirty="0">
                <a:latin typeface="Arial"/>
                <a:cs typeface="Arial"/>
              </a:rPr>
              <a:t>are</a:t>
            </a:r>
            <a:endParaRPr sz="1200">
              <a:latin typeface="Arial"/>
              <a:cs typeface="Arial"/>
            </a:endParaRPr>
          </a:p>
          <a:p>
            <a:pPr marL="92075">
              <a:lnSpc>
                <a:spcPct val="95825"/>
              </a:lnSpc>
              <a:spcBef>
                <a:spcPts val="60"/>
              </a:spcBef>
            </a:pPr>
            <a:r>
              <a:rPr sz="1200" spc="4" dirty="0">
                <a:latin typeface="Arial"/>
                <a:cs typeface="Arial"/>
              </a:rPr>
              <a:t>a</a:t>
            </a:r>
            <a:r>
              <a:rPr sz="1200" spc="-9" dirty="0">
                <a:latin typeface="Arial"/>
                <a:cs typeface="Arial"/>
              </a:rPr>
              <a:t>v</a:t>
            </a:r>
            <a:r>
              <a:rPr sz="1200" spc="4" dirty="0">
                <a:latin typeface="Arial"/>
                <a:cs typeface="Arial"/>
              </a:rPr>
              <a:t>a</a:t>
            </a:r>
            <a:r>
              <a:rPr sz="1200" dirty="0">
                <a:latin typeface="Arial"/>
                <a:cs typeface="Arial"/>
              </a:rPr>
              <a:t>i</a:t>
            </a:r>
            <a:r>
              <a:rPr sz="1200" spc="-4" dirty="0">
                <a:latin typeface="Arial"/>
                <a:cs typeface="Arial"/>
              </a:rPr>
              <a:t>l</a:t>
            </a:r>
            <a:r>
              <a:rPr sz="1200" spc="4" dirty="0">
                <a:latin typeface="Arial"/>
                <a:cs typeface="Arial"/>
              </a:rPr>
              <a:t>ab</a:t>
            </a:r>
            <a:r>
              <a:rPr sz="1200" dirty="0">
                <a:latin typeface="Arial"/>
                <a:cs typeface="Arial"/>
              </a:rPr>
              <a:t>le</a:t>
            </a:r>
            <a:r>
              <a:rPr sz="1200" spc="-39" dirty="0">
                <a:latin typeface="Arial"/>
                <a:cs typeface="Arial"/>
              </a:rPr>
              <a:t> </a:t>
            </a:r>
            <a:r>
              <a:rPr sz="1200" dirty="0">
                <a:latin typeface="Arial"/>
                <a:cs typeface="Arial"/>
              </a:rPr>
              <a:t>in</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is</a:t>
            </a:r>
            <a:r>
              <a:rPr sz="1200" spc="-9"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endParaRPr sz="1200">
              <a:latin typeface="Arial"/>
              <a:cs typeface="Arial"/>
            </a:endParaRPr>
          </a:p>
        </p:txBody>
      </p:sp>
      <p:sp>
        <p:nvSpPr>
          <p:cNvPr id="10" name="object 10"/>
          <p:cNvSpPr txBox="1"/>
          <p:nvPr/>
        </p:nvSpPr>
        <p:spPr>
          <a:xfrm>
            <a:off x="2133600" y="4221480"/>
            <a:ext cx="1820926" cy="457200"/>
          </a:xfrm>
          <a:prstGeom prst="rect">
            <a:avLst/>
          </a:prstGeom>
        </p:spPr>
        <p:txBody>
          <a:bodyPr wrap="square" lIns="0" tIns="0" rIns="0" bIns="0" rtlCol="0">
            <a:noAutofit/>
          </a:bodyPr>
          <a:lstStyle/>
          <a:p>
            <a:pPr marL="91440" marR="340590">
              <a:lnSpc>
                <a:spcPct val="100041"/>
              </a:lnSpc>
              <a:spcBef>
                <a:spcPts val="330"/>
              </a:spcBef>
            </a:pPr>
            <a:r>
              <a:rPr sz="1200" dirty="0">
                <a:latin typeface="Arial"/>
                <a:cs typeface="Arial"/>
              </a:rPr>
              <a:t>B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dirty="0">
                <a:latin typeface="Arial"/>
                <a:cs typeface="Arial"/>
              </a:rPr>
              <a:t>Block,</a:t>
            </a:r>
            <a:r>
              <a:rPr sz="1200" spc="-4" dirty="0">
                <a:latin typeface="Arial"/>
                <a:cs typeface="Arial"/>
              </a:rPr>
              <a:t> </a:t>
            </a:r>
            <a:r>
              <a:rPr sz="1200" dirty="0">
                <a:latin typeface="Arial"/>
                <a:cs typeface="Arial"/>
              </a:rPr>
              <a:t>Cost c</a:t>
            </a:r>
            <a:r>
              <a:rPr sz="1200" spc="4" dirty="0">
                <a:latin typeface="Arial"/>
                <a:cs typeface="Arial"/>
              </a:rPr>
              <a:t>en</a:t>
            </a:r>
            <a:r>
              <a:rPr sz="1200" dirty="0">
                <a:latin typeface="Arial"/>
                <a:cs typeface="Arial"/>
              </a:rPr>
              <a:t>tre,</a:t>
            </a:r>
            <a:r>
              <a:rPr sz="1200" spc="-29" dirty="0">
                <a:latin typeface="Arial"/>
                <a:cs typeface="Arial"/>
              </a:rPr>
              <a:t> </a:t>
            </a:r>
            <a:r>
              <a:rPr sz="1200" dirty="0">
                <a:latin typeface="Arial"/>
                <a:cs typeface="Arial"/>
              </a:rPr>
              <a:t>Pro</a:t>
            </a:r>
            <a:r>
              <a:rPr sz="1200" spc="14" dirty="0">
                <a:latin typeface="Arial"/>
                <a:cs typeface="Arial"/>
              </a:rPr>
              <a:t>f</a:t>
            </a:r>
            <a:r>
              <a:rPr sz="1200" dirty="0">
                <a:latin typeface="Arial"/>
                <a:cs typeface="Arial"/>
              </a:rPr>
              <a:t>it</a:t>
            </a:r>
            <a:r>
              <a:rPr sz="1200" spc="-9" dirty="0">
                <a:latin typeface="Arial"/>
                <a:cs typeface="Arial"/>
              </a:rPr>
              <a:t> </a:t>
            </a:r>
            <a:r>
              <a:rPr sz="1200" dirty="0">
                <a:latin typeface="Arial"/>
                <a:cs typeface="Arial"/>
              </a:rPr>
              <a:t>Ce</a:t>
            </a:r>
            <a:r>
              <a:rPr sz="1200" spc="4" dirty="0">
                <a:latin typeface="Arial"/>
                <a:cs typeface="Arial"/>
              </a:rPr>
              <a:t>n</a:t>
            </a:r>
            <a:r>
              <a:rPr sz="1200" dirty="0">
                <a:latin typeface="Arial"/>
                <a:cs typeface="Arial"/>
              </a:rPr>
              <a:t>tre</a:t>
            </a:r>
            <a:endParaRPr sz="1200">
              <a:latin typeface="Arial"/>
              <a:cs typeface="Arial"/>
            </a:endParaRPr>
          </a:p>
        </p:txBody>
      </p:sp>
      <p:sp>
        <p:nvSpPr>
          <p:cNvPr id="9" name="object 9"/>
          <p:cNvSpPr txBox="1"/>
          <p:nvPr/>
        </p:nvSpPr>
        <p:spPr>
          <a:xfrm>
            <a:off x="3954527" y="4221480"/>
            <a:ext cx="1401699" cy="457200"/>
          </a:xfrm>
          <a:prstGeom prst="rect">
            <a:avLst/>
          </a:prstGeom>
        </p:spPr>
        <p:txBody>
          <a:bodyPr wrap="square" lIns="0" tIns="0" rIns="0" bIns="0" rtlCol="0">
            <a:noAutofit/>
          </a:bodyPr>
          <a:lstStyle/>
          <a:p>
            <a:pPr marL="91693" marR="545797">
              <a:lnSpc>
                <a:spcPct val="100041"/>
              </a:lnSpc>
              <a:spcBef>
                <a:spcPts val="330"/>
              </a:spcBef>
            </a:pPr>
            <a:r>
              <a:rPr sz="1200" dirty="0">
                <a:latin typeface="Arial"/>
                <a:cs typeface="Arial"/>
              </a:rPr>
              <a:t>Fin</a:t>
            </a:r>
            <a:r>
              <a:rPr sz="1200" spc="4" dirty="0">
                <a:latin typeface="Arial"/>
                <a:cs typeface="Arial"/>
              </a:rPr>
              <a:t>an</a:t>
            </a:r>
            <a:r>
              <a:rPr sz="1200" dirty="0">
                <a:latin typeface="Arial"/>
                <a:cs typeface="Arial"/>
              </a:rPr>
              <a:t>cial </a:t>
            </a:r>
            <a:r>
              <a:rPr sz="1200" spc="4" dirty="0">
                <a:latin typeface="Arial"/>
                <a:cs typeface="Arial"/>
              </a:rPr>
              <a:t>p</a:t>
            </a:r>
            <a:r>
              <a:rPr sz="1200" dirty="0">
                <a:latin typeface="Arial"/>
                <a:cs typeface="Arial"/>
              </a:rPr>
              <a:t>roc</a:t>
            </a:r>
            <a:r>
              <a:rPr sz="1200" spc="4" dirty="0">
                <a:latin typeface="Arial"/>
                <a:cs typeface="Arial"/>
              </a:rPr>
              <a:t>e</a:t>
            </a:r>
            <a:r>
              <a:rPr sz="1200" dirty="0">
                <a:latin typeface="Arial"/>
                <a:cs typeface="Arial"/>
              </a:rPr>
              <a:t>ssing</a:t>
            </a:r>
            <a:endParaRPr sz="1200">
              <a:latin typeface="Arial"/>
              <a:cs typeface="Arial"/>
            </a:endParaRPr>
          </a:p>
        </p:txBody>
      </p:sp>
      <p:sp>
        <p:nvSpPr>
          <p:cNvPr id="8" name="object 8"/>
          <p:cNvSpPr txBox="1"/>
          <p:nvPr/>
        </p:nvSpPr>
        <p:spPr>
          <a:xfrm>
            <a:off x="5356226" y="4221480"/>
            <a:ext cx="4625975" cy="457200"/>
          </a:xfrm>
          <a:prstGeom prst="rect">
            <a:avLst/>
          </a:prstGeom>
        </p:spPr>
        <p:txBody>
          <a:bodyPr wrap="square" lIns="0" tIns="0" rIns="0" bIns="0" rtlCol="0">
            <a:noAutofit/>
          </a:bodyPr>
          <a:lstStyle/>
          <a:p>
            <a:pPr marL="92075" marR="750648">
              <a:lnSpc>
                <a:spcPct val="100041"/>
              </a:lnSpc>
              <a:spcBef>
                <a:spcPts val="430"/>
              </a:spcBef>
            </a:pPr>
            <a:r>
              <a:rPr sz="1200" spc="9" dirty="0">
                <a:latin typeface="Arial"/>
                <a:cs typeface="Arial"/>
              </a:rPr>
              <a:t>T</a:t>
            </a:r>
            <a:r>
              <a:rPr sz="1200" spc="4" dirty="0">
                <a:latin typeface="Arial"/>
                <a:cs typeface="Arial"/>
              </a:rPr>
              <a:t>h</a:t>
            </a:r>
            <a:r>
              <a:rPr sz="1200" dirty="0">
                <a:latin typeface="Arial"/>
                <a:cs typeface="Arial"/>
              </a:rPr>
              <a:t>e</a:t>
            </a:r>
            <a:r>
              <a:rPr sz="1200" spc="-29" dirty="0">
                <a:latin typeface="Arial"/>
                <a:cs typeface="Arial"/>
              </a:rPr>
              <a:t> </a:t>
            </a:r>
            <a:r>
              <a:rPr sz="1200" dirty="0">
                <a:latin typeface="Arial"/>
                <a:cs typeface="Arial"/>
              </a:rPr>
              <a:t>st</a:t>
            </a:r>
            <a:r>
              <a:rPr sz="1200" spc="4" dirty="0">
                <a:latin typeface="Arial"/>
                <a:cs typeface="Arial"/>
              </a:rPr>
              <a:t>a</a:t>
            </a:r>
            <a:r>
              <a:rPr sz="1200" dirty="0">
                <a:latin typeface="Arial"/>
                <a:cs typeface="Arial"/>
              </a:rPr>
              <a:t>t</a:t>
            </a:r>
            <a:r>
              <a:rPr sz="1200" spc="4" dirty="0">
                <a:latin typeface="Arial"/>
                <a:cs typeface="Arial"/>
              </a:rPr>
              <a:t>u</a:t>
            </a:r>
            <a:r>
              <a:rPr sz="1200" dirty="0">
                <a:latin typeface="Arial"/>
                <a:cs typeface="Arial"/>
              </a:rPr>
              <a:t>s</a:t>
            </a:r>
            <a:r>
              <a:rPr sz="1200" spc="-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n</a:t>
            </a:r>
            <a:r>
              <a:rPr sz="1200" dirty="0">
                <a:latin typeface="Arial"/>
                <a:cs typeface="Arial"/>
              </a:rPr>
              <a:t>t,</a:t>
            </a:r>
            <a:r>
              <a:rPr sz="1200" spc="-39"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14" dirty="0">
                <a:latin typeface="Arial"/>
                <a:cs typeface="Arial"/>
              </a:rPr>
              <a:t> </a:t>
            </a:r>
            <a:r>
              <a:rPr sz="1200" spc="4" dirty="0">
                <a:latin typeface="Arial"/>
                <a:cs typeface="Arial"/>
              </a:rPr>
              <a:t>b</a:t>
            </a:r>
            <a:r>
              <a:rPr sz="1200" dirty="0">
                <a:latin typeface="Arial"/>
                <a:cs typeface="Arial"/>
              </a:rPr>
              <a:t>lock</a:t>
            </a:r>
            <a:r>
              <a:rPr sz="1200" spc="-19" dirty="0">
                <a:latin typeface="Arial"/>
                <a:cs typeface="Arial"/>
              </a:rPr>
              <a:t> </a:t>
            </a:r>
            <a:r>
              <a:rPr sz="1200" spc="4" dirty="0">
                <a:latin typeface="Arial"/>
                <a:cs typeface="Arial"/>
              </a:rPr>
              <a:t>an</a:t>
            </a:r>
            <a:r>
              <a:rPr sz="1200" dirty="0">
                <a:latin typeface="Arial"/>
                <a:cs typeface="Arial"/>
              </a:rPr>
              <a:t>d</a:t>
            </a:r>
            <a:r>
              <a:rPr sz="1200" spc="-14" dirty="0">
                <a:latin typeface="Arial"/>
                <a:cs typeface="Arial"/>
              </a:rPr>
              <a:t> </a:t>
            </a:r>
            <a:r>
              <a:rPr sz="1200" spc="4" dirty="0">
                <a:latin typeface="Arial"/>
                <a:cs typeface="Arial"/>
              </a:rPr>
              <a:t>a</a:t>
            </a:r>
            <a:r>
              <a:rPr sz="1200" dirty="0">
                <a:latin typeface="Arial"/>
                <a:cs typeface="Arial"/>
              </a:rPr>
              <a:t>cc</a:t>
            </a:r>
            <a:r>
              <a:rPr sz="1200" spc="4" dirty="0">
                <a:latin typeface="Arial"/>
                <a:cs typeface="Arial"/>
              </a:rPr>
              <a:t>oun</a:t>
            </a:r>
            <a:r>
              <a:rPr sz="1200" dirty="0">
                <a:latin typeface="Arial"/>
                <a:cs typeface="Arial"/>
              </a:rPr>
              <a:t>t </a:t>
            </a:r>
            <a:r>
              <a:rPr sz="1200" spc="4" dirty="0">
                <a:latin typeface="Arial"/>
                <a:cs typeface="Arial"/>
              </a:rPr>
              <a:t>a</a:t>
            </a:r>
            <a:r>
              <a:rPr sz="1200" dirty="0">
                <a:latin typeface="Arial"/>
                <a:cs typeface="Arial"/>
              </a:rPr>
              <a:t>ssi</a:t>
            </a:r>
            <a:r>
              <a:rPr sz="1200" spc="-9" dirty="0">
                <a:latin typeface="Arial"/>
                <a:cs typeface="Arial"/>
              </a:rPr>
              <a:t>g</a:t>
            </a:r>
            <a:r>
              <a:rPr sz="1200" spc="4" dirty="0">
                <a:latin typeface="Arial"/>
                <a:cs typeface="Arial"/>
              </a:rPr>
              <a:t>nme</a:t>
            </a:r>
            <a:r>
              <a:rPr sz="1200" spc="-4" dirty="0">
                <a:latin typeface="Arial"/>
                <a:cs typeface="Arial"/>
              </a:rPr>
              <a:t>n</a:t>
            </a:r>
            <a:r>
              <a:rPr sz="1200" dirty="0">
                <a:latin typeface="Arial"/>
                <a:cs typeface="Arial"/>
              </a:rPr>
              <a:t>t</a:t>
            </a:r>
            <a:r>
              <a:rPr sz="1200" spc="-39" dirty="0">
                <a:latin typeface="Arial"/>
                <a:cs typeface="Arial"/>
              </a:rPr>
              <a:t> </a:t>
            </a:r>
            <a:r>
              <a:rPr sz="1200" dirty="0">
                <a:latin typeface="Arial"/>
                <a:cs typeface="Arial"/>
              </a:rPr>
              <a:t>in</a:t>
            </a:r>
            <a:r>
              <a:rPr sz="1200" spc="14" dirty="0">
                <a:latin typeface="Arial"/>
                <a:cs typeface="Arial"/>
              </a:rPr>
              <a:t>f</a:t>
            </a:r>
            <a:r>
              <a:rPr sz="1200" spc="4" dirty="0">
                <a:latin typeface="Arial"/>
                <a:cs typeface="Arial"/>
              </a:rPr>
              <a:t>o</a:t>
            </a:r>
            <a:r>
              <a:rPr sz="1200" dirty="0">
                <a:latin typeface="Arial"/>
                <a:cs typeface="Arial"/>
              </a:rPr>
              <a:t>r</a:t>
            </a:r>
            <a:r>
              <a:rPr sz="1200" spc="4" dirty="0">
                <a:latin typeface="Arial"/>
                <a:cs typeface="Arial"/>
              </a:rPr>
              <a:t>ma</a:t>
            </a:r>
            <a:r>
              <a:rPr sz="1200" dirty="0">
                <a:latin typeface="Arial"/>
                <a:cs typeface="Arial"/>
              </a:rPr>
              <a:t>ti</a:t>
            </a:r>
            <a:r>
              <a:rPr sz="1200" spc="4" dirty="0">
                <a:latin typeface="Arial"/>
                <a:cs typeface="Arial"/>
              </a:rPr>
              <a:t>o</a:t>
            </a:r>
            <a:r>
              <a:rPr sz="1200" dirty="0">
                <a:latin typeface="Arial"/>
                <a:cs typeface="Arial"/>
              </a:rPr>
              <a:t>n</a:t>
            </a:r>
            <a:r>
              <a:rPr sz="1200" spc="-50"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4" dirty="0">
                <a:latin typeface="Arial"/>
                <a:cs typeface="Arial"/>
              </a:rPr>
              <a:t> </a:t>
            </a:r>
            <a:r>
              <a:rPr sz="1200" spc="4" dirty="0">
                <a:latin typeface="Arial"/>
                <a:cs typeface="Arial"/>
              </a:rPr>
              <a:t>b</a:t>
            </a:r>
            <a:r>
              <a:rPr sz="1200" dirty="0">
                <a:latin typeface="Arial"/>
                <a:cs typeface="Arial"/>
              </a:rPr>
              <a:t>e</a:t>
            </a:r>
            <a:r>
              <a:rPr sz="1200" spc="-14" dirty="0">
                <a:latin typeface="Arial"/>
                <a:cs typeface="Arial"/>
              </a:rPr>
              <a:t> </a:t>
            </a:r>
            <a:r>
              <a:rPr sz="1200" spc="-9" dirty="0">
                <a:latin typeface="Arial"/>
                <a:cs typeface="Arial"/>
              </a:rPr>
              <a:t>v</a:t>
            </a:r>
            <a:r>
              <a:rPr sz="1200" dirty="0">
                <a:latin typeface="Arial"/>
                <a:cs typeface="Arial"/>
              </a:rPr>
              <a:t>ie</a:t>
            </a:r>
            <a:r>
              <a:rPr sz="1200" spc="-9" dirty="0">
                <a:latin typeface="Arial"/>
                <a:cs typeface="Arial"/>
              </a:rPr>
              <a:t>w</a:t>
            </a:r>
            <a:r>
              <a:rPr sz="1200" dirty="0">
                <a:latin typeface="Arial"/>
                <a:cs typeface="Arial"/>
              </a:rPr>
              <a:t>s</a:t>
            </a:r>
            <a:r>
              <a:rPr sz="1200" spc="25" dirty="0">
                <a:latin typeface="Arial"/>
                <a:cs typeface="Arial"/>
              </a:rPr>
              <a:t> </a:t>
            </a:r>
            <a:r>
              <a:rPr sz="1200" dirty="0">
                <a:latin typeface="Arial"/>
                <a:cs typeface="Arial"/>
              </a:rPr>
              <a:t>in</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is</a:t>
            </a:r>
            <a:r>
              <a:rPr sz="1200" spc="-9" dirty="0">
                <a:latin typeface="Arial"/>
                <a:cs typeface="Arial"/>
              </a:rPr>
              <a:t> </a:t>
            </a:r>
            <a:r>
              <a:rPr sz="1200" dirty="0">
                <a:latin typeface="Arial"/>
                <a:cs typeface="Arial"/>
              </a:rPr>
              <a:t>scre</a:t>
            </a:r>
            <a:r>
              <a:rPr sz="1200" spc="4" dirty="0">
                <a:latin typeface="Arial"/>
                <a:cs typeface="Arial"/>
              </a:rPr>
              <a:t>en</a:t>
            </a:r>
            <a:r>
              <a:rPr sz="1200" dirty="0">
                <a:latin typeface="Arial"/>
                <a:cs typeface="Arial"/>
              </a:rPr>
              <a:t>.</a:t>
            </a:r>
            <a:endParaRPr sz="1200">
              <a:latin typeface="Arial"/>
              <a:cs typeface="Arial"/>
            </a:endParaRPr>
          </a:p>
        </p:txBody>
      </p:sp>
      <p:sp>
        <p:nvSpPr>
          <p:cNvPr id="7" name="object 7"/>
          <p:cNvSpPr txBox="1"/>
          <p:nvPr/>
        </p:nvSpPr>
        <p:spPr>
          <a:xfrm>
            <a:off x="2133600" y="4678681"/>
            <a:ext cx="1820926" cy="640079"/>
          </a:xfrm>
          <a:prstGeom prst="rect">
            <a:avLst/>
          </a:prstGeom>
        </p:spPr>
        <p:txBody>
          <a:bodyPr wrap="square" lIns="0" tIns="0" rIns="0" bIns="0" rtlCol="0">
            <a:noAutofit/>
          </a:bodyPr>
          <a:lstStyle/>
          <a:p>
            <a:pPr marL="91440">
              <a:lnSpc>
                <a:spcPct val="95825"/>
              </a:lnSpc>
              <a:spcBef>
                <a:spcPts val="330"/>
              </a:spcBef>
            </a:pPr>
            <a:r>
              <a:rPr sz="1200" spc="-4" dirty="0">
                <a:latin typeface="Arial"/>
                <a:cs typeface="Arial"/>
              </a:rPr>
              <a:t>M</a:t>
            </a:r>
            <a:r>
              <a:rPr sz="1200" spc="4" dirty="0">
                <a:latin typeface="Arial"/>
                <a:cs typeface="Arial"/>
              </a:rPr>
              <a:t>o</a:t>
            </a:r>
            <a:r>
              <a:rPr sz="1200" spc="-9" dirty="0">
                <a:latin typeface="Arial"/>
                <a:cs typeface="Arial"/>
              </a:rPr>
              <a:t>v</a:t>
            </a:r>
            <a:r>
              <a:rPr sz="1200" spc="4" dirty="0">
                <a:latin typeface="Arial"/>
                <a:cs typeface="Arial"/>
              </a:rPr>
              <a:t>emen</a:t>
            </a:r>
            <a:r>
              <a:rPr sz="1200" dirty="0">
                <a:latin typeface="Arial"/>
                <a:cs typeface="Arial"/>
              </a:rPr>
              <a:t>t</a:t>
            </a:r>
            <a:r>
              <a:rPr sz="1200" spc="-29"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a:t>
            </a:r>
            <a:r>
              <a:rPr sz="1200" dirty="0">
                <a:latin typeface="Arial"/>
                <a:cs typeface="Arial"/>
              </a:rPr>
              <a:t>e</a:t>
            </a:r>
            <a:endParaRPr sz="1200">
              <a:latin typeface="Arial"/>
              <a:cs typeface="Arial"/>
            </a:endParaRPr>
          </a:p>
        </p:txBody>
      </p:sp>
      <p:sp>
        <p:nvSpPr>
          <p:cNvPr id="6" name="object 6"/>
          <p:cNvSpPr txBox="1"/>
          <p:nvPr/>
        </p:nvSpPr>
        <p:spPr>
          <a:xfrm>
            <a:off x="3954527" y="4678681"/>
            <a:ext cx="1401699" cy="640079"/>
          </a:xfrm>
          <a:prstGeom prst="rect">
            <a:avLst/>
          </a:prstGeom>
        </p:spPr>
        <p:txBody>
          <a:bodyPr wrap="square" lIns="0" tIns="0" rIns="0" bIns="0" rtlCol="0">
            <a:noAutofit/>
          </a:bodyPr>
          <a:lstStyle/>
          <a:p>
            <a:pPr marL="91693">
              <a:lnSpc>
                <a:spcPct val="95825"/>
              </a:lnSpc>
              <a:spcBef>
                <a:spcPts val="330"/>
              </a:spcBef>
            </a:pPr>
            <a:r>
              <a:rPr sz="1200" dirty="0">
                <a:latin typeface="Arial"/>
                <a:cs typeface="Arial"/>
              </a:rPr>
              <a:t>A</a:t>
            </a:r>
            <a:r>
              <a:rPr sz="1200" spc="4" dirty="0">
                <a:latin typeface="Arial"/>
                <a:cs typeface="Arial"/>
              </a:rPr>
              <a:t>dm</a:t>
            </a:r>
            <a:r>
              <a:rPr sz="1200" dirty="0">
                <a:latin typeface="Arial"/>
                <a:cs typeface="Arial"/>
              </a:rPr>
              <a:t>inistra</a:t>
            </a:r>
            <a:r>
              <a:rPr sz="1200" spc="4" dirty="0">
                <a:latin typeface="Arial"/>
                <a:cs typeface="Arial"/>
              </a:rPr>
              <a:t>t</a:t>
            </a:r>
            <a:r>
              <a:rPr sz="1200" dirty="0">
                <a:latin typeface="Arial"/>
                <a:cs typeface="Arial"/>
              </a:rPr>
              <a:t>i</a:t>
            </a:r>
            <a:r>
              <a:rPr sz="1200" spc="-9" dirty="0">
                <a:latin typeface="Arial"/>
                <a:cs typeface="Arial"/>
              </a:rPr>
              <a:t>o</a:t>
            </a:r>
            <a:r>
              <a:rPr sz="1200" dirty="0">
                <a:latin typeface="Arial"/>
                <a:cs typeface="Arial"/>
              </a:rPr>
              <a:t>n</a:t>
            </a:r>
            <a:endParaRPr sz="1200">
              <a:latin typeface="Arial"/>
              <a:cs typeface="Arial"/>
            </a:endParaRPr>
          </a:p>
        </p:txBody>
      </p:sp>
      <p:sp>
        <p:nvSpPr>
          <p:cNvPr id="5" name="object 5"/>
          <p:cNvSpPr txBox="1"/>
          <p:nvPr/>
        </p:nvSpPr>
        <p:spPr>
          <a:xfrm>
            <a:off x="5356226" y="4678681"/>
            <a:ext cx="4625975" cy="640079"/>
          </a:xfrm>
          <a:prstGeom prst="rect">
            <a:avLst/>
          </a:prstGeom>
        </p:spPr>
        <p:txBody>
          <a:bodyPr wrap="square" lIns="0" tIns="0" rIns="0" bIns="0" rtlCol="0">
            <a:noAutofit/>
          </a:bodyPr>
          <a:lstStyle/>
          <a:p>
            <a:pPr marL="92075" marR="241022">
              <a:lnSpc>
                <a:spcPct val="100041"/>
              </a:lnSpc>
              <a:spcBef>
                <a:spcPts val="430"/>
              </a:spcBef>
            </a:pPr>
            <a:r>
              <a:rPr sz="1200" spc="9" dirty="0">
                <a:latin typeface="Arial"/>
                <a:cs typeface="Arial"/>
              </a:rPr>
              <a:t>T</a:t>
            </a:r>
            <a:r>
              <a:rPr sz="1200" spc="4" dirty="0">
                <a:latin typeface="Arial"/>
                <a:cs typeface="Arial"/>
              </a:rPr>
              <a:t>h</a:t>
            </a:r>
            <a:r>
              <a:rPr sz="1200" dirty="0">
                <a:latin typeface="Arial"/>
                <a:cs typeface="Arial"/>
              </a:rPr>
              <a:t>e</a:t>
            </a:r>
            <a:r>
              <a:rPr sz="1200" spc="-29" dirty="0">
                <a:latin typeface="Arial"/>
                <a:cs typeface="Arial"/>
              </a:rPr>
              <a:t> </a:t>
            </a:r>
            <a:r>
              <a:rPr sz="1200" spc="4" dirty="0">
                <a:latin typeface="Arial"/>
                <a:cs typeface="Arial"/>
              </a:rPr>
              <a:t>o</a:t>
            </a:r>
            <a:r>
              <a:rPr sz="1200" dirty="0">
                <a:latin typeface="Arial"/>
                <a:cs typeface="Arial"/>
              </a:rPr>
              <a:t>r</a:t>
            </a:r>
            <a:r>
              <a:rPr sz="1200" spc="-9" dirty="0">
                <a:latin typeface="Arial"/>
                <a:cs typeface="Arial"/>
              </a:rPr>
              <a:t>g</a:t>
            </a:r>
            <a:r>
              <a:rPr sz="1200" spc="4" dirty="0">
                <a:latin typeface="Arial"/>
                <a:cs typeface="Arial"/>
              </a:rPr>
              <a:t>an</a:t>
            </a:r>
            <a:r>
              <a:rPr sz="1200" dirty="0">
                <a:latin typeface="Arial"/>
                <a:cs typeface="Arial"/>
              </a:rPr>
              <a:t>i</a:t>
            </a:r>
            <a:r>
              <a:rPr sz="1200" spc="-14" dirty="0">
                <a:latin typeface="Arial"/>
                <a:cs typeface="Arial"/>
              </a:rPr>
              <a:t>z</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a:t>
            </a:r>
            <a:r>
              <a:rPr sz="1200" spc="-29" dirty="0">
                <a:latin typeface="Arial"/>
                <a:cs typeface="Arial"/>
              </a:rPr>
              <a:t> </a:t>
            </a:r>
            <a:r>
              <a:rPr sz="1200" spc="4" dirty="0">
                <a:latin typeface="Arial"/>
                <a:cs typeface="Arial"/>
              </a:rPr>
              <a:t>da</a:t>
            </a:r>
            <a:r>
              <a:rPr sz="1200" dirty="0">
                <a:latin typeface="Arial"/>
                <a:cs typeface="Arial"/>
              </a:rPr>
              <a:t>ta</a:t>
            </a:r>
            <a:r>
              <a:rPr sz="1200" spc="-14" dirty="0">
                <a:latin typeface="Arial"/>
                <a:cs typeface="Arial"/>
              </a:rPr>
              <a:t> </a:t>
            </a:r>
            <a:r>
              <a:rPr sz="1200" dirty="0">
                <a:latin typeface="Arial"/>
                <a:cs typeface="Arial"/>
              </a:rPr>
              <a:t>s</a:t>
            </a:r>
            <a:r>
              <a:rPr sz="1200" spc="4" dirty="0">
                <a:latin typeface="Arial"/>
                <a:cs typeface="Arial"/>
              </a:rPr>
              <a:t>u</a:t>
            </a:r>
            <a:r>
              <a:rPr sz="1200" dirty="0">
                <a:latin typeface="Arial"/>
                <a:cs typeface="Arial"/>
              </a:rPr>
              <a:t>ch</a:t>
            </a:r>
            <a:r>
              <a:rPr sz="1200" spc="-14" dirty="0">
                <a:latin typeface="Arial"/>
                <a:cs typeface="Arial"/>
              </a:rPr>
              <a:t> </a:t>
            </a:r>
            <a:r>
              <a:rPr sz="1200" spc="4" dirty="0">
                <a:latin typeface="Arial"/>
                <a:cs typeface="Arial"/>
              </a:rPr>
              <a:t>a</a:t>
            </a:r>
            <a:r>
              <a:rPr sz="1200" dirty="0">
                <a:latin typeface="Arial"/>
                <a:cs typeface="Arial"/>
              </a:rPr>
              <a:t>s </a:t>
            </a:r>
            <a:r>
              <a:rPr sz="1200" spc="4" dirty="0">
                <a:latin typeface="Arial"/>
                <a:cs typeface="Arial"/>
              </a:rPr>
              <a:t>d</a:t>
            </a:r>
            <a:r>
              <a:rPr sz="1200" dirty="0">
                <a:latin typeface="Arial"/>
                <a:cs typeface="Arial"/>
              </a:rPr>
              <a:t>istr</a:t>
            </a:r>
            <a:r>
              <a:rPr sz="1200" spc="-4" dirty="0">
                <a:latin typeface="Arial"/>
                <a:cs typeface="Arial"/>
              </a:rPr>
              <a:t>i</a:t>
            </a:r>
            <a:r>
              <a:rPr sz="1200" spc="4" dirty="0">
                <a:latin typeface="Arial"/>
                <a:cs typeface="Arial"/>
              </a:rPr>
              <a:t>bu</a:t>
            </a:r>
            <a:r>
              <a:rPr sz="1200" dirty="0">
                <a:latin typeface="Arial"/>
                <a:cs typeface="Arial"/>
              </a:rPr>
              <a:t>ti</a:t>
            </a:r>
            <a:r>
              <a:rPr sz="1200" spc="4" dirty="0">
                <a:latin typeface="Arial"/>
                <a:cs typeface="Arial"/>
              </a:rPr>
              <a:t>o</a:t>
            </a:r>
            <a:r>
              <a:rPr sz="1200" dirty="0">
                <a:latin typeface="Arial"/>
                <a:cs typeface="Arial"/>
              </a:rPr>
              <a:t>n</a:t>
            </a:r>
            <a:r>
              <a:rPr sz="1200" spc="-39" dirty="0">
                <a:latin typeface="Arial"/>
                <a:cs typeface="Arial"/>
              </a:rPr>
              <a:t> </a:t>
            </a:r>
            <a:r>
              <a:rPr sz="1200" dirty="0">
                <a:latin typeface="Arial"/>
                <a:cs typeface="Arial"/>
              </a:rPr>
              <a:t>c</a:t>
            </a:r>
            <a:r>
              <a:rPr sz="1200" spc="4" dirty="0">
                <a:latin typeface="Arial"/>
                <a:cs typeface="Arial"/>
              </a:rPr>
              <a:t>hanne</a:t>
            </a:r>
            <a:r>
              <a:rPr sz="1200" dirty="0">
                <a:latin typeface="Arial"/>
                <a:cs typeface="Arial"/>
              </a:rPr>
              <a:t>l,</a:t>
            </a:r>
            <a:r>
              <a:rPr sz="1200" spc="-44" dirty="0">
                <a:latin typeface="Arial"/>
                <a:cs typeface="Arial"/>
              </a:rPr>
              <a:t> </a:t>
            </a:r>
            <a:r>
              <a:rPr sz="1200" spc="4" dirty="0">
                <a:latin typeface="Arial"/>
                <a:cs typeface="Arial"/>
              </a:rPr>
              <a:t>d</a:t>
            </a:r>
            <a:r>
              <a:rPr sz="1200" dirty="0">
                <a:latin typeface="Arial"/>
                <a:cs typeface="Arial"/>
              </a:rPr>
              <a:t>i</a:t>
            </a:r>
            <a:r>
              <a:rPr sz="1200" spc="-14" dirty="0">
                <a:latin typeface="Arial"/>
                <a:cs typeface="Arial"/>
              </a:rPr>
              <a:t>v</a:t>
            </a:r>
            <a:r>
              <a:rPr sz="1200" dirty="0">
                <a:latin typeface="Arial"/>
                <a:cs typeface="Arial"/>
              </a:rPr>
              <a:t>is</a:t>
            </a:r>
            <a:r>
              <a:rPr sz="1200" spc="-4" dirty="0">
                <a:latin typeface="Arial"/>
                <a:cs typeface="Arial"/>
              </a:rPr>
              <a:t>i</a:t>
            </a:r>
            <a:r>
              <a:rPr sz="1200" spc="4" dirty="0">
                <a:latin typeface="Arial"/>
                <a:cs typeface="Arial"/>
              </a:rPr>
              <a:t>o</a:t>
            </a:r>
            <a:r>
              <a:rPr sz="1200" dirty="0">
                <a:latin typeface="Arial"/>
                <a:cs typeface="Arial"/>
              </a:rPr>
              <a:t>n</a:t>
            </a:r>
            <a:r>
              <a:rPr sz="1200" spc="-14" dirty="0">
                <a:latin typeface="Arial"/>
                <a:cs typeface="Arial"/>
              </a:rPr>
              <a:t> </a:t>
            </a:r>
            <a:r>
              <a:rPr sz="1200" spc="4" dirty="0">
                <a:latin typeface="Arial"/>
                <a:cs typeface="Arial"/>
              </a:rPr>
              <a:t>an</a:t>
            </a:r>
            <a:r>
              <a:rPr sz="1200" dirty="0">
                <a:latin typeface="Arial"/>
                <a:cs typeface="Arial"/>
              </a:rPr>
              <a:t>d c</a:t>
            </a:r>
            <a:r>
              <a:rPr sz="1200" spc="4" dirty="0">
                <a:latin typeface="Arial"/>
                <a:cs typeface="Arial"/>
              </a:rPr>
              <a:t>on</a:t>
            </a:r>
            <a:r>
              <a:rPr sz="1200" dirty="0">
                <a:latin typeface="Arial"/>
                <a:cs typeface="Arial"/>
              </a:rPr>
              <a:t>trol</a:t>
            </a:r>
            <a:r>
              <a:rPr sz="1200" spc="-29" dirty="0">
                <a:latin typeface="Arial"/>
                <a:cs typeface="Arial"/>
              </a:rPr>
              <a:t> </a:t>
            </a:r>
            <a:r>
              <a:rPr sz="1200" spc="4" dirty="0">
                <a:latin typeface="Arial"/>
                <a:cs typeface="Arial"/>
              </a:rPr>
              <a:t>da</a:t>
            </a:r>
            <a:r>
              <a:rPr sz="1200" dirty="0">
                <a:latin typeface="Arial"/>
                <a:cs typeface="Arial"/>
              </a:rPr>
              <a:t>ta</a:t>
            </a:r>
            <a:r>
              <a:rPr sz="1200" spc="-14" dirty="0">
                <a:latin typeface="Arial"/>
                <a:cs typeface="Arial"/>
              </a:rPr>
              <a:t> </a:t>
            </a:r>
            <a:r>
              <a:rPr sz="1200" dirty="0">
                <a:latin typeface="Arial"/>
                <a:cs typeface="Arial"/>
              </a:rPr>
              <a:t>l</a:t>
            </a:r>
            <a:r>
              <a:rPr sz="1200" spc="-4" dirty="0">
                <a:latin typeface="Arial"/>
                <a:cs typeface="Arial"/>
              </a:rPr>
              <a:t>i</a:t>
            </a:r>
            <a:r>
              <a:rPr sz="1200" dirty="0">
                <a:latin typeface="Arial"/>
                <a:cs typeface="Arial"/>
              </a:rPr>
              <a:t>ke</a:t>
            </a:r>
            <a:r>
              <a:rPr sz="1200" spc="-4" dirty="0">
                <a:latin typeface="Arial"/>
                <a:cs typeface="Arial"/>
              </a:rPr>
              <a:t> </a:t>
            </a:r>
            <a:r>
              <a:rPr sz="1200" spc="4" dirty="0">
                <a:latin typeface="Arial"/>
                <a:cs typeface="Arial"/>
              </a:rPr>
              <a:t>mo</a:t>
            </a:r>
            <a:r>
              <a:rPr sz="1200" spc="-9" dirty="0">
                <a:latin typeface="Arial"/>
                <a:cs typeface="Arial"/>
              </a:rPr>
              <a:t>v</a:t>
            </a:r>
            <a:r>
              <a:rPr sz="1200" spc="4" dirty="0">
                <a:latin typeface="Arial"/>
                <a:cs typeface="Arial"/>
              </a:rPr>
              <a:t>emen</a:t>
            </a:r>
            <a:r>
              <a:rPr sz="1200" dirty="0">
                <a:latin typeface="Arial"/>
                <a:cs typeface="Arial"/>
              </a:rPr>
              <a:t>t</a:t>
            </a:r>
            <a:r>
              <a:rPr sz="1200" spc="-29"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a:t>
            </a:r>
            <a:r>
              <a:rPr sz="1200" dirty="0">
                <a:latin typeface="Arial"/>
                <a:cs typeface="Arial"/>
              </a:rPr>
              <a:t>e</a:t>
            </a:r>
            <a:r>
              <a:rPr sz="1200" spc="-4" dirty="0">
                <a:latin typeface="Arial"/>
                <a:cs typeface="Arial"/>
              </a:rPr>
              <a:t> </a:t>
            </a:r>
            <a:r>
              <a:rPr sz="1200" dirty="0">
                <a:latin typeface="Arial"/>
                <a:cs typeface="Arial"/>
              </a:rPr>
              <a:t>,</a:t>
            </a:r>
            <a:r>
              <a:rPr sz="1200" spc="14" dirty="0">
                <a:latin typeface="Arial"/>
                <a:cs typeface="Arial"/>
              </a:rPr>
              <a:t> </a:t>
            </a:r>
            <a:r>
              <a:rPr sz="1200" dirty="0">
                <a:latin typeface="Arial"/>
                <a:cs typeface="Arial"/>
              </a:rPr>
              <a:t>re</a:t>
            </a:r>
            <a:r>
              <a:rPr sz="1200" spc="4" dirty="0">
                <a:latin typeface="Arial"/>
                <a:cs typeface="Arial"/>
              </a:rPr>
              <a:t>a</a:t>
            </a:r>
            <a:r>
              <a:rPr sz="1200" dirty="0">
                <a:latin typeface="Arial"/>
                <a:cs typeface="Arial"/>
              </a:rPr>
              <a:t>s</a:t>
            </a:r>
            <a:r>
              <a:rPr sz="1200" spc="4" dirty="0">
                <a:latin typeface="Arial"/>
                <a:cs typeface="Arial"/>
              </a:rPr>
              <a:t>o</a:t>
            </a:r>
            <a:r>
              <a:rPr sz="1200" dirty="0">
                <a:latin typeface="Arial"/>
                <a:cs typeface="Arial"/>
              </a:rPr>
              <a:t>n</a:t>
            </a:r>
            <a:r>
              <a:rPr sz="1200" spc="-2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mo</a:t>
            </a:r>
            <a:r>
              <a:rPr sz="1200" spc="-9" dirty="0">
                <a:latin typeface="Arial"/>
                <a:cs typeface="Arial"/>
              </a:rPr>
              <a:t>v</a:t>
            </a:r>
            <a:r>
              <a:rPr sz="1200" spc="4" dirty="0">
                <a:latin typeface="Arial"/>
                <a:cs typeface="Arial"/>
              </a:rPr>
              <a:t>emen</a:t>
            </a:r>
            <a:r>
              <a:rPr sz="1200" dirty="0">
                <a:latin typeface="Arial"/>
                <a:cs typeface="Arial"/>
              </a:rPr>
              <a:t>t</a:t>
            </a:r>
            <a:r>
              <a:rPr sz="1200" spc="-29" dirty="0">
                <a:latin typeface="Arial"/>
                <a:cs typeface="Arial"/>
              </a:rPr>
              <a:t> </a:t>
            </a:r>
            <a:r>
              <a:rPr sz="1200" dirty="0">
                <a:latin typeface="Arial"/>
                <a:cs typeface="Arial"/>
              </a:rPr>
              <a:t>rela</a:t>
            </a:r>
            <a:r>
              <a:rPr sz="1200" spc="4" dirty="0">
                <a:latin typeface="Arial"/>
                <a:cs typeface="Arial"/>
              </a:rPr>
              <a:t>te</a:t>
            </a:r>
            <a:r>
              <a:rPr sz="1200" dirty="0">
                <a:latin typeface="Arial"/>
                <a:cs typeface="Arial"/>
              </a:rPr>
              <a:t>d in</a:t>
            </a:r>
            <a:r>
              <a:rPr sz="1200" spc="14" dirty="0">
                <a:latin typeface="Arial"/>
                <a:cs typeface="Arial"/>
              </a:rPr>
              <a:t>f</a:t>
            </a:r>
            <a:r>
              <a:rPr sz="1200" dirty="0">
                <a:latin typeface="Arial"/>
                <a:cs typeface="Arial"/>
              </a:rPr>
              <a:t>o</a:t>
            </a:r>
            <a:r>
              <a:rPr sz="1200" spc="-29"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14" dirty="0">
                <a:latin typeface="Arial"/>
                <a:cs typeface="Arial"/>
              </a:rPr>
              <a:t> </a:t>
            </a:r>
            <a:r>
              <a:rPr sz="1200" spc="4" dirty="0">
                <a:latin typeface="Arial"/>
                <a:cs typeface="Arial"/>
              </a:rPr>
              <a:t>b</a:t>
            </a:r>
            <a:r>
              <a:rPr sz="1200" dirty="0">
                <a:latin typeface="Arial"/>
                <a:cs typeface="Arial"/>
              </a:rPr>
              <a:t>e</a:t>
            </a:r>
            <a:r>
              <a:rPr sz="1200" spc="-4" dirty="0">
                <a:latin typeface="Arial"/>
                <a:cs typeface="Arial"/>
              </a:rPr>
              <a:t> </a:t>
            </a:r>
            <a:r>
              <a:rPr sz="1200" spc="-9" dirty="0">
                <a:latin typeface="Arial"/>
                <a:cs typeface="Arial"/>
              </a:rPr>
              <a:t>v</a:t>
            </a:r>
            <a:r>
              <a:rPr sz="1200" dirty="0">
                <a:latin typeface="Arial"/>
                <a:cs typeface="Arial"/>
              </a:rPr>
              <a:t>ie</a:t>
            </a:r>
            <a:r>
              <a:rPr sz="1200" spc="-9" dirty="0">
                <a:latin typeface="Arial"/>
                <a:cs typeface="Arial"/>
              </a:rPr>
              <a:t>w</a:t>
            </a:r>
            <a:r>
              <a:rPr sz="1200" dirty="0">
                <a:latin typeface="Arial"/>
                <a:cs typeface="Arial"/>
              </a:rPr>
              <a:t>s</a:t>
            </a:r>
            <a:r>
              <a:rPr sz="1200" spc="14" dirty="0">
                <a:latin typeface="Arial"/>
                <a:cs typeface="Arial"/>
              </a:rPr>
              <a:t> </a:t>
            </a:r>
            <a:r>
              <a:rPr sz="1200" dirty="0">
                <a:latin typeface="Arial"/>
                <a:cs typeface="Arial"/>
              </a:rPr>
              <a:t>in</a:t>
            </a:r>
            <a:r>
              <a:rPr sz="1200" spc="-4" dirty="0">
                <a:latin typeface="Arial"/>
                <a:cs typeface="Arial"/>
              </a:rPr>
              <a:t> </a:t>
            </a:r>
            <a:r>
              <a:rPr sz="1200" spc="4" dirty="0">
                <a:latin typeface="Arial"/>
                <a:cs typeface="Arial"/>
              </a:rPr>
              <a:t>adm</a:t>
            </a:r>
            <a:r>
              <a:rPr sz="1200" dirty="0">
                <a:latin typeface="Arial"/>
                <a:cs typeface="Arial"/>
              </a:rPr>
              <a:t>inistra</a:t>
            </a:r>
            <a:r>
              <a:rPr sz="1200" spc="4" dirty="0">
                <a:latin typeface="Arial"/>
                <a:cs typeface="Arial"/>
              </a:rPr>
              <a:t>t</a:t>
            </a:r>
            <a:r>
              <a:rPr sz="1200" dirty="0">
                <a:latin typeface="Arial"/>
                <a:cs typeface="Arial"/>
              </a:rPr>
              <a:t>ion</a:t>
            </a:r>
            <a:r>
              <a:rPr sz="1200" spc="-49" dirty="0">
                <a:latin typeface="Arial"/>
                <a:cs typeface="Arial"/>
              </a:rPr>
              <a:t> </a:t>
            </a:r>
            <a:r>
              <a:rPr sz="1200" dirty="0">
                <a:latin typeface="Arial"/>
                <a:cs typeface="Arial"/>
              </a:rPr>
              <a:t>scre</a:t>
            </a:r>
            <a:r>
              <a:rPr sz="1200" spc="4" dirty="0">
                <a:latin typeface="Arial"/>
                <a:cs typeface="Arial"/>
              </a:rPr>
              <a:t>en</a:t>
            </a:r>
            <a:r>
              <a:rPr sz="1200" dirty="0">
                <a:latin typeface="Arial"/>
                <a:cs typeface="Arial"/>
              </a:rPr>
              <a:t>.</a:t>
            </a:r>
            <a:endParaRPr sz="1200">
              <a:latin typeface="Arial"/>
              <a:cs typeface="Arial"/>
            </a:endParaRPr>
          </a:p>
        </p:txBody>
      </p:sp>
      <p:sp>
        <p:nvSpPr>
          <p:cNvPr id="4" name="object 4"/>
          <p:cNvSpPr txBox="1"/>
          <p:nvPr/>
        </p:nvSpPr>
        <p:spPr>
          <a:xfrm>
            <a:off x="2133600" y="5318760"/>
            <a:ext cx="1820926" cy="822960"/>
          </a:xfrm>
          <a:prstGeom prst="rect">
            <a:avLst/>
          </a:prstGeom>
        </p:spPr>
        <p:txBody>
          <a:bodyPr wrap="square" lIns="0" tIns="0" rIns="0" bIns="0" rtlCol="0">
            <a:noAutofit/>
          </a:bodyPr>
          <a:lstStyle/>
          <a:p>
            <a:pPr marL="91440">
              <a:lnSpc>
                <a:spcPct val="95825"/>
              </a:lnSpc>
              <a:spcBef>
                <a:spcPts val="335"/>
              </a:spcBef>
            </a:pPr>
            <a:r>
              <a:rPr sz="1200" spc="-4" dirty="0">
                <a:latin typeface="Arial"/>
                <a:cs typeface="Arial"/>
              </a:rPr>
              <a:t>R</a:t>
            </a:r>
            <a:r>
              <a:rPr sz="1200" dirty="0">
                <a:latin typeface="Arial"/>
                <a:cs typeface="Arial"/>
              </a:rPr>
              <a:t>e</a:t>
            </a:r>
            <a:r>
              <a:rPr sz="1200" spc="14" dirty="0">
                <a:latin typeface="Arial"/>
                <a:cs typeface="Arial"/>
              </a:rPr>
              <a:t>f</a:t>
            </a:r>
            <a:r>
              <a:rPr sz="1200" dirty="0">
                <a:latin typeface="Arial"/>
                <a:cs typeface="Arial"/>
              </a:rPr>
              <a:t>ere</a:t>
            </a:r>
            <a:r>
              <a:rPr sz="1200" spc="-4" dirty="0">
                <a:latin typeface="Arial"/>
                <a:cs typeface="Arial"/>
              </a:rPr>
              <a:t>n</a:t>
            </a:r>
            <a:r>
              <a:rPr sz="1200" dirty="0">
                <a:latin typeface="Arial"/>
                <a:cs typeface="Arial"/>
              </a:rPr>
              <a:t>ce</a:t>
            </a:r>
            <a:r>
              <a:rPr sz="1200" spc="-54" dirty="0">
                <a:latin typeface="Arial"/>
                <a:cs typeface="Arial"/>
              </a:rPr>
              <a:t> </a:t>
            </a:r>
            <a:r>
              <a:rPr sz="1200" dirty="0">
                <a:latin typeface="Arial"/>
                <a:cs typeface="Arial"/>
              </a:rPr>
              <a:t>d</a:t>
            </a:r>
            <a:r>
              <a:rPr sz="1200" spc="4" dirty="0">
                <a:latin typeface="Arial"/>
                <a:cs typeface="Arial"/>
              </a:rPr>
              <a:t>o</a:t>
            </a:r>
            <a:r>
              <a:rPr sz="1200" dirty="0">
                <a:latin typeface="Arial"/>
                <a:cs typeface="Arial"/>
              </a:rPr>
              <a:t>cu</a:t>
            </a:r>
            <a:r>
              <a:rPr sz="1200" spc="4" dirty="0">
                <a:latin typeface="Arial"/>
                <a:cs typeface="Arial"/>
              </a:rPr>
              <a:t>m</a:t>
            </a:r>
            <a:r>
              <a:rPr sz="1200" dirty="0">
                <a:latin typeface="Arial"/>
                <a:cs typeface="Arial"/>
              </a:rPr>
              <a:t>e</a:t>
            </a:r>
            <a:r>
              <a:rPr sz="1200" spc="4" dirty="0">
                <a:latin typeface="Arial"/>
                <a:cs typeface="Arial"/>
              </a:rPr>
              <a:t>n</a:t>
            </a:r>
            <a:r>
              <a:rPr sz="1200" dirty="0">
                <a:latin typeface="Arial"/>
                <a:cs typeface="Arial"/>
              </a:rPr>
              <a:t>t</a:t>
            </a:r>
            <a:endParaRPr sz="1200">
              <a:latin typeface="Arial"/>
              <a:cs typeface="Arial"/>
            </a:endParaRPr>
          </a:p>
          <a:p>
            <a:pPr marL="91440">
              <a:lnSpc>
                <a:spcPct val="95825"/>
              </a:lnSpc>
              <a:spcBef>
                <a:spcPts val="60"/>
              </a:spcBef>
            </a:pPr>
            <a:r>
              <a:rPr sz="1200" spc="4" dirty="0">
                <a:latin typeface="Arial"/>
                <a:cs typeface="Arial"/>
              </a:rPr>
              <a:t>d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endParaRPr sz="1200">
              <a:latin typeface="Arial"/>
              <a:cs typeface="Arial"/>
            </a:endParaRPr>
          </a:p>
        </p:txBody>
      </p:sp>
      <p:sp>
        <p:nvSpPr>
          <p:cNvPr id="3" name="object 3"/>
          <p:cNvSpPr txBox="1"/>
          <p:nvPr/>
        </p:nvSpPr>
        <p:spPr>
          <a:xfrm>
            <a:off x="3954527" y="5318760"/>
            <a:ext cx="1401699" cy="822960"/>
          </a:xfrm>
          <a:prstGeom prst="rect">
            <a:avLst/>
          </a:prstGeom>
        </p:spPr>
        <p:txBody>
          <a:bodyPr wrap="square" lIns="0" tIns="0" rIns="0" bIns="0" rtlCol="0">
            <a:noAutofit/>
          </a:bodyPr>
          <a:lstStyle/>
          <a:p>
            <a:pPr marL="91693">
              <a:lnSpc>
                <a:spcPct val="95825"/>
              </a:lnSpc>
              <a:spcBef>
                <a:spcPts val="335"/>
              </a:spcBef>
            </a:pPr>
            <a:r>
              <a:rPr sz="1200" dirty="0">
                <a:latin typeface="Arial"/>
                <a:cs typeface="Arial"/>
              </a:rPr>
              <a:t>Pre</a:t>
            </a:r>
            <a:r>
              <a:rPr sz="1200" spc="4" dirty="0">
                <a:latin typeface="Arial"/>
                <a:cs typeface="Arial"/>
              </a:rPr>
              <a:t>d</a:t>
            </a:r>
            <a:r>
              <a:rPr sz="1200" dirty="0">
                <a:latin typeface="Arial"/>
                <a:cs typeface="Arial"/>
              </a:rPr>
              <a:t>ec</a:t>
            </a:r>
            <a:r>
              <a:rPr sz="1200" spc="4" dirty="0">
                <a:latin typeface="Arial"/>
                <a:cs typeface="Arial"/>
              </a:rPr>
              <a:t>e</a:t>
            </a:r>
            <a:r>
              <a:rPr sz="1200" dirty="0">
                <a:latin typeface="Arial"/>
                <a:cs typeface="Arial"/>
              </a:rPr>
              <a:t>ss</a:t>
            </a:r>
            <a:r>
              <a:rPr sz="1200" spc="-9" dirty="0">
                <a:latin typeface="Arial"/>
                <a:cs typeface="Arial"/>
              </a:rPr>
              <a:t>o</a:t>
            </a:r>
            <a:r>
              <a:rPr sz="1200" dirty="0">
                <a:latin typeface="Arial"/>
                <a:cs typeface="Arial"/>
              </a:rPr>
              <a:t>r</a:t>
            </a:r>
            <a:r>
              <a:rPr sz="1200" spc="-50" dirty="0">
                <a:latin typeface="Arial"/>
                <a:cs typeface="Arial"/>
              </a:rPr>
              <a:t> </a:t>
            </a:r>
            <a:r>
              <a:rPr sz="1200" dirty="0">
                <a:latin typeface="Arial"/>
                <a:cs typeface="Arial"/>
              </a:rPr>
              <a:t>d</a:t>
            </a:r>
            <a:r>
              <a:rPr sz="1200" spc="4" dirty="0">
                <a:latin typeface="Arial"/>
                <a:cs typeface="Arial"/>
              </a:rPr>
              <a:t>a</a:t>
            </a:r>
            <a:r>
              <a:rPr sz="1200" dirty="0">
                <a:latin typeface="Arial"/>
                <a:cs typeface="Arial"/>
              </a:rPr>
              <a:t>ta</a:t>
            </a:r>
            <a:endParaRPr sz="1200">
              <a:latin typeface="Arial"/>
              <a:cs typeface="Arial"/>
            </a:endParaRPr>
          </a:p>
        </p:txBody>
      </p:sp>
      <p:sp>
        <p:nvSpPr>
          <p:cNvPr id="2" name="object 2"/>
          <p:cNvSpPr txBox="1"/>
          <p:nvPr/>
        </p:nvSpPr>
        <p:spPr>
          <a:xfrm>
            <a:off x="5356226" y="5318760"/>
            <a:ext cx="4625975" cy="822960"/>
          </a:xfrm>
          <a:prstGeom prst="rect">
            <a:avLst/>
          </a:prstGeom>
        </p:spPr>
        <p:txBody>
          <a:bodyPr wrap="square" lIns="0" tIns="0" rIns="0" bIns="0" rtlCol="0">
            <a:noAutofit/>
          </a:bodyPr>
          <a:lstStyle/>
          <a:p>
            <a:pPr marL="92075" marR="118493">
              <a:lnSpc>
                <a:spcPct val="99945"/>
              </a:lnSpc>
              <a:spcBef>
                <a:spcPts val="430"/>
              </a:spcBef>
            </a:pPr>
            <a:r>
              <a:rPr sz="1200" spc="9" dirty="0">
                <a:latin typeface="Arial"/>
                <a:cs typeface="Arial"/>
              </a:rPr>
              <a:t>T</a:t>
            </a:r>
            <a:r>
              <a:rPr sz="1200" dirty="0">
                <a:latin typeface="Arial"/>
                <a:cs typeface="Arial"/>
              </a:rPr>
              <a:t>he</a:t>
            </a:r>
            <a:r>
              <a:rPr sz="1200" spc="-24" dirty="0">
                <a:latin typeface="Arial"/>
                <a:cs typeface="Arial"/>
              </a:rPr>
              <a:t> </a:t>
            </a:r>
            <a:r>
              <a:rPr sz="1200" dirty="0">
                <a:latin typeface="Arial"/>
                <a:cs typeface="Arial"/>
              </a:rPr>
              <a:t>sta</a:t>
            </a:r>
            <a:r>
              <a:rPr sz="1200" spc="-9" dirty="0">
                <a:latin typeface="Arial"/>
                <a:cs typeface="Arial"/>
              </a:rPr>
              <a:t>g</a:t>
            </a:r>
            <a:r>
              <a:rPr sz="1200" dirty="0">
                <a:latin typeface="Arial"/>
                <a:cs typeface="Arial"/>
              </a:rPr>
              <a:t>e</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at</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proc</a:t>
            </a:r>
            <a:r>
              <a:rPr sz="1200" spc="4" dirty="0">
                <a:latin typeface="Arial"/>
                <a:cs typeface="Arial"/>
              </a:rPr>
              <a:t>e</a:t>
            </a:r>
            <a:r>
              <a:rPr sz="1200" dirty="0">
                <a:latin typeface="Arial"/>
                <a:cs typeface="Arial"/>
              </a:rPr>
              <a:t>ss</a:t>
            </a:r>
            <a:r>
              <a:rPr sz="1200" spc="-4" dirty="0">
                <a:latin typeface="Arial"/>
                <a:cs typeface="Arial"/>
              </a:rPr>
              <a:t>i</a:t>
            </a:r>
            <a:r>
              <a:rPr sz="1200" dirty="0">
                <a:latin typeface="Arial"/>
                <a:cs typeface="Arial"/>
              </a:rPr>
              <a:t>ng</a:t>
            </a:r>
            <a:r>
              <a:rPr sz="1200" spc="-24" dirty="0">
                <a:latin typeface="Arial"/>
                <a:cs typeface="Arial"/>
              </a:rPr>
              <a:t> </a:t>
            </a:r>
            <a:r>
              <a:rPr sz="1200" dirty="0">
                <a:latin typeface="Arial"/>
                <a:cs typeface="Arial"/>
              </a:rPr>
              <a:t>of</a:t>
            </a:r>
            <a:r>
              <a:rPr sz="1200" spc="-4" dirty="0">
                <a:latin typeface="Arial"/>
                <a:cs typeface="Arial"/>
              </a:rPr>
              <a:t> </a:t>
            </a:r>
            <a:r>
              <a:rPr sz="1200" dirty="0">
                <a:latin typeface="Arial"/>
                <a:cs typeface="Arial"/>
              </a:rPr>
              <a:t>a</a:t>
            </a:r>
            <a:r>
              <a:rPr sz="1200" spc="4" dirty="0">
                <a:latin typeface="Arial"/>
                <a:cs typeface="Arial"/>
              </a:rPr>
              <a:t> </a:t>
            </a:r>
            <a:r>
              <a:rPr sz="1200" dirty="0">
                <a:latin typeface="Arial"/>
                <a:cs typeface="Arial"/>
              </a:rPr>
              <a:t>d</a:t>
            </a:r>
            <a:r>
              <a:rPr sz="1200" spc="4" dirty="0">
                <a:latin typeface="Arial"/>
                <a:cs typeface="Arial"/>
              </a:rPr>
              <a:t>e</a:t>
            </a:r>
            <a:r>
              <a:rPr sz="1200" dirty="0">
                <a:latin typeface="Arial"/>
                <a:cs typeface="Arial"/>
              </a:rPr>
              <a:t>l</a:t>
            </a:r>
            <a:r>
              <a:rPr sz="1200" spc="-4" dirty="0">
                <a:latin typeface="Arial"/>
                <a:cs typeface="Arial"/>
              </a:rPr>
              <a:t>i</a:t>
            </a:r>
            <a:r>
              <a:rPr sz="1200" spc="-14" dirty="0">
                <a:latin typeface="Arial"/>
                <a:cs typeface="Arial"/>
              </a:rPr>
              <a:t>v</a:t>
            </a:r>
            <a:r>
              <a:rPr sz="1200" dirty="0">
                <a:latin typeface="Arial"/>
                <a:cs typeface="Arial"/>
              </a:rPr>
              <a:t>ery</a:t>
            </a:r>
            <a:r>
              <a:rPr sz="1200" spc="-24" dirty="0">
                <a:latin typeface="Arial"/>
                <a:cs typeface="Arial"/>
              </a:rPr>
              <a:t> </a:t>
            </a:r>
            <a:r>
              <a:rPr sz="1200" dirty="0">
                <a:latin typeface="Arial"/>
                <a:cs typeface="Arial"/>
              </a:rPr>
              <a:t>item h</a:t>
            </a:r>
            <a:r>
              <a:rPr sz="1200" spc="4" dirty="0">
                <a:latin typeface="Arial"/>
                <a:cs typeface="Arial"/>
              </a:rPr>
              <a:t>a</a:t>
            </a:r>
            <a:r>
              <a:rPr sz="1200" dirty="0">
                <a:latin typeface="Arial"/>
                <a:cs typeface="Arial"/>
              </a:rPr>
              <a:t>s</a:t>
            </a:r>
            <a:r>
              <a:rPr sz="1200" spc="-9" dirty="0">
                <a:latin typeface="Arial"/>
                <a:cs typeface="Arial"/>
              </a:rPr>
              <a:t> </a:t>
            </a:r>
            <a:r>
              <a:rPr sz="1200" spc="-4" dirty="0">
                <a:latin typeface="Arial"/>
                <a:cs typeface="Arial"/>
              </a:rPr>
              <a:t>r</a:t>
            </a:r>
            <a:r>
              <a:rPr sz="1200" dirty="0">
                <a:latin typeface="Arial"/>
                <a:cs typeface="Arial"/>
              </a:rPr>
              <a:t>e</a:t>
            </a:r>
            <a:r>
              <a:rPr sz="1200" spc="4" dirty="0">
                <a:latin typeface="Arial"/>
                <a:cs typeface="Arial"/>
              </a:rPr>
              <a:t>a</a:t>
            </a:r>
            <a:r>
              <a:rPr sz="1200" dirty="0">
                <a:latin typeface="Arial"/>
                <a:cs typeface="Arial"/>
              </a:rPr>
              <a:t>ch</a:t>
            </a:r>
            <a:r>
              <a:rPr sz="1200" spc="4" dirty="0">
                <a:latin typeface="Arial"/>
                <a:cs typeface="Arial"/>
              </a:rPr>
              <a:t>e</a:t>
            </a:r>
            <a:r>
              <a:rPr sz="1200" dirty="0">
                <a:latin typeface="Arial"/>
                <a:cs typeface="Arial"/>
              </a:rPr>
              <a:t>d</a:t>
            </a:r>
            <a:r>
              <a:rPr sz="1200" spc="-39" dirty="0">
                <a:latin typeface="Arial"/>
                <a:cs typeface="Arial"/>
              </a:rPr>
              <a:t> </a:t>
            </a:r>
            <a:r>
              <a:rPr sz="1200" dirty="0">
                <a:latin typeface="Arial"/>
                <a:cs typeface="Arial"/>
              </a:rPr>
              <a:t>is </a:t>
            </a:r>
            <a:r>
              <a:rPr sz="1200" spc="4" dirty="0">
                <a:latin typeface="Arial"/>
                <a:cs typeface="Arial"/>
              </a:rPr>
              <a:t>d</a:t>
            </a:r>
            <a:r>
              <a:rPr sz="1200" dirty="0">
                <a:latin typeface="Arial"/>
                <a:cs typeface="Arial"/>
              </a:rPr>
              <a:t>ispl</a:t>
            </a:r>
            <a:r>
              <a:rPr sz="1200" spc="4" dirty="0">
                <a:latin typeface="Arial"/>
                <a:cs typeface="Arial"/>
              </a:rPr>
              <a:t>a</a:t>
            </a:r>
            <a:r>
              <a:rPr sz="1200" spc="-9" dirty="0">
                <a:latin typeface="Arial"/>
                <a:cs typeface="Arial"/>
              </a:rPr>
              <a:t>y</a:t>
            </a:r>
            <a:r>
              <a:rPr sz="1200" spc="4" dirty="0">
                <a:latin typeface="Arial"/>
                <a:cs typeface="Arial"/>
              </a:rPr>
              <a:t>e</a:t>
            </a:r>
            <a:r>
              <a:rPr sz="1200" dirty="0">
                <a:latin typeface="Arial"/>
                <a:cs typeface="Arial"/>
              </a:rPr>
              <a:t>d</a:t>
            </a:r>
            <a:r>
              <a:rPr sz="1200" spc="-39" dirty="0">
                <a:latin typeface="Arial"/>
                <a:cs typeface="Arial"/>
              </a:rPr>
              <a:t> </a:t>
            </a:r>
            <a:r>
              <a:rPr sz="1200" spc="4" dirty="0">
                <a:latin typeface="Arial"/>
                <a:cs typeface="Arial"/>
              </a:rPr>
              <a:t>o</a:t>
            </a:r>
            <a:r>
              <a:rPr sz="1200" dirty="0">
                <a:latin typeface="Arial"/>
                <a:cs typeface="Arial"/>
              </a:rPr>
              <a:t>n</a:t>
            </a:r>
            <a:r>
              <a:rPr sz="1200" spc="-1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is sc</a:t>
            </a:r>
            <a:r>
              <a:rPr sz="1200" spc="-4" dirty="0">
                <a:latin typeface="Arial"/>
                <a:cs typeface="Arial"/>
              </a:rPr>
              <a:t>r</a:t>
            </a:r>
            <a:r>
              <a:rPr sz="1200" spc="4" dirty="0">
                <a:latin typeface="Arial"/>
                <a:cs typeface="Arial"/>
              </a:rPr>
              <a:t>een</a:t>
            </a:r>
            <a:r>
              <a:rPr sz="1200" dirty="0">
                <a:latin typeface="Arial"/>
                <a:cs typeface="Arial"/>
              </a:rPr>
              <a:t>.</a:t>
            </a:r>
            <a:r>
              <a:rPr sz="1200" spc="-39" dirty="0">
                <a:latin typeface="Arial"/>
                <a:cs typeface="Arial"/>
              </a:rPr>
              <a:t> </a:t>
            </a:r>
            <a:r>
              <a:rPr sz="1200" spc="-114" dirty="0">
                <a:latin typeface="Arial"/>
                <a:cs typeface="Arial"/>
              </a:rPr>
              <a:t>Y</a:t>
            </a:r>
            <a:r>
              <a:rPr sz="1200" spc="4" dirty="0">
                <a:latin typeface="Arial"/>
                <a:cs typeface="Arial"/>
              </a:rPr>
              <a:t>o</a:t>
            </a:r>
            <a:r>
              <a:rPr sz="1200" dirty="0">
                <a:latin typeface="Arial"/>
                <a:cs typeface="Arial"/>
              </a:rPr>
              <a:t>u</a:t>
            </a:r>
            <a:r>
              <a:rPr sz="1200" spc="-4" dirty="0">
                <a:latin typeface="Arial"/>
                <a:cs typeface="Arial"/>
              </a:rPr>
              <a:t> </a:t>
            </a:r>
            <a:r>
              <a:rPr sz="1200" spc="-14" dirty="0">
                <a:latin typeface="Arial"/>
                <a:cs typeface="Arial"/>
              </a:rPr>
              <a:t>w</a:t>
            </a:r>
            <a:r>
              <a:rPr sz="1200" dirty="0">
                <a:latin typeface="Arial"/>
                <a:cs typeface="Arial"/>
              </a:rPr>
              <a:t>i</a:t>
            </a:r>
            <a:r>
              <a:rPr sz="1200" spc="-4" dirty="0">
                <a:latin typeface="Arial"/>
                <a:cs typeface="Arial"/>
              </a:rPr>
              <a:t>l</a:t>
            </a:r>
            <a:r>
              <a:rPr sz="1200" dirty="0">
                <a:latin typeface="Arial"/>
                <a:cs typeface="Arial"/>
              </a:rPr>
              <a:t>l</a:t>
            </a:r>
            <a:r>
              <a:rPr sz="1200" spc="9" dirty="0">
                <a:latin typeface="Arial"/>
                <a:cs typeface="Arial"/>
              </a:rPr>
              <a:t> </a:t>
            </a:r>
            <a:r>
              <a:rPr sz="1200" spc="14" dirty="0">
                <a:latin typeface="Arial"/>
                <a:cs typeface="Arial"/>
              </a:rPr>
              <a:t>f</a:t>
            </a:r>
            <a:r>
              <a:rPr sz="1200" dirty="0">
                <a:latin typeface="Arial"/>
                <a:cs typeface="Arial"/>
              </a:rPr>
              <a:t>ind</a:t>
            </a:r>
            <a:r>
              <a:rPr sz="1200" spc="-2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in</a:t>
            </a:r>
            <a:r>
              <a:rPr sz="1200" spc="14" dirty="0">
                <a:latin typeface="Arial"/>
                <a:cs typeface="Arial"/>
              </a:rPr>
              <a:t>f</a:t>
            </a:r>
            <a:r>
              <a:rPr sz="1200" spc="4" dirty="0">
                <a:latin typeface="Arial"/>
                <a:cs typeface="Arial"/>
              </a:rPr>
              <a:t>o</a:t>
            </a:r>
            <a:r>
              <a:rPr sz="1200" dirty="0">
                <a:latin typeface="Arial"/>
                <a:cs typeface="Arial"/>
              </a:rPr>
              <a:t>r</a:t>
            </a:r>
            <a:r>
              <a:rPr sz="1200" spc="4" dirty="0">
                <a:latin typeface="Arial"/>
                <a:cs typeface="Arial"/>
              </a:rPr>
              <a:t>ma</a:t>
            </a:r>
            <a:r>
              <a:rPr sz="1200" dirty="0">
                <a:latin typeface="Arial"/>
                <a:cs typeface="Arial"/>
              </a:rPr>
              <a:t>ti</a:t>
            </a:r>
            <a:r>
              <a:rPr sz="1200" spc="4" dirty="0">
                <a:latin typeface="Arial"/>
                <a:cs typeface="Arial"/>
              </a:rPr>
              <a:t>o</a:t>
            </a:r>
            <a:r>
              <a:rPr sz="1200" dirty="0">
                <a:latin typeface="Arial"/>
                <a:cs typeface="Arial"/>
              </a:rPr>
              <a:t>n</a:t>
            </a:r>
            <a:r>
              <a:rPr sz="1200" spc="-49" dirty="0">
                <a:latin typeface="Arial"/>
                <a:cs typeface="Arial"/>
              </a:rPr>
              <a:t> </a:t>
            </a:r>
            <a:r>
              <a:rPr sz="1200" dirty="0">
                <a:latin typeface="Arial"/>
                <a:cs typeface="Arial"/>
              </a:rPr>
              <a:t>s</a:t>
            </a:r>
            <a:r>
              <a:rPr sz="1200" spc="4" dirty="0">
                <a:latin typeface="Arial"/>
                <a:cs typeface="Arial"/>
              </a:rPr>
              <a:t>u</a:t>
            </a:r>
            <a:r>
              <a:rPr sz="1200" dirty="0">
                <a:latin typeface="Arial"/>
                <a:cs typeface="Arial"/>
              </a:rPr>
              <a:t>ch</a:t>
            </a:r>
            <a:r>
              <a:rPr sz="1200" spc="-14" dirty="0">
                <a:latin typeface="Arial"/>
                <a:cs typeface="Arial"/>
              </a:rPr>
              <a:t> </a:t>
            </a:r>
            <a:r>
              <a:rPr sz="1200" spc="4" dirty="0">
                <a:latin typeface="Arial"/>
                <a:cs typeface="Arial"/>
              </a:rPr>
              <a:t>a</a:t>
            </a:r>
            <a:r>
              <a:rPr sz="1200" dirty="0">
                <a:latin typeface="Arial"/>
                <a:cs typeface="Arial"/>
              </a:rPr>
              <a:t>s </a:t>
            </a:r>
            <a:r>
              <a:rPr sz="1200" spc="4" dirty="0">
                <a:latin typeface="Arial"/>
                <a:cs typeface="Arial"/>
              </a:rPr>
              <a:t>th</a:t>
            </a:r>
            <a:r>
              <a:rPr sz="1200" dirty="0">
                <a:latin typeface="Arial"/>
                <a:cs typeface="Arial"/>
              </a:rPr>
              <a:t>e </a:t>
            </a:r>
            <a:r>
              <a:rPr sz="1200" spc="4" dirty="0">
                <a:latin typeface="Arial"/>
                <a:cs typeface="Arial"/>
              </a:rPr>
              <a:t>o</a:t>
            </a:r>
            <a:r>
              <a:rPr sz="1200" dirty="0">
                <a:latin typeface="Arial"/>
                <a:cs typeface="Arial"/>
              </a:rPr>
              <a:t>rd</a:t>
            </a:r>
            <a:r>
              <a:rPr sz="1200" spc="4" dirty="0">
                <a:latin typeface="Arial"/>
                <a:cs typeface="Arial"/>
              </a:rPr>
              <a:t>e</a:t>
            </a:r>
            <a:r>
              <a:rPr sz="1200" dirty="0">
                <a:latin typeface="Arial"/>
                <a:cs typeface="Arial"/>
              </a:rPr>
              <a:t>r</a:t>
            </a:r>
            <a:r>
              <a:rPr sz="1200" spc="-34" dirty="0">
                <a:latin typeface="Arial"/>
                <a:cs typeface="Arial"/>
              </a:rPr>
              <a:t> </a:t>
            </a:r>
            <a:r>
              <a:rPr sz="1200" spc="4" dirty="0">
                <a:latin typeface="Arial"/>
                <a:cs typeface="Arial"/>
              </a:rPr>
              <a:t>numbe</a:t>
            </a:r>
            <a:r>
              <a:rPr sz="1200" spc="-64" dirty="0">
                <a:latin typeface="Arial"/>
                <a:cs typeface="Arial"/>
              </a:rPr>
              <a:t>r</a:t>
            </a:r>
            <a:r>
              <a:rPr sz="1200" dirty="0">
                <a:latin typeface="Arial"/>
                <a:cs typeface="Arial"/>
              </a:rPr>
              <a:t>,</a:t>
            </a:r>
            <a:r>
              <a:rPr sz="1200" spc="-2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spc="4" dirty="0">
                <a:latin typeface="Arial"/>
                <a:cs typeface="Arial"/>
              </a:rPr>
              <a:t>ope</a:t>
            </a:r>
            <a:r>
              <a:rPr sz="1200" dirty="0">
                <a:latin typeface="Arial"/>
                <a:cs typeface="Arial"/>
              </a:rPr>
              <a:t>n</a:t>
            </a:r>
            <a:r>
              <a:rPr sz="1200" spc="-29" dirty="0">
                <a:latin typeface="Arial"/>
                <a:cs typeface="Arial"/>
              </a:rPr>
              <a:t> </a:t>
            </a:r>
            <a:r>
              <a:rPr sz="1200" spc="4" dirty="0">
                <a:latin typeface="Arial"/>
                <a:cs typeface="Arial"/>
              </a:rPr>
              <a:t>o</a:t>
            </a:r>
            <a:r>
              <a:rPr sz="1200" dirty="0">
                <a:latin typeface="Arial"/>
                <a:cs typeface="Arial"/>
              </a:rPr>
              <a:t>rd</a:t>
            </a:r>
            <a:r>
              <a:rPr sz="1200" spc="4" dirty="0">
                <a:latin typeface="Arial"/>
                <a:cs typeface="Arial"/>
              </a:rPr>
              <a:t>e</a:t>
            </a:r>
            <a:r>
              <a:rPr sz="1200" dirty="0">
                <a:latin typeface="Arial"/>
                <a:cs typeface="Arial"/>
              </a:rPr>
              <a:t>r</a:t>
            </a:r>
            <a:r>
              <a:rPr sz="1200" spc="-9" dirty="0">
                <a:latin typeface="Arial"/>
                <a:cs typeface="Arial"/>
              </a:rPr>
              <a:t> </a:t>
            </a:r>
            <a:r>
              <a:rPr sz="1200" spc="-4" dirty="0">
                <a:latin typeface="Arial"/>
                <a:cs typeface="Arial"/>
              </a:rPr>
              <a:t>q</a:t>
            </a:r>
            <a:r>
              <a:rPr sz="1200" spc="4" dirty="0">
                <a:latin typeface="Arial"/>
                <a:cs typeface="Arial"/>
              </a:rPr>
              <a:t>uan</a:t>
            </a:r>
            <a:r>
              <a:rPr sz="1200" dirty="0">
                <a:latin typeface="Arial"/>
                <a:cs typeface="Arial"/>
              </a:rPr>
              <a:t>tity</a:t>
            </a:r>
            <a:r>
              <a:rPr sz="1200" spc="-19" dirty="0">
                <a:latin typeface="Arial"/>
                <a:cs typeface="Arial"/>
              </a:rPr>
              <a:t> </a:t>
            </a:r>
            <a:r>
              <a:rPr sz="1200" spc="4" dirty="0">
                <a:latin typeface="Arial"/>
                <a:cs typeface="Arial"/>
              </a:rPr>
              <a:t>an</a:t>
            </a:r>
            <a:r>
              <a:rPr sz="1200" dirty="0">
                <a:latin typeface="Arial"/>
                <a:cs typeface="Arial"/>
              </a:rPr>
              <a:t>d</a:t>
            </a:r>
            <a:r>
              <a:rPr sz="1200" spc="-1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spc="-4" dirty="0">
                <a:latin typeface="Arial"/>
                <a:cs typeface="Arial"/>
              </a:rPr>
              <a:t>q</a:t>
            </a:r>
            <a:r>
              <a:rPr sz="1200" spc="4" dirty="0">
                <a:latin typeface="Arial"/>
                <a:cs typeface="Arial"/>
              </a:rPr>
              <a:t>uan</a:t>
            </a:r>
            <a:r>
              <a:rPr sz="1200" dirty="0">
                <a:latin typeface="Arial"/>
                <a:cs typeface="Arial"/>
              </a:rPr>
              <a:t>tity</a:t>
            </a:r>
            <a:r>
              <a:rPr sz="1200" spc="-19" dirty="0">
                <a:latin typeface="Arial"/>
                <a:cs typeface="Arial"/>
              </a:rPr>
              <a:t> </a:t>
            </a:r>
            <a:r>
              <a:rPr sz="1200" spc="-14" dirty="0">
                <a:latin typeface="Arial"/>
                <a:cs typeface="Arial"/>
              </a:rPr>
              <a:t>w</a:t>
            </a:r>
            <a:r>
              <a:rPr sz="1200" spc="4" dirty="0">
                <a:latin typeface="Arial"/>
                <a:cs typeface="Arial"/>
              </a:rPr>
              <a:t>h</a:t>
            </a:r>
            <a:r>
              <a:rPr sz="1200" dirty="0">
                <a:latin typeface="Arial"/>
                <a:cs typeface="Arial"/>
              </a:rPr>
              <a:t>ich</a:t>
            </a:r>
            <a:r>
              <a:rPr sz="1200" spc="4" dirty="0">
                <a:latin typeface="Arial"/>
                <a:cs typeface="Arial"/>
              </a:rPr>
              <a:t> ha</a:t>
            </a:r>
            <a:r>
              <a:rPr sz="1200" dirty="0">
                <a:latin typeface="Arial"/>
                <a:cs typeface="Arial"/>
              </a:rPr>
              <a:t>s </a:t>
            </a:r>
            <a:r>
              <a:rPr sz="1200" spc="4" dirty="0">
                <a:latin typeface="Arial"/>
                <a:cs typeface="Arial"/>
              </a:rPr>
              <a:t>a</a:t>
            </a:r>
            <a:r>
              <a:rPr sz="1200" dirty="0">
                <a:latin typeface="Arial"/>
                <a:cs typeface="Arial"/>
              </a:rPr>
              <a:t>l</a:t>
            </a:r>
            <a:r>
              <a:rPr sz="1200" spc="-4" dirty="0">
                <a:latin typeface="Arial"/>
                <a:cs typeface="Arial"/>
              </a:rPr>
              <a:t>r</a:t>
            </a:r>
            <a:r>
              <a:rPr sz="1200" spc="4" dirty="0">
                <a:latin typeface="Arial"/>
                <a:cs typeface="Arial"/>
              </a:rPr>
              <a:t>ead</a:t>
            </a:r>
            <a:r>
              <a:rPr sz="1200" dirty="0">
                <a:latin typeface="Arial"/>
                <a:cs typeface="Arial"/>
              </a:rPr>
              <a:t>y</a:t>
            </a:r>
            <a:r>
              <a:rPr sz="1200" spc="-44" dirty="0">
                <a:latin typeface="Arial"/>
                <a:cs typeface="Arial"/>
              </a:rPr>
              <a:t> </a:t>
            </a:r>
            <a:r>
              <a:rPr sz="1200" spc="4" dirty="0">
                <a:latin typeface="Arial"/>
                <a:cs typeface="Arial"/>
              </a:rPr>
              <a:t>bee</a:t>
            </a:r>
            <a:r>
              <a:rPr sz="1200" dirty="0">
                <a:latin typeface="Arial"/>
                <a:cs typeface="Arial"/>
              </a:rPr>
              <a:t>n</a:t>
            </a:r>
            <a:r>
              <a:rPr sz="1200" spc="-29" dirty="0">
                <a:latin typeface="Arial"/>
                <a:cs typeface="Arial"/>
              </a:rPr>
              <a:t>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ed</a:t>
            </a:r>
            <a:endParaRPr sz="1200">
              <a:latin typeface="Arial"/>
              <a:cs typeface="Arial"/>
            </a:endParaRPr>
          </a:p>
        </p:txBody>
      </p:sp>
      <p:sp>
        <p:nvSpPr>
          <p:cNvPr id="29" name="Title 28"/>
          <p:cNvSpPr>
            <a:spLocks noGrp="1"/>
          </p:cNvSpPr>
          <p:nvPr>
            <p:ph type="title"/>
          </p:nvPr>
        </p:nvSpPr>
        <p:spPr>
          <a:xfrm>
            <a:off x="1802934" y="304800"/>
            <a:ext cx="8509933" cy="859536"/>
          </a:xfrm>
        </p:spPr>
        <p:txBody>
          <a:bodyPr/>
          <a:lstStyle/>
          <a:p>
            <a:r>
              <a:rPr lang="en-US" sz="2400" dirty="0">
                <a:latin typeface="+mn-lt"/>
                <a:cs typeface="Arial"/>
              </a:rPr>
              <a:t>Delive</a:t>
            </a:r>
            <a:r>
              <a:rPr lang="en-US" sz="2400" spc="14" dirty="0">
                <a:latin typeface="+mn-lt"/>
                <a:cs typeface="Arial"/>
              </a:rPr>
              <a:t>r</a:t>
            </a:r>
            <a:r>
              <a:rPr lang="en-US" sz="2400" dirty="0">
                <a:latin typeface="+mn-lt"/>
                <a:cs typeface="Arial"/>
              </a:rPr>
              <a:t>y Item Views</a:t>
            </a:r>
            <a:br>
              <a:rPr lang="en-US" sz="2800" dirty="0">
                <a:latin typeface="Arial"/>
                <a:cs typeface="Arial"/>
              </a:rPr>
            </a:b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bject 28"/>
          <p:cNvSpPr/>
          <p:nvPr/>
        </p:nvSpPr>
        <p:spPr>
          <a:xfrm>
            <a:off x="1752600" y="1143000"/>
            <a:ext cx="2373376" cy="457200"/>
          </a:xfrm>
          <a:custGeom>
            <a:avLst/>
            <a:gdLst/>
            <a:ahLst/>
            <a:cxnLst/>
            <a:rect l="l" t="t" r="r" b="b"/>
            <a:pathLst>
              <a:path w="2373376" h="457200">
                <a:moveTo>
                  <a:pt x="0" y="457200"/>
                </a:moveTo>
                <a:lnTo>
                  <a:pt x="2373376" y="457200"/>
                </a:lnTo>
                <a:lnTo>
                  <a:pt x="2373376" y="0"/>
                </a:lnTo>
                <a:lnTo>
                  <a:pt x="0" y="0"/>
                </a:lnTo>
                <a:lnTo>
                  <a:pt x="0" y="457200"/>
                </a:lnTo>
                <a:close/>
              </a:path>
            </a:pathLst>
          </a:custGeom>
          <a:solidFill>
            <a:srgbClr val="CCFFCC"/>
          </a:solidFill>
        </p:spPr>
        <p:txBody>
          <a:bodyPr wrap="square" lIns="0" tIns="0" rIns="0" bIns="0" rtlCol="0">
            <a:noAutofit/>
          </a:bodyPr>
          <a:lstStyle/>
          <a:p>
            <a:endParaRPr/>
          </a:p>
        </p:txBody>
      </p:sp>
      <p:sp>
        <p:nvSpPr>
          <p:cNvPr id="29" name="object 29"/>
          <p:cNvSpPr/>
          <p:nvPr/>
        </p:nvSpPr>
        <p:spPr>
          <a:xfrm>
            <a:off x="4125976" y="1143000"/>
            <a:ext cx="6161024" cy="457200"/>
          </a:xfrm>
          <a:custGeom>
            <a:avLst/>
            <a:gdLst/>
            <a:ahLst/>
            <a:cxnLst/>
            <a:rect l="l" t="t" r="r" b="b"/>
            <a:pathLst>
              <a:path w="6161024" h="457200">
                <a:moveTo>
                  <a:pt x="0" y="457200"/>
                </a:moveTo>
                <a:lnTo>
                  <a:pt x="6161024" y="457200"/>
                </a:lnTo>
                <a:lnTo>
                  <a:pt x="6161024" y="0"/>
                </a:lnTo>
                <a:lnTo>
                  <a:pt x="0" y="0"/>
                </a:lnTo>
                <a:lnTo>
                  <a:pt x="0" y="457200"/>
                </a:lnTo>
                <a:close/>
              </a:path>
            </a:pathLst>
          </a:custGeom>
          <a:solidFill>
            <a:srgbClr val="FFCC99"/>
          </a:solidFill>
        </p:spPr>
        <p:txBody>
          <a:bodyPr wrap="square" lIns="0" tIns="0" rIns="0" bIns="0" rtlCol="0">
            <a:noAutofit/>
          </a:bodyPr>
          <a:lstStyle/>
          <a:p>
            <a:endParaRPr/>
          </a:p>
        </p:txBody>
      </p:sp>
      <p:sp>
        <p:nvSpPr>
          <p:cNvPr id="30" name="object 30"/>
          <p:cNvSpPr/>
          <p:nvPr/>
        </p:nvSpPr>
        <p:spPr>
          <a:xfrm>
            <a:off x="1752600" y="1600200"/>
            <a:ext cx="2373376" cy="457200"/>
          </a:xfrm>
          <a:custGeom>
            <a:avLst/>
            <a:gdLst/>
            <a:ahLst/>
            <a:cxnLst/>
            <a:rect l="l" t="t" r="r" b="b"/>
            <a:pathLst>
              <a:path w="2373376" h="457200">
                <a:moveTo>
                  <a:pt x="0" y="457200"/>
                </a:moveTo>
                <a:lnTo>
                  <a:pt x="2373376" y="457200"/>
                </a:lnTo>
                <a:lnTo>
                  <a:pt x="2373376" y="0"/>
                </a:lnTo>
                <a:lnTo>
                  <a:pt x="0" y="0"/>
                </a:lnTo>
                <a:lnTo>
                  <a:pt x="0" y="457200"/>
                </a:lnTo>
                <a:close/>
              </a:path>
            </a:pathLst>
          </a:custGeom>
          <a:solidFill>
            <a:srgbClr val="CCFFCC"/>
          </a:solidFill>
        </p:spPr>
        <p:txBody>
          <a:bodyPr wrap="square" lIns="0" tIns="0" rIns="0" bIns="0" rtlCol="0">
            <a:noAutofit/>
          </a:bodyPr>
          <a:lstStyle/>
          <a:p>
            <a:endParaRPr/>
          </a:p>
        </p:txBody>
      </p:sp>
      <p:sp>
        <p:nvSpPr>
          <p:cNvPr id="31" name="object 31"/>
          <p:cNvSpPr/>
          <p:nvPr/>
        </p:nvSpPr>
        <p:spPr>
          <a:xfrm>
            <a:off x="4125976" y="1600200"/>
            <a:ext cx="6161024" cy="457200"/>
          </a:xfrm>
          <a:custGeom>
            <a:avLst/>
            <a:gdLst/>
            <a:ahLst/>
            <a:cxnLst/>
            <a:rect l="l" t="t" r="r" b="b"/>
            <a:pathLst>
              <a:path w="6161024" h="457200">
                <a:moveTo>
                  <a:pt x="0" y="457200"/>
                </a:moveTo>
                <a:lnTo>
                  <a:pt x="6161024" y="457200"/>
                </a:lnTo>
                <a:lnTo>
                  <a:pt x="6161024" y="0"/>
                </a:lnTo>
                <a:lnTo>
                  <a:pt x="0" y="0"/>
                </a:lnTo>
                <a:lnTo>
                  <a:pt x="0" y="457200"/>
                </a:lnTo>
                <a:close/>
              </a:path>
            </a:pathLst>
          </a:custGeom>
          <a:solidFill>
            <a:srgbClr val="FFCC99"/>
          </a:solidFill>
        </p:spPr>
        <p:txBody>
          <a:bodyPr wrap="square" lIns="0" tIns="0" rIns="0" bIns="0" rtlCol="0">
            <a:noAutofit/>
          </a:bodyPr>
          <a:lstStyle/>
          <a:p>
            <a:endParaRPr/>
          </a:p>
        </p:txBody>
      </p:sp>
      <p:sp>
        <p:nvSpPr>
          <p:cNvPr id="32" name="object 32"/>
          <p:cNvSpPr/>
          <p:nvPr/>
        </p:nvSpPr>
        <p:spPr>
          <a:xfrm>
            <a:off x="1752600" y="2057400"/>
            <a:ext cx="2373376" cy="457200"/>
          </a:xfrm>
          <a:custGeom>
            <a:avLst/>
            <a:gdLst/>
            <a:ahLst/>
            <a:cxnLst/>
            <a:rect l="l" t="t" r="r" b="b"/>
            <a:pathLst>
              <a:path w="2373376" h="457200">
                <a:moveTo>
                  <a:pt x="0" y="457200"/>
                </a:moveTo>
                <a:lnTo>
                  <a:pt x="2373376" y="457200"/>
                </a:lnTo>
                <a:lnTo>
                  <a:pt x="2373376" y="0"/>
                </a:lnTo>
                <a:lnTo>
                  <a:pt x="0" y="0"/>
                </a:lnTo>
                <a:lnTo>
                  <a:pt x="0" y="457200"/>
                </a:lnTo>
                <a:close/>
              </a:path>
            </a:pathLst>
          </a:custGeom>
          <a:solidFill>
            <a:srgbClr val="CCFFCC"/>
          </a:solidFill>
        </p:spPr>
        <p:txBody>
          <a:bodyPr wrap="square" lIns="0" tIns="0" rIns="0" bIns="0" rtlCol="0">
            <a:noAutofit/>
          </a:bodyPr>
          <a:lstStyle/>
          <a:p>
            <a:endParaRPr/>
          </a:p>
        </p:txBody>
      </p:sp>
      <p:sp>
        <p:nvSpPr>
          <p:cNvPr id="33" name="object 33"/>
          <p:cNvSpPr/>
          <p:nvPr/>
        </p:nvSpPr>
        <p:spPr>
          <a:xfrm>
            <a:off x="4125976" y="2057400"/>
            <a:ext cx="6161024" cy="457200"/>
          </a:xfrm>
          <a:custGeom>
            <a:avLst/>
            <a:gdLst/>
            <a:ahLst/>
            <a:cxnLst/>
            <a:rect l="l" t="t" r="r" b="b"/>
            <a:pathLst>
              <a:path w="6161024" h="457200">
                <a:moveTo>
                  <a:pt x="0" y="457200"/>
                </a:moveTo>
                <a:lnTo>
                  <a:pt x="6161024" y="457200"/>
                </a:lnTo>
                <a:lnTo>
                  <a:pt x="6161024" y="0"/>
                </a:lnTo>
                <a:lnTo>
                  <a:pt x="0" y="0"/>
                </a:lnTo>
                <a:lnTo>
                  <a:pt x="0" y="457200"/>
                </a:lnTo>
                <a:close/>
              </a:path>
            </a:pathLst>
          </a:custGeom>
          <a:solidFill>
            <a:srgbClr val="FFCC99"/>
          </a:solidFill>
        </p:spPr>
        <p:txBody>
          <a:bodyPr wrap="square" lIns="0" tIns="0" rIns="0" bIns="0" rtlCol="0">
            <a:noAutofit/>
          </a:bodyPr>
          <a:lstStyle/>
          <a:p>
            <a:endParaRPr/>
          </a:p>
        </p:txBody>
      </p:sp>
      <p:sp>
        <p:nvSpPr>
          <p:cNvPr id="34" name="object 34"/>
          <p:cNvSpPr/>
          <p:nvPr/>
        </p:nvSpPr>
        <p:spPr>
          <a:xfrm>
            <a:off x="1752600" y="2514600"/>
            <a:ext cx="2373376" cy="457200"/>
          </a:xfrm>
          <a:custGeom>
            <a:avLst/>
            <a:gdLst/>
            <a:ahLst/>
            <a:cxnLst/>
            <a:rect l="l" t="t" r="r" b="b"/>
            <a:pathLst>
              <a:path w="2373376" h="457200">
                <a:moveTo>
                  <a:pt x="0" y="457200"/>
                </a:moveTo>
                <a:lnTo>
                  <a:pt x="2373376" y="457200"/>
                </a:lnTo>
                <a:lnTo>
                  <a:pt x="2373376" y="0"/>
                </a:lnTo>
                <a:lnTo>
                  <a:pt x="0" y="0"/>
                </a:lnTo>
                <a:lnTo>
                  <a:pt x="0" y="457200"/>
                </a:lnTo>
                <a:close/>
              </a:path>
            </a:pathLst>
          </a:custGeom>
          <a:solidFill>
            <a:srgbClr val="CCFFCC"/>
          </a:solidFill>
        </p:spPr>
        <p:txBody>
          <a:bodyPr wrap="square" lIns="0" tIns="0" rIns="0" bIns="0" rtlCol="0">
            <a:noAutofit/>
          </a:bodyPr>
          <a:lstStyle/>
          <a:p>
            <a:endParaRPr/>
          </a:p>
        </p:txBody>
      </p:sp>
      <p:sp>
        <p:nvSpPr>
          <p:cNvPr id="35" name="object 35"/>
          <p:cNvSpPr/>
          <p:nvPr/>
        </p:nvSpPr>
        <p:spPr>
          <a:xfrm>
            <a:off x="4125976" y="2514600"/>
            <a:ext cx="6161024" cy="457200"/>
          </a:xfrm>
          <a:custGeom>
            <a:avLst/>
            <a:gdLst/>
            <a:ahLst/>
            <a:cxnLst/>
            <a:rect l="l" t="t" r="r" b="b"/>
            <a:pathLst>
              <a:path w="6161024" h="457200">
                <a:moveTo>
                  <a:pt x="0" y="457200"/>
                </a:moveTo>
                <a:lnTo>
                  <a:pt x="6161024" y="457200"/>
                </a:lnTo>
                <a:lnTo>
                  <a:pt x="6161024" y="0"/>
                </a:lnTo>
                <a:lnTo>
                  <a:pt x="0" y="0"/>
                </a:lnTo>
                <a:lnTo>
                  <a:pt x="0" y="457200"/>
                </a:lnTo>
                <a:close/>
              </a:path>
            </a:pathLst>
          </a:custGeom>
          <a:solidFill>
            <a:srgbClr val="FFCC99"/>
          </a:solidFill>
        </p:spPr>
        <p:txBody>
          <a:bodyPr wrap="square" lIns="0" tIns="0" rIns="0" bIns="0" rtlCol="0">
            <a:noAutofit/>
          </a:bodyPr>
          <a:lstStyle/>
          <a:p>
            <a:endParaRPr/>
          </a:p>
        </p:txBody>
      </p:sp>
      <p:sp>
        <p:nvSpPr>
          <p:cNvPr id="36" name="object 36"/>
          <p:cNvSpPr/>
          <p:nvPr/>
        </p:nvSpPr>
        <p:spPr>
          <a:xfrm>
            <a:off x="1752600" y="2971800"/>
            <a:ext cx="2373376" cy="640080"/>
          </a:xfrm>
          <a:custGeom>
            <a:avLst/>
            <a:gdLst/>
            <a:ahLst/>
            <a:cxnLst/>
            <a:rect l="l" t="t" r="r" b="b"/>
            <a:pathLst>
              <a:path w="2373376" h="640079">
                <a:moveTo>
                  <a:pt x="0" y="640080"/>
                </a:moveTo>
                <a:lnTo>
                  <a:pt x="2373376" y="640080"/>
                </a:lnTo>
                <a:lnTo>
                  <a:pt x="2373376" y="0"/>
                </a:lnTo>
                <a:lnTo>
                  <a:pt x="0" y="0"/>
                </a:lnTo>
                <a:lnTo>
                  <a:pt x="0" y="640080"/>
                </a:lnTo>
                <a:close/>
              </a:path>
            </a:pathLst>
          </a:custGeom>
          <a:solidFill>
            <a:srgbClr val="CCFFCC"/>
          </a:solidFill>
        </p:spPr>
        <p:txBody>
          <a:bodyPr wrap="square" lIns="0" tIns="0" rIns="0" bIns="0" rtlCol="0">
            <a:noAutofit/>
          </a:bodyPr>
          <a:lstStyle/>
          <a:p>
            <a:endParaRPr/>
          </a:p>
        </p:txBody>
      </p:sp>
      <p:sp>
        <p:nvSpPr>
          <p:cNvPr id="37" name="object 37"/>
          <p:cNvSpPr/>
          <p:nvPr/>
        </p:nvSpPr>
        <p:spPr>
          <a:xfrm>
            <a:off x="4125976" y="2971800"/>
            <a:ext cx="6161024" cy="640080"/>
          </a:xfrm>
          <a:custGeom>
            <a:avLst/>
            <a:gdLst/>
            <a:ahLst/>
            <a:cxnLst/>
            <a:rect l="l" t="t" r="r" b="b"/>
            <a:pathLst>
              <a:path w="6161024" h="640079">
                <a:moveTo>
                  <a:pt x="0" y="640080"/>
                </a:moveTo>
                <a:lnTo>
                  <a:pt x="6161024" y="640080"/>
                </a:lnTo>
                <a:lnTo>
                  <a:pt x="6161024" y="0"/>
                </a:lnTo>
                <a:lnTo>
                  <a:pt x="0" y="0"/>
                </a:lnTo>
                <a:lnTo>
                  <a:pt x="0" y="640080"/>
                </a:lnTo>
                <a:close/>
              </a:path>
            </a:pathLst>
          </a:custGeom>
          <a:solidFill>
            <a:srgbClr val="FFCC99"/>
          </a:solidFill>
        </p:spPr>
        <p:txBody>
          <a:bodyPr wrap="square" lIns="0" tIns="0" rIns="0" bIns="0" rtlCol="0">
            <a:noAutofit/>
          </a:bodyPr>
          <a:lstStyle/>
          <a:p>
            <a:endParaRPr/>
          </a:p>
        </p:txBody>
      </p:sp>
      <p:sp>
        <p:nvSpPr>
          <p:cNvPr id="38" name="object 38"/>
          <p:cNvSpPr/>
          <p:nvPr/>
        </p:nvSpPr>
        <p:spPr>
          <a:xfrm>
            <a:off x="1752600" y="3611879"/>
            <a:ext cx="2373376" cy="457200"/>
          </a:xfrm>
          <a:custGeom>
            <a:avLst/>
            <a:gdLst/>
            <a:ahLst/>
            <a:cxnLst/>
            <a:rect l="l" t="t" r="r" b="b"/>
            <a:pathLst>
              <a:path w="2373376" h="457200">
                <a:moveTo>
                  <a:pt x="0" y="457200"/>
                </a:moveTo>
                <a:lnTo>
                  <a:pt x="2373376" y="457200"/>
                </a:lnTo>
                <a:lnTo>
                  <a:pt x="2373376" y="0"/>
                </a:lnTo>
                <a:lnTo>
                  <a:pt x="0" y="0"/>
                </a:lnTo>
                <a:lnTo>
                  <a:pt x="0" y="457200"/>
                </a:lnTo>
                <a:close/>
              </a:path>
            </a:pathLst>
          </a:custGeom>
          <a:solidFill>
            <a:srgbClr val="CCFFCC"/>
          </a:solidFill>
        </p:spPr>
        <p:txBody>
          <a:bodyPr wrap="square" lIns="0" tIns="0" rIns="0" bIns="0" rtlCol="0">
            <a:noAutofit/>
          </a:bodyPr>
          <a:lstStyle/>
          <a:p>
            <a:endParaRPr/>
          </a:p>
        </p:txBody>
      </p:sp>
      <p:sp>
        <p:nvSpPr>
          <p:cNvPr id="39" name="object 39"/>
          <p:cNvSpPr/>
          <p:nvPr/>
        </p:nvSpPr>
        <p:spPr>
          <a:xfrm>
            <a:off x="4125976" y="3611879"/>
            <a:ext cx="6161024" cy="457200"/>
          </a:xfrm>
          <a:custGeom>
            <a:avLst/>
            <a:gdLst/>
            <a:ahLst/>
            <a:cxnLst/>
            <a:rect l="l" t="t" r="r" b="b"/>
            <a:pathLst>
              <a:path w="6161024" h="457200">
                <a:moveTo>
                  <a:pt x="0" y="457200"/>
                </a:moveTo>
                <a:lnTo>
                  <a:pt x="6161024" y="457200"/>
                </a:lnTo>
                <a:lnTo>
                  <a:pt x="6161024" y="0"/>
                </a:lnTo>
                <a:lnTo>
                  <a:pt x="0" y="0"/>
                </a:lnTo>
                <a:lnTo>
                  <a:pt x="0" y="457200"/>
                </a:lnTo>
                <a:close/>
              </a:path>
            </a:pathLst>
          </a:custGeom>
          <a:solidFill>
            <a:srgbClr val="FFCC99"/>
          </a:solidFill>
        </p:spPr>
        <p:txBody>
          <a:bodyPr wrap="square" lIns="0" tIns="0" rIns="0" bIns="0" rtlCol="0">
            <a:noAutofit/>
          </a:bodyPr>
          <a:lstStyle/>
          <a:p>
            <a:endParaRPr/>
          </a:p>
        </p:txBody>
      </p:sp>
      <p:sp>
        <p:nvSpPr>
          <p:cNvPr id="40" name="object 40"/>
          <p:cNvSpPr/>
          <p:nvPr/>
        </p:nvSpPr>
        <p:spPr>
          <a:xfrm>
            <a:off x="1752600" y="4069079"/>
            <a:ext cx="2373376" cy="457200"/>
          </a:xfrm>
          <a:custGeom>
            <a:avLst/>
            <a:gdLst/>
            <a:ahLst/>
            <a:cxnLst/>
            <a:rect l="l" t="t" r="r" b="b"/>
            <a:pathLst>
              <a:path w="2373376" h="457200">
                <a:moveTo>
                  <a:pt x="0" y="457200"/>
                </a:moveTo>
                <a:lnTo>
                  <a:pt x="2373376" y="457200"/>
                </a:lnTo>
                <a:lnTo>
                  <a:pt x="2373376" y="0"/>
                </a:lnTo>
                <a:lnTo>
                  <a:pt x="0" y="0"/>
                </a:lnTo>
                <a:lnTo>
                  <a:pt x="0" y="457200"/>
                </a:lnTo>
                <a:close/>
              </a:path>
            </a:pathLst>
          </a:custGeom>
          <a:solidFill>
            <a:srgbClr val="CCFFCC"/>
          </a:solidFill>
        </p:spPr>
        <p:txBody>
          <a:bodyPr wrap="square" lIns="0" tIns="0" rIns="0" bIns="0" rtlCol="0">
            <a:noAutofit/>
          </a:bodyPr>
          <a:lstStyle/>
          <a:p>
            <a:endParaRPr/>
          </a:p>
        </p:txBody>
      </p:sp>
      <p:sp>
        <p:nvSpPr>
          <p:cNvPr id="41" name="object 41"/>
          <p:cNvSpPr/>
          <p:nvPr/>
        </p:nvSpPr>
        <p:spPr>
          <a:xfrm>
            <a:off x="4125976" y="4069079"/>
            <a:ext cx="6161024" cy="457200"/>
          </a:xfrm>
          <a:custGeom>
            <a:avLst/>
            <a:gdLst/>
            <a:ahLst/>
            <a:cxnLst/>
            <a:rect l="l" t="t" r="r" b="b"/>
            <a:pathLst>
              <a:path w="6161024" h="457200">
                <a:moveTo>
                  <a:pt x="0" y="457200"/>
                </a:moveTo>
                <a:lnTo>
                  <a:pt x="6161024" y="457200"/>
                </a:lnTo>
                <a:lnTo>
                  <a:pt x="6161024" y="0"/>
                </a:lnTo>
                <a:lnTo>
                  <a:pt x="0" y="0"/>
                </a:lnTo>
                <a:lnTo>
                  <a:pt x="0" y="457200"/>
                </a:lnTo>
                <a:close/>
              </a:path>
            </a:pathLst>
          </a:custGeom>
          <a:solidFill>
            <a:srgbClr val="FFCC99"/>
          </a:solidFill>
        </p:spPr>
        <p:txBody>
          <a:bodyPr wrap="square" lIns="0" tIns="0" rIns="0" bIns="0" rtlCol="0">
            <a:noAutofit/>
          </a:bodyPr>
          <a:lstStyle/>
          <a:p>
            <a:endParaRPr/>
          </a:p>
        </p:txBody>
      </p:sp>
      <p:sp>
        <p:nvSpPr>
          <p:cNvPr id="42" name="object 42"/>
          <p:cNvSpPr/>
          <p:nvPr/>
        </p:nvSpPr>
        <p:spPr>
          <a:xfrm>
            <a:off x="1752600" y="4526280"/>
            <a:ext cx="2373376" cy="822960"/>
          </a:xfrm>
          <a:custGeom>
            <a:avLst/>
            <a:gdLst/>
            <a:ahLst/>
            <a:cxnLst/>
            <a:rect l="l" t="t" r="r" b="b"/>
            <a:pathLst>
              <a:path w="2373376" h="822960">
                <a:moveTo>
                  <a:pt x="0" y="822960"/>
                </a:moveTo>
                <a:lnTo>
                  <a:pt x="2373376" y="822960"/>
                </a:lnTo>
                <a:lnTo>
                  <a:pt x="2373376" y="0"/>
                </a:lnTo>
                <a:lnTo>
                  <a:pt x="0" y="0"/>
                </a:lnTo>
                <a:lnTo>
                  <a:pt x="0" y="822960"/>
                </a:lnTo>
                <a:close/>
              </a:path>
            </a:pathLst>
          </a:custGeom>
          <a:solidFill>
            <a:srgbClr val="CCFFCC"/>
          </a:solidFill>
        </p:spPr>
        <p:txBody>
          <a:bodyPr wrap="square" lIns="0" tIns="0" rIns="0" bIns="0" rtlCol="0">
            <a:noAutofit/>
          </a:bodyPr>
          <a:lstStyle/>
          <a:p>
            <a:endParaRPr/>
          </a:p>
        </p:txBody>
      </p:sp>
      <p:sp>
        <p:nvSpPr>
          <p:cNvPr id="43" name="object 43"/>
          <p:cNvSpPr/>
          <p:nvPr/>
        </p:nvSpPr>
        <p:spPr>
          <a:xfrm>
            <a:off x="4125976" y="4526280"/>
            <a:ext cx="6161024" cy="822960"/>
          </a:xfrm>
          <a:custGeom>
            <a:avLst/>
            <a:gdLst/>
            <a:ahLst/>
            <a:cxnLst/>
            <a:rect l="l" t="t" r="r" b="b"/>
            <a:pathLst>
              <a:path w="6161024" h="822960">
                <a:moveTo>
                  <a:pt x="0" y="822960"/>
                </a:moveTo>
                <a:lnTo>
                  <a:pt x="6161024" y="822960"/>
                </a:lnTo>
                <a:lnTo>
                  <a:pt x="6161024" y="0"/>
                </a:lnTo>
                <a:lnTo>
                  <a:pt x="0" y="0"/>
                </a:lnTo>
                <a:lnTo>
                  <a:pt x="0" y="822960"/>
                </a:lnTo>
                <a:close/>
              </a:path>
            </a:pathLst>
          </a:custGeom>
          <a:solidFill>
            <a:srgbClr val="FFCC99"/>
          </a:solidFill>
        </p:spPr>
        <p:txBody>
          <a:bodyPr wrap="square" lIns="0" tIns="0" rIns="0" bIns="0" rtlCol="0">
            <a:noAutofit/>
          </a:bodyPr>
          <a:lstStyle/>
          <a:p>
            <a:endParaRPr/>
          </a:p>
        </p:txBody>
      </p:sp>
      <p:sp>
        <p:nvSpPr>
          <p:cNvPr id="44" name="object 44"/>
          <p:cNvSpPr/>
          <p:nvPr/>
        </p:nvSpPr>
        <p:spPr>
          <a:xfrm>
            <a:off x="1752600" y="5349240"/>
            <a:ext cx="2373376" cy="457200"/>
          </a:xfrm>
          <a:custGeom>
            <a:avLst/>
            <a:gdLst/>
            <a:ahLst/>
            <a:cxnLst/>
            <a:rect l="l" t="t" r="r" b="b"/>
            <a:pathLst>
              <a:path w="2373376" h="457200">
                <a:moveTo>
                  <a:pt x="0" y="457200"/>
                </a:moveTo>
                <a:lnTo>
                  <a:pt x="2373376" y="457200"/>
                </a:lnTo>
                <a:lnTo>
                  <a:pt x="2373376" y="0"/>
                </a:lnTo>
                <a:lnTo>
                  <a:pt x="0" y="0"/>
                </a:lnTo>
                <a:lnTo>
                  <a:pt x="0" y="457200"/>
                </a:lnTo>
                <a:close/>
              </a:path>
            </a:pathLst>
          </a:custGeom>
          <a:solidFill>
            <a:srgbClr val="CCFFCC"/>
          </a:solidFill>
        </p:spPr>
        <p:txBody>
          <a:bodyPr wrap="square" lIns="0" tIns="0" rIns="0" bIns="0" rtlCol="0">
            <a:noAutofit/>
          </a:bodyPr>
          <a:lstStyle/>
          <a:p>
            <a:endParaRPr/>
          </a:p>
        </p:txBody>
      </p:sp>
      <p:sp>
        <p:nvSpPr>
          <p:cNvPr id="45" name="object 45"/>
          <p:cNvSpPr/>
          <p:nvPr/>
        </p:nvSpPr>
        <p:spPr>
          <a:xfrm>
            <a:off x="4125976" y="5349240"/>
            <a:ext cx="6161024" cy="457200"/>
          </a:xfrm>
          <a:custGeom>
            <a:avLst/>
            <a:gdLst/>
            <a:ahLst/>
            <a:cxnLst/>
            <a:rect l="l" t="t" r="r" b="b"/>
            <a:pathLst>
              <a:path w="6161024" h="457200">
                <a:moveTo>
                  <a:pt x="0" y="457200"/>
                </a:moveTo>
                <a:lnTo>
                  <a:pt x="6161024" y="457200"/>
                </a:lnTo>
                <a:lnTo>
                  <a:pt x="6161024" y="0"/>
                </a:lnTo>
                <a:lnTo>
                  <a:pt x="0" y="0"/>
                </a:lnTo>
                <a:lnTo>
                  <a:pt x="0" y="457200"/>
                </a:lnTo>
                <a:close/>
              </a:path>
            </a:pathLst>
          </a:custGeom>
          <a:solidFill>
            <a:srgbClr val="FFCC99"/>
          </a:solidFill>
        </p:spPr>
        <p:txBody>
          <a:bodyPr wrap="square" lIns="0" tIns="0" rIns="0" bIns="0" rtlCol="0">
            <a:noAutofit/>
          </a:bodyPr>
          <a:lstStyle/>
          <a:p>
            <a:endParaRPr/>
          </a:p>
        </p:txBody>
      </p:sp>
      <p:sp>
        <p:nvSpPr>
          <p:cNvPr id="46" name="object 46"/>
          <p:cNvSpPr/>
          <p:nvPr/>
        </p:nvSpPr>
        <p:spPr>
          <a:xfrm>
            <a:off x="1752600" y="5806440"/>
            <a:ext cx="2373376" cy="457200"/>
          </a:xfrm>
          <a:custGeom>
            <a:avLst/>
            <a:gdLst/>
            <a:ahLst/>
            <a:cxnLst/>
            <a:rect l="l" t="t" r="r" b="b"/>
            <a:pathLst>
              <a:path w="2373376" h="457200">
                <a:moveTo>
                  <a:pt x="0" y="457200"/>
                </a:moveTo>
                <a:lnTo>
                  <a:pt x="2373376" y="457200"/>
                </a:lnTo>
                <a:lnTo>
                  <a:pt x="2373376" y="0"/>
                </a:lnTo>
                <a:lnTo>
                  <a:pt x="0" y="0"/>
                </a:lnTo>
                <a:lnTo>
                  <a:pt x="0" y="457200"/>
                </a:lnTo>
                <a:close/>
              </a:path>
            </a:pathLst>
          </a:custGeom>
          <a:solidFill>
            <a:srgbClr val="CCFFCC"/>
          </a:solidFill>
        </p:spPr>
        <p:txBody>
          <a:bodyPr wrap="square" lIns="0" tIns="0" rIns="0" bIns="0" rtlCol="0">
            <a:noAutofit/>
          </a:bodyPr>
          <a:lstStyle/>
          <a:p>
            <a:endParaRPr/>
          </a:p>
        </p:txBody>
      </p:sp>
      <p:sp>
        <p:nvSpPr>
          <p:cNvPr id="47" name="object 47"/>
          <p:cNvSpPr/>
          <p:nvPr/>
        </p:nvSpPr>
        <p:spPr>
          <a:xfrm>
            <a:off x="4125976" y="5806440"/>
            <a:ext cx="6161024" cy="457200"/>
          </a:xfrm>
          <a:custGeom>
            <a:avLst/>
            <a:gdLst/>
            <a:ahLst/>
            <a:cxnLst/>
            <a:rect l="l" t="t" r="r" b="b"/>
            <a:pathLst>
              <a:path w="6161024" h="457200">
                <a:moveTo>
                  <a:pt x="0" y="457200"/>
                </a:moveTo>
                <a:lnTo>
                  <a:pt x="6161024" y="457200"/>
                </a:lnTo>
                <a:lnTo>
                  <a:pt x="6161024" y="0"/>
                </a:lnTo>
                <a:lnTo>
                  <a:pt x="0" y="0"/>
                </a:lnTo>
                <a:lnTo>
                  <a:pt x="0" y="457200"/>
                </a:lnTo>
                <a:close/>
              </a:path>
            </a:pathLst>
          </a:custGeom>
          <a:solidFill>
            <a:srgbClr val="FFCC99"/>
          </a:solidFill>
        </p:spPr>
        <p:txBody>
          <a:bodyPr wrap="square" lIns="0" tIns="0" rIns="0" bIns="0" rtlCol="0">
            <a:noAutofit/>
          </a:bodyPr>
          <a:lstStyle/>
          <a:p>
            <a:endParaRPr/>
          </a:p>
        </p:txBody>
      </p:sp>
      <p:sp>
        <p:nvSpPr>
          <p:cNvPr id="48" name="object 48"/>
          <p:cNvSpPr/>
          <p:nvPr/>
        </p:nvSpPr>
        <p:spPr>
          <a:xfrm>
            <a:off x="4125976" y="1136650"/>
            <a:ext cx="0" cy="5133340"/>
          </a:xfrm>
          <a:custGeom>
            <a:avLst/>
            <a:gdLst/>
            <a:ahLst/>
            <a:cxnLst/>
            <a:rect l="l" t="t" r="r" b="b"/>
            <a:pathLst>
              <a:path h="5133340">
                <a:moveTo>
                  <a:pt x="0" y="0"/>
                </a:moveTo>
                <a:lnTo>
                  <a:pt x="0" y="5133340"/>
                </a:lnTo>
              </a:path>
            </a:pathLst>
          </a:custGeom>
          <a:ln w="12700">
            <a:solidFill>
              <a:srgbClr val="000000"/>
            </a:solidFill>
          </a:ln>
        </p:spPr>
        <p:txBody>
          <a:bodyPr wrap="square" lIns="0" tIns="0" rIns="0" bIns="0" rtlCol="0">
            <a:noAutofit/>
          </a:bodyPr>
          <a:lstStyle/>
          <a:p>
            <a:endParaRPr/>
          </a:p>
        </p:txBody>
      </p:sp>
      <p:sp>
        <p:nvSpPr>
          <p:cNvPr id="49" name="object 49"/>
          <p:cNvSpPr/>
          <p:nvPr/>
        </p:nvSpPr>
        <p:spPr>
          <a:xfrm>
            <a:off x="1746250" y="1600200"/>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50" name="object 50"/>
          <p:cNvSpPr/>
          <p:nvPr/>
        </p:nvSpPr>
        <p:spPr>
          <a:xfrm>
            <a:off x="1746250" y="2057400"/>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51" name="object 51"/>
          <p:cNvSpPr/>
          <p:nvPr/>
        </p:nvSpPr>
        <p:spPr>
          <a:xfrm>
            <a:off x="1746250" y="2514600"/>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52" name="object 52"/>
          <p:cNvSpPr/>
          <p:nvPr/>
        </p:nvSpPr>
        <p:spPr>
          <a:xfrm>
            <a:off x="1746250" y="2971800"/>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53" name="object 53"/>
          <p:cNvSpPr/>
          <p:nvPr/>
        </p:nvSpPr>
        <p:spPr>
          <a:xfrm>
            <a:off x="1746250" y="3611879"/>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54" name="object 54"/>
          <p:cNvSpPr/>
          <p:nvPr/>
        </p:nvSpPr>
        <p:spPr>
          <a:xfrm>
            <a:off x="1746250" y="4069079"/>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55" name="object 55"/>
          <p:cNvSpPr/>
          <p:nvPr/>
        </p:nvSpPr>
        <p:spPr>
          <a:xfrm>
            <a:off x="1746250" y="4526280"/>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56" name="object 56"/>
          <p:cNvSpPr/>
          <p:nvPr/>
        </p:nvSpPr>
        <p:spPr>
          <a:xfrm>
            <a:off x="1746250" y="5349240"/>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57" name="object 57"/>
          <p:cNvSpPr/>
          <p:nvPr/>
        </p:nvSpPr>
        <p:spPr>
          <a:xfrm>
            <a:off x="1746250" y="5806440"/>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58" name="object 58"/>
          <p:cNvSpPr/>
          <p:nvPr/>
        </p:nvSpPr>
        <p:spPr>
          <a:xfrm>
            <a:off x="1752600" y="1136650"/>
            <a:ext cx="0" cy="5133340"/>
          </a:xfrm>
          <a:custGeom>
            <a:avLst/>
            <a:gdLst/>
            <a:ahLst/>
            <a:cxnLst/>
            <a:rect l="l" t="t" r="r" b="b"/>
            <a:pathLst>
              <a:path h="5133340">
                <a:moveTo>
                  <a:pt x="0" y="0"/>
                </a:moveTo>
                <a:lnTo>
                  <a:pt x="0" y="5133340"/>
                </a:lnTo>
              </a:path>
            </a:pathLst>
          </a:custGeom>
          <a:ln w="12700">
            <a:solidFill>
              <a:srgbClr val="000000"/>
            </a:solidFill>
          </a:ln>
        </p:spPr>
        <p:txBody>
          <a:bodyPr wrap="square" lIns="0" tIns="0" rIns="0" bIns="0" rtlCol="0">
            <a:noAutofit/>
          </a:bodyPr>
          <a:lstStyle/>
          <a:p>
            <a:endParaRPr/>
          </a:p>
        </p:txBody>
      </p:sp>
      <p:sp>
        <p:nvSpPr>
          <p:cNvPr id="59" name="object 59"/>
          <p:cNvSpPr/>
          <p:nvPr/>
        </p:nvSpPr>
        <p:spPr>
          <a:xfrm>
            <a:off x="10287000" y="1136650"/>
            <a:ext cx="0" cy="5133340"/>
          </a:xfrm>
          <a:custGeom>
            <a:avLst/>
            <a:gdLst/>
            <a:ahLst/>
            <a:cxnLst/>
            <a:rect l="l" t="t" r="r" b="b"/>
            <a:pathLst>
              <a:path h="5133340">
                <a:moveTo>
                  <a:pt x="0" y="0"/>
                </a:moveTo>
                <a:lnTo>
                  <a:pt x="0" y="5133340"/>
                </a:lnTo>
              </a:path>
            </a:pathLst>
          </a:custGeom>
          <a:ln w="12700">
            <a:solidFill>
              <a:srgbClr val="000000"/>
            </a:solidFill>
          </a:ln>
        </p:spPr>
        <p:txBody>
          <a:bodyPr wrap="square" lIns="0" tIns="0" rIns="0" bIns="0" rtlCol="0">
            <a:noAutofit/>
          </a:bodyPr>
          <a:lstStyle/>
          <a:p>
            <a:endParaRPr/>
          </a:p>
        </p:txBody>
      </p:sp>
      <p:sp>
        <p:nvSpPr>
          <p:cNvPr id="60" name="object 60"/>
          <p:cNvSpPr/>
          <p:nvPr/>
        </p:nvSpPr>
        <p:spPr>
          <a:xfrm>
            <a:off x="1746250" y="1143000"/>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61" name="object 61"/>
          <p:cNvSpPr/>
          <p:nvPr/>
        </p:nvSpPr>
        <p:spPr>
          <a:xfrm>
            <a:off x="1746250" y="6263640"/>
            <a:ext cx="8547100" cy="0"/>
          </a:xfrm>
          <a:custGeom>
            <a:avLst/>
            <a:gdLst/>
            <a:ahLst/>
            <a:cxnLst/>
            <a:rect l="l" t="t" r="r" b="b"/>
            <a:pathLst>
              <a:path w="8547100">
                <a:moveTo>
                  <a:pt x="0" y="0"/>
                </a:moveTo>
                <a:lnTo>
                  <a:pt x="8547100" y="0"/>
                </a:lnTo>
              </a:path>
            </a:pathLst>
          </a:custGeom>
          <a:ln w="12700">
            <a:solidFill>
              <a:srgbClr val="000000"/>
            </a:solidFill>
          </a:ln>
        </p:spPr>
        <p:txBody>
          <a:bodyPr wrap="square" lIns="0" tIns="0" rIns="0" bIns="0" rtlCol="0">
            <a:noAutofit/>
          </a:bodyPr>
          <a:lstStyle/>
          <a:p>
            <a:endParaRPr/>
          </a:p>
        </p:txBody>
      </p:sp>
      <p:sp>
        <p:nvSpPr>
          <p:cNvPr id="21" name="object 21"/>
          <p:cNvSpPr txBox="1"/>
          <p:nvPr/>
        </p:nvSpPr>
        <p:spPr>
          <a:xfrm>
            <a:off x="1752600" y="1143000"/>
            <a:ext cx="2373376" cy="457200"/>
          </a:xfrm>
          <a:prstGeom prst="rect">
            <a:avLst/>
          </a:prstGeom>
        </p:spPr>
        <p:txBody>
          <a:bodyPr wrap="square" lIns="0" tIns="0" rIns="0" bIns="0" rtlCol="0">
            <a:noAutofit/>
          </a:bodyPr>
          <a:lstStyle/>
          <a:p>
            <a:pPr marL="91439">
              <a:lnSpc>
                <a:spcPct val="95825"/>
              </a:lnSpc>
              <a:spcBef>
                <a:spcPts val="400"/>
              </a:spcBef>
            </a:pPr>
            <a:r>
              <a:rPr sz="1400" b="1" dirty="0">
                <a:latin typeface="Arial"/>
                <a:cs typeface="Arial"/>
              </a:rPr>
              <a:t>Options</a:t>
            </a:r>
            <a:r>
              <a:rPr sz="1400" b="1" spc="4" dirty="0">
                <a:latin typeface="Arial"/>
                <a:cs typeface="Arial"/>
              </a:rPr>
              <a:t> </a:t>
            </a:r>
            <a:r>
              <a:rPr sz="1400" b="1" dirty="0">
                <a:latin typeface="Arial"/>
                <a:cs typeface="Arial"/>
              </a:rPr>
              <a:t>in</a:t>
            </a:r>
            <a:r>
              <a:rPr sz="1400" b="1" spc="14" dirty="0">
                <a:latin typeface="Arial"/>
                <a:cs typeface="Arial"/>
              </a:rPr>
              <a:t> </a:t>
            </a:r>
            <a:r>
              <a:rPr sz="1400" b="1" spc="-4" dirty="0">
                <a:latin typeface="Arial"/>
                <a:cs typeface="Arial"/>
              </a:rPr>
              <a:t>M</a:t>
            </a:r>
            <a:r>
              <a:rPr sz="1400" b="1" spc="4" dirty="0">
                <a:latin typeface="Arial"/>
                <a:cs typeface="Arial"/>
              </a:rPr>
              <a:t>a</a:t>
            </a:r>
            <a:r>
              <a:rPr sz="1400" b="1" dirty="0">
                <a:latin typeface="Arial"/>
                <a:cs typeface="Arial"/>
              </a:rPr>
              <a:t>ter</a:t>
            </a:r>
            <a:r>
              <a:rPr sz="1400" b="1" spc="4" dirty="0">
                <a:latin typeface="Arial"/>
                <a:cs typeface="Arial"/>
              </a:rPr>
              <a:t>ia</a:t>
            </a:r>
            <a:r>
              <a:rPr sz="1400" b="1" dirty="0">
                <a:latin typeface="Arial"/>
                <a:cs typeface="Arial"/>
              </a:rPr>
              <a:t>l</a:t>
            </a:r>
            <a:r>
              <a:rPr sz="1400" b="1" spc="-19" dirty="0">
                <a:latin typeface="Arial"/>
                <a:cs typeface="Arial"/>
              </a:rPr>
              <a:t> </a:t>
            </a:r>
            <a:r>
              <a:rPr sz="1400" b="1" spc="-4" dirty="0">
                <a:latin typeface="Arial"/>
                <a:cs typeface="Arial"/>
              </a:rPr>
              <a:t>M</a:t>
            </a:r>
            <a:r>
              <a:rPr sz="1400" b="1" spc="4" dirty="0">
                <a:latin typeface="Arial"/>
                <a:cs typeface="Arial"/>
              </a:rPr>
              <a:t>as</a:t>
            </a:r>
            <a:r>
              <a:rPr sz="1400" b="1" dirty="0">
                <a:latin typeface="Arial"/>
                <a:cs typeface="Arial"/>
              </a:rPr>
              <a:t>ter</a:t>
            </a:r>
          </a:p>
          <a:p>
            <a:pPr marL="91439">
              <a:lnSpc>
                <a:spcPct val="95825"/>
              </a:lnSpc>
              <a:spcBef>
                <a:spcPts val="60"/>
              </a:spcBef>
            </a:pPr>
            <a:r>
              <a:rPr sz="1400" b="1" dirty="0">
                <a:latin typeface="Arial"/>
                <a:cs typeface="Arial"/>
              </a:rPr>
              <a:t>Data</a:t>
            </a:r>
          </a:p>
        </p:txBody>
      </p:sp>
      <p:sp>
        <p:nvSpPr>
          <p:cNvPr id="20" name="object 20"/>
          <p:cNvSpPr txBox="1"/>
          <p:nvPr/>
        </p:nvSpPr>
        <p:spPr>
          <a:xfrm>
            <a:off x="4125976" y="1143000"/>
            <a:ext cx="6465824" cy="457200"/>
          </a:xfrm>
          <a:prstGeom prst="rect">
            <a:avLst/>
          </a:prstGeom>
        </p:spPr>
        <p:txBody>
          <a:bodyPr wrap="square" lIns="0" tIns="0" rIns="0" bIns="0" rtlCol="0">
            <a:noAutofit/>
          </a:bodyPr>
          <a:lstStyle/>
          <a:p>
            <a:pPr marL="2750820" marR="2751886" algn="ctr">
              <a:lnSpc>
                <a:spcPct val="95825"/>
              </a:lnSpc>
              <a:spcBef>
                <a:spcPts val="400"/>
              </a:spcBef>
            </a:pPr>
            <a:r>
              <a:rPr sz="1400" b="1" dirty="0">
                <a:latin typeface="Arial"/>
                <a:cs typeface="Arial"/>
              </a:rPr>
              <a:t>Purpose</a:t>
            </a:r>
            <a:endParaRPr sz="1400" dirty="0">
              <a:latin typeface="Arial"/>
              <a:cs typeface="Arial"/>
            </a:endParaRPr>
          </a:p>
        </p:txBody>
      </p:sp>
      <p:sp>
        <p:nvSpPr>
          <p:cNvPr id="19" name="object 19"/>
          <p:cNvSpPr txBox="1"/>
          <p:nvPr/>
        </p:nvSpPr>
        <p:spPr>
          <a:xfrm>
            <a:off x="1752600" y="1600200"/>
            <a:ext cx="2373376" cy="457200"/>
          </a:xfrm>
          <a:prstGeom prst="rect">
            <a:avLst/>
          </a:prstGeom>
        </p:spPr>
        <p:txBody>
          <a:bodyPr wrap="square" lIns="0" tIns="0" rIns="0" bIns="0" rtlCol="0">
            <a:noAutofit/>
          </a:bodyPr>
          <a:lstStyle/>
          <a:p>
            <a:pPr marL="91439">
              <a:lnSpc>
                <a:spcPct val="95825"/>
              </a:lnSpc>
              <a:spcBef>
                <a:spcPts val="400"/>
              </a:spcBef>
            </a:pPr>
            <a:r>
              <a:rPr sz="1200" dirty="0">
                <a:latin typeface="Arial"/>
                <a:cs typeface="Arial"/>
              </a:rPr>
              <a:t>E</a:t>
            </a:r>
            <a:r>
              <a:rPr sz="1200" spc="4" dirty="0">
                <a:latin typeface="Arial"/>
                <a:cs typeface="Arial"/>
              </a:rPr>
              <a:t>n</a:t>
            </a:r>
            <a:r>
              <a:rPr sz="1200" spc="-9" dirty="0">
                <a:latin typeface="Arial"/>
                <a:cs typeface="Arial"/>
              </a:rPr>
              <a:t>v</a:t>
            </a:r>
            <a:r>
              <a:rPr sz="1200" dirty="0">
                <a:latin typeface="Arial"/>
                <a:cs typeface="Arial"/>
              </a:rPr>
              <a:t>i</a:t>
            </a:r>
            <a:r>
              <a:rPr sz="1200" spc="-4" dirty="0">
                <a:latin typeface="Arial"/>
                <a:cs typeface="Arial"/>
              </a:rPr>
              <a:t>r</a:t>
            </a:r>
            <a:r>
              <a:rPr sz="1200" spc="4" dirty="0">
                <a:latin typeface="Arial"/>
                <a:cs typeface="Arial"/>
              </a:rPr>
              <a:t>onme</a:t>
            </a:r>
            <a:r>
              <a:rPr sz="1200" spc="-4" dirty="0">
                <a:latin typeface="Arial"/>
                <a:cs typeface="Arial"/>
              </a:rPr>
              <a:t>n</a:t>
            </a:r>
            <a:r>
              <a:rPr sz="1200" dirty="0">
                <a:latin typeface="Arial"/>
                <a:cs typeface="Arial"/>
              </a:rPr>
              <a:t>t</a:t>
            </a:r>
            <a:r>
              <a:rPr sz="1200" spc="-29" dirty="0">
                <a:latin typeface="Arial"/>
                <a:cs typeface="Arial"/>
              </a:rPr>
              <a:t> </a:t>
            </a:r>
            <a:r>
              <a:rPr sz="1200" spc="-4" dirty="0">
                <a:latin typeface="Arial"/>
                <a:cs typeface="Arial"/>
              </a:rPr>
              <a:t>-</a:t>
            </a:r>
            <a:r>
              <a:rPr sz="1200" dirty="0">
                <a:latin typeface="Arial"/>
                <a:cs typeface="Arial"/>
              </a:rPr>
              <a:t>&gt;</a:t>
            </a:r>
            <a:r>
              <a:rPr sz="1200" spc="9" dirty="0">
                <a:latin typeface="Arial"/>
                <a:cs typeface="Arial"/>
              </a:rPr>
              <a:t> </a:t>
            </a:r>
            <a:r>
              <a:rPr sz="1200" dirty="0">
                <a:latin typeface="Arial"/>
                <a:cs typeface="Arial"/>
              </a:rPr>
              <a:t>S</a:t>
            </a:r>
            <a:r>
              <a:rPr sz="1200" spc="4" dirty="0">
                <a:latin typeface="Arial"/>
                <a:cs typeface="Arial"/>
              </a:rPr>
              <a:t>h</a:t>
            </a:r>
            <a:r>
              <a:rPr sz="1200" dirty="0">
                <a:latin typeface="Arial"/>
                <a:cs typeface="Arial"/>
              </a:rPr>
              <a:t>ip</a:t>
            </a:r>
            <a:r>
              <a:rPr sz="1200" spc="-19" dirty="0">
                <a:latin typeface="Arial"/>
                <a:cs typeface="Arial"/>
              </a:rPr>
              <a:t> </a:t>
            </a:r>
            <a:r>
              <a:rPr sz="1200" dirty="0">
                <a:latin typeface="Arial"/>
                <a:cs typeface="Arial"/>
              </a:rPr>
              <a:t>to</a:t>
            </a:r>
            <a:r>
              <a:rPr sz="1200" spc="4" dirty="0">
                <a:latin typeface="Arial"/>
                <a:cs typeface="Arial"/>
              </a:rPr>
              <a:t> Pa</a:t>
            </a:r>
            <a:r>
              <a:rPr sz="1200" dirty="0">
                <a:latin typeface="Arial"/>
                <a:cs typeface="Arial"/>
              </a:rPr>
              <a:t>rty</a:t>
            </a:r>
          </a:p>
        </p:txBody>
      </p:sp>
      <p:sp>
        <p:nvSpPr>
          <p:cNvPr id="18" name="object 18"/>
          <p:cNvSpPr txBox="1"/>
          <p:nvPr/>
        </p:nvSpPr>
        <p:spPr>
          <a:xfrm>
            <a:off x="4125976" y="1600200"/>
            <a:ext cx="6161024" cy="457200"/>
          </a:xfrm>
          <a:prstGeom prst="rect">
            <a:avLst/>
          </a:prstGeom>
        </p:spPr>
        <p:txBody>
          <a:bodyPr wrap="square" lIns="0" tIns="0" rIns="0" bIns="0" rtlCol="0">
            <a:noAutofit/>
          </a:bodyPr>
          <a:lstStyle/>
          <a:p>
            <a:pPr marL="91821" marR="545848">
              <a:lnSpc>
                <a:spcPct val="100041"/>
              </a:lnSpc>
              <a:spcBef>
                <a:spcPts val="400"/>
              </a:spcBef>
            </a:pPr>
            <a:r>
              <a:rPr sz="1200" dirty="0">
                <a:latin typeface="Arial"/>
                <a:cs typeface="Arial"/>
              </a:rPr>
              <a:t>S</a:t>
            </a:r>
            <a:r>
              <a:rPr sz="1200" spc="4" dirty="0">
                <a:latin typeface="Arial"/>
                <a:cs typeface="Arial"/>
              </a:rPr>
              <a:t>h</a:t>
            </a:r>
            <a:r>
              <a:rPr sz="1200" dirty="0">
                <a:latin typeface="Arial"/>
                <a:cs typeface="Arial"/>
              </a:rPr>
              <a:t>ip</a:t>
            </a:r>
            <a:r>
              <a:rPr sz="1200" spc="-29" dirty="0">
                <a:latin typeface="Arial"/>
                <a:cs typeface="Arial"/>
              </a:rPr>
              <a:t> </a:t>
            </a:r>
            <a:r>
              <a:rPr sz="1200" dirty="0">
                <a:latin typeface="Arial"/>
                <a:cs typeface="Arial"/>
              </a:rPr>
              <a:t>to</a:t>
            </a:r>
            <a:r>
              <a:rPr sz="1200" spc="4" dirty="0">
                <a:latin typeface="Arial"/>
                <a:cs typeface="Arial"/>
              </a:rPr>
              <a:t> pa</a:t>
            </a:r>
            <a:r>
              <a:rPr sz="1200" dirty="0">
                <a:latin typeface="Arial"/>
                <a:cs typeface="Arial"/>
              </a:rPr>
              <a:t>rty</a:t>
            </a:r>
            <a:r>
              <a:rPr sz="1200" spc="-9" dirty="0">
                <a:latin typeface="Arial"/>
                <a:cs typeface="Arial"/>
              </a:rPr>
              <a:t> </a:t>
            </a:r>
            <a:r>
              <a:rPr sz="1200" spc="4" dirty="0">
                <a:latin typeface="Arial"/>
                <a:cs typeface="Arial"/>
              </a:rPr>
              <a:t>d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r>
              <a:rPr sz="1200" spc="-29" dirty="0">
                <a:latin typeface="Arial"/>
                <a:cs typeface="Arial"/>
              </a:rPr>
              <a:t> </a:t>
            </a:r>
            <a:r>
              <a:rPr sz="1200" dirty="0">
                <a:latin typeface="Arial"/>
                <a:cs typeface="Arial"/>
              </a:rPr>
              <a:t>(cust</a:t>
            </a:r>
            <a:r>
              <a:rPr sz="1200" spc="4" dirty="0">
                <a:latin typeface="Arial"/>
                <a:cs typeface="Arial"/>
              </a:rPr>
              <a:t>ome</a:t>
            </a:r>
            <a:r>
              <a:rPr sz="1200" dirty="0">
                <a:latin typeface="Arial"/>
                <a:cs typeface="Arial"/>
              </a:rPr>
              <a:t>r</a:t>
            </a:r>
            <a:r>
              <a:rPr sz="1200" spc="-24" dirty="0">
                <a:latin typeface="Arial"/>
                <a:cs typeface="Arial"/>
              </a:rPr>
              <a:t> </a:t>
            </a:r>
            <a:r>
              <a:rPr sz="1200" spc="4" dirty="0">
                <a:latin typeface="Arial"/>
                <a:cs typeface="Arial"/>
              </a:rPr>
              <a:t>ma</a:t>
            </a:r>
            <a:r>
              <a:rPr sz="1200" dirty="0">
                <a:latin typeface="Arial"/>
                <a:cs typeface="Arial"/>
              </a:rPr>
              <a:t>st</a:t>
            </a:r>
            <a:r>
              <a:rPr sz="1200" spc="4" dirty="0">
                <a:latin typeface="Arial"/>
                <a:cs typeface="Arial"/>
              </a:rPr>
              <a:t>e</a:t>
            </a:r>
            <a:r>
              <a:rPr sz="1200" dirty="0">
                <a:latin typeface="Arial"/>
                <a:cs typeface="Arial"/>
              </a:rPr>
              <a:t>r)</a:t>
            </a:r>
            <a:r>
              <a:rPr sz="1200" spc="-1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14" dirty="0">
                <a:latin typeface="Arial"/>
                <a:cs typeface="Arial"/>
              </a:rPr>
              <a:t> </a:t>
            </a:r>
            <a:r>
              <a:rPr sz="1200" spc="4" dirty="0">
                <a:latin typeface="Arial"/>
                <a:cs typeface="Arial"/>
              </a:rPr>
              <a:t>b</a:t>
            </a:r>
            <a:r>
              <a:rPr sz="1200" dirty="0">
                <a:latin typeface="Arial"/>
                <a:cs typeface="Arial"/>
              </a:rPr>
              <a:t>e</a:t>
            </a:r>
            <a:r>
              <a:rPr sz="1200" spc="-4" dirty="0">
                <a:latin typeface="Arial"/>
                <a:cs typeface="Arial"/>
              </a:rPr>
              <a:t> </a:t>
            </a:r>
            <a:r>
              <a:rPr sz="1200" spc="4" dirty="0">
                <a:latin typeface="Arial"/>
                <a:cs typeface="Arial"/>
              </a:rPr>
              <a:t>d</a:t>
            </a:r>
            <a:r>
              <a:rPr sz="1200" dirty="0">
                <a:latin typeface="Arial"/>
                <a:cs typeface="Arial"/>
              </a:rPr>
              <a:t>ispl</a:t>
            </a:r>
            <a:r>
              <a:rPr sz="1200" spc="4" dirty="0">
                <a:latin typeface="Arial"/>
                <a:cs typeface="Arial"/>
              </a:rPr>
              <a:t>a</a:t>
            </a:r>
            <a:r>
              <a:rPr sz="1200" spc="-9" dirty="0">
                <a:latin typeface="Arial"/>
                <a:cs typeface="Arial"/>
              </a:rPr>
              <a:t>y</a:t>
            </a:r>
            <a:r>
              <a:rPr sz="1200" spc="4" dirty="0">
                <a:latin typeface="Arial"/>
                <a:cs typeface="Arial"/>
              </a:rPr>
              <a:t>e</a:t>
            </a:r>
            <a:r>
              <a:rPr sz="1200" dirty="0">
                <a:latin typeface="Arial"/>
                <a:cs typeface="Arial"/>
              </a:rPr>
              <a:t>d</a:t>
            </a:r>
            <a:r>
              <a:rPr sz="1200" spc="-29" dirty="0">
                <a:latin typeface="Arial"/>
                <a:cs typeface="Arial"/>
              </a:rPr>
              <a:t> </a:t>
            </a:r>
            <a:r>
              <a:rPr sz="1200" spc="4" dirty="0">
                <a:latin typeface="Arial"/>
                <a:cs typeface="Arial"/>
              </a:rPr>
              <a:t>du</a:t>
            </a:r>
            <a:r>
              <a:rPr sz="1200" dirty="0">
                <a:latin typeface="Arial"/>
                <a:cs typeface="Arial"/>
              </a:rPr>
              <a:t>r</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spc="4" dirty="0">
                <a:latin typeface="Arial"/>
                <a:cs typeface="Arial"/>
              </a:rPr>
              <a:t>ou</a:t>
            </a:r>
            <a:r>
              <a:rPr sz="1200" dirty="0">
                <a:latin typeface="Arial"/>
                <a:cs typeface="Arial"/>
              </a:rPr>
              <a:t>t</a:t>
            </a:r>
            <a:r>
              <a:rPr sz="1200" spc="4" dirty="0">
                <a:latin typeface="Arial"/>
                <a:cs typeface="Arial"/>
              </a:rPr>
              <a:t>bou</a:t>
            </a:r>
            <a:r>
              <a:rPr sz="1200" spc="-4" dirty="0">
                <a:latin typeface="Arial"/>
                <a:cs typeface="Arial"/>
              </a:rPr>
              <a:t>n</a:t>
            </a:r>
            <a:r>
              <a:rPr sz="1200" dirty="0">
                <a:latin typeface="Arial"/>
                <a:cs typeface="Arial"/>
              </a:rPr>
              <a:t>d</a:t>
            </a:r>
            <a:r>
              <a:rPr sz="1200" spc="-4" dirty="0">
                <a:latin typeface="Arial"/>
                <a:cs typeface="Arial"/>
              </a:rPr>
              <a:t> </a:t>
            </a:r>
            <a:r>
              <a:rPr sz="1200" spc="4" dirty="0">
                <a:latin typeface="Arial"/>
                <a:cs typeface="Arial"/>
              </a:rPr>
              <a:t>d</a:t>
            </a:r>
            <a:r>
              <a:rPr sz="1200" spc="-4" dirty="0">
                <a:latin typeface="Arial"/>
                <a:cs typeface="Arial"/>
              </a:rPr>
              <a:t>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y </a:t>
            </a:r>
            <a:r>
              <a:rPr sz="1200" spc="4" dirty="0">
                <a:latin typeface="Arial"/>
                <a:cs typeface="Arial"/>
              </a:rPr>
              <a:t>p</a:t>
            </a:r>
            <a:r>
              <a:rPr sz="1200" dirty="0">
                <a:latin typeface="Arial"/>
                <a:cs typeface="Arial"/>
              </a:rPr>
              <a:t>roc</a:t>
            </a:r>
            <a:r>
              <a:rPr sz="1200" spc="4" dirty="0">
                <a:latin typeface="Arial"/>
                <a:cs typeface="Arial"/>
              </a:rPr>
              <a:t>e</a:t>
            </a:r>
            <a:r>
              <a:rPr sz="1200" dirty="0">
                <a:latin typeface="Arial"/>
                <a:cs typeface="Arial"/>
              </a:rPr>
              <a:t>ssing</a:t>
            </a:r>
            <a:endParaRPr sz="1200">
              <a:latin typeface="Arial"/>
              <a:cs typeface="Arial"/>
            </a:endParaRPr>
          </a:p>
        </p:txBody>
      </p:sp>
      <p:sp>
        <p:nvSpPr>
          <p:cNvPr id="17" name="object 17"/>
          <p:cNvSpPr txBox="1"/>
          <p:nvPr/>
        </p:nvSpPr>
        <p:spPr>
          <a:xfrm>
            <a:off x="1752600" y="2057400"/>
            <a:ext cx="2373376" cy="457200"/>
          </a:xfrm>
          <a:prstGeom prst="rect">
            <a:avLst/>
          </a:prstGeom>
        </p:spPr>
        <p:txBody>
          <a:bodyPr wrap="square" lIns="0" tIns="0" rIns="0" bIns="0" rtlCol="0">
            <a:noAutofit/>
          </a:bodyPr>
          <a:lstStyle/>
          <a:p>
            <a:pPr marL="91439" marR="128450">
              <a:lnSpc>
                <a:spcPct val="100233"/>
              </a:lnSpc>
              <a:spcBef>
                <a:spcPts val="400"/>
              </a:spcBef>
            </a:pPr>
            <a:r>
              <a:rPr sz="1200" dirty="0">
                <a:latin typeface="Arial"/>
                <a:cs typeface="Arial"/>
              </a:rPr>
              <a:t>E</a:t>
            </a:r>
            <a:r>
              <a:rPr sz="1200" spc="4" dirty="0">
                <a:latin typeface="Arial"/>
                <a:cs typeface="Arial"/>
              </a:rPr>
              <a:t>n</a:t>
            </a:r>
            <a:r>
              <a:rPr sz="1200" spc="-9" dirty="0">
                <a:latin typeface="Arial"/>
                <a:cs typeface="Arial"/>
              </a:rPr>
              <a:t>v</a:t>
            </a:r>
            <a:r>
              <a:rPr sz="1200" dirty="0">
                <a:latin typeface="Arial"/>
                <a:cs typeface="Arial"/>
              </a:rPr>
              <a:t>i</a:t>
            </a:r>
            <a:r>
              <a:rPr sz="1200" spc="-4" dirty="0">
                <a:latin typeface="Arial"/>
                <a:cs typeface="Arial"/>
              </a:rPr>
              <a:t>r</a:t>
            </a:r>
            <a:r>
              <a:rPr sz="1200" spc="4" dirty="0">
                <a:latin typeface="Arial"/>
                <a:cs typeface="Arial"/>
              </a:rPr>
              <a:t>onme</a:t>
            </a:r>
            <a:r>
              <a:rPr sz="1200" spc="-4" dirty="0">
                <a:latin typeface="Arial"/>
                <a:cs typeface="Arial"/>
              </a:rPr>
              <a:t>n</a:t>
            </a:r>
            <a:r>
              <a:rPr sz="1200" dirty="0">
                <a:latin typeface="Arial"/>
                <a:cs typeface="Arial"/>
              </a:rPr>
              <a:t>t</a:t>
            </a:r>
            <a:r>
              <a:rPr sz="1200" spc="-29" dirty="0">
                <a:latin typeface="Arial"/>
                <a:cs typeface="Arial"/>
              </a:rPr>
              <a:t> </a:t>
            </a:r>
            <a:r>
              <a:rPr sz="1200" spc="-4" dirty="0">
                <a:latin typeface="Arial"/>
                <a:cs typeface="Arial"/>
              </a:rPr>
              <a:t>-</a:t>
            </a:r>
            <a:r>
              <a:rPr sz="1200" dirty="0">
                <a:latin typeface="Arial"/>
                <a:cs typeface="Arial"/>
              </a:rPr>
              <a:t>&gt;</a:t>
            </a:r>
            <a:r>
              <a:rPr sz="1200" spc="9" dirty="0">
                <a:latin typeface="Arial"/>
                <a:cs typeface="Arial"/>
              </a:rPr>
              <a:t> </a:t>
            </a:r>
            <a:r>
              <a:rPr sz="1200" spc="-4" dirty="0">
                <a:latin typeface="Arial"/>
                <a:cs typeface="Arial"/>
              </a:rPr>
              <a:t>M</a:t>
            </a:r>
            <a:r>
              <a:rPr sz="1200" spc="4" dirty="0">
                <a:latin typeface="Arial"/>
                <a:cs typeface="Arial"/>
              </a:rPr>
              <a:t>a</a:t>
            </a:r>
            <a:r>
              <a:rPr sz="1200" dirty="0">
                <a:latin typeface="Arial"/>
                <a:cs typeface="Arial"/>
              </a:rPr>
              <a:t>t</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a</a:t>
            </a:r>
            <a:r>
              <a:rPr sz="1200" dirty="0">
                <a:latin typeface="Arial"/>
                <a:cs typeface="Arial"/>
              </a:rPr>
              <a:t>l</a:t>
            </a:r>
            <a:r>
              <a:rPr sz="1200" spc="-9" dirty="0">
                <a:latin typeface="Arial"/>
                <a:cs typeface="Arial"/>
              </a:rPr>
              <a:t> </a:t>
            </a:r>
            <a:r>
              <a:rPr sz="1200" spc="4" dirty="0">
                <a:latin typeface="Arial"/>
                <a:cs typeface="Arial"/>
              </a:rPr>
              <a:t>ma</a:t>
            </a:r>
            <a:r>
              <a:rPr sz="1200" dirty="0">
                <a:latin typeface="Arial"/>
                <a:cs typeface="Arial"/>
              </a:rPr>
              <a:t>st</a:t>
            </a:r>
            <a:r>
              <a:rPr sz="1200" spc="4" dirty="0">
                <a:latin typeface="Arial"/>
                <a:cs typeface="Arial"/>
              </a:rPr>
              <a:t>e</a:t>
            </a:r>
            <a:r>
              <a:rPr sz="1200" dirty="0">
                <a:latin typeface="Arial"/>
                <a:cs typeface="Arial"/>
              </a:rPr>
              <a:t>r </a:t>
            </a:r>
            <a:r>
              <a:rPr sz="1200" spc="4" dirty="0">
                <a:latin typeface="Arial"/>
                <a:cs typeface="Arial"/>
              </a:rPr>
              <a:t>da</a:t>
            </a:r>
            <a:r>
              <a:rPr sz="1200" dirty="0">
                <a:latin typeface="Arial"/>
                <a:cs typeface="Arial"/>
              </a:rPr>
              <a:t>ta</a:t>
            </a:r>
            <a:endParaRPr sz="1200">
              <a:latin typeface="Arial"/>
              <a:cs typeface="Arial"/>
            </a:endParaRPr>
          </a:p>
        </p:txBody>
      </p:sp>
      <p:sp>
        <p:nvSpPr>
          <p:cNvPr id="16" name="object 16"/>
          <p:cNvSpPr txBox="1"/>
          <p:nvPr/>
        </p:nvSpPr>
        <p:spPr>
          <a:xfrm>
            <a:off x="4125976" y="2057400"/>
            <a:ext cx="6161024" cy="457200"/>
          </a:xfrm>
          <a:prstGeom prst="rect">
            <a:avLst/>
          </a:prstGeom>
        </p:spPr>
        <p:txBody>
          <a:bodyPr wrap="square" lIns="0" tIns="0" rIns="0" bIns="0" rtlCol="0">
            <a:noAutofit/>
          </a:bodyPr>
          <a:lstStyle/>
          <a:p>
            <a:pPr marL="91821" marR="256288">
              <a:lnSpc>
                <a:spcPct val="100233"/>
              </a:lnSpc>
              <a:spcBef>
                <a:spcPts val="400"/>
              </a:spcBef>
            </a:pPr>
            <a:r>
              <a:rPr sz="1200" spc="39" dirty="0">
                <a:latin typeface="Arial"/>
                <a:cs typeface="Arial"/>
              </a:rPr>
              <a:t>W</a:t>
            </a:r>
            <a:r>
              <a:rPr sz="1200" dirty="0">
                <a:latin typeface="Arial"/>
                <a:cs typeface="Arial"/>
              </a:rPr>
              <a:t>ith</a:t>
            </a:r>
            <a:r>
              <a:rPr sz="1200" spc="-4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is</a:t>
            </a:r>
            <a:r>
              <a:rPr sz="1200" spc="-9" dirty="0">
                <a:latin typeface="Arial"/>
                <a:cs typeface="Arial"/>
              </a:rPr>
              <a:t> </a:t>
            </a:r>
            <a:r>
              <a:rPr sz="1200" spc="4" dirty="0">
                <a:latin typeface="Arial"/>
                <a:cs typeface="Arial"/>
              </a:rPr>
              <a:t>men</a:t>
            </a:r>
            <a:r>
              <a:rPr sz="1200" dirty="0">
                <a:latin typeface="Arial"/>
                <a:cs typeface="Arial"/>
              </a:rPr>
              <a:t>u</a:t>
            </a:r>
            <a:r>
              <a:rPr sz="1200" spc="-14" dirty="0">
                <a:latin typeface="Arial"/>
                <a:cs typeface="Arial"/>
              </a:rPr>
              <a:t> </a:t>
            </a:r>
            <a:r>
              <a:rPr sz="1200" spc="4" dirty="0">
                <a:latin typeface="Arial"/>
                <a:cs typeface="Arial"/>
              </a:rPr>
              <a:t>pa</a:t>
            </a:r>
            <a:r>
              <a:rPr sz="1200" dirty="0">
                <a:latin typeface="Arial"/>
                <a:cs typeface="Arial"/>
              </a:rPr>
              <a:t>th</a:t>
            </a:r>
            <a:r>
              <a:rPr sz="1200" spc="-25" dirty="0">
                <a:latin typeface="Arial"/>
                <a:cs typeface="Arial"/>
              </a:rPr>
              <a:t> </a:t>
            </a:r>
            <a:r>
              <a:rPr sz="1200" spc="-4" dirty="0">
                <a:latin typeface="Arial"/>
                <a:cs typeface="Arial"/>
              </a:rPr>
              <a:t>M</a:t>
            </a:r>
            <a:r>
              <a:rPr sz="1200" spc="4" dirty="0">
                <a:latin typeface="Arial"/>
                <a:cs typeface="Arial"/>
              </a:rPr>
              <a:t>a</a:t>
            </a:r>
            <a:r>
              <a:rPr sz="1200" dirty="0">
                <a:latin typeface="Arial"/>
                <a:cs typeface="Arial"/>
              </a:rPr>
              <a:t>t</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a</a:t>
            </a:r>
            <a:r>
              <a:rPr sz="1200" dirty="0">
                <a:latin typeface="Arial"/>
                <a:cs typeface="Arial"/>
              </a:rPr>
              <a:t>l</a:t>
            </a:r>
            <a:r>
              <a:rPr sz="1200" spc="-9" dirty="0">
                <a:latin typeface="Arial"/>
                <a:cs typeface="Arial"/>
              </a:rPr>
              <a:t> </a:t>
            </a:r>
            <a:r>
              <a:rPr sz="1200" spc="4" dirty="0">
                <a:latin typeface="Arial"/>
                <a:cs typeface="Arial"/>
              </a:rPr>
              <a:t>ma</a:t>
            </a:r>
            <a:r>
              <a:rPr sz="1200" dirty="0">
                <a:latin typeface="Arial"/>
                <a:cs typeface="Arial"/>
              </a:rPr>
              <a:t>st</a:t>
            </a:r>
            <a:r>
              <a:rPr sz="1200" spc="4" dirty="0">
                <a:latin typeface="Arial"/>
                <a:cs typeface="Arial"/>
              </a:rPr>
              <a:t>e</a:t>
            </a:r>
            <a:r>
              <a:rPr sz="1200" dirty="0">
                <a:latin typeface="Arial"/>
                <a:cs typeface="Arial"/>
              </a:rPr>
              <a:t>r</a:t>
            </a:r>
            <a:r>
              <a:rPr sz="1200" spc="-2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spc="4" dirty="0">
                <a:latin typeface="Arial"/>
                <a:cs typeface="Arial"/>
              </a:rPr>
              <a:t>pa</a:t>
            </a:r>
            <a:r>
              <a:rPr sz="1200" dirty="0">
                <a:latin typeface="Arial"/>
                <a:cs typeface="Arial"/>
              </a:rPr>
              <a:t>rticular</a:t>
            </a:r>
            <a:r>
              <a:rPr sz="1200" spc="-29" dirty="0">
                <a:latin typeface="Arial"/>
                <a:cs typeface="Arial"/>
              </a:rPr>
              <a:t> </a:t>
            </a:r>
            <a:r>
              <a:rPr sz="1200" dirty="0">
                <a:latin typeface="Arial"/>
                <a:cs typeface="Arial"/>
              </a:rPr>
              <a:t>it</a:t>
            </a:r>
            <a:r>
              <a:rPr sz="1200" spc="4" dirty="0">
                <a:latin typeface="Arial"/>
                <a:cs typeface="Arial"/>
              </a:rPr>
              <a:t>e</a:t>
            </a:r>
            <a:r>
              <a:rPr sz="1200" dirty="0">
                <a:latin typeface="Arial"/>
                <a:cs typeface="Arial"/>
              </a:rPr>
              <a:t>m c</a:t>
            </a:r>
            <a:r>
              <a:rPr sz="1200" spc="4" dirty="0">
                <a:latin typeface="Arial"/>
                <a:cs typeface="Arial"/>
              </a:rPr>
              <a:t>a</a:t>
            </a:r>
            <a:r>
              <a:rPr sz="1200" dirty="0">
                <a:latin typeface="Arial"/>
                <a:cs typeface="Arial"/>
              </a:rPr>
              <a:t>n</a:t>
            </a:r>
            <a:r>
              <a:rPr sz="1200" spc="-14" dirty="0">
                <a:latin typeface="Arial"/>
                <a:cs typeface="Arial"/>
              </a:rPr>
              <a:t> </a:t>
            </a:r>
            <a:r>
              <a:rPr sz="1200" spc="4" dirty="0">
                <a:latin typeface="Arial"/>
                <a:cs typeface="Arial"/>
              </a:rPr>
              <a:t>b</a:t>
            </a:r>
            <a:r>
              <a:rPr sz="1200" dirty="0">
                <a:latin typeface="Arial"/>
                <a:cs typeface="Arial"/>
              </a:rPr>
              <a:t>e</a:t>
            </a:r>
            <a:r>
              <a:rPr sz="1200" spc="-4" dirty="0">
                <a:latin typeface="Arial"/>
                <a:cs typeface="Arial"/>
              </a:rPr>
              <a:t> </a:t>
            </a:r>
            <a:r>
              <a:rPr sz="1200" spc="4" dirty="0">
                <a:latin typeface="Arial"/>
                <a:cs typeface="Arial"/>
              </a:rPr>
              <a:t>d</a:t>
            </a:r>
            <a:r>
              <a:rPr sz="1200" dirty="0">
                <a:latin typeface="Arial"/>
                <a:cs typeface="Arial"/>
              </a:rPr>
              <a:t>i</a:t>
            </a:r>
            <a:r>
              <a:rPr sz="1200" spc="-4" dirty="0">
                <a:latin typeface="Arial"/>
                <a:cs typeface="Arial"/>
              </a:rPr>
              <a:t>r</a:t>
            </a:r>
            <a:r>
              <a:rPr sz="1200" spc="4" dirty="0">
                <a:latin typeface="Arial"/>
                <a:cs typeface="Arial"/>
              </a:rPr>
              <a:t>e</a:t>
            </a:r>
            <a:r>
              <a:rPr sz="1200" dirty="0">
                <a:latin typeface="Arial"/>
                <a:cs typeface="Arial"/>
              </a:rPr>
              <a:t>ctly</a:t>
            </a:r>
            <a:r>
              <a:rPr sz="1200" spc="-9" dirty="0">
                <a:latin typeface="Arial"/>
                <a:cs typeface="Arial"/>
              </a:rPr>
              <a:t> v</a:t>
            </a:r>
            <a:r>
              <a:rPr sz="1200" dirty="0">
                <a:latin typeface="Arial"/>
                <a:cs typeface="Arial"/>
              </a:rPr>
              <a:t>ie</a:t>
            </a:r>
            <a:r>
              <a:rPr sz="1200" spc="-9" dirty="0">
                <a:latin typeface="Arial"/>
                <a:cs typeface="Arial"/>
              </a:rPr>
              <a:t>w</a:t>
            </a:r>
            <a:r>
              <a:rPr sz="1200" spc="4" dirty="0">
                <a:latin typeface="Arial"/>
                <a:cs typeface="Arial"/>
              </a:rPr>
              <a:t>e</a:t>
            </a:r>
            <a:r>
              <a:rPr sz="1200" dirty="0">
                <a:latin typeface="Arial"/>
                <a:cs typeface="Arial"/>
              </a:rPr>
              <a:t>d</a:t>
            </a:r>
            <a:r>
              <a:rPr sz="1200" spc="-4" dirty="0">
                <a:latin typeface="Arial"/>
                <a:cs typeface="Arial"/>
              </a:rPr>
              <a:t> </a:t>
            </a:r>
            <a:r>
              <a:rPr sz="1200" spc="14" dirty="0">
                <a:latin typeface="Arial"/>
                <a:cs typeface="Arial"/>
              </a:rPr>
              <a:t>f</a:t>
            </a:r>
            <a:r>
              <a:rPr sz="1200" dirty="0">
                <a:latin typeface="Arial"/>
                <a:cs typeface="Arial"/>
              </a:rPr>
              <a:t>rom 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tra</a:t>
            </a:r>
            <a:r>
              <a:rPr sz="1200" spc="4" dirty="0">
                <a:latin typeface="Arial"/>
                <a:cs typeface="Arial"/>
              </a:rPr>
              <a:t>n</a:t>
            </a:r>
            <a:r>
              <a:rPr sz="1200" dirty="0">
                <a:latin typeface="Arial"/>
                <a:cs typeface="Arial"/>
              </a:rPr>
              <a:t>s</a:t>
            </a:r>
            <a:r>
              <a:rPr sz="1200" spc="4" dirty="0">
                <a:latin typeface="Arial"/>
                <a:cs typeface="Arial"/>
              </a:rPr>
              <a:t>a</a:t>
            </a:r>
            <a:r>
              <a:rPr sz="1200" dirty="0">
                <a:latin typeface="Arial"/>
                <a:cs typeface="Arial"/>
              </a:rPr>
              <a:t>cti</a:t>
            </a:r>
            <a:r>
              <a:rPr sz="1200" spc="4" dirty="0">
                <a:latin typeface="Arial"/>
                <a:cs typeface="Arial"/>
              </a:rPr>
              <a:t>o</a:t>
            </a:r>
            <a:r>
              <a:rPr sz="1200" dirty="0">
                <a:latin typeface="Arial"/>
                <a:cs typeface="Arial"/>
              </a:rPr>
              <a:t>n</a:t>
            </a:r>
            <a:endParaRPr sz="1200">
              <a:latin typeface="Arial"/>
              <a:cs typeface="Arial"/>
            </a:endParaRPr>
          </a:p>
        </p:txBody>
      </p:sp>
      <p:sp>
        <p:nvSpPr>
          <p:cNvPr id="15" name="object 15"/>
          <p:cNvSpPr txBox="1"/>
          <p:nvPr/>
        </p:nvSpPr>
        <p:spPr>
          <a:xfrm>
            <a:off x="1752600" y="2514600"/>
            <a:ext cx="2373376" cy="457200"/>
          </a:xfrm>
          <a:prstGeom prst="rect">
            <a:avLst/>
          </a:prstGeom>
        </p:spPr>
        <p:txBody>
          <a:bodyPr wrap="square" lIns="0" tIns="0" rIns="0" bIns="0" rtlCol="0">
            <a:noAutofit/>
          </a:bodyPr>
          <a:lstStyle/>
          <a:p>
            <a:pPr marL="91439">
              <a:lnSpc>
                <a:spcPct val="95825"/>
              </a:lnSpc>
              <a:spcBef>
                <a:spcPts val="400"/>
              </a:spcBef>
            </a:pPr>
            <a:r>
              <a:rPr sz="1200" dirty="0">
                <a:latin typeface="Arial"/>
                <a:cs typeface="Arial"/>
              </a:rPr>
              <a:t>E</a:t>
            </a:r>
            <a:r>
              <a:rPr sz="1200" spc="4" dirty="0">
                <a:latin typeface="Arial"/>
                <a:cs typeface="Arial"/>
              </a:rPr>
              <a:t>n</a:t>
            </a:r>
            <a:r>
              <a:rPr sz="1200" spc="-9" dirty="0">
                <a:latin typeface="Arial"/>
                <a:cs typeface="Arial"/>
              </a:rPr>
              <a:t>v</a:t>
            </a:r>
            <a:r>
              <a:rPr sz="1200" dirty="0">
                <a:latin typeface="Arial"/>
                <a:cs typeface="Arial"/>
              </a:rPr>
              <a:t>i</a:t>
            </a:r>
            <a:r>
              <a:rPr sz="1200" spc="-4" dirty="0">
                <a:latin typeface="Arial"/>
                <a:cs typeface="Arial"/>
              </a:rPr>
              <a:t>r</a:t>
            </a:r>
            <a:r>
              <a:rPr sz="1200" spc="4" dirty="0">
                <a:latin typeface="Arial"/>
                <a:cs typeface="Arial"/>
              </a:rPr>
              <a:t>onme</a:t>
            </a:r>
            <a:r>
              <a:rPr sz="1200" spc="-4" dirty="0">
                <a:latin typeface="Arial"/>
                <a:cs typeface="Arial"/>
              </a:rPr>
              <a:t>n</a:t>
            </a:r>
            <a:r>
              <a:rPr sz="1200" dirty="0">
                <a:latin typeface="Arial"/>
                <a:cs typeface="Arial"/>
              </a:rPr>
              <a:t>t</a:t>
            </a:r>
            <a:r>
              <a:rPr sz="1200" spc="-29" dirty="0">
                <a:latin typeface="Arial"/>
                <a:cs typeface="Arial"/>
              </a:rPr>
              <a:t> </a:t>
            </a:r>
            <a:r>
              <a:rPr sz="1200" spc="-4" dirty="0">
                <a:latin typeface="Arial"/>
                <a:cs typeface="Arial"/>
              </a:rPr>
              <a:t>-</a:t>
            </a:r>
            <a:r>
              <a:rPr sz="1200" dirty="0">
                <a:latin typeface="Arial"/>
                <a:cs typeface="Arial"/>
              </a:rPr>
              <a:t>&gt;</a:t>
            </a:r>
            <a:r>
              <a:rPr sz="1200" spc="9" dirty="0">
                <a:latin typeface="Arial"/>
                <a:cs typeface="Arial"/>
              </a:rPr>
              <a:t> </a:t>
            </a:r>
            <a:r>
              <a:rPr sz="1200" dirty="0">
                <a:latin typeface="Arial"/>
                <a:cs typeface="Arial"/>
              </a:rPr>
              <a:t>St</a:t>
            </a:r>
            <a:r>
              <a:rPr sz="1200" spc="4" dirty="0">
                <a:latin typeface="Arial"/>
                <a:cs typeface="Arial"/>
              </a:rPr>
              <a:t>o</a:t>
            </a:r>
            <a:r>
              <a:rPr sz="1200" dirty="0">
                <a:latin typeface="Arial"/>
                <a:cs typeface="Arial"/>
              </a:rPr>
              <a:t>ck</a:t>
            </a:r>
            <a:endParaRPr sz="1200">
              <a:latin typeface="Arial"/>
              <a:cs typeface="Arial"/>
            </a:endParaRPr>
          </a:p>
        </p:txBody>
      </p:sp>
      <p:sp>
        <p:nvSpPr>
          <p:cNvPr id="14" name="object 14"/>
          <p:cNvSpPr txBox="1"/>
          <p:nvPr/>
        </p:nvSpPr>
        <p:spPr>
          <a:xfrm>
            <a:off x="4125976" y="2514600"/>
            <a:ext cx="6161024" cy="457200"/>
          </a:xfrm>
          <a:prstGeom prst="rect">
            <a:avLst/>
          </a:prstGeom>
        </p:spPr>
        <p:txBody>
          <a:bodyPr wrap="square" lIns="0" tIns="0" rIns="0" bIns="0" rtlCol="0">
            <a:noAutofit/>
          </a:bodyPr>
          <a:lstStyle/>
          <a:p>
            <a:pPr marL="91821">
              <a:lnSpc>
                <a:spcPct val="95825"/>
              </a:lnSpc>
              <a:spcBef>
                <a:spcPts val="400"/>
              </a:spcBef>
            </a:pPr>
            <a:r>
              <a:rPr sz="1200" spc="9" dirty="0">
                <a:latin typeface="Arial"/>
                <a:cs typeface="Arial"/>
              </a:rPr>
              <a:t>T</a:t>
            </a:r>
            <a:r>
              <a:rPr sz="1200" spc="4" dirty="0">
                <a:latin typeface="Arial"/>
                <a:cs typeface="Arial"/>
              </a:rPr>
              <a:t>h</a:t>
            </a:r>
            <a:r>
              <a:rPr sz="1200" dirty="0">
                <a:latin typeface="Arial"/>
                <a:cs typeface="Arial"/>
              </a:rPr>
              <a:t>is</a:t>
            </a:r>
            <a:r>
              <a:rPr sz="1200" spc="-24" dirty="0">
                <a:latin typeface="Arial"/>
                <a:cs typeface="Arial"/>
              </a:rPr>
              <a:t> </a:t>
            </a:r>
            <a:r>
              <a:rPr sz="1200" dirty="0">
                <a:latin typeface="Arial"/>
                <a:cs typeface="Arial"/>
              </a:rPr>
              <a:t>s</a:t>
            </a:r>
            <a:r>
              <a:rPr sz="1200" spc="4" dirty="0">
                <a:latin typeface="Arial"/>
                <a:cs typeface="Arial"/>
              </a:rPr>
              <a:t>ea</a:t>
            </a:r>
            <a:r>
              <a:rPr sz="1200" dirty="0">
                <a:latin typeface="Arial"/>
                <a:cs typeface="Arial"/>
              </a:rPr>
              <a:t>rch</a:t>
            </a:r>
            <a:r>
              <a:rPr sz="1200" spc="-19" dirty="0">
                <a:latin typeface="Arial"/>
                <a:cs typeface="Arial"/>
              </a:rPr>
              <a:t> </a:t>
            </a:r>
            <a:r>
              <a:rPr sz="1200" spc="-14" dirty="0">
                <a:latin typeface="Arial"/>
                <a:cs typeface="Arial"/>
              </a:rPr>
              <a:t>w</a:t>
            </a:r>
            <a:r>
              <a:rPr sz="1200" dirty="0">
                <a:latin typeface="Arial"/>
                <a:cs typeface="Arial"/>
              </a:rPr>
              <a:t>i</a:t>
            </a:r>
            <a:r>
              <a:rPr sz="1200" spc="-4" dirty="0">
                <a:latin typeface="Arial"/>
                <a:cs typeface="Arial"/>
              </a:rPr>
              <a:t>l</a:t>
            </a:r>
            <a:r>
              <a:rPr sz="1200" dirty="0">
                <a:latin typeface="Arial"/>
                <a:cs typeface="Arial"/>
              </a:rPr>
              <a:t>l </a:t>
            </a:r>
            <a:r>
              <a:rPr sz="1200" spc="4" dirty="0">
                <a:latin typeface="Arial"/>
                <a:cs typeface="Arial"/>
              </a:rPr>
              <a:t>d</a:t>
            </a:r>
            <a:r>
              <a:rPr sz="1200" dirty="0">
                <a:latin typeface="Arial"/>
                <a:cs typeface="Arial"/>
              </a:rPr>
              <a:t>i</a:t>
            </a:r>
            <a:r>
              <a:rPr sz="1200" spc="-4" dirty="0">
                <a:latin typeface="Arial"/>
                <a:cs typeface="Arial"/>
              </a:rPr>
              <a:t>r</a:t>
            </a:r>
            <a:r>
              <a:rPr sz="1200" spc="4" dirty="0">
                <a:latin typeface="Arial"/>
                <a:cs typeface="Arial"/>
              </a:rPr>
              <a:t>e</a:t>
            </a:r>
            <a:r>
              <a:rPr sz="1200" dirty="0">
                <a:latin typeface="Arial"/>
                <a:cs typeface="Arial"/>
              </a:rPr>
              <a:t>ctly</a:t>
            </a:r>
            <a:r>
              <a:rPr sz="1200" spc="-9" dirty="0">
                <a:latin typeface="Arial"/>
                <a:cs typeface="Arial"/>
              </a:rPr>
              <a:t> </a:t>
            </a:r>
            <a:r>
              <a:rPr sz="1200" spc="4" dirty="0">
                <a:latin typeface="Arial"/>
                <a:cs typeface="Arial"/>
              </a:rPr>
              <a:t>ta</a:t>
            </a:r>
            <a:r>
              <a:rPr sz="1200" dirty="0">
                <a:latin typeface="Arial"/>
                <a:cs typeface="Arial"/>
              </a:rPr>
              <a:t>k</a:t>
            </a:r>
            <a:r>
              <a:rPr sz="1200" spc="4" dirty="0">
                <a:latin typeface="Arial"/>
                <a:cs typeface="Arial"/>
              </a:rPr>
              <a:t>e</a:t>
            </a:r>
            <a:r>
              <a:rPr sz="1200" dirty="0">
                <a:latin typeface="Arial"/>
                <a:cs typeface="Arial"/>
              </a:rPr>
              <a:t>s</a:t>
            </a:r>
            <a:r>
              <a:rPr sz="1200" spc="-9" dirty="0">
                <a:latin typeface="Arial"/>
                <a:cs typeface="Arial"/>
              </a:rPr>
              <a:t> y</a:t>
            </a:r>
            <a:r>
              <a:rPr sz="1200" spc="4" dirty="0">
                <a:latin typeface="Arial"/>
                <a:cs typeface="Arial"/>
              </a:rPr>
              <a:t>o</a:t>
            </a:r>
            <a:r>
              <a:rPr sz="1200" dirty="0">
                <a:latin typeface="Arial"/>
                <a:cs typeface="Arial"/>
              </a:rPr>
              <a:t>u</a:t>
            </a:r>
            <a:r>
              <a:rPr sz="1200" spc="-4" dirty="0">
                <a:latin typeface="Arial"/>
                <a:cs typeface="Arial"/>
              </a:rPr>
              <a:t> </a:t>
            </a:r>
            <a:r>
              <a:rPr sz="1200" dirty="0">
                <a:latin typeface="Arial"/>
                <a:cs typeface="Arial"/>
              </a:rPr>
              <a:t>to</a:t>
            </a:r>
            <a:r>
              <a:rPr sz="1200" spc="4" dirty="0">
                <a:latin typeface="Arial"/>
                <a:cs typeface="Arial"/>
              </a:rPr>
              <a:t> </a:t>
            </a:r>
            <a:r>
              <a:rPr sz="1200" dirty="0">
                <a:latin typeface="Arial"/>
                <a:cs typeface="Arial"/>
              </a:rPr>
              <a:t>M</a:t>
            </a:r>
            <a:r>
              <a:rPr sz="1200" spc="-4" dirty="0">
                <a:latin typeface="Arial"/>
                <a:cs typeface="Arial"/>
              </a:rPr>
              <a:t>M</a:t>
            </a:r>
            <a:r>
              <a:rPr sz="1200" dirty="0">
                <a:latin typeface="Arial"/>
                <a:cs typeface="Arial"/>
              </a:rPr>
              <a:t>BE</a:t>
            </a:r>
            <a:r>
              <a:rPr sz="1200" spc="4" dirty="0">
                <a:latin typeface="Arial"/>
                <a:cs typeface="Arial"/>
              </a:rPr>
              <a:t> t</a:t>
            </a:r>
            <a:r>
              <a:rPr sz="1200" dirty="0">
                <a:latin typeface="Arial"/>
                <a:cs typeface="Arial"/>
              </a:rPr>
              <a:t>ra</a:t>
            </a:r>
            <a:r>
              <a:rPr sz="1200" spc="4" dirty="0">
                <a:latin typeface="Arial"/>
                <a:cs typeface="Arial"/>
              </a:rPr>
              <a:t>n</a:t>
            </a:r>
            <a:r>
              <a:rPr sz="1200" dirty="0">
                <a:latin typeface="Arial"/>
                <a:cs typeface="Arial"/>
              </a:rPr>
              <a:t>s</a:t>
            </a:r>
            <a:r>
              <a:rPr sz="1200" spc="4" dirty="0">
                <a:latin typeface="Arial"/>
                <a:cs typeface="Arial"/>
              </a:rPr>
              <a:t>a</a:t>
            </a:r>
            <a:r>
              <a:rPr sz="1200" dirty="0">
                <a:latin typeface="Arial"/>
                <a:cs typeface="Arial"/>
              </a:rPr>
              <a:t>cti</a:t>
            </a:r>
            <a:r>
              <a:rPr sz="1200" spc="4" dirty="0">
                <a:latin typeface="Arial"/>
                <a:cs typeface="Arial"/>
              </a:rPr>
              <a:t>o</a:t>
            </a:r>
            <a:r>
              <a:rPr sz="1200" dirty="0">
                <a:latin typeface="Arial"/>
                <a:cs typeface="Arial"/>
              </a:rPr>
              <a:t>n</a:t>
            </a:r>
            <a:r>
              <a:rPr sz="1200" spc="-2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24" dirty="0">
                <a:latin typeface="Arial"/>
                <a:cs typeface="Arial"/>
              </a:rPr>
              <a:t> </a:t>
            </a:r>
            <a:r>
              <a:rPr sz="1200" dirty="0">
                <a:latin typeface="Arial"/>
                <a:cs typeface="Arial"/>
              </a:rPr>
              <a:t>st</a:t>
            </a:r>
            <a:r>
              <a:rPr sz="1200" spc="4" dirty="0">
                <a:latin typeface="Arial"/>
                <a:cs typeface="Arial"/>
              </a:rPr>
              <a:t>o</a:t>
            </a:r>
            <a:r>
              <a:rPr sz="1200" dirty="0">
                <a:latin typeface="Arial"/>
                <a:cs typeface="Arial"/>
              </a:rPr>
              <a:t>ck </a:t>
            </a:r>
            <a:r>
              <a:rPr sz="1200" spc="4" dirty="0">
                <a:latin typeface="Arial"/>
                <a:cs typeface="Arial"/>
              </a:rPr>
              <a:t>d</a:t>
            </a:r>
            <a:r>
              <a:rPr sz="1200" dirty="0">
                <a:latin typeface="Arial"/>
                <a:cs typeface="Arial"/>
              </a:rPr>
              <a:t>ispl</a:t>
            </a:r>
            <a:r>
              <a:rPr sz="1200" spc="4" dirty="0">
                <a:latin typeface="Arial"/>
                <a:cs typeface="Arial"/>
              </a:rPr>
              <a:t>a</a:t>
            </a:r>
            <a:r>
              <a:rPr sz="1200" dirty="0">
                <a:latin typeface="Arial"/>
                <a:cs typeface="Arial"/>
              </a:rPr>
              <a:t>y</a:t>
            </a:r>
            <a:r>
              <a:rPr sz="1200" spc="-29" dirty="0">
                <a:latin typeface="Arial"/>
                <a:cs typeface="Arial"/>
              </a:rPr>
              <a:t> </a:t>
            </a:r>
            <a:r>
              <a:rPr sz="1200" spc="4" dirty="0">
                <a:latin typeface="Arial"/>
                <a:cs typeface="Arial"/>
              </a:rPr>
              <a:t>a</a:t>
            </a:r>
            <a:r>
              <a:rPr sz="1200" dirty="0">
                <a:latin typeface="Arial"/>
                <a:cs typeface="Arial"/>
              </a:rPr>
              <a:t>t</a:t>
            </a:r>
            <a:r>
              <a:rPr sz="1200" spc="4" dirty="0">
                <a:latin typeface="Arial"/>
                <a:cs typeface="Arial"/>
              </a:rPr>
              <a:t> p</a:t>
            </a:r>
            <a:r>
              <a:rPr sz="1200" dirty="0">
                <a:latin typeface="Arial"/>
                <a:cs typeface="Arial"/>
              </a:rPr>
              <a:t>la</a:t>
            </a:r>
            <a:r>
              <a:rPr sz="1200" spc="4" dirty="0">
                <a:latin typeface="Arial"/>
                <a:cs typeface="Arial"/>
              </a:rPr>
              <a:t>n</a:t>
            </a:r>
            <a:r>
              <a:rPr sz="1200" dirty="0">
                <a:latin typeface="Arial"/>
                <a:cs typeface="Arial"/>
              </a:rPr>
              <a:t>t</a:t>
            </a:r>
            <a:r>
              <a:rPr sz="1200" spc="-19" dirty="0">
                <a:latin typeface="Arial"/>
                <a:cs typeface="Arial"/>
              </a:rPr>
              <a:t> </a:t>
            </a:r>
            <a:r>
              <a:rPr sz="1200" dirty="0">
                <a:latin typeface="Arial"/>
                <a:cs typeface="Arial"/>
              </a:rPr>
              <a:t>&amp;</a:t>
            </a:r>
            <a:endParaRPr sz="1200">
              <a:latin typeface="Arial"/>
              <a:cs typeface="Arial"/>
            </a:endParaRPr>
          </a:p>
          <a:p>
            <a:pPr marL="91821">
              <a:lnSpc>
                <a:spcPct val="95825"/>
              </a:lnSpc>
              <a:spcBef>
                <a:spcPts val="60"/>
              </a:spcBef>
            </a:pPr>
            <a:r>
              <a:rPr sz="1200" dirty="0">
                <a:latin typeface="Arial"/>
                <a:cs typeface="Arial"/>
              </a:rPr>
              <a:t>st</a:t>
            </a:r>
            <a:r>
              <a:rPr sz="1200" spc="4" dirty="0">
                <a:latin typeface="Arial"/>
                <a:cs typeface="Arial"/>
              </a:rPr>
              <a:t>o</a:t>
            </a:r>
            <a:r>
              <a:rPr sz="1200" dirty="0">
                <a:latin typeface="Arial"/>
                <a:cs typeface="Arial"/>
              </a:rPr>
              <a:t>ra</a:t>
            </a:r>
            <a:r>
              <a:rPr sz="1200" spc="-4" dirty="0">
                <a:latin typeface="Arial"/>
                <a:cs typeface="Arial"/>
              </a:rPr>
              <a:t>g</a:t>
            </a:r>
            <a:r>
              <a:rPr sz="1200" dirty="0">
                <a:latin typeface="Arial"/>
                <a:cs typeface="Arial"/>
              </a:rPr>
              <a:t>e</a:t>
            </a:r>
            <a:r>
              <a:rPr sz="1200" spc="-29" dirty="0">
                <a:latin typeface="Arial"/>
                <a:cs typeface="Arial"/>
              </a:rPr>
              <a:t> </a:t>
            </a:r>
            <a:r>
              <a:rPr sz="1200" dirty="0">
                <a:latin typeface="Arial"/>
                <a:cs typeface="Arial"/>
              </a:rPr>
              <a:t>loc</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a:t>
            </a:r>
            <a:r>
              <a:rPr sz="1200" spc="-29" dirty="0">
                <a:latin typeface="Arial"/>
                <a:cs typeface="Arial"/>
              </a:rPr>
              <a:t> </a:t>
            </a:r>
            <a:r>
              <a:rPr sz="1200" dirty="0">
                <a:latin typeface="Arial"/>
                <a:cs typeface="Arial"/>
              </a:rPr>
              <a:t>le</a:t>
            </a:r>
            <a:r>
              <a:rPr sz="1200" spc="-9" dirty="0">
                <a:latin typeface="Arial"/>
                <a:cs typeface="Arial"/>
              </a:rPr>
              <a:t>v</a:t>
            </a:r>
            <a:r>
              <a:rPr sz="1200" spc="4" dirty="0">
                <a:latin typeface="Arial"/>
                <a:cs typeface="Arial"/>
              </a:rPr>
              <a:t>e</a:t>
            </a:r>
            <a:r>
              <a:rPr sz="1200" dirty="0">
                <a:latin typeface="Arial"/>
                <a:cs typeface="Arial"/>
              </a:rPr>
              <a:t>l</a:t>
            </a:r>
            <a:endParaRPr sz="1200">
              <a:latin typeface="Arial"/>
              <a:cs typeface="Arial"/>
            </a:endParaRPr>
          </a:p>
        </p:txBody>
      </p:sp>
      <p:sp>
        <p:nvSpPr>
          <p:cNvPr id="13" name="object 13"/>
          <p:cNvSpPr txBox="1"/>
          <p:nvPr/>
        </p:nvSpPr>
        <p:spPr>
          <a:xfrm>
            <a:off x="1752600" y="2971801"/>
            <a:ext cx="2373376" cy="640079"/>
          </a:xfrm>
          <a:prstGeom prst="rect">
            <a:avLst/>
          </a:prstGeom>
        </p:spPr>
        <p:txBody>
          <a:bodyPr wrap="square" lIns="0" tIns="0" rIns="0" bIns="0" rtlCol="0">
            <a:noAutofit/>
          </a:bodyPr>
          <a:lstStyle/>
          <a:p>
            <a:pPr marL="91439">
              <a:lnSpc>
                <a:spcPct val="95825"/>
              </a:lnSpc>
              <a:spcBef>
                <a:spcPts val="400"/>
              </a:spcBef>
            </a:pPr>
            <a:r>
              <a:rPr sz="1200" dirty="0">
                <a:latin typeface="Arial"/>
                <a:cs typeface="Arial"/>
              </a:rPr>
              <a:t>E</a:t>
            </a:r>
            <a:r>
              <a:rPr sz="1200" spc="4" dirty="0">
                <a:latin typeface="Arial"/>
                <a:cs typeface="Arial"/>
              </a:rPr>
              <a:t>n</a:t>
            </a:r>
            <a:r>
              <a:rPr sz="1200" spc="-9" dirty="0">
                <a:latin typeface="Arial"/>
                <a:cs typeface="Arial"/>
              </a:rPr>
              <a:t>v</a:t>
            </a:r>
            <a:r>
              <a:rPr sz="1200" dirty="0">
                <a:latin typeface="Arial"/>
                <a:cs typeface="Arial"/>
              </a:rPr>
              <a:t>i</a:t>
            </a:r>
            <a:r>
              <a:rPr sz="1200" spc="-4" dirty="0">
                <a:latin typeface="Arial"/>
                <a:cs typeface="Arial"/>
              </a:rPr>
              <a:t>r</a:t>
            </a:r>
            <a:r>
              <a:rPr sz="1200" spc="4" dirty="0">
                <a:latin typeface="Arial"/>
                <a:cs typeface="Arial"/>
              </a:rPr>
              <a:t>onme</a:t>
            </a:r>
            <a:r>
              <a:rPr sz="1200" spc="-4" dirty="0">
                <a:latin typeface="Arial"/>
                <a:cs typeface="Arial"/>
              </a:rPr>
              <a:t>n</a:t>
            </a:r>
            <a:r>
              <a:rPr sz="1200" dirty="0">
                <a:latin typeface="Arial"/>
                <a:cs typeface="Arial"/>
              </a:rPr>
              <a:t>t</a:t>
            </a:r>
            <a:r>
              <a:rPr sz="1200" spc="-29" dirty="0">
                <a:latin typeface="Arial"/>
                <a:cs typeface="Arial"/>
              </a:rPr>
              <a:t> </a:t>
            </a:r>
            <a:r>
              <a:rPr sz="1200" spc="-4" dirty="0">
                <a:latin typeface="Arial"/>
                <a:cs typeface="Arial"/>
              </a:rPr>
              <a:t>-&gt;</a:t>
            </a:r>
            <a:r>
              <a:rPr sz="1200" dirty="0">
                <a:latin typeface="Arial"/>
                <a:cs typeface="Arial"/>
              </a:rPr>
              <a:t>Ch</a:t>
            </a:r>
            <a:r>
              <a:rPr sz="1200" spc="4" dirty="0">
                <a:latin typeface="Arial"/>
                <a:cs typeface="Arial"/>
              </a:rPr>
              <a:t>an</a:t>
            </a:r>
            <a:r>
              <a:rPr sz="1200" spc="-4" dirty="0">
                <a:latin typeface="Arial"/>
                <a:cs typeface="Arial"/>
              </a:rPr>
              <a:t>g</a:t>
            </a:r>
            <a:r>
              <a:rPr sz="1200" spc="4" dirty="0">
                <a:latin typeface="Arial"/>
                <a:cs typeface="Arial"/>
              </a:rPr>
              <a:t>e</a:t>
            </a:r>
            <a:r>
              <a:rPr sz="1200" dirty="0">
                <a:latin typeface="Arial"/>
                <a:cs typeface="Arial"/>
              </a:rPr>
              <a:t>s</a:t>
            </a:r>
            <a:endParaRPr sz="1200">
              <a:latin typeface="Arial"/>
              <a:cs typeface="Arial"/>
            </a:endParaRPr>
          </a:p>
        </p:txBody>
      </p:sp>
      <p:sp>
        <p:nvSpPr>
          <p:cNvPr id="12" name="object 12"/>
          <p:cNvSpPr txBox="1"/>
          <p:nvPr/>
        </p:nvSpPr>
        <p:spPr>
          <a:xfrm>
            <a:off x="4125976" y="2971801"/>
            <a:ext cx="6161024" cy="640079"/>
          </a:xfrm>
          <a:prstGeom prst="rect">
            <a:avLst/>
          </a:prstGeom>
        </p:spPr>
        <p:txBody>
          <a:bodyPr wrap="square" lIns="0" tIns="0" rIns="0" bIns="0" rtlCol="0">
            <a:noAutofit/>
          </a:bodyPr>
          <a:lstStyle/>
          <a:p>
            <a:pPr marL="91821" marR="250497">
              <a:lnSpc>
                <a:spcPct val="100041"/>
              </a:lnSpc>
              <a:spcBef>
                <a:spcPts val="400"/>
              </a:spcBef>
            </a:pPr>
            <a:r>
              <a:rPr sz="1200" spc="39" dirty="0">
                <a:latin typeface="Arial"/>
                <a:cs typeface="Arial"/>
              </a:rPr>
              <a:t>W</a:t>
            </a:r>
            <a:r>
              <a:rPr sz="1200" spc="-4" dirty="0">
                <a:latin typeface="Arial"/>
                <a:cs typeface="Arial"/>
              </a:rPr>
              <a:t>he</a:t>
            </a:r>
            <a:r>
              <a:rPr sz="1200" dirty="0">
                <a:latin typeface="Arial"/>
                <a:cs typeface="Arial"/>
              </a:rPr>
              <a:t>n</a:t>
            </a:r>
            <a:r>
              <a:rPr sz="1200" spc="-4" dirty="0">
                <a:latin typeface="Arial"/>
                <a:cs typeface="Arial"/>
              </a:rPr>
              <a:t> </a:t>
            </a:r>
            <a:r>
              <a:rPr sz="1200" dirty="0">
                <a:latin typeface="Arial"/>
                <a:cs typeface="Arial"/>
              </a:rPr>
              <a:t>c</a:t>
            </a:r>
            <a:r>
              <a:rPr sz="1200" spc="4" dirty="0">
                <a:latin typeface="Arial"/>
                <a:cs typeface="Arial"/>
              </a:rPr>
              <a:t>h</a:t>
            </a:r>
            <a:r>
              <a:rPr sz="1200" spc="-4" dirty="0">
                <a:latin typeface="Arial"/>
                <a:cs typeface="Arial"/>
              </a:rPr>
              <a:t>ang</a:t>
            </a:r>
            <a:r>
              <a:rPr sz="1200" spc="4" dirty="0">
                <a:latin typeface="Arial"/>
                <a:cs typeface="Arial"/>
              </a:rPr>
              <a:t>e</a:t>
            </a:r>
            <a:r>
              <a:rPr sz="1200" dirty="0">
                <a:latin typeface="Arial"/>
                <a:cs typeface="Arial"/>
              </a:rPr>
              <a:t>d</a:t>
            </a:r>
            <a:r>
              <a:rPr sz="1200" spc="-50" dirty="0">
                <a:latin typeface="Arial"/>
                <a:cs typeface="Arial"/>
              </a:rPr>
              <a:t>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e</a:t>
            </a:r>
            <a:r>
              <a:rPr sz="1200" dirty="0">
                <a:latin typeface="Arial"/>
                <a:cs typeface="Arial"/>
              </a:rPr>
              <a:t>s</a:t>
            </a:r>
            <a:r>
              <a:rPr sz="1200" spc="-19" dirty="0">
                <a:latin typeface="Arial"/>
                <a:cs typeface="Arial"/>
              </a:rPr>
              <a:t> </a:t>
            </a:r>
            <a:r>
              <a:rPr sz="1200" spc="4" dirty="0">
                <a:latin typeface="Arial"/>
                <a:cs typeface="Arial"/>
              </a:rPr>
              <a:t>a</a:t>
            </a:r>
            <a:r>
              <a:rPr sz="1200" dirty="0">
                <a:latin typeface="Arial"/>
                <a:cs typeface="Arial"/>
              </a:rPr>
              <a:t>re</a:t>
            </a:r>
            <a:r>
              <a:rPr sz="1200" spc="-4" dirty="0">
                <a:latin typeface="Arial"/>
                <a:cs typeface="Arial"/>
              </a:rPr>
              <a:t> </a:t>
            </a:r>
            <a:r>
              <a:rPr sz="1200" dirty="0">
                <a:latin typeface="Arial"/>
                <a:cs typeface="Arial"/>
              </a:rPr>
              <a:t>s</a:t>
            </a:r>
            <a:r>
              <a:rPr sz="1200" spc="4" dirty="0">
                <a:latin typeface="Arial"/>
                <a:cs typeface="Arial"/>
              </a:rPr>
              <a:t>a</a:t>
            </a:r>
            <a:r>
              <a:rPr sz="1200" spc="-9" dirty="0">
                <a:latin typeface="Arial"/>
                <a:cs typeface="Arial"/>
              </a:rPr>
              <a:t>v</a:t>
            </a:r>
            <a:r>
              <a:rPr sz="1200" spc="4" dirty="0">
                <a:latin typeface="Arial"/>
                <a:cs typeface="Arial"/>
              </a:rPr>
              <a:t>e</a:t>
            </a:r>
            <a:r>
              <a:rPr sz="1200" dirty="0">
                <a:latin typeface="Arial"/>
                <a:cs typeface="Arial"/>
              </a:rPr>
              <a:t>d</a:t>
            </a:r>
            <a:r>
              <a:rPr sz="1200" spc="-14" dirty="0">
                <a:latin typeface="Arial"/>
                <a:cs typeface="Arial"/>
              </a:rPr>
              <a:t> </a:t>
            </a:r>
            <a:r>
              <a:rPr sz="1200" dirty="0">
                <a:latin typeface="Arial"/>
                <a:cs typeface="Arial"/>
              </a:rPr>
              <a:t>to</a:t>
            </a:r>
            <a:r>
              <a:rPr sz="1200" spc="4" dirty="0">
                <a:latin typeface="Arial"/>
                <a:cs typeface="Arial"/>
              </a:rPr>
              <a:t> th</a:t>
            </a:r>
            <a:r>
              <a:rPr sz="1200" dirty="0">
                <a:latin typeface="Arial"/>
                <a:cs typeface="Arial"/>
              </a:rPr>
              <a:t>e</a:t>
            </a:r>
            <a:r>
              <a:rPr sz="1200" spc="-4" dirty="0">
                <a:latin typeface="Arial"/>
                <a:cs typeface="Arial"/>
              </a:rPr>
              <a:t> </a:t>
            </a:r>
            <a:r>
              <a:rPr sz="1200" spc="4" dirty="0">
                <a:latin typeface="Arial"/>
                <a:cs typeface="Arial"/>
              </a:rPr>
              <a:t>da</a:t>
            </a:r>
            <a:r>
              <a:rPr sz="1200" dirty="0">
                <a:latin typeface="Arial"/>
                <a:cs typeface="Arial"/>
              </a:rPr>
              <a:t>t</a:t>
            </a:r>
            <a:r>
              <a:rPr sz="1200" spc="4" dirty="0">
                <a:latin typeface="Arial"/>
                <a:cs typeface="Arial"/>
              </a:rPr>
              <a:t>aba</a:t>
            </a:r>
            <a:r>
              <a:rPr sz="1200" dirty="0">
                <a:latin typeface="Arial"/>
                <a:cs typeface="Arial"/>
              </a:rPr>
              <a:t>s</a:t>
            </a:r>
            <a:r>
              <a:rPr sz="1200" spc="-4" dirty="0">
                <a:latin typeface="Arial"/>
                <a:cs typeface="Arial"/>
              </a:rPr>
              <a:t>e</a:t>
            </a:r>
            <a:r>
              <a:rPr sz="1200" dirty="0">
                <a:latin typeface="Arial"/>
                <a:cs typeface="Arial"/>
              </a:rPr>
              <a:t>,</a:t>
            </a:r>
            <a:r>
              <a:rPr sz="1200" spc="-3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s</a:t>
            </a:r>
            <a:r>
              <a:rPr sz="1200" spc="-9" dirty="0">
                <a:latin typeface="Arial"/>
                <a:cs typeface="Arial"/>
              </a:rPr>
              <a:t>y</a:t>
            </a:r>
            <a:r>
              <a:rPr sz="1200" dirty="0">
                <a:latin typeface="Arial"/>
                <a:cs typeface="Arial"/>
              </a:rPr>
              <a:t>st</a:t>
            </a:r>
            <a:r>
              <a:rPr sz="1200" spc="4" dirty="0">
                <a:latin typeface="Arial"/>
                <a:cs typeface="Arial"/>
              </a:rPr>
              <a:t>e</a:t>
            </a:r>
            <a:r>
              <a:rPr sz="1200" dirty="0">
                <a:latin typeface="Arial"/>
                <a:cs typeface="Arial"/>
              </a:rPr>
              <a:t>m</a:t>
            </a:r>
            <a:r>
              <a:rPr sz="1200" spc="9" dirty="0">
                <a:latin typeface="Arial"/>
                <a:cs typeface="Arial"/>
              </a:rPr>
              <a:t> </a:t>
            </a:r>
            <a:r>
              <a:rPr sz="1200" spc="4" dirty="0">
                <a:latin typeface="Arial"/>
                <a:cs typeface="Arial"/>
              </a:rPr>
              <a:t>au</a:t>
            </a:r>
            <a:r>
              <a:rPr sz="1200" dirty="0">
                <a:latin typeface="Arial"/>
                <a:cs typeface="Arial"/>
              </a:rPr>
              <a:t>t</a:t>
            </a:r>
            <a:r>
              <a:rPr sz="1200" spc="4" dirty="0">
                <a:latin typeface="Arial"/>
                <a:cs typeface="Arial"/>
              </a:rPr>
              <a:t>oma</a:t>
            </a:r>
            <a:r>
              <a:rPr sz="1200" dirty="0">
                <a:latin typeface="Arial"/>
                <a:cs typeface="Arial"/>
              </a:rPr>
              <a:t>tic</a:t>
            </a:r>
            <a:r>
              <a:rPr sz="1200" spc="-4" dirty="0">
                <a:latin typeface="Arial"/>
                <a:cs typeface="Arial"/>
              </a:rPr>
              <a:t>a</a:t>
            </a:r>
            <a:r>
              <a:rPr sz="1200" dirty="0">
                <a:latin typeface="Arial"/>
                <a:cs typeface="Arial"/>
              </a:rPr>
              <a:t>l</a:t>
            </a:r>
            <a:r>
              <a:rPr sz="1200" spc="-4" dirty="0">
                <a:latin typeface="Arial"/>
                <a:cs typeface="Arial"/>
              </a:rPr>
              <a:t>l</a:t>
            </a:r>
            <a:r>
              <a:rPr sz="1200" dirty="0">
                <a:latin typeface="Arial"/>
                <a:cs typeface="Arial"/>
              </a:rPr>
              <a:t>y</a:t>
            </a:r>
            <a:r>
              <a:rPr sz="1200" spc="-4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a</a:t>
            </a:r>
            <a:r>
              <a:rPr sz="1200" dirty="0">
                <a:latin typeface="Arial"/>
                <a:cs typeface="Arial"/>
              </a:rPr>
              <a:t>t</a:t>
            </a:r>
            <a:r>
              <a:rPr sz="1200" spc="4" dirty="0">
                <a:latin typeface="Arial"/>
                <a:cs typeface="Arial"/>
              </a:rPr>
              <a:t>e</a:t>
            </a:r>
            <a:r>
              <a:rPr sz="1200" dirty="0">
                <a:latin typeface="Arial"/>
                <a:cs typeface="Arial"/>
              </a:rPr>
              <a:t>s c</a:t>
            </a:r>
            <a:r>
              <a:rPr sz="1200" spc="4" dirty="0">
                <a:latin typeface="Arial"/>
                <a:cs typeface="Arial"/>
              </a:rPr>
              <a:t>han</a:t>
            </a:r>
            <a:r>
              <a:rPr sz="1200" spc="-4" dirty="0">
                <a:latin typeface="Arial"/>
                <a:cs typeface="Arial"/>
              </a:rPr>
              <a:t>g</a:t>
            </a:r>
            <a:r>
              <a:rPr sz="1200" spc="9" dirty="0">
                <a:latin typeface="Arial"/>
                <a:cs typeface="Arial"/>
              </a:rPr>
              <a:t>e</a:t>
            </a:r>
            <a:r>
              <a:rPr sz="1200" spc="-4" dirty="0">
                <a:latin typeface="Arial"/>
                <a:cs typeface="Arial"/>
              </a:rPr>
              <a:t>-</a:t>
            </a:r>
            <a:r>
              <a:rPr sz="1200" spc="4" dirty="0">
                <a:latin typeface="Arial"/>
                <a:cs typeface="Arial"/>
              </a:rPr>
              <a:t>d</a:t>
            </a:r>
            <a:r>
              <a:rPr sz="1200" spc="-4" dirty="0">
                <a:latin typeface="Arial"/>
                <a:cs typeface="Arial"/>
              </a:rPr>
              <a:t>o</a:t>
            </a:r>
            <a:r>
              <a:rPr sz="1200" dirty="0">
                <a:latin typeface="Arial"/>
                <a:cs typeface="Arial"/>
              </a:rPr>
              <a:t>c</a:t>
            </a:r>
            <a:r>
              <a:rPr sz="1200" spc="-4" dirty="0">
                <a:latin typeface="Arial"/>
                <a:cs typeface="Arial"/>
              </a:rPr>
              <a:t>um</a:t>
            </a:r>
            <a:r>
              <a:rPr sz="1200" spc="4" dirty="0">
                <a:latin typeface="Arial"/>
                <a:cs typeface="Arial"/>
              </a:rPr>
              <a:t>e</a:t>
            </a:r>
            <a:r>
              <a:rPr sz="1200" spc="-4" dirty="0">
                <a:latin typeface="Arial"/>
                <a:cs typeface="Arial"/>
              </a:rPr>
              <a:t>n</a:t>
            </a:r>
            <a:r>
              <a:rPr sz="1200" dirty="0">
                <a:latin typeface="Arial"/>
                <a:cs typeface="Arial"/>
              </a:rPr>
              <a:t>ts.</a:t>
            </a:r>
            <a:r>
              <a:rPr sz="1200" spc="-39" dirty="0">
                <a:latin typeface="Arial"/>
                <a:cs typeface="Arial"/>
              </a:rPr>
              <a:t> </a:t>
            </a:r>
            <a:r>
              <a:rPr sz="1200" dirty="0">
                <a:latin typeface="Arial"/>
                <a:cs typeface="Arial"/>
              </a:rPr>
              <a:t>In</a:t>
            </a:r>
            <a:r>
              <a:rPr sz="1200" spc="4" dirty="0">
                <a:latin typeface="Arial"/>
                <a:cs typeface="Arial"/>
              </a:rPr>
              <a:t> th</a:t>
            </a:r>
            <a:r>
              <a:rPr sz="1200" dirty="0">
                <a:latin typeface="Arial"/>
                <a:cs typeface="Arial"/>
              </a:rPr>
              <a:t>is</a:t>
            </a:r>
            <a:r>
              <a:rPr sz="1200" spc="-9"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a:t>
            </a:r>
            <a:r>
              <a:rPr sz="1200" spc="-4" dirty="0">
                <a:latin typeface="Arial"/>
                <a:cs typeface="Arial"/>
              </a:rPr>
              <a:t>n</a:t>
            </a:r>
            <a:r>
              <a:rPr sz="1200" dirty="0">
                <a:latin typeface="Arial"/>
                <a:cs typeface="Arial"/>
              </a:rPr>
              <a:t>t,</a:t>
            </a:r>
            <a:r>
              <a:rPr sz="1200" spc="-2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s</a:t>
            </a:r>
            <a:r>
              <a:rPr sz="1200" spc="-9" dirty="0">
                <a:latin typeface="Arial"/>
                <a:cs typeface="Arial"/>
              </a:rPr>
              <a:t>y</a:t>
            </a:r>
            <a:r>
              <a:rPr sz="1200" dirty="0">
                <a:latin typeface="Arial"/>
                <a:cs typeface="Arial"/>
              </a:rPr>
              <a:t>st</a:t>
            </a:r>
            <a:r>
              <a:rPr sz="1200" spc="4" dirty="0">
                <a:latin typeface="Arial"/>
                <a:cs typeface="Arial"/>
              </a:rPr>
              <a:t>e</a:t>
            </a:r>
            <a:r>
              <a:rPr sz="1200" dirty="0">
                <a:latin typeface="Arial"/>
                <a:cs typeface="Arial"/>
              </a:rPr>
              <a:t>m</a:t>
            </a:r>
            <a:r>
              <a:rPr sz="1200" spc="9" dirty="0">
                <a:latin typeface="Arial"/>
                <a:cs typeface="Arial"/>
              </a:rPr>
              <a:t> </a:t>
            </a:r>
            <a:r>
              <a:rPr sz="1200" dirty="0">
                <a:latin typeface="Arial"/>
                <a:cs typeface="Arial"/>
              </a:rPr>
              <a:t>rec</a:t>
            </a:r>
            <a:r>
              <a:rPr sz="1200" spc="4" dirty="0">
                <a:latin typeface="Arial"/>
                <a:cs typeface="Arial"/>
              </a:rPr>
              <a:t>o</a:t>
            </a:r>
            <a:r>
              <a:rPr sz="1200" dirty="0">
                <a:latin typeface="Arial"/>
                <a:cs typeface="Arial"/>
              </a:rPr>
              <a:t>rds</a:t>
            </a:r>
            <a:r>
              <a:rPr sz="1200" spc="-4" dirty="0">
                <a:latin typeface="Arial"/>
                <a:cs typeface="Arial"/>
              </a:rPr>
              <a:t> </a:t>
            </a:r>
            <a:r>
              <a:rPr sz="1200" dirty="0">
                <a:latin typeface="Arial"/>
                <a:cs typeface="Arial"/>
              </a:rPr>
              <a:t>c</a:t>
            </a:r>
            <a:r>
              <a:rPr sz="1200" spc="4" dirty="0">
                <a:latin typeface="Arial"/>
                <a:cs typeface="Arial"/>
              </a:rPr>
              <a:t>han</a:t>
            </a:r>
            <a:r>
              <a:rPr sz="1200" spc="-4" dirty="0">
                <a:latin typeface="Arial"/>
                <a:cs typeface="Arial"/>
              </a:rPr>
              <a:t>g</a:t>
            </a:r>
            <a:r>
              <a:rPr sz="1200" spc="4" dirty="0">
                <a:latin typeface="Arial"/>
                <a:cs typeface="Arial"/>
              </a:rPr>
              <a:t>e</a:t>
            </a:r>
            <a:r>
              <a:rPr sz="1200" dirty="0">
                <a:latin typeface="Arial"/>
                <a:cs typeface="Arial"/>
              </a:rPr>
              <a:t>s</a:t>
            </a:r>
            <a:r>
              <a:rPr sz="1200" spc="-29" dirty="0">
                <a:latin typeface="Arial"/>
                <a:cs typeface="Arial"/>
              </a:rPr>
              <a:t> </a:t>
            </a:r>
            <a:r>
              <a:rPr sz="1200" dirty="0">
                <a:latin typeface="Arial"/>
                <a:cs typeface="Arial"/>
              </a:rPr>
              <a:t>to </a:t>
            </a:r>
            <a:r>
              <a:rPr sz="1200" spc="4" dirty="0">
                <a:latin typeface="Arial"/>
                <a:cs typeface="Arial"/>
              </a:rPr>
              <a:t>heade</a:t>
            </a:r>
            <a:r>
              <a:rPr sz="1200" dirty="0">
                <a:latin typeface="Arial"/>
                <a:cs typeface="Arial"/>
              </a:rPr>
              <a:t>r</a:t>
            </a:r>
            <a:r>
              <a:rPr sz="1200" spc="-34" dirty="0">
                <a:latin typeface="Arial"/>
                <a:cs typeface="Arial"/>
              </a:rPr>
              <a:t> </a:t>
            </a:r>
            <a:r>
              <a:rPr sz="1200" spc="4" dirty="0">
                <a:latin typeface="Arial"/>
                <a:cs typeface="Arial"/>
              </a:rPr>
              <a:t>o</a:t>
            </a:r>
            <a:r>
              <a:rPr sz="1200" dirty="0">
                <a:latin typeface="Arial"/>
                <a:cs typeface="Arial"/>
              </a:rPr>
              <a:t>r</a:t>
            </a:r>
            <a:r>
              <a:rPr sz="1200" spc="-9" dirty="0">
                <a:latin typeface="Arial"/>
                <a:cs typeface="Arial"/>
              </a:rPr>
              <a:t> </a:t>
            </a:r>
            <a:r>
              <a:rPr sz="1200" dirty="0">
                <a:latin typeface="Arial"/>
                <a:cs typeface="Arial"/>
              </a:rPr>
              <a:t>it</a:t>
            </a:r>
            <a:r>
              <a:rPr sz="1200" spc="4" dirty="0">
                <a:latin typeface="Arial"/>
                <a:cs typeface="Arial"/>
              </a:rPr>
              <a:t>e</a:t>
            </a:r>
            <a:r>
              <a:rPr sz="1200" dirty="0">
                <a:latin typeface="Arial"/>
                <a:cs typeface="Arial"/>
              </a:rPr>
              <a:t>m </a:t>
            </a:r>
            <a:r>
              <a:rPr sz="1200" spc="4" dirty="0">
                <a:latin typeface="Arial"/>
                <a:cs typeface="Arial"/>
              </a:rPr>
              <a:t>da</a:t>
            </a:r>
            <a:r>
              <a:rPr sz="1200" dirty="0">
                <a:latin typeface="Arial"/>
                <a:cs typeface="Arial"/>
              </a:rPr>
              <a:t>t</a:t>
            </a:r>
            <a:r>
              <a:rPr sz="1200" spc="4" dirty="0">
                <a:latin typeface="Arial"/>
                <a:cs typeface="Arial"/>
              </a:rPr>
              <a:t>a</a:t>
            </a:r>
            <a:r>
              <a:rPr sz="1200" dirty="0">
                <a:latin typeface="Arial"/>
                <a:cs typeface="Arial"/>
              </a:rPr>
              <a:t>,</a:t>
            </a:r>
            <a:r>
              <a:rPr sz="1200" spc="-29" dirty="0">
                <a:latin typeface="Arial"/>
                <a:cs typeface="Arial"/>
              </a:rPr>
              <a:t> </a:t>
            </a:r>
            <a:r>
              <a:rPr sz="1200" spc="4" dirty="0">
                <a:latin typeface="Arial"/>
                <a:cs typeface="Arial"/>
              </a:rPr>
              <a:t>pa</a:t>
            </a:r>
            <a:r>
              <a:rPr sz="1200" dirty="0">
                <a:latin typeface="Arial"/>
                <a:cs typeface="Arial"/>
              </a:rPr>
              <a:t>rtn</a:t>
            </a:r>
            <a:r>
              <a:rPr sz="1200" spc="4" dirty="0">
                <a:latin typeface="Arial"/>
                <a:cs typeface="Arial"/>
              </a:rPr>
              <a:t>e</a:t>
            </a:r>
            <a:r>
              <a:rPr sz="1200" dirty="0">
                <a:latin typeface="Arial"/>
                <a:cs typeface="Arial"/>
              </a:rPr>
              <a:t>r</a:t>
            </a:r>
            <a:r>
              <a:rPr sz="1200" spc="-25" dirty="0">
                <a:latin typeface="Arial"/>
                <a:cs typeface="Arial"/>
              </a:rPr>
              <a:t> </a:t>
            </a:r>
            <a:r>
              <a:rPr sz="1200" dirty="0">
                <a:latin typeface="Arial"/>
                <a:cs typeface="Arial"/>
              </a:rPr>
              <a:t>roles,</a:t>
            </a:r>
            <a:r>
              <a:rPr sz="1200" spc="-4" dirty="0">
                <a:latin typeface="Arial"/>
                <a:cs typeface="Arial"/>
              </a:rPr>
              <a:t> </a:t>
            </a:r>
            <a:r>
              <a:rPr sz="1200" dirty="0">
                <a:latin typeface="Arial"/>
                <a:cs typeface="Arial"/>
              </a:rPr>
              <a:t>st</a:t>
            </a:r>
            <a:r>
              <a:rPr sz="1200" spc="4" dirty="0">
                <a:latin typeface="Arial"/>
                <a:cs typeface="Arial"/>
              </a:rPr>
              <a:t>a</a:t>
            </a:r>
            <a:r>
              <a:rPr sz="1200" dirty="0">
                <a:latin typeface="Arial"/>
                <a:cs typeface="Arial"/>
              </a:rPr>
              <a:t>t</a:t>
            </a:r>
            <a:r>
              <a:rPr sz="1200" spc="4" dirty="0">
                <a:latin typeface="Arial"/>
                <a:cs typeface="Arial"/>
              </a:rPr>
              <a:t>u</a:t>
            </a:r>
            <a:r>
              <a:rPr sz="1200" dirty="0">
                <a:latin typeface="Arial"/>
                <a:cs typeface="Arial"/>
              </a:rPr>
              <a:t>s,</a:t>
            </a:r>
            <a:r>
              <a:rPr sz="1200" spc="-4" dirty="0">
                <a:latin typeface="Arial"/>
                <a:cs typeface="Arial"/>
              </a:rPr>
              <a:t> </a:t>
            </a:r>
            <a:r>
              <a:rPr sz="1200" spc="4" dirty="0">
                <a:latin typeface="Arial"/>
                <a:cs typeface="Arial"/>
              </a:rPr>
              <a:t>an</a:t>
            </a:r>
            <a:r>
              <a:rPr sz="1200" dirty="0">
                <a:latin typeface="Arial"/>
                <a:cs typeface="Arial"/>
              </a:rPr>
              <a:t>d</a:t>
            </a:r>
            <a:r>
              <a:rPr sz="1200" spc="-29" dirty="0">
                <a:latin typeface="Arial"/>
                <a:cs typeface="Arial"/>
              </a:rPr>
              <a:t> </a:t>
            </a:r>
            <a:r>
              <a:rPr sz="1200" dirty="0">
                <a:latin typeface="Arial"/>
                <a:cs typeface="Arial"/>
              </a:rPr>
              <a:t>to</a:t>
            </a:r>
            <a:r>
              <a:rPr sz="1200" spc="4" dirty="0">
                <a:latin typeface="Arial"/>
                <a:cs typeface="Arial"/>
              </a:rPr>
              <a:t> </a:t>
            </a:r>
            <a:r>
              <a:rPr sz="1200" spc="9" dirty="0">
                <a:latin typeface="Arial"/>
                <a:cs typeface="Arial"/>
              </a:rPr>
              <a:t>m</a:t>
            </a:r>
            <a:r>
              <a:rPr sz="1200" spc="4" dirty="0">
                <a:latin typeface="Arial"/>
                <a:cs typeface="Arial"/>
              </a:rPr>
              <a:t>ana</a:t>
            </a:r>
            <a:r>
              <a:rPr sz="1200" spc="-4" dirty="0">
                <a:latin typeface="Arial"/>
                <a:cs typeface="Arial"/>
              </a:rPr>
              <a:t>g</a:t>
            </a:r>
            <a:r>
              <a:rPr sz="1200" spc="4" dirty="0">
                <a:latin typeface="Arial"/>
                <a:cs typeface="Arial"/>
              </a:rPr>
              <a:t>e</a:t>
            </a:r>
            <a:r>
              <a:rPr sz="1200" spc="-4" dirty="0">
                <a:latin typeface="Arial"/>
                <a:cs typeface="Arial"/>
              </a:rPr>
              <a:t>m</a:t>
            </a:r>
            <a:r>
              <a:rPr sz="1200" spc="4" dirty="0">
                <a:latin typeface="Arial"/>
                <a:cs typeface="Arial"/>
              </a:rPr>
              <a:t>e</a:t>
            </a:r>
            <a:r>
              <a:rPr sz="1200" spc="-4" dirty="0">
                <a:latin typeface="Arial"/>
                <a:cs typeface="Arial"/>
              </a:rPr>
              <a:t>n</a:t>
            </a:r>
            <a:r>
              <a:rPr sz="1200" dirty="0">
                <a:latin typeface="Arial"/>
                <a:cs typeface="Arial"/>
              </a:rPr>
              <a:t>t</a:t>
            </a:r>
            <a:r>
              <a:rPr sz="1200" spc="-39" dirty="0">
                <a:latin typeface="Arial"/>
                <a:cs typeface="Arial"/>
              </a:rPr>
              <a:t> </a:t>
            </a:r>
            <a:r>
              <a:rPr sz="1200" spc="4" dirty="0">
                <a:latin typeface="Arial"/>
                <a:cs typeface="Arial"/>
              </a:rPr>
              <a:t>da</a:t>
            </a:r>
            <a:r>
              <a:rPr sz="1200" dirty="0">
                <a:latin typeface="Arial"/>
                <a:cs typeface="Arial"/>
              </a:rPr>
              <a:t>t</a:t>
            </a:r>
            <a:r>
              <a:rPr sz="1200" spc="4" dirty="0">
                <a:latin typeface="Arial"/>
                <a:cs typeface="Arial"/>
              </a:rPr>
              <a:t>a</a:t>
            </a:r>
            <a:r>
              <a:rPr sz="1200" dirty="0">
                <a:latin typeface="Arial"/>
                <a:cs typeface="Arial"/>
              </a:rPr>
              <a:t>.</a:t>
            </a:r>
            <a:endParaRPr sz="1200">
              <a:latin typeface="Arial"/>
              <a:cs typeface="Arial"/>
            </a:endParaRPr>
          </a:p>
        </p:txBody>
      </p:sp>
      <p:sp>
        <p:nvSpPr>
          <p:cNvPr id="11" name="object 11"/>
          <p:cNvSpPr txBox="1"/>
          <p:nvPr/>
        </p:nvSpPr>
        <p:spPr>
          <a:xfrm>
            <a:off x="1752600" y="3611879"/>
            <a:ext cx="2373376" cy="457200"/>
          </a:xfrm>
          <a:prstGeom prst="rect">
            <a:avLst/>
          </a:prstGeom>
        </p:spPr>
        <p:txBody>
          <a:bodyPr wrap="square" lIns="0" tIns="0" rIns="0" bIns="0" rtlCol="0">
            <a:noAutofit/>
          </a:bodyPr>
          <a:lstStyle/>
          <a:p>
            <a:pPr marL="91439">
              <a:lnSpc>
                <a:spcPct val="95825"/>
              </a:lnSpc>
              <a:spcBef>
                <a:spcPts val="400"/>
              </a:spcBef>
            </a:pPr>
            <a:r>
              <a:rPr sz="1200" dirty="0">
                <a:latin typeface="Arial"/>
                <a:cs typeface="Arial"/>
              </a:rPr>
              <a:t>E</a:t>
            </a:r>
            <a:r>
              <a:rPr sz="1200" spc="4" dirty="0">
                <a:latin typeface="Arial"/>
                <a:cs typeface="Arial"/>
              </a:rPr>
              <a:t>n</a:t>
            </a:r>
            <a:r>
              <a:rPr sz="1200" spc="-9" dirty="0">
                <a:latin typeface="Arial"/>
                <a:cs typeface="Arial"/>
              </a:rPr>
              <a:t>v</a:t>
            </a:r>
            <a:r>
              <a:rPr sz="1200" dirty="0">
                <a:latin typeface="Arial"/>
                <a:cs typeface="Arial"/>
              </a:rPr>
              <a:t>i</a:t>
            </a:r>
            <a:r>
              <a:rPr sz="1200" spc="-4" dirty="0">
                <a:latin typeface="Arial"/>
                <a:cs typeface="Arial"/>
              </a:rPr>
              <a:t>r</a:t>
            </a:r>
            <a:r>
              <a:rPr sz="1200" spc="4" dirty="0">
                <a:latin typeface="Arial"/>
                <a:cs typeface="Arial"/>
              </a:rPr>
              <a:t>onme</a:t>
            </a:r>
            <a:r>
              <a:rPr sz="1200" spc="-4" dirty="0">
                <a:latin typeface="Arial"/>
                <a:cs typeface="Arial"/>
              </a:rPr>
              <a:t>n</a:t>
            </a:r>
            <a:r>
              <a:rPr sz="1200" dirty="0">
                <a:latin typeface="Arial"/>
                <a:cs typeface="Arial"/>
              </a:rPr>
              <a:t>t</a:t>
            </a:r>
            <a:r>
              <a:rPr sz="1200" spc="-29" dirty="0">
                <a:latin typeface="Arial"/>
                <a:cs typeface="Arial"/>
              </a:rPr>
              <a:t> </a:t>
            </a:r>
            <a:r>
              <a:rPr sz="1200" spc="-4" dirty="0">
                <a:latin typeface="Arial"/>
                <a:cs typeface="Arial"/>
              </a:rPr>
              <a:t>-</a:t>
            </a:r>
            <a:r>
              <a:rPr sz="1200" dirty="0">
                <a:latin typeface="Arial"/>
                <a:cs typeface="Arial"/>
              </a:rPr>
              <a:t>&gt;</a:t>
            </a:r>
            <a:r>
              <a:rPr sz="1200" spc="9" dirty="0">
                <a:latin typeface="Arial"/>
                <a:cs typeface="Arial"/>
              </a:rPr>
              <a:t> </a:t>
            </a:r>
            <a:r>
              <a:rPr sz="1200" dirty="0">
                <a:latin typeface="Arial"/>
                <a:cs typeface="Arial"/>
              </a:rPr>
              <a:t>Doc</a:t>
            </a:r>
            <a:r>
              <a:rPr sz="1200" spc="4" dirty="0">
                <a:latin typeface="Arial"/>
                <a:cs typeface="Arial"/>
              </a:rPr>
              <a:t>umen</a:t>
            </a:r>
            <a:r>
              <a:rPr sz="1200" dirty="0">
                <a:latin typeface="Arial"/>
                <a:cs typeface="Arial"/>
              </a:rPr>
              <a:t>t</a:t>
            </a:r>
            <a:r>
              <a:rPr sz="1200" spc="-29" dirty="0">
                <a:latin typeface="Arial"/>
                <a:cs typeface="Arial"/>
              </a:rPr>
              <a:t> </a:t>
            </a:r>
            <a:r>
              <a:rPr sz="1200" spc="14" dirty="0">
                <a:latin typeface="Arial"/>
                <a:cs typeface="Arial"/>
              </a:rPr>
              <a:t>f</a:t>
            </a:r>
            <a:r>
              <a:rPr sz="1200" dirty="0">
                <a:latin typeface="Arial"/>
                <a:cs typeface="Arial"/>
              </a:rPr>
              <a:t>low</a:t>
            </a:r>
            <a:endParaRPr sz="1200">
              <a:latin typeface="Arial"/>
              <a:cs typeface="Arial"/>
            </a:endParaRPr>
          </a:p>
        </p:txBody>
      </p:sp>
      <p:sp>
        <p:nvSpPr>
          <p:cNvPr id="10" name="object 10"/>
          <p:cNvSpPr txBox="1"/>
          <p:nvPr/>
        </p:nvSpPr>
        <p:spPr>
          <a:xfrm>
            <a:off x="4125976" y="3611879"/>
            <a:ext cx="6161024" cy="457200"/>
          </a:xfrm>
          <a:prstGeom prst="rect">
            <a:avLst/>
          </a:prstGeom>
        </p:spPr>
        <p:txBody>
          <a:bodyPr wrap="square" lIns="0" tIns="0" rIns="0" bIns="0" rtlCol="0">
            <a:noAutofit/>
          </a:bodyPr>
          <a:lstStyle/>
          <a:p>
            <a:pPr marL="91821" marR="105107">
              <a:lnSpc>
                <a:spcPct val="100137"/>
              </a:lnSpc>
              <a:spcBef>
                <a:spcPts val="400"/>
              </a:spcBef>
            </a:pPr>
            <a:r>
              <a:rPr sz="1200" spc="-114" dirty="0">
                <a:latin typeface="Arial"/>
                <a:cs typeface="Arial"/>
              </a:rPr>
              <a:t>Y</a:t>
            </a:r>
            <a:r>
              <a:rPr sz="1200" spc="4" dirty="0">
                <a:latin typeface="Arial"/>
                <a:cs typeface="Arial"/>
              </a:rPr>
              <a:t>o</a:t>
            </a:r>
            <a:r>
              <a:rPr sz="1200" dirty="0">
                <a:latin typeface="Arial"/>
                <a:cs typeface="Arial"/>
              </a:rPr>
              <a:t>u</a:t>
            </a:r>
            <a:r>
              <a:rPr sz="1200" spc="-14" dirty="0">
                <a:latin typeface="Arial"/>
                <a:cs typeface="Arial"/>
              </a:rPr>
              <a:t> </a:t>
            </a:r>
            <a:r>
              <a:rPr sz="1200" dirty="0">
                <a:latin typeface="Arial"/>
                <a:cs typeface="Arial"/>
              </a:rPr>
              <a:t>re</a:t>
            </a:r>
            <a:r>
              <a:rPr sz="1200" spc="4" dirty="0">
                <a:latin typeface="Arial"/>
                <a:cs typeface="Arial"/>
              </a:rPr>
              <a:t>a</a:t>
            </a:r>
            <a:r>
              <a:rPr sz="1200" dirty="0">
                <a:latin typeface="Arial"/>
                <a:cs typeface="Arial"/>
              </a:rPr>
              <a:t>ch</a:t>
            </a:r>
            <a:r>
              <a:rPr sz="1200" spc="-1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Doc</a:t>
            </a:r>
            <a:r>
              <a:rPr sz="1200" spc="4" dirty="0">
                <a:latin typeface="Arial"/>
                <a:cs typeface="Arial"/>
              </a:rPr>
              <a:t>umen</a:t>
            </a:r>
            <a:r>
              <a:rPr sz="1200" dirty="0">
                <a:latin typeface="Arial"/>
                <a:cs typeface="Arial"/>
              </a:rPr>
              <a:t>t</a:t>
            </a:r>
            <a:r>
              <a:rPr sz="1200" spc="-39" dirty="0">
                <a:latin typeface="Arial"/>
                <a:cs typeface="Arial"/>
              </a:rPr>
              <a:t> </a:t>
            </a:r>
            <a:r>
              <a:rPr sz="1200" dirty="0">
                <a:latin typeface="Arial"/>
                <a:cs typeface="Arial"/>
              </a:rPr>
              <a:t>Flow scre</a:t>
            </a:r>
            <a:r>
              <a:rPr sz="1200" spc="4" dirty="0">
                <a:latin typeface="Arial"/>
                <a:cs typeface="Arial"/>
              </a:rPr>
              <a:t>e</a:t>
            </a:r>
            <a:r>
              <a:rPr sz="1200" dirty="0">
                <a:latin typeface="Arial"/>
                <a:cs typeface="Arial"/>
              </a:rPr>
              <a:t>n</a:t>
            </a:r>
            <a:r>
              <a:rPr sz="1200" spc="-1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spc="4" dirty="0">
                <a:latin typeface="Arial"/>
                <a:cs typeface="Arial"/>
              </a:rPr>
              <a:t>en</a:t>
            </a:r>
            <a:r>
              <a:rPr sz="1200" dirty="0">
                <a:latin typeface="Arial"/>
                <a:cs typeface="Arial"/>
              </a:rPr>
              <a:t>ti</a:t>
            </a:r>
            <a:r>
              <a:rPr sz="1200" spc="-4" dirty="0">
                <a:latin typeface="Arial"/>
                <a:cs typeface="Arial"/>
              </a:rPr>
              <a:t>r</a:t>
            </a:r>
            <a:r>
              <a:rPr sz="1200" dirty="0">
                <a:latin typeface="Arial"/>
                <a:cs typeface="Arial"/>
              </a:rPr>
              <a:t>e</a:t>
            </a:r>
            <a:r>
              <a:rPr sz="1200" spc="-14"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n</a:t>
            </a:r>
            <a:r>
              <a:rPr sz="1200" dirty="0">
                <a:latin typeface="Arial"/>
                <a:cs typeface="Arial"/>
              </a:rPr>
              <a:t>t.</a:t>
            </a:r>
            <a:r>
              <a:rPr sz="1200" spc="-99" dirty="0">
                <a:latin typeface="Arial"/>
                <a:cs typeface="Arial"/>
              </a:rPr>
              <a:t> </a:t>
            </a:r>
            <a:r>
              <a:rPr sz="1200" dirty="0">
                <a:latin typeface="Arial"/>
                <a:cs typeface="Arial"/>
              </a:rPr>
              <a:t>All</a:t>
            </a:r>
            <a:r>
              <a:rPr sz="1200" spc="-14" dirty="0">
                <a:latin typeface="Arial"/>
                <a:cs typeface="Arial"/>
              </a:rPr>
              <a:t> </a:t>
            </a:r>
            <a:r>
              <a:rPr sz="1200" spc="4" dirty="0">
                <a:latin typeface="Arial"/>
                <a:cs typeface="Arial"/>
              </a:rPr>
              <a:t>e</a:t>
            </a:r>
            <a:r>
              <a:rPr sz="1200" spc="-9" dirty="0">
                <a:latin typeface="Arial"/>
                <a:cs typeface="Arial"/>
              </a:rPr>
              <a:t>x</a:t>
            </a:r>
            <a:r>
              <a:rPr sz="1200" dirty="0">
                <a:latin typeface="Arial"/>
                <a:cs typeface="Arial"/>
              </a:rPr>
              <a:t>isting</a:t>
            </a:r>
            <a:r>
              <a:rPr sz="1200" spc="-4" dirty="0">
                <a:latin typeface="Arial"/>
                <a:cs typeface="Arial"/>
              </a:rPr>
              <a:t> </a:t>
            </a:r>
            <a:r>
              <a:rPr sz="1200" spc="4" dirty="0">
                <a:latin typeface="Arial"/>
                <a:cs typeface="Arial"/>
              </a:rPr>
              <a:t>p</a:t>
            </a:r>
            <a:r>
              <a:rPr sz="1200" dirty="0">
                <a:latin typeface="Arial"/>
                <a:cs typeface="Arial"/>
              </a:rPr>
              <a:t>rec</a:t>
            </a:r>
            <a:r>
              <a:rPr sz="1200" spc="4" dirty="0">
                <a:latin typeface="Arial"/>
                <a:cs typeface="Arial"/>
              </a:rPr>
              <a:t>ed</a:t>
            </a:r>
            <a:r>
              <a:rPr sz="1200" dirty="0">
                <a:latin typeface="Arial"/>
                <a:cs typeface="Arial"/>
              </a:rPr>
              <a:t>ing</a:t>
            </a:r>
            <a:r>
              <a:rPr sz="1200" spc="-49" dirty="0">
                <a:latin typeface="Arial"/>
                <a:cs typeface="Arial"/>
              </a:rPr>
              <a:t> </a:t>
            </a:r>
            <a:r>
              <a:rPr sz="1200" spc="4" dirty="0">
                <a:latin typeface="Arial"/>
                <a:cs typeface="Arial"/>
              </a:rPr>
              <a:t>an</a:t>
            </a:r>
            <a:r>
              <a:rPr sz="1200" dirty="0">
                <a:latin typeface="Arial"/>
                <a:cs typeface="Arial"/>
              </a:rPr>
              <a:t>d s</a:t>
            </a:r>
            <a:r>
              <a:rPr sz="1200" spc="4" dirty="0">
                <a:latin typeface="Arial"/>
                <a:cs typeface="Arial"/>
              </a:rPr>
              <a:t>ub</a:t>
            </a:r>
            <a:r>
              <a:rPr sz="1200" dirty="0">
                <a:latin typeface="Arial"/>
                <a:cs typeface="Arial"/>
              </a:rPr>
              <a:t>s</a:t>
            </a:r>
            <a:r>
              <a:rPr sz="1200" spc="4" dirty="0">
                <a:latin typeface="Arial"/>
                <a:cs typeface="Arial"/>
              </a:rPr>
              <a:t>e</a:t>
            </a:r>
            <a:r>
              <a:rPr sz="1200" spc="-4" dirty="0">
                <a:latin typeface="Arial"/>
                <a:cs typeface="Arial"/>
              </a:rPr>
              <a:t>q</a:t>
            </a:r>
            <a:r>
              <a:rPr sz="1200" spc="4" dirty="0">
                <a:latin typeface="Arial"/>
                <a:cs typeface="Arial"/>
              </a:rPr>
              <a:t>u</a:t>
            </a:r>
            <a:r>
              <a:rPr sz="1200" spc="-4" dirty="0">
                <a:latin typeface="Arial"/>
                <a:cs typeface="Arial"/>
              </a:rPr>
              <a:t>en</a:t>
            </a:r>
            <a:r>
              <a:rPr sz="1200" dirty="0">
                <a:latin typeface="Arial"/>
                <a:cs typeface="Arial"/>
              </a:rPr>
              <a:t>t</a:t>
            </a:r>
            <a:r>
              <a:rPr sz="1200" spc="-29"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a:t>
            </a:r>
            <a:r>
              <a:rPr sz="1200" spc="-4" dirty="0">
                <a:latin typeface="Arial"/>
                <a:cs typeface="Arial"/>
              </a:rPr>
              <a:t>n</a:t>
            </a:r>
            <a:r>
              <a:rPr sz="1200" dirty="0">
                <a:latin typeface="Arial"/>
                <a:cs typeface="Arial"/>
              </a:rPr>
              <a:t>ts</a:t>
            </a:r>
            <a:r>
              <a:rPr sz="1200" spc="-3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spc="4" dirty="0">
                <a:latin typeface="Arial"/>
                <a:cs typeface="Arial"/>
              </a:rPr>
              <a:t>o</a:t>
            </a:r>
            <a:r>
              <a:rPr sz="1200" dirty="0">
                <a:latin typeface="Arial"/>
                <a:cs typeface="Arial"/>
              </a:rPr>
              <a:t>rd</a:t>
            </a:r>
            <a:r>
              <a:rPr sz="1200" spc="4" dirty="0">
                <a:latin typeface="Arial"/>
                <a:cs typeface="Arial"/>
              </a:rPr>
              <a:t>e</a:t>
            </a:r>
            <a:r>
              <a:rPr sz="1200" dirty="0">
                <a:latin typeface="Arial"/>
                <a:cs typeface="Arial"/>
              </a:rPr>
              <a:t>r</a:t>
            </a:r>
            <a:r>
              <a:rPr sz="1200" spc="-24" dirty="0">
                <a:latin typeface="Arial"/>
                <a:cs typeface="Arial"/>
              </a:rPr>
              <a:t> </a:t>
            </a:r>
            <a:r>
              <a:rPr sz="1200" spc="4" dirty="0">
                <a:latin typeface="Arial"/>
                <a:cs typeface="Arial"/>
              </a:rPr>
              <a:t>a</a:t>
            </a:r>
            <a:r>
              <a:rPr sz="1200" dirty="0">
                <a:latin typeface="Arial"/>
                <a:cs typeface="Arial"/>
              </a:rPr>
              <a:t>re</a:t>
            </a:r>
            <a:r>
              <a:rPr sz="1200" spc="-4" dirty="0">
                <a:latin typeface="Arial"/>
                <a:cs typeface="Arial"/>
              </a:rPr>
              <a:t> </a:t>
            </a:r>
            <a:r>
              <a:rPr sz="1200" dirty="0">
                <a:latin typeface="Arial"/>
                <a:cs typeface="Arial"/>
              </a:rPr>
              <a:t>l</a:t>
            </a:r>
            <a:r>
              <a:rPr sz="1200" spc="-4" dirty="0">
                <a:latin typeface="Arial"/>
                <a:cs typeface="Arial"/>
              </a:rPr>
              <a:t>i</a:t>
            </a:r>
            <a:r>
              <a:rPr sz="1200" dirty="0">
                <a:latin typeface="Arial"/>
                <a:cs typeface="Arial"/>
              </a:rPr>
              <a:t>st</a:t>
            </a:r>
            <a:r>
              <a:rPr sz="1200" spc="4" dirty="0">
                <a:latin typeface="Arial"/>
                <a:cs typeface="Arial"/>
              </a:rPr>
              <a:t>e</a:t>
            </a:r>
            <a:r>
              <a:rPr sz="1200" dirty="0">
                <a:latin typeface="Arial"/>
                <a:cs typeface="Arial"/>
              </a:rPr>
              <a:t>d</a:t>
            </a:r>
            <a:r>
              <a:rPr sz="1200" spc="-4" dirty="0">
                <a:latin typeface="Arial"/>
                <a:cs typeface="Arial"/>
              </a:rPr>
              <a:t> </a:t>
            </a:r>
            <a:r>
              <a:rPr sz="1200" spc="4" dirty="0">
                <a:latin typeface="Arial"/>
                <a:cs typeface="Arial"/>
              </a:rPr>
              <a:t>he</a:t>
            </a:r>
            <a:r>
              <a:rPr sz="1200" dirty="0">
                <a:latin typeface="Arial"/>
                <a:cs typeface="Arial"/>
              </a:rPr>
              <a:t>re</a:t>
            </a:r>
          </a:p>
        </p:txBody>
      </p:sp>
      <p:sp>
        <p:nvSpPr>
          <p:cNvPr id="9" name="object 9"/>
          <p:cNvSpPr txBox="1"/>
          <p:nvPr/>
        </p:nvSpPr>
        <p:spPr>
          <a:xfrm>
            <a:off x="1752600" y="4069079"/>
            <a:ext cx="2373376" cy="457200"/>
          </a:xfrm>
          <a:prstGeom prst="rect">
            <a:avLst/>
          </a:prstGeom>
        </p:spPr>
        <p:txBody>
          <a:bodyPr wrap="square" lIns="0" tIns="0" rIns="0" bIns="0" rtlCol="0">
            <a:noAutofit/>
          </a:bodyPr>
          <a:lstStyle/>
          <a:p>
            <a:pPr marL="91439">
              <a:lnSpc>
                <a:spcPct val="95825"/>
              </a:lnSpc>
              <a:spcBef>
                <a:spcPts val="405"/>
              </a:spcBef>
            </a:pPr>
            <a:r>
              <a:rPr sz="1200" dirty="0">
                <a:latin typeface="Arial"/>
                <a:cs typeface="Arial"/>
              </a:rPr>
              <a:t>E</a:t>
            </a:r>
            <a:r>
              <a:rPr sz="1200" spc="-9" dirty="0">
                <a:latin typeface="Arial"/>
                <a:cs typeface="Arial"/>
              </a:rPr>
              <a:t>x</a:t>
            </a:r>
            <a:r>
              <a:rPr sz="1200" dirty="0">
                <a:latin typeface="Arial"/>
                <a:cs typeface="Arial"/>
              </a:rPr>
              <a:t>tras</a:t>
            </a:r>
            <a:r>
              <a:rPr sz="1200" spc="-4" dirty="0">
                <a:latin typeface="Arial"/>
                <a:cs typeface="Arial"/>
              </a:rPr>
              <a:t> -</a:t>
            </a:r>
            <a:r>
              <a:rPr sz="1200" dirty="0">
                <a:latin typeface="Arial"/>
                <a:cs typeface="Arial"/>
              </a:rPr>
              <a:t>&gt;</a:t>
            </a:r>
            <a:r>
              <a:rPr sz="1200" spc="9" dirty="0">
                <a:latin typeface="Arial"/>
                <a:cs typeface="Arial"/>
              </a:rPr>
              <a:t> </a:t>
            </a:r>
            <a:r>
              <a:rPr sz="1200" dirty="0">
                <a:latin typeface="Arial"/>
                <a:cs typeface="Arial"/>
              </a:rPr>
              <a:t>Deli</a:t>
            </a:r>
            <a:r>
              <a:rPr sz="1200" spc="-14" dirty="0">
                <a:latin typeface="Arial"/>
                <a:cs typeface="Arial"/>
              </a:rPr>
              <a:t>v</a:t>
            </a:r>
            <a:r>
              <a:rPr sz="1200" spc="4" dirty="0">
                <a:latin typeface="Arial"/>
                <a:cs typeface="Arial"/>
              </a:rPr>
              <a:t>e</a:t>
            </a:r>
            <a:r>
              <a:rPr sz="1200" dirty="0">
                <a:latin typeface="Arial"/>
                <a:cs typeface="Arial"/>
              </a:rPr>
              <a:t>ry O</a:t>
            </a:r>
            <a:r>
              <a:rPr sz="1200" spc="4" dirty="0">
                <a:latin typeface="Arial"/>
                <a:cs typeface="Arial"/>
              </a:rPr>
              <a:t>u</a:t>
            </a:r>
            <a:r>
              <a:rPr sz="1200" dirty="0">
                <a:latin typeface="Arial"/>
                <a:cs typeface="Arial"/>
              </a:rPr>
              <a:t>t</a:t>
            </a:r>
            <a:r>
              <a:rPr sz="1200" spc="4" dirty="0">
                <a:latin typeface="Arial"/>
                <a:cs typeface="Arial"/>
              </a:rPr>
              <a:t>pu</a:t>
            </a:r>
            <a:r>
              <a:rPr sz="1200" dirty="0">
                <a:latin typeface="Arial"/>
                <a:cs typeface="Arial"/>
              </a:rPr>
              <a:t>t</a:t>
            </a:r>
          </a:p>
        </p:txBody>
      </p:sp>
      <p:sp>
        <p:nvSpPr>
          <p:cNvPr id="8" name="object 8"/>
          <p:cNvSpPr txBox="1"/>
          <p:nvPr/>
        </p:nvSpPr>
        <p:spPr>
          <a:xfrm>
            <a:off x="4125976" y="4069079"/>
            <a:ext cx="6161024" cy="457200"/>
          </a:xfrm>
          <a:prstGeom prst="rect">
            <a:avLst/>
          </a:prstGeom>
        </p:spPr>
        <p:txBody>
          <a:bodyPr wrap="square" lIns="0" tIns="0" rIns="0" bIns="0" rtlCol="0">
            <a:noAutofit/>
          </a:bodyPr>
          <a:lstStyle/>
          <a:p>
            <a:pPr marL="91821" marR="118290">
              <a:lnSpc>
                <a:spcPct val="100041"/>
              </a:lnSpc>
              <a:spcBef>
                <a:spcPts val="405"/>
              </a:spcBef>
            </a:pPr>
            <a:r>
              <a:rPr sz="1200" spc="9" dirty="0">
                <a:latin typeface="Arial"/>
                <a:cs typeface="Arial"/>
              </a:rPr>
              <a:t>T</a:t>
            </a:r>
            <a:r>
              <a:rPr sz="1200" spc="4" dirty="0">
                <a:latin typeface="Arial"/>
                <a:cs typeface="Arial"/>
              </a:rPr>
              <a:t>h</a:t>
            </a:r>
            <a:r>
              <a:rPr sz="1200" dirty="0">
                <a:latin typeface="Arial"/>
                <a:cs typeface="Arial"/>
              </a:rPr>
              <a:t>e</a:t>
            </a:r>
            <a:r>
              <a:rPr sz="1200" spc="-29" dirty="0">
                <a:latin typeface="Arial"/>
                <a:cs typeface="Arial"/>
              </a:rPr>
              <a:t> </a:t>
            </a:r>
            <a:r>
              <a:rPr sz="1200" dirty="0">
                <a:latin typeface="Arial"/>
                <a:cs typeface="Arial"/>
              </a:rPr>
              <a:t>O</a:t>
            </a:r>
            <a:r>
              <a:rPr sz="1200" spc="4" dirty="0">
                <a:latin typeface="Arial"/>
                <a:cs typeface="Arial"/>
              </a:rPr>
              <a:t>u</a:t>
            </a:r>
            <a:r>
              <a:rPr sz="1200" dirty="0">
                <a:latin typeface="Arial"/>
                <a:cs typeface="Arial"/>
              </a:rPr>
              <a:t>t</a:t>
            </a:r>
            <a:r>
              <a:rPr sz="1200" spc="4" dirty="0">
                <a:latin typeface="Arial"/>
                <a:cs typeface="Arial"/>
              </a:rPr>
              <a:t>pu</a:t>
            </a:r>
            <a:r>
              <a:rPr sz="1200" dirty="0">
                <a:latin typeface="Arial"/>
                <a:cs typeface="Arial"/>
              </a:rPr>
              <a:t>t</a:t>
            </a:r>
            <a:r>
              <a:rPr sz="1200" spc="-19" dirty="0">
                <a:latin typeface="Arial"/>
                <a:cs typeface="Arial"/>
              </a:rPr>
              <a:t> </a:t>
            </a:r>
            <a:r>
              <a:rPr sz="1200" spc="14" dirty="0">
                <a:latin typeface="Arial"/>
                <a:cs typeface="Arial"/>
              </a:rPr>
              <a:t>f</a:t>
            </a:r>
            <a:r>
              <a:rPr sz="1200" dirty="0">
                <a:latin typeface="Arial"/>
                <a:cs typeface="Arial"/>
              </a:rPr>
              <a:t>rom</a:t>
            </a:r>
            <a:r>
              <a:rPr sz="1200" spc="-9" dirty="0">
                <a:latin typeface="Arial"/>
                <a:cs typeface="Arial"/>
              </a:rPr>
              <a:t> </a:t>
            </a:r>
            <a:r>
              <a:rPr sz="1200" dirty="0">
                <a:latin typeface="Arial"/>
                <a:cs typeface="Arial"/>
              </a:rPr>
              <a:t>Deli</a:t>
            </a:r>
            <a:r>
              <a:rPr sz="1200" spc="-14" dirty="0">
                <a:latin typeface="Arial"/>
                <a:cs typeface="Arial"/>
              </a:rPr>
              <a:t>v</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e</a:t>
            </a:r>
            <a:r>
              <a:rPr sz="1200" dirty="0">
                <a:latin typeface="Arial"/>
                <a:cs typeface="Arial"/>
              </a:rPr>
              <a:t>s</a:t>
            </a:r>
            <a:r>
              <a:rPr sz="1200" spc="4"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14" dirty="0">
                <a:latin typeface="Arial"/>
                <a:cs typeface="Arial"/>
              </a:rPr>
              <a:t> </a:t>
            </a:r>
            <a:r>
              <a:rPr sz="1200" spc="4" dirty="0">
                <a:latin typeface="Arial"/>
                <a:cs typeface="Arial"/>
              </a:rPr>
              <a:t>appea</a:t>
            </a:r>
            <a:r>
              <a:rPr sz="1200" dirty="0">
                <a:latin typeface="Arial"/>
                <a:cs typeface="Arial"/>
              </a:rPr>
              <a:t>rs,</a:t>
            </a:r>
            <a:r>
              <a:rPr sz="1200" spc="-34" dirty="0">
                <a:latin typeface="Arial"/>
                <a:cs typeface="Arial"/>
              </a:rPr>
              <a:t> </a:t>
            </a:r>
            <a:r>
              <a:rPr sz="1200" spc="-14" dirty="0">
                <a:latin typeface="Arial"/>
                <a:cs typeface="Arial"/>
              </a:rPr>
              <a:t>w</a:t>
            </a:r>
            <a:r>
              <a:rPr sz="1200" spc="4" dirty="0">
                <a:latin typeface="Arial"/>
                <a:cs typeface="Arial"/>
              </a:rPr>
              <a:t>h</a:t>
            </a:r>
            <a:r>
              <a:rPr sz="1200" dirty="0">
                <a:latin typeface="Arial"/>
                <a:cs typeface="Arial"/>
              </a:rPr>
              <a:t>ich</a:t>
            </a:r>
            <a:r>
              <a:rPr sz="1200" spc="-4" dirty="0">
                <a:latin typeface="Arial"/>
                <a:cs typeface="Arial"/>
              </a:rPr>
              <a:t> </a:t>
            </a:r>
            <a:r>
              <a:rPr sz="1200" dirty="0">
                <a:latin typeface="Arial"/>
                <a:cs typeface="Arial"/>
              </a:rPr>
              <a:t>c</a:t>
            </a:r>
            <a:r>
              <a:rPr sz="1200" spc="4" dirty="0">
                <a:latin typeface="Arial"/>
                <a:cs typeface="Arial"/>
              </a:rPr>
              <a:t>on</a:t>
            </a:r>
            <a:r>
              <a:rPr sz="1200" dirty="0">
                <a:latin typeface="Arial"/>
                <a:cs typeface="Arial"/>
              </a:rPr>
              <a:t>t</a:t>
            </a:r>
            <a:r>
              <a:rPr sz="1200" spc="4" dirty="0">
                <a:latin typeface="Arial"/>
                <a:cs typeface="Arial"/>
              </a:rPr>
              <a:t>a</a:t>
            </a:r>
            <a:r>
              <a:rPr sz="1200" dirty="0">
                <a:latin typeface="Arial"/>
                <a:cs typeface="Arial"/>
              </a:rPr>
              <a:t>ins</a:t>
            </a:r>
            <a:r>
              <a:rPr sz="1200" spc="-29" dirty="0">
                <a:latin typeface="Arial"/>
                <a:cs typeface="Arial"/>
              </a:rPr>
              <a:t> </a:t>
            </a:r>
            <a:r>
              <a:rPr sz="1200" dirty="0">
                <a:latin typeface="Arial"/>
                <a:cs typeface="Arial"/>
              </a:rPr>
              <a:t>a</a:t>
            </a:r>
            <a:r>
              <a:rPr sz="1200" spc="-4" dirty="0">
                <a:latin typeface="Arial"/>
                <a:cs typeface="Arial"/>
              </a:rPr>
              <a:t> </a:t>
            </a:r>
            <a:r>
              <a:rPr sz="1200" dirty="0">
                <a:latin typeface="Arial"/>
                <a:cs typeface="Arial"/>
              </a:rPr>
              <a:t>l</a:t>
            </a:r>
            <a:r>
              <a:rPr sz="1200" spc="-4" dirty="0">
                <a:latin typeface="Arial"/>
                <a:cs typeface="Arial"/>
              </a:rPr>
              <a:t>i</a:t>
            </a:r>
            <a:r>
              <a:rPr sz="1200" dirty="0">
                <a:latin typeface="Arial"/>
                <a:cs typeface="Arial"/>
              </a:rPr>
              <a:t>st</a:t>
            </a:r>
            <a:r>
              <a:rPr sz="1200" spc="4" dirty="0">
                <a:latin typeface="Arial"/>
                <a:cs typeface="Arial"/>
              </a:rPr>
              <a:t> o</a:t>
            </a:r>
            <a:r>
              <a:rPr sz="1200" dirty="0">
                <a:latin typeface="Arial"/>
                <a:cs typeface="Arial"/>
              </a:rPr>
              <a:t>f</a:t>
            </a:r>
            <a:r>
              <a:rPr sz="1200" spc="4" dirty="0">
                <a:latin typeface="Arial"/>
                <a:cs typeface="Arial"/>
              </a:rPr>
              <a:t> a</a:t>
            </a:r>
            <a:r>
              <a:rPr sz="1200" dirty="0">
                <a:latin typeface="Arial"/>
                <a:cs typeface="Arial"/>
              </a:rPr>
              <a:t>ll</a:t>
            </a:r>
            <a:r>
              <a:rPr sz="1200" spc="-14" dirty="0">
                <a:latin typeface="Arial"/>
                <a:cs typeface="Arial"/>
              </a:rPr>
              <a:t> </a:t>
            </a:r>
            <a:r>
              <a:rPr sz="1200" spc="4" dirty="0">
                <a:latin typeface="Arial"/>
                <a:cs typeface="Arial"/>
              </a:rPr>
              <a:t>ou</a:t>
            </a:r>
            <a:r>
              <a:rPr sz="1200" dirty="0">
                <a:latin typeface="Arial"/>
                <a:cs typeface="Arial"/>
              </a:rPr>
              <a:t>t</a:t>
            </a:r>
            <a:r>
              <a:rPr sz="1200" spc="4" dirty="0">
                <a:latin typeface="Arial"/>
                <a:cs typeface="Arial"/>
              </a:rPr>
              <a:t>pu</a:t>
            </a:r>
            <a:r>
              <a:rPr sz="1200" dirty="0">
                <a:latin typeface="Arial"/>
                <a:cs typeface="Arial"/>
              </a:rPr>
              <a:t>ts</a:t>
            </a:r>
            <a:r>
              <a:rPr sz="1200" spc="-29" dirty="0">
                <a:latin typeface="Arial"/>
                <a:cs typeface="Arial"/>
              </a:rPr>
              <a:t> </a:t>
            </a:r>
            <a:r>
              <a:rPr sz="1200" dirty="0">
                <a:latin typeface="Arial"/>
                <a:cs typeface="Arial"/>
              </a:rPr>
              <a:t>t</a:t>
            </a:r>
            <a:r>
              <a:rPr sz="1200" spc="4" dirty="0">
                <a:latin typeface="Arial"/>
                <a:cs typeface="Arial"/>
              </a:rPr>
              <a:t>ha</a:t>
            </a:r>
            <a:r>
              <a:rPr sz="1200" dirty="0">
                <a:latin typeface="Arial"/>
                <a:cs typeface="Arial"/>
              </a:rPr>
              <a:t>t</a:t>
            </a:r>
            <a:r>
              <a:rPr sz="1200" spc="-4" dirty="0">
                <a:latin typeface="Arial"/>
                <a:cs typeface="Arial"/>
              </a:rPr>
              <a:t> </a:t>
            </a:r>
            <a:r>
              <a:rPr sz="1200" spc="4" dirty="0">
                <a:latin typeface="Arial"/>
                <a:cs typeface="Arial"/>
              </a:rPr>
              <a:t>mee</a:t>
            </a:r>
            <a:r>
              <a:rPr sz="1200" dirty="0">
                <a:latin typeface="Arial"/>
                <a:cs typeface="Arial"/>
              </a:rPr>
              <a:t>t </a:t>
            </a:r>
            <a:r>
              <a:rPr sz="1200" spc="-9" dirty="0">
                <a:latin typeface="Arial"/>
                <a:cs typeface="Arial"/>
              </a:rPr>
              <a:t>y</a:t>
            </a:r>
            <a:r>
              <a:rPr sz="1200" spc="4" dirty="0">
                <a:latin typeface="Arial"/>
                <a:cs typeface="Arial"/>
              </a:rPr>
              <a:t>ou</a:t>
            </a:r>
            <a:r>
              <a:rPr sz="1200" dirty="0">
                <a:latin typeface="Arial"/>
                <a:cs typeface="Arial"/>
              </a:rPr>
              <a:t>r</a:t>
            </a:r>
            <a:r>
              <a:rPr sz="1200" spc="-9" dirty="0">
                <a:latin typeface="Arial"/>
                <a:cs typeface="Arial"/>
              </a:rPr>
              <a:t> </a:t>
            </a:r>
            <a:r>
              <a:rPr sz="1200" dirty="0">
                <a:latin typeface="Arial"/>
                <a:cs typeface="Arial"/>
              </a:rPr>
              <a:t>s</a:t>
            </a:r>
            <a:r>
              <a:rPr sz="1200" spc="4" dirty="0">
                <a:latin typeface="Arial"/>
                <a:cs typeface="Arial"/>
              </a:rPr>
              <a:t>e</a:t>
            </a:r>
            <a:r>
              <a:rPr sz="1200" dirty="0">
                <a:latin typeface="Arial"/>
                <a:cs typeface="Arial"/>
              </a:rPr>
              <a:t>lec</a:t>
            </a:r>
            <a:r>
              <a:rPr sz="1200" spc="4" dirty="0">
                <a:latin typeface="Arial"/>
                <a:cs typeface="Arial"/>
              </a:rPr>
              <a:t>t</a:t>
            </a:r>
            <a:r>
              <a:rPr sz="1200" dirty="0">
                <a:latin typeface="Arial"/>
                <a:cs typeface="Arial"/>
              </a:rPr>
              <a:t>ion</a:t>
            </a:r>
            <a:r>
              <a:rPr sz="1200" spc="-25" dirty="0">
                <a:latin typeface="Arial"/>
                <a:cs typeface="Arial"/>
              </a:rPr>
              <a:t> </a:t>
            </a:r>
            <a:r>
              <a:rPr sz="1200" dirty="0">
                <a:latin typeface="Arial"/>
                <a:cs typeface="Arial"/>
              </a:rPr>
              <a:t>c</a:t>
            </a:r>
            <a:r>
              <a:rPr sz="1200" spc="-4" dirty="0">
                <a:latin typeface="Arial"/>
                <a:cs typeface="Arial"/>
              </a:rPr>
              <a:t>r</a:t>
            </a:r>
            <a:r>
              <a:rPr sz="1200" dirty="0">
                <a:latin typeface="Arial"/>
                <a:cs typeface="Arial"/>
              </a:rPr>
              <a:t>it</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a</a:t>
            </a:r>
            <a:r>
              <a:rPr sz="1200" dirty="0">
                <a:latin typeface="Arial"/>
                <a:cs typeface="Arial"/>
              </a:rPr>
              <a:t>.</a:t>
            </a:r>
            <a:endParaRPr sz="1200">
              <a:latin typeface="Arial"/>
              <a:cs typeface="Arial"/>
            </a:endParaRPr>
          </a:p>
        </p:txBody>
      </p:sp>
      <p:sp>
        <p:nvSpPr>
          <p:cNvPr id="7" name="object 7"/>
          <p:cNvSpPr txBox="1"/>
          <p:nvPr/>
        </p:nvSpPr>
        <p:spPr>
          <a:xfrm>
            <a:off x="1752600" y="4526280"/>
            <a:ext cx="2373376" cy="822960"/>
          </a:xfrm>
          <a:prstGeom prst="rect">
            <a:avLst/>
          </a:prstGeom>
        </p:spPr>
        <p:txBody>
          <a:bodyPr wrap="square" lIns="0" tIns="0" rIns="0" bIns="0" rtlCol="0">
            <a:noAutofit/>
          </a:bodyPr>
          <a:lstStyle/>
          <a:p>
            <a:pPr marL="91439">
              <a:lnSpc>
                <a:spcPct val="95825"/>
              </a:lnSpc>
              <a:spcBef>
                <a:spcPts val="405"/>
              </a:spcBef>
            </a:pPr>
            <a:r>
              <a:rPr sz="1200" dirty="0">
                <a:latin typeface="Arial"/>
                <a:cs typeface="Arial"/>
              </a:rPr>
              <a:t>E</a:t>
            </a:r>
            <a:r>
              <a:rPr sz="1200" spc="-9" dirty="0">
                <a:latin typeface="Arial"/>
                <a:cs typeface="Arial"/>
              </a:rPr>
              <a:t>x</a:t>
            </a:r>
            <a:r>
              <a:rPr sz="1200" dirty="0">
                <a:latin typeface="Arial"/>
                <a:cs typeface="Arial"/>
              </a:rPr>
              <a:t>tras</a:t>
            </a:r>
            <a:r>
              <a:rPr sz="1200" spc="-4" dirty="0">
                <a:latin typeface="Arial"/>
                <a:cs typeface="Arial"/>
              </a:rPr>
              <a:t> -&gt;</a:t>
            </a:r>
            <a:r>
              <a:rPr sz="1200" dirty="0">
                <a:latin typeface="Arial"/>
                <a:cs typeface="Arial"/>
              </a:rPr>
              <a:t>S</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a</a:t>
            </a:r>
            <a:r>
              <a:rPr sz="1200" dirty="0">
                <a:latin typeface="Arial"/>
                <a:cs typeface="Arial"/>
              </a:rPr>
              <a:t>l</a:t>
            </a:r>
            <a:r>
              <a:rPr sz="1200" spc="-9" dirty="0">
                <a:latin typeface="Arial"/>
                <a:cs typeface="Arial"/>
              </a:rPr>
              <a:t> </a:t>
            </a:r>
            <a:r>
              <a:rPr sz="1200" dirty="0">
                <a:latin typeface="Arial"/>
                <a:cs typeface="Arial"/>
              </a:rPr>
              <a:t>Nu</a:t>
            </a:r>
            <a:r>
              <a:rPr sz="1200" spc="9" dirty="0">
                <a:latin typeface="Arial"/>
                <a:cs typeface="Arial"/>
              </a:rPr>
              <a:t>m</a:t>
            </a:r>
            <a:r>
              <a:rPr sz="1200" spc="4" dirty="0">
                <a:latin typeface="Arial"/>
                <a:cs typeface="Arial"/>
              </a:rPr>
              <a:t>be</a:t>
            </a:r>
            <a:r>
              <a:rPr sz="1200" dirty="0">
                <a:latin typeface="Arial"/>
                <a:cs typeface="Arial"/>
              </a:rPr>
              <a:t>rs</a:t>
            </a:r>
            <a:endParaRPr sz="1200">
              <a:latin typeface="Arial"/>
              <a:cs typeface="Arial"/>
            </a:endParaRPr>
          </a:p>
        </p:txBody>
      </p:sp>
      <p:sp>
        <p:nvSpPr>
          <p:cNvPr id="6" name="object 6"/>
          <p:cNvSpPr txBox="1"/>
          <p:nvPr/>
        </p:nvSpPr>
        <p:spPr>
          <a:xfrm>
            <a:off x="4125976" y="4526280"/>
            <a:ext cx="6161024" cy="822960"/>
          </a:xfrm>
          <a:prstGeom prst="rect">
            <a:avLst/>
          </a:prstGeom>
        </p:spPr>
        <p:txBody>
          <a:bodyPr wrap="square" lIns="0" tIns="0" rIns="0" bIns="0" rtlCol="0">
            <a:noAutofit/>
          </a:bodyPr>
          <a:lstStyle/>
          <a:p>
            <a:pPr marL="91821" marR="87429">
              <a:lnSpc>
                <a:spcPct val="100041"/>
              </a:lnSpc>
              <a:spcBef>
                <a:spcPts val="405"/>
              </a:spcBef>
            </a:pPr>
            <a:r>
              <a:rPr sz="1200" dirty="0">
                <a:latin typeface="Arial"/>
                <a:cs typeface="Arial"/>
              </a:rPr>
              <a:t>S</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a</a:t>
            </a:r>
            <a:r>
              <a:rPr sz="1200" dirty="0">
                <a:latin typeface="Arial"/>
                <a:cs typeface="Arial"/>
              </a:rPr>
              <a:t>l</a:t>
            </a:r>
            <a:r>
              <a:rPr sz="1200" spc="-34" dirty="0">
                <a:latin typeface="Arial"/>
                <a:cs typeface="Arial"/>
              </a:rPr>
              <a:t> </a:t>
            </a:r>
            <a:r>
              <a:rPr sz="1200" spc="4" dirty="0">
                <a:latin typeface="Arial"/>
                <a:cs typeface="Arial"/>
              </a:rPr>
              <a:t>numbe</a:t>
            </a:r>
            <a:r>
              <a:rPr sz="1200" dirty="0">
                <a:latin typeface="Arial"/>
                <a:cs typeface="Arial"/>
              </a:rPr>
              <a:t>rs</a:t>
            </a:r>
            <a:r>
              <a:rPr sz="1200" spc="-34" dirty="0">
                <a:latin typeface="Arial"/>
                <a:cs typeface="Arial"/>
              </a:rPr>
              <a:t> </a:t>
            </a:r>
            <a:r>
              <a:rPr sz="1200" spc="4" dirty="0">
                <a:latin typeface="Arial"/>
                <a:cs typeface="Arial"/>
              </a:rPr>
              <a:t>a</a:t>
            </a:r>
            <a:r>
              <a:rPr sz="1200" dirty="0">
                <a:latin typeface="Arial"/>
                <a:cs typeface="Arial"/>
              </a:rPr>
              <a:t>re</a:t>
            </a:r>
            <a:r>
              <a:rPr sz="1200" spc="-4" dirty="0">
                <a:latin typeface="Arial"/>
                <a:cs typeface="Arial"/>
              </a:rPr>
              <a:t> </a:t>
            </a:r>
            <a:r>
              <a:rPr sz="1200" spc="4" dirty="0">
                <a:latin typeface="Arial"/>
                <a:cs typeface="Arial"/>
              </a:rPr>
              <a:t>u</a:t>
            </a:r>
            <a:r>
              <a:rPr sz="1200" dirty="0">
                <a:latin typeface="Arial"/>
                <a:cs typeface="Arial"/>
              </a:rPr>
              <a:t>s</a:t>
            </a:r>
            <a:r>
              <a:rPr sz="1200" spc="4" dirty="0">
                <a:latin typeface="Arial"/>
                <a:cs typeface="Arial"/>
              </a:rPr>
              <a:t>e</a:t>
            </a:r>
            <a:r>
              <a:rPr sz="1200" dirty="0">
                <a:latin typeface="Arial"/>
                <a:cs typeface="Arial"/>
              </a:rPr>
              <a:t>d</a:t>
            </a:r>
            <a:r>
              <a:rPr sz="1200" spc="-14" dirty="0">
                <a:latin typeface="Arial"/>
                <a:cs typeface="Arial"/>
              </a:rPr>
              <a:t> </a:t>
            </a:r>
            <a:r>
              <a:rPr sz="1200" dirty="0">
                <a:latin typeface="Arial"/>
                <a:cs typeface="Arial"/>
              </a:rPr>
              <a:t>to </a:t>
            </a:r>
            <a:r>
              <a:rPr sz="1200" spc="4" dirty="0">
                <a:latin typeface="Arial"/>
                <a:cs typeface="Arial"/>
              </a:rPr>
              <a:t>un</a:t>
            </a:r>
            <a:r>
              <a:rPr sz="1200" dirty="0">
                <a:latin typeface="Arial"/>
                <a:cs typeface="Arial"/>
              </a:rPr>
              <a:t>i</a:t>
            </a:r>
            <a:r>
              <a:rPr sz="1200" spc="-9" dirty="0">
                <a:latin typeface="Arial"/>
                <a:cs typeface="Arial"/>
              </a:rPr>
              <a:t>q</a:t>
            </a:r>
            <a:r>
              <a:rPr sz="1200" spc="4" dirty="0">
                <a:latin typeface="Arial"/>
                <a:cs typeface="Arial"/>
              </a:rPr>
              <a:t>ue</a:t>
            </a:r>
            <a:r>
              <a:rPr sz="1200" dirty="0">
                <a:latin typeface="Arial"/>
                <a:cs typeface="Arial"/>
              </a:rPr>
              <a:t>ly</a:t>
            </a:r>
            <a:r>
              <a:rPr sz="1200" spc="-34" dirty="0">
                <a:latin typeface="Arial"/>
                <a:cs typeface="Arial"/>
              </a:rPr>
              <a:t> </a:t>
            </a:r>
            <a:r>
              <a:rPr sz="1200" dirty="0">
                <a:latin typeface="Arial"/>
                <a:cs typeface="Arial"/>
              </a:rPr>
              <a:t>id</a:t>
            </a:r>
            <a:r>
              <a:rPr sz="1200" spc="4" dirty="0">
                <a:latin typeface="Arial"/>
                <a:cs typeface="Arial"/>
              </a:rPr>
              <a:t>en</a:t>
            </a:r>
            <a:r>
              <a:rPr sz="1200" dirty="0">
                <a:latin typeface="Arial"/>
                <a:cs typeface="Arial"/>
              </a:rPr>
              <a:t>ti</a:t>
            </a:r>
            <a:r>
              <a:rPr sz="1200" spc="14" dirty="0">
                <a:latin typeface="Arial"/>
                <a:cs typeface="Arial"/>
              </a:rPr>
              <a:t>f</a:t>
            </a:r>
            <a:r>
              <a:rPr sz="1200" dirty="0">
                <a:latin typeface="Arial"/>
                <a:cs typeface="Arial"/>
              </a:rPr>
              <a:t>y</a:t>
            </a:r>
            <a:r>
              <a:rPr sz="1200" spc="-2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in</a:t>
            </a:r>
            <a:r>
              <a:rPr sz="1200" spc="4" dirty="0">
                <a:latin typeface="Arial"/>
                <a:cs typeface="Arial"/>
              </a:rPr>
              <a:t>d</a:t>
            </a:r>
            <a:r>
              <a:rPr sz="1200" dirty="0">
                <a:latin typeface="Arial"/>
                <a:cs typeface="Arial"/>
              </a:rPr>
              <a:t>i</a:t>
            </a:r>
            <a:r>
              <a:rPr sz="1200" spc="-14" dirty="0">
                <a:latin typeface="Arial"/>
                <a:cs typeface="Arial"/>
              </a:rPr>
              <a:t>v</a:t>
            </a:r>
            <a:r>
              <a:rPr sz="1200" dirty="0">
                <a:latin typeface="Arial"/>
                <a:cs typeface="Arial"/>
              </a:rPr>
              <a:t>id</a:t>
            </a:r>
            <a:r>
              <a:rPr sz="1200" spc="4" dirty="0">
                <a:latin typeface="Arial"/>
                <a:cs typeface="Arial"/>
              </a:rPr>
              <a:t>ua</a:t>
            </a:r>
            <a:r>
              <a:rPr sz="1200" dirty="0">
                <a:latin typeface="Arial"/>
                <a:cs typeface="Arial"/>
              </a:rPr>
              <a:t>l</a:t>
            </a:r>
            <a:r>
              <a:rPr sz="1200" spc="-34" dirty="0">
                <a:latin typeface="Arial"/>
                <a:cs typeface="Arial"/>
              </a:rPr>
              <a:t> </a:t>
            </a:r>
            <a:r>
              <a:rPr sz="1200" spc="4" dirty="0">
                <a:latin typeface="Arial"/>
                <a:cs typeface="Arial"/>
              </a:rPr>
              <a:t>ma</a:t>
            </a:r>
            <a:r>
              <a:rPr sz="1200" dirty="0">
                <a:latin typeface="Arial"/>
                <a:cs typeface="Arial"/>
              </a:rPr>
              <a:t>t</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a</a:t>
            </a:r>
            <a:r>
              <a:rPr sz="1200" dirty="0">
                <a:latin typeface="Arial"/>
                <a:cs typeface="Arial"/>
              </a:rPr>
              <a:t>l.</a:t>
            </a:r>
            <a:r>
              <a:rPr sz="1200" spc="-29" dirty="0">
                <a:latin typeface="Arial"/>
                <a:cs typeface="Arial"/>
              </a:rPr>
              <a:t> </a:t>
            </a:r>
            <a:r>
              <a:rPr sz="1200" dirty="0">
                <a:latin typeface="Arial"/>
                <a:cs typeface="Arial"/>
              </a:rPr>
              <a:t>In</a:t>
            </a:r>
            <a:r>
              <a:rPr sz="1200" spc="4" dirty="0">
                <a:latin typeface="Arial"/>
                <a:cs typeface="Arial"/>
              </a:rPr>
              <a:t> th</a:t>
            </a:r>
            <a:r>
              <a:rPr sz="1200" dirty="0">
                <a:latin typeface="Arial"/>
                <a:cs typeface="Arial"/>
              </a:rPr>
              <a:t>e</a:t>
            </a:r>
            <a:r>
              <a:rPr sz="1200" spc="-4" dirty="0">
                <a:latin typeface="Arial"/>
                <a:cs typeface="Arial"/>
              </a:rPr>
              <a:t> </a:t>
            </a:r>
            <a:r>
              <a:rPr sz="1200" spc="4" dirty="0">
                <a:latin typeface="Arial"/>
                <a:cs typeface="Arial"/>
              </a:rPr>
              <a:t>d</a:t>
            </a:r>
            <a:r>
              <a:rPr sz="1200" dirty="0">
                <a:latin typeface="Arial"/>
                <a:cs typeface="Arial"/>
              </a:rPr>
              <a:t>ial</a:t>
            </a:r>
            <a:r>
              <a:rPr sz="1200" spc="4" dirty="0">
                <a:latin typeface="Arial"/>
                <a:cs typeface="Arial"/>
              </a:rPr>
              <a:t>o</a:t>
            </a:r>
            <a:r>
              <a:rPr sz="1200" dirty="0">
                <a:latin typeface="Arial"/>
                <a:cs typeface="Arial"/>
              </a:rPr>
              <a:t>g</a:t>
            </a:r>
            <a:r>
              <a:rPr sz="1200" spc="-39" dirty="0">
                <a:latin typeface="Arial"/>
                <a:cs typeface="Arial"/>
              </a:rPr>
              <a:t> </a:t>
            </a:r>
            <a:r>
              <a:rPr sz="1200" spc="4" dirty="0">
                <a:latin typeface="Arial"/>
                <a:cs typeface="Arial"/>
              </a:rPr>
              <a:t>bo</a:t>
            </a:r>
            <a:r>
              <a:rPr sz="1200" dirty="0">
                <a:latin typeface="Arial"/>
                <a:cs typeface="Arial"/>
              </a:rPr>
              <a:t>x</a:t>
            </a:r>
            <a:r>
              <a:rPr sz="1200" spc="-9" dirty="0">
                <a:latin typeface="Arial"/>
                <a:cs typeface="Arial"/>
              </a:rPr>
              <a:t> </a:t>
            </a:r>
            <a:r>
              <a:rPr sz="1200" spc="4" dirty="0">
                <a:latin typeface="Arial"/>
                <a:cs typeface="Arial"/>
              </a:rPr>
              <a:t>tha</a:t>
            </a:r>
            <a:r>
              <a:rPr sz="1200" dirty="0">
                <a:latin typeface="Arial"/>
                <a:cs typeface="Arial"/>
              </a:rPr>
              <a:t>t 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s</a:t>
            </a:r>
            <a:r>
              <a:rPr sz="1200" spc="-9" dirty="0">
                <a:latin typeface="Arial"/>
                <a:cs typeface="Arial"/>
              </a:rPr>
              <a:t>y</a:t>
            </a:r>
            <a:r>
              <a:rPr sz="1200" dirty="0">
                <a:latin typeface="Arial"/>
                <a:cs typeface="Arial"/>
              </a:rPr>
              <a:t>st</a:t>
            </a:r>
            <a:r>
              <a:rPr sz="1200" spc="4" dirty="0">
                <a:latin typeface="Arial"/>
                <a:cs typeface="Arial"/>
              </a:rPr>
              <a:t>e</a:t>
            </a:r>
            <a:r>
              <a:rPr sz="1200" dirty="0">
                <a:latin typeface="Arial"/>
                <a:cs typeface="Arial"/>
              </a:rPr>
              <a:t>m </a:t>
            </a:r>
            <a:r>
              <a:rPr sz="1200" spc="4" dirty="0">
                <a:latin typeface="Arial"/>
                <a:cs typeface="Arial"/>
              </a:rPr>
              <a:t>d</a:t>
            </a:r>
            <a:r>
              <a:rPr sz="1200" dirty="0">
                <a:latin typeface="Arial"/>
                <a:cs typeface="Arial"/>
              </a:rPr>
              <a:t>ispl</a:t>
            </a:r>
            <a:r>
              <a:rPr sz="1200" spc="4" dirty="0">
                <a:latin typeface="Arial"/>
                <a:cs typeface="Arial"/>
              </a:rPr>
              <a:t>a</a:t>
            </a:r>
            <a:r>
              <a:rPr sz="1200" spc="-9" dirty="0">
                <a:latin typeface="Arial"/>
                <a:cs typeface="Arial"/>
              </a:rPr>
              <a:t>y</a:t>
            </a:r>
            <a:r>
              <a:rPr sz="1200" dirty="0">
                <a:latin typeface="Arial"/>
                <a:cs typeface="Arial"/>
              </a:rPr>
              <a:t>s</a:t>
            </a:r>
            <a:r>
              <a:rPr sz="1200" spc="-9" dirty="0">
                <a:latin typeface="Arial"/>
                <a:cs typeface="Arial"/>
              </a:rPr>
              <a:t> </a:t>
            </a:r>
            <a:r>
              <a:rPr sz="1200" spc="4" dirty="0">
                <a:latin typeface="Arial"/>
                <a:cs typeface="Arial"/>
              </a:rPr>
              <a:t>du</a:t>
            </a:r>
            <a:r>
              <a:rPr sz="1200" dirty="0">
                <a:latin typeface="Arial"/>
                <a:cs typeface="Arial"/>
              </a:rPr>
              <a:t>r</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y</a:t>
            </a:r>
            <a:r>
              <a:rPr sz="1200" spc="-14" dirty="0">
                <a:latin typeface="Arial"/>
                <a:cs typeface="Arial"/>
              </a:rPr>
              <a:t> </a:t>
            </a:r>
            <a:r>
              <a:rPr sz="1200" spc="4" dirty="0">
                <a:latin typeface="Arial"/>
                <a:cs typeface="Arial"/>
              </a:rPr>
              <a:t>p</a:t>
            </a:r>
            <a:r>
              <a:rPr sz="1200" dirty="0">
                <a:latin typeface="Arial"/>
                <a:cs typeface="Arial"/>
              </a:rPr>
              <a:t>roc</a:t>
            </a:r>
            <a:r>
              <a:rPr sz="1200" spc="4" dirty="0">
                <a:latin typeface="Arial"/>
                <a:cs typeface="Arial"/>
              </a:rPr>
              <a:t>e</a:t>
            </a:r>
            <a:r>
              <a:rPr sz="1200" dirty="0">
                <a:latin typeface="Arial"/>
                <a:cs typeface="Arial"/>
              </a:rPr>
              <a:t>ssin</a:t>
            </a:r>
            <a:r>
              <a:rPr sz="1200" spc="-4" dirty="0">
                <a:latin typeface="Arial"/>
                <a:cs typeface="Arial"/>
              </a:rPr>
              <a:t>g</a:t>
            </a:r>
            <a:r>
              <a:rPr sz="1200" dirty="0">
                <a:latin typeface="Arial"/>
                <a:cs typeface="Arial"/>
              </a:rPr>
              <a:t>,</a:t>
            </a:r>
            <a:r>
              <a:rPr sz="1200" spc="-29" dirty="0">
                <a:latin typeface="Arial"/>
                <a:cs typeface="Arial"/>
              </a:rPr>
              <a:t> </a:t>
            </a:r>
            <a:r>
              <a:rPr sz="1200" spc="-9" dirty="0">
                <a:latin typeface="Arial"/>
                <a:cs typeface="Arial"/>
              </a:rPr>
              <a:t>y</a:t>
            </a:r>
            <a:r>
              <a:rPr sz="1200" spc="4" dirty="0">
                <a:latin typeface="Arial"/>
                <a:cs typeface="Arial"/>
              </a:rPr>
              <a:t>o</a:t>
            </a:r>
            <a:r>
              <a:rPr sz="1200" dirty="0">
                <a:latin typeface="Arial"/>
                <a:cs typeface="Arial"/>
              </a:rPr>
              <a:t>u</a:t>
            </a:r>
            <a:r>
              <a:rPr sz="1200" spc="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4" dirty="0">
                <a:latin typeface="Arial"/>
                <a:cs typeface="Arial"/>
              </a:rPr>
              <a:t> </a:t>
            </a:r>
            <a:r>
              <a:rPr sz="1200" spc="4" dirty="0">
                <a:latin typeface="Arial"/>
                <a:cs typeface="Arial"/>
              </a:rPr>
              <a:t>e</a:t>
            </a:r>
            <a:r>
              <a:rPr sz="1200" dirty="0">
                <a:latin typeface="Arial"/>
                <a:cs typeface="Arial"/>
              </a:rPr>
              <a:t>it</a:t>
            </a:r>
            <a:r>
              <a:rPr sz="1200" spc="4" dirty="0">
                <a:latin typeface="Arial"/>
                <a:cs typeface="Arial"/>
              </a:rPr>
              <a:t>he</a:t>
            </a:r>
            <a:r>
              <a:rPr sz="1200" dirty="0">
                <a:latin typeface="Arial"/>
                <a:cs typeface="Arial"/>
              </a:rPr>
              <a:t>r</a:t>
            </a:r>
            <a:r>
              <a:rPr sz="1200" spc="-24" dirty="0">
                <a:latin typeface="Arial"/>
                <a:cs typeface="Arial"/>
              </a:rPr>
              <a:t> </a:t>
            </a:r>
            <a:r>
              <a:rPr sz="1200" dirty="0">
                <a:latin typeface="Arial"/>
                <a:cs typeface="Arial"/>
              </a:rPr>
              <a:t>s</a:t>
            </a:r>
            <a:r>
              <a:rPr sz="1200" spc="4" dirty="0">
                <a:latin typeface="Arial"/>
                <a:cs typeface="Arial"/>
              </a:rPr>
              <a:t>e</a:t>
            </a:r>
            <a:r>
              <a:rPr sz="1200" dirty="0">
                <a:latin typeface="Arial"/>
                <a:cs typeface="Arial"/>
              </a:rPr>
              <a:t>lect</a:t>
            </a:r>
            <a:r>
              <a:rPr sz="1200" spc="-14" dirty="0">
                <a:latin typeface="Arial"/>
                <a:cs typeface="Arial"/>
              </a:rPr>
              <a:t> </a:t>
            </a:r>
            <a:r>
              <a:rPr sz="1200" spc="14" dirty="0">
                <a:latin typeface="Arial"/>
                <a:cs typeface="Arial"/>
              </a:rPr>
              <a:t>f</a:t>
            </a:r>
            <a:r>
              <a:rPr sz="1200" dirty="0">
                <a:latin typeface="Arial"/>
                <a:cs typeface="Arial"/>
              </a:rPr>
              <a:t>rom</a:t>
            </a:r>
            <a:r>
              <a:rPr sz="1200" spc="-9" dirty="0">
                <a:latin typeface="Arial"/>
                <a:cs typeface="Arial"/>
              </a:rPr>
              <a:t> </a:t>
            </a:r>
            <a:r>
              <a:rPr sz="1200" dirty="0">
                <a:latin typeface="Arial"/>
                <a:cs typeface="Arial"/>
              </a:rPr>
              <a:t>s</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a</a:t>
            </a:r>
            <a:r>
              <a:rPr sz="1200" dirty="0">
                <a:latin typeface="Arial"/>
                <a:cs typeface="Arial"/>
              </a:rPr>
              <a:t>l</a:t>
            </a:r>
            <a:endParaRPr sz="1200">
              <a:latin typeface="Arial"/>
              <a:cs typeface="Arial"/>
            </a:endParaRPr>
          </a:p>
          <a:p>
            <a:pPr marL="91821" marR="209806">
              <a:lnSpc>
                <a:spcPct val="100041"/>
              </a:lnSpc>
            </a:pPr>
            <a:r>
              <a:rPr sz="1200" spc="4" dirty="0">
                <a:latin typeface="Arial"/>
                <a:cs typeface="Arial"/>
              </a:rPr>
              <a:t>numb</a:t>
            </a:r>
            <a:r>
              <a:rPr sz="1200" spc="-4" dirty="0">
                <a:latin typeface="Arial"/>
                <a:cs typeface="Arial"/>
              </a:rPr>
              <a:t>e</a:t>
            </a:r>
            <a:r>
              <a:rPr sz="1200" dirty="0">
                <a:latin typeface="Arial"/>
                <a:cs typeface="Arial"/>
              </a:rPr>
              <a:t>rs</a:t>
            </a:r>
            <a:r>
              <a:rPr sz="1200" spc="-3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25" dirty="0">
                <a:latin typeface="Arial"/>
                <a:cs typeface="Arial"/>
              </a:rPr>
              <a:t> </a:t>
            </a:r>
            <a:r>
              <a:rPr sz="1200" spc="-14" dirty="0">
                <a:latin typeface="Arial"/>
                <a:cs typeface="Arial"/>
              </a:rPr>
              <a:t>w</a:t>
            </a:r>
            <a:r>
              <a:rPr sz="1200" spc="4" dirty="0">
                <a:latin typeface="Arial"/>
                <a:cs typeface="Arial"/>
              </a:rPr>
              <a:t>h</a:t>
            </a:r>
            <a:r>
              <a:rPr sz="1200" dirty="0">
                <a:latin typeface="Arial"/>
                <a:cs typeface="Arial"/>
              </a:rPr>
              <a:t>ich</a:t>
            </a:r>
            <a:r>
              <a:rPr sz="1200" spc="4" dirty="0">
                <a:latin typeface="Arial"/>
                <a:cs typeface="Arial"/>
              </a:rPr>
              <a:t> </a:t>
            </a:r>
            <a:r>
              <a:rPr sz="1200" spc="-9" dirty="0">
                <a:latin typeface="Arial"/>
                <a:cs typeface="Arial"/>
              </a:rPr>
              <a:t>y</a:t>
            </a:r>
            <a:r>
              <a:rPr sz="1200" spc="4" dirty="0">
                <a:latin typeface="Arial"/>
                <a:cs typeface="Arial"/>
              </a:rPr>
              <a:t>o</a:t>
            </a:r>
            <a:r>
              <a:rPr sz="1200" dirty="0">
                <a:latin typeface="Arial"/>
                <a:cs typeface="Arial"/>
              </a:rPr>
              <a:t>u</a:t>
            </a:r>
            <a:r>
              <a:rPr sz="1200" spc="-4" dirty="0">
                <a:latin typeface="Arial"/>
                <a:cs typeface="Arial"/>
              </a:rPr>
              <a:t> </a:t>
            </a:r>
            <a:r>
              <a:rPr sz="1200" spc="4" dirty="0">
                <a:latin typeface="Arial"/>
                <a:cs typeface="Arial"/>
              </a:rPr>
              <a:t>ha</a:t>
            </a:r>
            <a:r>
              <a:rPr sz="1200" spc="-9" dirty="0">
                <a:latin typeface="Arial"/>
                <a:cs typeface="Arial"/>
              </a:rPr>
              <a:t>v</a:t>
            </a:r>
            <a:r>
              <a:rPr sz="1200" dirty="0">
                <a:latin typeface="Arial"/>
                <a:cs typeface="Arial"/>
              </a:rPr>
              <a:t>e</a:t>
            </a:r>
            <a:r>
              <a:rPr sz="1200" spc="-4" dirty="0">
                <a:latin typeface="Arial"/>
                <a:cs typeface="Arial"/>
              </a:rPr>
              <a:t> </a:t>
            </a:r>
            <a:r>
              <a:rPr sz="1200" spc="4" dirty="0">
                <a:latin typeface="Arial"/>
                <a:cs typeface="Arial"/>
              </a:rPr>
              <a:t>a</a:t>
            </a:r>
            <a:r>
              <a:rPr sz="1200" dirty="0">
                <a:latin typeface="Arial"/>
                <a:cs typeface="Arial"/>
              </a:rPr>
              <a:t>l</a:t>
            </a:r>
            <a:r>
              <a:rPr sz="1200" spc="-4" dirty="0">
                <a:latin typeface="Arial"/>
                <a:cs typeface="Arial"/>
              </a:rPr>
              <a:t>r</a:t>
            </a:r>
            <a:r>
              <a:rPr sz="1200" spc="4" dirty="0">
                <a:latin typeface="Arial"/>
                <a:cs typeface="Arial"/>
              </a:rPr>
              <a:t>ead</a:t>
            </a:r>
            <a:r>
              <a:rPr sz="1200" dirty="0">
                <a:latin typeface="Arial"/>
                <a:cs typeface="Arial"/>
              </a:rPr>
              <a:t>y</a:t>
            </a:r>
            <a:r>
              <a:rPr sz="1200" spc="-29"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a</a:t>
            </a:r>
            <a:r>
              <a:rPr sz="1200" dirty="0">
                <a:latin typeface="Arial"/>
                <a:cs typeface="Arial"/>
              </a:rPr>
              <a:t>t</a:t>
            </a:r>
            <a:r>
              <a:rPr sz="1200" spc="4" dirty="0">
                <a:latin typeface="Arial"/>
                <a:cs typeface="Arial"/>
              </a:rPr>
              <a:t>e</a:t>
            </a:r>
            <a:r>
              <a:rPr sz="1200" dirty="0">
                <a:latin typeface="Arial"/>
                <a:cs typeface="Arial"/>
              </a:rPr>
              <a:t>d</a:t>
            </a:r>
            <a:r>
              <a:rPr sz="1200" spc="-14" dirty="0">
                <a:latin typeface="Arial"/>
                <a:cs typeface="Arial"/>
              </a:rPr>
              <a:t> </a:t>
            </a:r>
            <a:r>
              <a:rPr sz="1200" spc="4" dirty="0">
                <a:latin typeface="Arial"/>
                <a:cs typeface="Arial"/>
              </a:rPr>
              <a:t>ma</a:t>
            </a:r>
            <a:r>
              <a:rPr sz="1200" dirty="0">
                <a:latin typeface="Arial"/>
                <a:cs typeface="Arial"/>
              </a:rPr>
              <a:t>st</a:t>
            </a:r>
            <a:r>
              <a:rPr sz="1200" spc="4" dirty="0">
                <a:latin typeface="Arial"/>
                <a:cs typeface="Arial"/>
              </a:rPr>
              <a:t>e</a:t>
            </a:r>
            <a:r>
              <a:rPr sz="1200" dirty="0">
                <a:latin typeface="Arial"/>
                <a:cs typeface="Arial"/>
              </a:rPr>
              <a:t>r</a:t>
            </a:r>
            <a:r>
              <a:rPr sz="1200" spc="-24" dirty="0">
                <a:latin typeface="Arial"/>
                <a:cs typeface="Arial"/>
              </a:rPr>
              <a:t> </a:t>
            </a:r>
            <a:r>
              <a:rPr sz="1200" dirty="0">
                <a:latin typeface="Arial"/>
                <a:cs typeface="Arial"/>
              </a:rPr>
              <a:t>rec</a:t>
            </a:r>
            <a:r>
              <a:rPr sz="1200" spc="4" dirty="0">
                <a:latin typeface="Arial"/>
                <a:cs typeface="Arial"/>
              </a:rPr>
              <a:t>o</a:t>
            </a:r>
            <a:r>
              <a:rPr sz="1200" dirty="0">
                <a:latin typeface="Arial"/>
                <a:cs typeface="Arial"/>
              </a:rPr>
              <a:t>rds</a:t>
            </a:r>
            <a:r>
              <a:rPr sz="1200" spc="-19" dirty="0">
                <a:latin typeface="Arial"/>
                <a:cs typeface="Arial"/>
              </a:rPr>
              <a:t> </a:t>
            </a:r>
            <a:r>
              <a:rPr sz="1200" spc="4" dirty="0">
                <a:latin typeface="Arial"/>
                <a:cs typeface="Arial"/>
              </a:rPr>
              <a:t>o</a:t>
            </a:r>
            <a:r>
              <a:rPr sz="1200" dirty="0">
                <a:latin typeface="Arial"/>
                <a:cs typeface="Arial"/>
              </a:rPr>
              <a:t>r </a:t>
            </a:r>
            <a:r>
              <a:rPr sz="1200" spc="-14" dirty="0">
                <a:latin typeface="Arial"/>
                <a:cs typeface="Arial"/>
              </a:rPr>
              <a:t>y</a:t>
            </a:r>
            <a:r>
              <a:rPr sz="1200" spc="4" dirty="0">
                <a:latin typeface="Arial"/>
                <a:cs typeface="Arial"/>
              </a:rPr>
              <a:t>o</a:t>
            </a:r>
            <a:r>
              <a:rPr sz="1200" dirty="0">
                <a:latin typeface="Arial"/>
                <a:cs typeface="Arial"/>
              </a:rPr>
              <a:t>u</a:t>
            </a:r>
            <a:r>
              <a:rPr sz="1200" spc="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14" dirty="0">
                <a:latin typeface="Arial"/>
                <a:cs typeface="Arial"/>
              </a:rPr>
              <a:t> </a:t>
            </a:r>
            <a:r>
              <a:rPr sz="1200" spc="4" dirty="0">
                <a:latin typeface="Arial"/>
                <a:cs typeface="Arial"/>
              </a:rPr>
              <a:t>manua</a:t>
            </a:r>
            <a:r>
              <a:rPr sz="1200" dirty="0">
                <a:latin typeface="Arial"/>
                <a:cs typeface="Arial"/>
              </a:rPr>
              <a:t>l</a:t>
            </a:r>
            <a:r>
              <a:rPr sz="1200" spc="-4" dirty="0">
                <a:latin typeface="Arial"/>
                <a:cs typeface="Arial"/>
              </a:rPr>
              <a:t>l</a:t>
            </a:r>
            <a:r>
              <a:rPr sz="1200" dirty="0">
                <a:latin typeface="Arial"/>
                <a:cs typeface="Arial"/>
              </a:rPr>
              <a:t>y</a:t>
            </a:r>
            <a:r>
              <a:rPr sz="1200" spc="-44" dirty="0">
                <a:latin typeface="Arial"/>
                <a:cs typeface="Arial"/>
              </a:rPr>
              <a:t> </a:t>
            </a:r>
            <a:r>
              <a:rPr sz="1200" spc="4" dirty="0">
                <a:latin typeface="Arial"/>
                <a:cs typeface="Arial"/>
              </a:rPr>
              <a:t>en</a:t>
            </a:r>
            <a:r>
              <a:rPr sz="1200" dirty="0">
                <a:latin typeface="Arial"/>
                <a:cs typeface="Arial"/>
              </a:rPr>
              <a:t>t</a:t>
            </a:r>
            <a:r>
              <a:rPr sz="1200" spc="4" dirty="0">
                <a:latin typeface="Arial"/>
                <a:cs typeface="Arial"/>
              </a:rPr>
              <a:t>e</a:t>
            </a:r>
            <a:r>
              <a:rPr sz="1200" dirty="0">
                <a:latin typeface="Arial"/>
                <a:cs typeface="Arial"/>
              </a:rPr>
              <a:t>r </a:t>
            </a:r>
            <a:r>
              <a:rPr sz="1200" spc="4" dirty="0">
                <a:latin typeface="Arial"/>
                <a:cs typeface="Arial"/>
              </a:rPr>
              <a:t>ne</a:t>
            </a:r>
            <a:r>
              <a:rPr sz="1200" dirty="0">
                <a:latin typeface="Arial"/>
                <a:cs typeface="Arial"/>
              </a:rPr>
              <a:t>w</a:t>
            </a:r>
            <a:r>
              <a:rPr sz="1200" spc="-34" dirty="0">
                <a:latin typeface="Arial"/>
                <a:cs typeface="Arial"/>
              </a:rPr>
              <a:t> </a:t>
            </a:r>
            <a:r>
              <a:rPr sz="1200" spc="4" dirty="0">
                <a:latin typeface="Arial"/>
                <a:cs typeface="Arial"/>
              </a:rPr>
              <a:t>numbe</a:t>
            </a:r>
            <a:r>
              <a:rPr sz="1200" dirty="0">
                <a:latin typeface="Arial"/>
                <a:cs typeface="Arial"/>
              </a:rPr>
              <a:t>rs.</a:t>
            </a:r>
            <a:endParaRPr sz="1200">
              <a:latin typeface="Arial"/>
              <a:cs typeface="Arial"/>
            </a:endParaRPr>
          </a:p>
        </p:txBody>
      </p:sp>
      <p:sp>
        <p:nvSpPr>
          <p:cNvPr id="5" name="object 5"/>
          <p:cNvSpPr txBox="1"/>
          <p:nvPr/>
        </p:nvSpPr>
        <p:spPr>
          <a:xfrm>
            <a:off x="1752600" y="5349240"/>
            <a:ext cx="2373376" cy="457200"/>
          </a:xfrm>
          <a:prstGeom prst="rect">
            <a:avLst/>
          </a:prstGeom>
        </p:spPr>
        <p:txBody>
          <a:bodyPr wrap="square" lIns="0" tIns="0" rIns="0" bIns="0" rtlCol="0">
            <a:noAutofit/>
          </a:bodyPr>
          <a:lstStyle/>
          <a:p>
            <a:pPr marL="91439">
              <a:lnSpc>
                <a:spcPct val="95825"/>
              </a:lnSpc>
              <a:spcBef>
                <a:spcPts val="405"/>
              </a:spcBef>
            </a:pPr>
            <a:r>
              <a:rPr sz="1200" dirty="0">
                <a:latin typeface="Arial"/>
                <a:cs typeface="Arial"/>
              </a:rPr>
              <a:t>E</a:t>
            </a:r>
            <a:r>
              <a:rPr sz="1200" spc="4" dirty="0">
                <a:latin typeface="Arial"/>
                <a:cs typeface="Arial"/>
              </a:rPr>
              <a:t>d</a:t>
            </a:r>
            <a:r>
              <a:rPr sz="1200" dirty="0">
                <a:latin typeface="Arial"/>
                <a:cs typeface="Arial"/>
              </a:rPr>
              <a:t>it</a:t>
            </a:r>
            <a:r>
              <a:rPr sz="1200" spc="-19" dirty="0">
                <a:latin typeface="Arial"/>
                <a:cs typeface="Arial"/>
              </a:rPr>
              <a:t> </a:t>
            </a:r>
            <a:r>
              <a:rPr sz="1200" spc="-4" dirty="0">
                <a:latin typeface="Arial"/>
                <a:cs typeface="Arial"/>
              </a:rPr>
              <a:t>-</a:t>
            </a:r>
            <a:r>
              <a:rPr sz="1200" dirty="0">
                <a:latin typeface="Arial"/>
                <a:cs typeface="Arial"/>
              </a:rPr>
              <a:t>&gt;</a:t>
            </a:r>
            <a:r>
              <a:rPr sz="1200" spc="9" dirty="0">
                <a:latin typeface="Arial"/>
                <a:cs typeface="Arial"/>
              </a:rPr>
              <a:t> </a:t>
            </a:r>
            <a:r>
              <a:rPr sz="1200" dirty="0">
                <a:latin typeface="Arial"/>
                <a:cs typeface="Arial"/>
              </a:rPr>
              <a:t>I</a:t>
            </a:r>
            <a:r>
              <a:rPr sz="1200" spc="4" dirty="0">
                <a:latin typeface="Arial"/>
                <a:cs typeface="Arial"/>
              </a:rPr>
              <a:t>n</a:t>
            </a:r>
            <a:r>
              <a:rPr sz="1200" dirty="0">
                <a:latin typeface="Arial"/>
                <a:cs typeface="Arial"/>
              </a:rPr>
              <a:t>c</a:t>
            </a:r>
            <a:r>
              <a:rPr sz="1200" spc="4" dirty="0">
                <a:latin typeface="Arial"/>
                <a:cs typeface="Arial"/>
              </a:rPr>
              <a:t>omp</a:t>
            </a:r>
            <a:r>
              <a:rPr sz="1200" dirty="0">
                <a:latin typeface="Arial"/>
                <a:cs typeface="Arial"/>
              </a:rPr>
              <a:t>le</a:t>
            </a:r>
            <a:r>
              <a:rPr sz="1200" spc="4" dirty="0">
                <a:latin typeface="Arial"/>
                <a:cs typeface="Arial"/>
              </a:rPr>
              <a:t>t</a:t>
            </a:r>
            <a:r>
              <a:rPr sz="1200" spc="-4" dirty="0">
                <a:latin typeface="Arial"/>
                <a:cs typeface="Arial"/>
              </a:rPr>
              <a:t>en</a:t>
            </a:r>
            <a:r>
              <a:rPr sz="1200" spc="4" dirty="0">
                <a:latin typeface="Arial"/>
                <a:cs typeface="Arial"/>
              </a:rPr>
              <a:t>e</a:t>
            </a:r>
            <a:r>
              <a:rPr sz="1200" dirty="0">
                <a:latin typeface="Arial"/>
                <a:cs typeface="Arial"/>
              </a:rPr>
              <a:t>ss</a:t>
            </a:r>
          </a:p>
        </p:txBody>
      </p:sp>
      <p:sp>
        <p:nvSpPr>
          <p:cNvPr id="4" name="object 4"/>
          <p:cNvSpPr txBox="1"/>
          <p:nvPr/>
        </p:nvSpPr>
        <p:spPr>
          <a:xfrm>
            <a:off x="4125976" y="5349240"/>
            <a:ext cx="6161024" cy="457200"/>
          </a:xfrm>
          <a:prstGeom prst="rect">
            <a:avLst/>
          </a:prstGeom>
        </p:spPr>
        <p:txBody>
          <a:bodyPr wrap="square" lIns="0" tIns="0" rIns="0" bIns="0" rtlCol="0">
            <a:noAutofit/>
          </a:bodyPr>
          <a:lstStyle/>
          <a:p>
            <a:pPr marL="91821" marR="100535">
              <a:lnSpc>
                <a:spcPct val="99945"/>
              </a:lnSpc>
              <a:spcBef>
                <a:spcPts val="405"/>
              </a:spcBef>
            </a:pPr>
            <a:r>
              <a:rPr sz="1200" dirty="0">
                <a:latin typeface="Arial"/>
                <a:cs typeface="Arial"/>
              </a:rPr>
              <a:t>A</a:t>
            </a:r>
            <a:r>
              <a:rPr sz="1200" spc="-75"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14" dirty="0">
                <a:latin typeface="Arial"/>
                <a:cs typeface="Arial"/>
              </a:rPr>
              <a:t> w</a:t>
            </a:r>
            <a:r>
              <a:rPr sz="1200" dirty="0">
                <a:latin typeface="Arial"/>
                <a:cs typeface="Arial"/>
              </a:rPr>
              <a:t>ith</a:t>
            </a:r>
            <a:r>
              <a:rPr sz="1200" spc="1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inc</a:t>
            </a:r>
            <a:r>
              <a:rPr sz="1200" spc="4" dirty="0">
                <a:latin typeface="Arial"/>
                <a:cs typeface="Arial"/>
              </a:rPr>
              <a:t>omp</a:t>
            </a:r>
            <a:r>
              <a:rPr sz="1200" dirty="0">
                <a:latin typeface="Arial"/>
                <a:cs typeface="Arial"/>
              </a:rPr>
              <a:t>le</a:t>
            </a:r>
            <a:r>
              <a:rPr sz="1200" spc="4" dirty="0">
                <a:latin typeface="Arial"/>
                <a:cs typeface="Arial"/>
              </a:rPr>
              <a:t>t</a:t>
            </a:r>
            <a:r>
              <a:rPr sz="1200" dirty="0">
                <a:latin typeface="Arial"/>
                <a:cs typeface="Arial"/>
              </a:rPr>
              <a:t>i</a:t>
            </a:r>
            <a:r>
              <a:rPr sz="1200" spc="-9" dirty="0">
                <a:latin typeface="Arial"/>
                <a:cs typeface="Arial"/>
              </a:rPr>
              <a:t>o</a:t>
            </a:r>
            <a:r>
              <a:rPr sz="1200" dirty="0">
                <a:latin typeface="Arial"/>
                <a:cs typeface="Arial"/>
              </a:rPr>
              <a:t>n</a:t>
            </a:r>
            <a:r>
              <a:rPr sz="1200" spc="-39" dirty="0">
                <a:latin typeface="Arial"/>
                <a:cs typeface="Arial"/>
              </a:rPr>
              <a:t> </a:t>
            </a:r>
            <a:r>
              <a:rPr sz="1200" dirty="0">
                <a:latin typeface="Arial"/>
                <a:cs typeface="Arial"/>
              </a:rPr>
              <a:t>l</a:t>
            </a:r>
            <a:r>
              <a:rPr sz="1200" spc="-4" dirty="0">
                <a:latin typeface="Arial"/>
                <a:cs typeface="Arial"/>
              </a:rPr>
              <a:t>i</a:t>
            </a:r>
            <a:r>
              <a:rPr sz="1200" dirty="0">
                <a:latin typeface="Arial"/>
                <a:cs typeface="Arial"/>
              </a:rPr>
              <a:t>st</a:t>
            </a:r>
            <a:r>
              <a:rPr sz="1200" spc="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s</a:t>
            </a:r>
            <a:r>
              <a:rPr sz="1200" spc="4" dirty="0">
                <a:latin typeface="Arial"/>
                <a:cs typeface="Arial"/>
              </a:rPr>
              <a:t>e</a:t>
            </a:r>
            <a:r>
              <a:rPr sz="1200" dirty="0">
                <a:latin typeface="Arial"/>
                <a:cs typeface="Arial"/>
              </a:rPr>
              <a:t>lec</a:t>
            </a:r>
            <a:r>
              <a:rPr sz="1200" spc="4" dirty="0">
                <a:latin typeface="Arial"/>
                <a:cs typeface="Arial"/>
              </a:rPr>
              <a:t>te</a:t>
            </a:r>
            <a:r>
              <a:rPr sz="1200" dirty="0">
                <a:latin typeface="Arial"/>
                <a:cs typeface="Arial"/>
              </a:rPr>
              <a:t>d</a:t>
            </a:r>
            <a:r>
              <a:rPr sz="1200" spc="-29" dirty="0">
                <a:latin typeface="Arial"/>
                <a:cs typeface="Arial"/>
              </a:rPr>
              <a:t>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y</a:t>
            </a:r>
            <a:r>
              <a:rPr sz="1200" spc="-14" dirty="0">
                <a:latin typeface="Arial"/>
                <a:cs typeface="Arial"/>
              </a:rPr>
              <a:t> </a:t>
            </a:r>
            <a:r>
              <a:rPr sz="1200" spc="4" dirty="0">
                <a:latin typeface="Arial"/>
                <a:cs typeface="Arial"/>
              </a:rPr>
              <a:t>appea</a:t>
            </a:r>
            <a:r>
              <a:rPr sz="1200" dirty="0">
                <a:latin typeface="Arial"/>
                <a:cs typeface="Arial"/>
              </a:rPr>
              <a:t>rs.</a:t>
            </a:r>
            <a:r>
              <a:rPr sz="1200" spc="-59" dirty="0">
                <a:latin typeface="Arial"/>
                <a:cs typeface="Arial"/>
              </a:rPr>
              <a:t> </a:t>
            </a:r>
            <a:r>
              <a:rPr sz="1200" spc="9" dirty="0">
                <a:latin typeface="Arial"/>
                <a:cs typeface="Arial"/>
              </a:rPr>
              <a:t>T</a:t>
            </a:r>
            <a:r>
              <a:rPr sz="1200" spc="4" dirty="0">
                <a:latin typeface="Arial"/>
                <a:cs typeface="Arial"/>
              </a:rPr>
              <a:t>h</a:t>
            </a:r>
            <a:r>
              <a:rPr sz="1200" dirty="0">
                <a:latin typeface="Arial"/>
                <a:cs typeface="Arial"/>
              </a:rPr>
              <a:t>is</a:t>
            </a:r>
            <a:r>
              <a:rPr sz="1200" spc="-24"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4" dirty="0">
                <a:latin typeface="Arial"/>
                <a:cs typeface="Arial"/>
              </a:rPr>
              <a:t> </a:t>
            </a:r>
            <a:r>
              <a:rPr sz="1200" dirty="0">
                <a:latin typeface="Arial"/>
                <a:cs typeface="Arial"/>
              </a:rPr>
              <a:t>l</a:t>
            </a:r>
            <a:r>
              <a:rPr sz="1200" spc="-4" dirty="0">
                <a:latin typeface="Arial"/>
                <a:cs typeface="Arial"/>
              </a:rPr>
              <a:t>i</a:t>
            </a:r>
            <a:r>
              <a:rPr sz="1200" dirty="0">
                <a:latin typeface="Arial"/>
                <a:cs typeface="Arial"/>
              </a:rPr>
              <a:t>sts</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 </a:t>
            </a:r>
            <a:r>
              <a:rPr sz="1200" spc="4" dirty="0">
                <a:latin typeface="Arial"/>
                <a:cs typeface="Arial"/>
              </a:rPr>
              <a:t>da</a:t>
            </a:r>
            <a:r>
              <a:rPr sz="1200" dirty="0">
                <a:latin typeface="Arial"/>
                <a:cs typeface="Arial"/>
              </a:rPr>
              <a:t>ta</a:t>
            </a:r>
            <a:r>
              <a:rPr sz="1200" spc="-24" dirty="0">
                <a:latin typeface="Arial"/>
                <a:cs typeface="Arial"/>
              </a:rPr>
              <a:t> </a:t>
            </a:r>
            <a:r>
              <a:rPr sz="1200" dirty="0">
                <a:latin typeface="Arial"/>
                <a:cs typeface="Arial"/>
              </a:rPr>
              <a:t>t</a:t>
            </a:r>
            <a:r>
              <a:rPr sz="1200" spc="4" dirty="0">
                <a:latin typeface="Arial"/>
                <a:cs typeface="Arial"/>
              </a:rPr>
              <a:t>ha</a:t>
            </a:r>
            <a:r>
              <a:rPr sz="1200" dirty="0">
                <a:latin typeface="Arial"/>
                <a:cs typeface="Arial"/>
              </a:rPr>
              <a:t>t</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s</a:t>
            </a:r>
            <a:r>
              <a:rPr sz="1200" spc="-9" dirty="0">
                <a:latin typeface="Arial"/>
                <a:cs typeface="Arial"/>
              </a:rPr>
              <a:t>y</a:t>
            </a:r>
            <a:r>
              <a:rPr sz="1200" dirty="0">
                <a:latin typeface="Arial"/>
                <a:cs typeface="Arial"/>
              </a:rPr>
              <a:t>st</a:t>
            </a:r>
            <a:r>
              <a:rPr sz="1200" spc="4" dirty="0">
                <a:latin typeface="Arial"/>
                <a:cs typeface="Arial"/>
              </a:rPr>
              <a:t>e</a:t>
            </a:r>
            <a:r>
              <a:rPr sz="1200" dirty="0">
                <a:latin typeface="Arial"/>
                <a:cs typeface="Arial"/>
              </a:rPr>
              <a:t>m</a:t>
            </a:r>
            <a:r>
              <a:rPr sz="1200" spc="9" dirty="0">
                <a:latin typeface="Arial"/>
                <a:cs typeface="Arial"/>
              </a:rPr>
              <a:t> </a:t>
            </a:r>
            <a:r>
              <a:rPr sz="1200" dirty="0">
                <a:latin typeface="Arial"/>
                <a:cs typeface="Arial"/>
              </a:rPr>
              <a:t>s</a:t>
            </a:r>
            <a:r>
              <a:rPr sz="1200" spc="4" dirty="0">
                <a:latin typeface="Arial"/>
                <a:cs typeface="Arial"/>
              </a:rPr>
              <a:t>t</a:t>
            </a:r>
            <a:r>
              <a:rPr sz="1200" dirty="0">
                <a:latin typeface="Arial"/>
                <a:cs typeface="Arial"/>
              </a:rPr>
              <a:t>i</a:t>
            </a:r>
            <a:r>
              <a:rPr sz="1200" spc="-4" dirty="0">
                <a:latin typeface="Arial"/>
                <a:cs typeface="Arial"/>
              </a:rPr>
              <a:t>l</a:t>
            </a:r>
            <a:r>
              <a:rPr sz="1200" dirty="0">
                <a:latin typeface="Arial"/>
                <a:cs typeface="Arial"/>
              </a:rPr>
              <a:t>l </a:t>
            </a:r>
            <a:r>
              <a:rPr sz="1200" spc="-4" dirty="0">
                <a:latin typeface="Arial"/>
                <a:cs typeface="Arial"/>
              </a:rPr>
              <a:t>r</a:t>
            </a:r>
            <a:r>
              <a:rPr sz="1200" spc="4" dirty="0">
                <a:latin typeface="Arial"/>
                <a:cs typeface="Arial"/>
              </a:rPr>
              <a:t>e</a:t>
            </a:r>
            <a:r>
              <a:rPr sz="1200" spc="-4" dirty="0">
                <a:latin typeface="Arial"/>
                <a:cs typeface="Arial"/>
              </a:rPr>
              <a:t>q</a:t>
            </a:r>
            <a:r>
              <a:rPr sz="1200" spc="4" dirty="0">
                <a:latin typeface="Arial"/>
                <a:cs typeface="Arial"/>
              </a:rPr>
              <a:t>u</a:t>
            </a:r>
            <a:r>
              <a:rPr sz="1200" dirty="0">
                <a:latin typeface="Arial"/>
                <a:cs typeface="Arial"/>
              </a:rPr>
              <a:t>i</a:t>
            </a:r>
            <a:r>
              <a:rPr sz="1200" spc="-4" dirty="0">
                <a:latin typeface="Arial"/>
                <a:cs typeface="Arial"/>
              </a:rPr>
              <a:t>r</a:t>
            </a:r>
            <a:r>
              <a:rPr sz="1200" spc="4" dirty="0">
                <a:latin typeface="Arial"/>
                <a:cs typeface="Arial"/>
              </a:rPr>
              <a:t>e</a:t>
            </a:r>
            <a:r>
              <a:rPr sz="1200" dirty="0">
                <a:latin typeface="Arial"/>
                <a:cs typeface="Arial"/>
              </a:rPr>
              <a:t>s</a:t>
            </a:r>
            <a:r>
              <a:rPr sz="1200" spc="-9" dirty="0">
                <a:latin typeface="Arial"/>
                <a:cs typeface="Arial"/>
              </a:rPr>
              <a:t> </a:t>
            </a:r>
            <a:r>
              <a:rPr sz="1200" dirty="0">
                <a:latin typeface="Arial"/>
                <a:cs typeface="Arial"/>
              </a:rPr>
              <a:t>to c</a:t>
            </a:r>
            <a:r>
              <a:rPr sz="1200" spc="4" dirty="0">
                <a:latin typeface="Arial"/>
                <a:cs typeface="Arial"/>
              </a:rPr>
              <a:t>omp</a:t>
            </a:r>
            <a:r>
              <a:rPr sz="1200" dirty="0">
                <a:latin typeface="Arial"/>
                <a:cs typeface="Arial"/>
              </a:rPr>
              <a:t>le</a:t>
            </a:r>
            <a:r>
              <a:rPr sz="1200" spc="4" dirty="0">
                <a:latin typeface="Arial"/>
                <a:cs typeface="Arial"/>
              </a:rPr>
              <a:t>t</a:t>
            </a:r>
            <a:r>
              <a:rPr sz="1200" dirty="0">
                <a:latin typeface="Arial"/>
                <a:cs typeface="Arial"/>
              </a:rPr>
              <a:t>e</a:t>
            </a:r>
            <a:r>
              <a:rPr sz="1200" spc="-3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a:t>
            </a:r>
            <a:r>
              <a:rPr sz="1200" spc="-4" dirty="0">
                <a:latin typeface="Arial"/>
                <a:cs typeface="Arial"/>
              </a:rPr>
              <a:t>n</a:t>
            </a:r>
            <a:r>
              <a:rPr sz="1200" dirty="0">
                <a:latin typeface="Arial"/>
                <a:cs typeface="Arial"/>
              </a:rPr>
              <a:t>t.</a:t>
            </a:r>
            <a:endParaRPr sz="1200">
              <a:latin typeface="Arial"/>
              <a:cs typeface="Arial"/>
            </a:endParaRPr>
          </a:p>
        </p:txBody>
      </p:sp>
      <p:sp>
        <p:nvSpPr>
          <p:cNvPr id="3" name="object 3"/>
          <p:cNvSpPr txBox="1"/>
          <p:nvPr/>
        </p:nvSpPr>
        <p:spPr>
          <a:xfrm>
            <a:off x="1752600" y="5806440"/>
            <a:ext cx="2373376" cy="457200"/>
          </a:xfrm>
          <a:prstGeom prst="rect">
            <a:avLst/>
          </a:prstGeom>
        </p:spPr>
        <p:txBody>
          <a:bodyPr wrap="square" lIns="0" tIns="0" rIns="0" bIns="0" rtlCol="0">
            <a:noAutofit/>
          </a:bodyPr>
          <a:lstStyle/>
          <a:p>
            <a:pPr marL="91439">
              <a:lnSpc>
                <a:spcPct val="95825"/>
              </a:lnSpc>
              <a:spcBef>
                <a:spcPts val="405"/>
              </a:spcBef>
            </a:pPr>
            <a:r>
              <a:rPr sz="1200" dirty="0">
                <a:latin typeface="Arial"/>
                <a:cs typeface="Arial"/>
              </a:rPr>
              <a:t>O</a:t>
            </a:r>
            <a:r>
              <a:rPr sz="1200" spc="4" dirty="0">
                <a:latin typeface="Arial"/>
                <a:cs typeface="Arial"/>
              </a:rPr>
              <a:t>u</a:t>
            </a:r>
            <a:r>
              <a:rPr sz="1200" dirty="0">
                <a:latin typeface="Arial"/>
                <a:cs typeface="Arial"/>
              </a:rPr>
              <a:t>t</a:t>
            </a:r>
            <a:r>
              <a:rPr sz="1200" spc="4" dirty="0">
                <a:latin typeface="Arial"/>
                <a:cs typeface="Arial"/>
              </a:rPr>
              <a:t>bou</a:t>
            </a:r>
            <a:r>
              <a:rPr sz="1200" spc="-4" dirty="0">
                <a:latin typeface="Arial"/>
                <a:cs typeface="Arial"/>
              </a:rPr>
              <a:t>n</a:t>
            </a:r>
            <a:r>
              <a:rPr sz="1200" dirty="0">
                <a:latin typeface="Arial"/>
                <a:cs typeface="Arial"/>
              </a:rPr>
              <a:t>d</a:t>
            </a:r>
            <a:r>
              <a:rPr sz="1200" spc="-4" dirty="0">
                <a:latin typeface="Arial"/>
                <a:cs typeface="Arial"/>
              </a:rPr>
              <a:t> </a:t>
            </a:r>
            <a:r>
              <a:rPr sz="1200" spc="4" dirty="0">
                <a:latin typeface="Arial"/>
                <a:cs typeface="Arial"/>
              </a:rPr>
              <a:t>d</a:t>
            </a:r>
            <a:r>
              <a:rPr sz="1200" spc="-4" dirty="0">
                <a:latin typeface="Arial"/>
                <a:cs typeface="Arial"/>
              </a:rPr>
              <a:t>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y</a:t>
            </a:r>
            <a:r>
              <a:rPr sz="1200" spc="-39" dirty="0">
                <a:latin typeface="Arial"/>
                <a:cs typeface="Arial"/>
              </a:rPr>
              <a:t> </a:t>
            </a:r>
            <a:r>
              <a:rPr sz="1200" spc="-4" dirty="0">
                <a:latin typeface="Arial"/>
                <a:cs typeface="Arial"/>
              </a:rPr>
              <a:t>-</a:t>
            </a:r>
            <a:r>
              <a:rPr sz="1200" dirty="0">
                <a:latin typeface="Arial"/>
                <a:cs typeface="Arial"/>
              </a:rPr>
              <a:t>&gt;</a:t>
            </a:r>
            <a:r>
              <a:rPr sz="1200" spc="9" dirty="0">
                <a:latin typeface="Arial"/>
                <a:cs typeface="Arial"/>
              </a:rPr>
              <a:t> </a:t>
            </a:r>
            <a:r>
              <a:rPr sz="1200" dirty="0">
                <a:latin typeface="Arial"/>
                <a:cs typeface="Arial"/>
              </a:rPr>
              <a:t>Del</a:t>
            </a:r>
            <a:r>
              <a:rPr sz="1200" spc="4" dirty="0">
                <a:latin typeface="Arial"/>
                <a:cs typeface="Arial"/>
              </a:rPr>
              <a:t>e</a:t>
            </a:r>
            <a:r>
              <a:rPr sz="1200" dirty="0">
                <a:latin typeface="Arial"/>
                <a:cs typeface="Arial"/>
              </a:rPr>
              <a:t>te</a:t>
            </a:r>
            <a:endParaRPr sz="1200">
              <a:latin typeface="Arial"/>
              <a:cs typeface="Arial"/>
            </a:endParaRPr>
          </a:p>
        </p:txBody>
      </p:sp>
      <p:sp>
        <p:nvSpPr>
          <p:cNvPr id="2" name="object 2"/>
          <p:cNvSpPr txBox="1"/>
          <p:nvPr/>
        </p:nvSpPr>
        <p:spPr>
          <a:xfrm>
            <a:off x="4125976" y="5806440"/>
            <a:ext cx="6161024" cy="457200"/>
          </a:xfrm>
          <a:prstGeom prst="rect">
            <a:avLst/>
          </a:prstGeom>
        </p:spPr>
        <p:txBody>
          <a:bodyPr wrap="square" lIns="0" tIns="0" rIns="0" bIns="0" rtlCol="0">
            <a:noAutofit/>
          </a:bodyPr>
          <a:lstStyle/>
          <a:p>
            <a:pPr marL="91821" marR="100535">
              <a:lnSpc>
                <a:spcPct val="100041"/>
              </a:lnSpc>
              <a:spcBef>
                <a:spcPts val="405"/>
              </a:spcBef>
            </a:pPr>
            <a:r>
              <a:rPr sz="1200" dirty="0">
                <a:latin typeface="Arial"/>
                <a:cs typeface="Arial"/>
              </a:rPr>
              <a:t>A</a:t>
            </a:r>
            <a:r>
              <a:rPr sz="1200" spc="-75"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14" dirty="0">
                <a:latin typeface="Arial"/>
                <a:cs typeface="Arial"/>
              </a:rPr>
              <a:t> w</a:t>
            </a:r>
            <a:r>
              <a:rPr sz="1200" dirty="0">
                <a:latin typeface="Arial"/>
                <a:cs typeface="Arial"/>
              </a:rPr>
              <a:t>ith</a:t>
            </a:r>
            <a:r>
              <a:rPr sz="1200" spc="1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inc</a:t>
            </a:r>
            <a:r>
              <a:rPr sz="1200" spc="4" dirty="0">
                <a:latin typeface="Arial"/>
                <a:cs typeface="Arial"/>
              </a:rPr>
              <a:t>omp</a:t>
            </a:r>
            <a:r>
              <a:rPr sz="1200" dirty="0">
                <a:latin typeface="Arial"/>
                <a:cs typeface="Arial"/>
              </a:rPr>
              <a:t>le</a:t>
            </a:r>
            <a:r>
              <a:rPr sz="1200" spc="4" dirty="0">
                <a:latin typeface="Arial"/>
                <a:cs typeface="Arial"/>
              </a:rPr>
              <a:t>t</a:t>
            </a:r>
            <a:r>
              <a:rPr sz="1200" dirty="0">
                <a:latin typeface="Arial"/>
                <a:cs typeface="Arial"/>
              </a:rPr>
              <a:t>i</a:t>
            </a:r>
            <a:r>
              <a:rPr sz="1200" spc="-9" dirty="0">
                <a:latin typeface="Arial"/>
                <a:cs typeface="Arial"/>
              </a:rPr>
              <a:t>o</a:t>
            </a:r>
            <a:r>
              <a:rPr sz="1200" dirty="0">
                <a:latin typeface="Arial"/>
                <a:cs typeface="Arial"/>
              </a:rPr>
              <a:t>n</a:t>
            </a:r>
            <a:r>
              <a:rPr sz="1200" spc="-39" dirty="0">
                <a:latin typeface="Arial"/>
                <a:cs typeface="Arial"/>
              </a:rPr>
              <a:t> </a:t>
            </a:r>
            <a:r>
              <a:rPr sz="1200" dirty="0">
                <a:latin typeface="Arial"/>
                <a:cs typeface="Arial"/>
              </a:rPr>
              <a:t>l</a:t>
            </a:r>
            <a:r>
              <a:rPr sz="1200" spc="-4" dirty="0">
                <a:latin typeface="Arial"/>
                <a:cs typeface="Arial"/>
              </a:rPr>
              <a:t>i</a:t>
            </a:r>
            <a:r>
              <a:rPr sz="1200" dirty="0">
                <a:latin typeface="Arial"/>
                <a:cs typeface="Arial"/>
              </a:rPr>
              <a:t>st</a:t>
            </a:r>
            <a:r>
              <a:rPr sz="1200" spc="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s</a:t>
            </a:r>
            <a:r>
              <a:rPr sz="1200" spc="4" dirty="0">
                <a:latin typeface="Arial"/>
                <a:cs typeface="Arial"/>
              </a:rPr>
              <a:t>e</a:t>
            </a:r>
            <a:r>
              <a:rPr sz="1200" dirty="0">
                <a:latin typeface="Arial"/>
                <a:cs typeface="Arial"/>
              </a:rPr>
              <a:t>lec</a:t>
            </a:r>
            <a:r>
              <a:rPr sz="1200" spc="4" dirty="0">
                <a:latin typeface="Arial"/>
                <a:cs typeface="Arial"/>
              </a:rPr>
              <a:t>te</a:t>
            </a:r>
            <a:r>
              <a:rPr sz="1200" dirty="0">
                <a:latin typeface="Arial"/>
                <a:cs typeface="Arial"/>
              </a:rPr>
              <a:t>d</a:t>
            </a:r>
            <a:r>
              <a:rPr sz="1200" spc="-29" dirty="0">
                <a:latin typeface="Arial"/>
                <a:cs typeface="Arial"/>
              </a:rPr>
              <a:t>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y</a:t>
            </a:r>
            <a:r>
              <a:rPr sz="1200" spc="-14" dirty="0">
                <a:latin typeface="Arial"/>
                <a:cs typeface="Arial"/>
              </a:rPr>
              <a:t> </a:t>
            </a:r>
            <a:r>
              <a:rPr sz="1200" spc="4" dirty="0">
                <a:latin typeface="Arial"/>
                <a:cs typeface="Arial"/>
              </a:rPr>
              <a:t>appea</a:t>
            </a:r>
            <a:r>
              <a:rPr sz="1200" dirty="0">
                <a:latin typeface="Arial"/>
                <a:cs typeface="Arial"/>
              </a:rPr>
              <a:t>rs.</a:t>
            </a:r>
            <a:r>
              <a:rPr sz="1200" spc="-59" dirty="0">
                <a:latin typeface="Arial"/>
                <a:cs typeface="Arial"/>
              </a:rPr>
              <a:t> </a:t>
            </a:r>
            <a:r>
              <a:rPr sz="1200" spc="9" dirty="0">
                <a:latin typeface="Arial"/>
                <a:cs typeface="Arial"/>
              </a:rPr>
              <a:t>T</a:t>
            </a:r>
            <a:r>
              <a:rPr sz="1200" spc="4" dirty="0">
                <a:latin typeface="Arial"/>
                <a:cs typeface="Arial"/>
              </a:rPr>
              <a:t>h</a:t>
            </a:r>
            <a:r>
              <a:rPr sz="1200" dirty="0">
                <a:latin typeface="Arial"/>
                <a:cs typeface="Arial"/>
              </a:rPr>
              <a:t>is</a:t>
            </a:r>
            <a:r>
              <a:rPr sz="1200" spc="-24" dirty="0">
                <a:latin typeface="Arial"/>
                <a:cs typeface="Arial"/>
              </a:rPr>
              <a:t> </a:t>
            </a:r>
            <a:r>
              <a:rPr sz="1200" dirty="0">
                <a:latin typeface="Arial"/>
                <a:cs typeface="Arial"/>
              </a:rPr>
              <a:t>scre</a:t>
            </a:r>
            <a:r>
              <a:rPr sz="1200" spc="4" dirty="0">
                <a:latin typeface="Arial"/>
                <a:cs typeface="Arial"/>
              </a:rPr>
              <a:t>e</a:t>
            </a:r>
            <a:r>
              <a:rPr sz="1200" dirty="0">
                <a:latin typeface="Arial"/>
                <a:cs typeface="Arial"/>
              </a:rPr>
              <a:t>n</a:t>
            </a:r>
            <a:r>
              <a:rPr sz="1200" spc="-4" dirty="0">
                <a:latin typeface="Arial"/>
                <a:cs typeface="Arial"/>
              </a:rPr>
              <a:t> </a:t>
            </a:r>
            <a:r>
              <a:rPr sz="1200" dirty="0">
                <a:latin typeface="Arial"/>
                <a:cs typeface="Arial"/>
              </a:rPr>
              <a:t>l</a:t>
            </a:r>
            <a:r>
              <a:rPr sz="1200" spc="-4" dirty="0">
                <a:latin typeface="Arial"/>
                <a:cs typeface="Arial"/>
              </a:rPr>
              <a:t>i</a:t>
            </a:r>
            <a:r>
              <a:rPr sz="1200" dirty="0">
                <a:latin typeface="Arial"/>
                <a:cs typeface="Arial"/>
              </a:rPr>
              <a:t>sts</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 </a:t>
            </a:r>
            <a:r>
              <a:rPr sz="1200" spc="4" dirty="0">
                <a:latin typeface="Arial"/>
                <a:cs typeface="Arial"/>
              </a:rPr>
              <a:t>da</a:t>
            </a:r>
            <a:r>
              <a:rPr sz="1200" dirty="0">
                <a:latin typeface="Arial"/>
                <a:cs typeface="Arial"/>
              </a:rPr>
              <a:t>ta</a:t>
            </a:r>
            <a:r>
              <a:rPr sz="1200" spc="-24" dirty="0">
                <a:latin typeface="Arial"/>
                <a:cs typeface="Arial"/>
              </a:rPr>
              <a:t> </a:t>
            </a:r>
            <a:r>
              <a:rPr sz="1200" dirty="0">
                <a:latin typeface="Arial"/>
                <a:cs typeface="Arial"/>
              </a:rPr>
              <a:t>t</a:t>
            </a:r>
            <a:r>
              <a:rPr sz="1200" spc="4" dirty="0">
                <a:latin typeface="Arial"/>
                <a:cs typeface="Arial"/>
              </a:rPr>
              <a:t>ha</a:t>
            </a:r>
            <a:r>
              <a:rPr sz="1200" dirty="0">
                <a:latin typeface="Arial"/>
                <a:cs typeface="Arial"/>
              </a:rPr>
              <a:t>t</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s</a:t>
            </a:r>
            <a:r>
              <a:rPr sz="1200" spc="-9" dirty="0">
                <a:latin typeface="Arial"/>
                <a:cs typeface="Arial"/>
              </a:rPr>
              <a:t>y</a:t>
            </a:r>
            <a:r>
              <a:rPr sz="1200" dirty="0">
                <a:latin typeface="Arial"/>
                <a:cs typeface="Arial"/>
              </a:rPr>
              <a:t>st</a:t>
            </a:r>
            <a:r>
              <a:rPr sz="1200" spc="4" dirty="0">
                <a:latin typeface="Arial"/>
                <a:cs typeface="Arial"/>
              </a:rPr>
              <a:t>e</a:t>
            </a:r>
            <a:r>
              <a:rPr sz="1200" dirty="0">
                <a:latin typeface="Arial"/>
                <a:cs typeface="Arial"/>
              </a:rPr>
              <a:t>m</a:t>
            </a:r>
            <a:r>
              <a:rPr sz="1200" spc="9" dirty="0">
                <a:latin typeface="Arial"/>
                <a:cs typeface="Arial"/>
              </a:rPr>
              <a:t> </a:t>
            </a:r>
            <a:r>
              <a:rPr sz="1200" dirty="0">
                <a:latin typeface="Arial"/>
                <a:cs typeface="Arial"/>
              </a:rPr>
              <a:t>s</a:t>
            </a:r>
            <a:r>
              <a:rPr sz="1200" spc="4" dirty="0">
                <a:latin typeface="Arial"/>
                <a:cs typeface="Arial"/>
              </a:rPr>
              <a:t>t</a:t>
            </a:r>
            <a:r>
              <a:rPr sz="1200" dirty="0">
                <a:latin typeface="Arial"/>
                <a:cs typeface="Arial"/>
              </a:rPr>
              <a:t>i</a:t>
            </a:r>
            <a:r>
              <a:rPr sz="1200" spc="-4" dirty="0">
                <a:latin typeface="Arial"/>
                <a:cs typeface="Arial"/>
              </a:rPr>
              <a:t>l</a:t>
            </a:r>
            <a:r>
              <a:rPr sz="1200" dirty="0">
                <a:latin typeface="Arial"/>
                <a:cs typeface="Arial"/>
              </a:rPr>
              <a:t>l </a:t>
            </a:r>
            <a:r>
              <a:rPr sz="1200" spc="-4" dirty="0">
                <a:latin typeface="Arial"/>
                <a:cs typeface="Arial"/>
              </a:rPr>
              <a:t>r</a:t>
            </a:r>
            <a:r>
              <a:rPr sz="1200" spc="4" dirty="0">
                <a:latin typeface="Arial"/>
                <a:cs typeface="Arial"/>
              </a:rPr>
              <a:t>e</a:t>
            </a:r>
            <a:r>
              <a:rPr sz="1200" spc="-4" dirty="0">
                <a:latin typeface="Arial"/>
                <a:cs typeface="Arial"/>
              </a:rPr>
              <a:t>q</a:t>
            </a:r>
            <a:r>
              <a:rPr sz="1200" spc="4" dirty="0">
                <a:latin typeface="Arial"/>
                <a:cs typeface="Arial"/>
              </a:rPr>
              <a:t>u</a:t>
            </a:r>
            <a:r>
              <a:rPr sz="1200" dirty="0">
                <a:latin typeface="Arial"/>
                <a:cs typeface="Arial"/>
              </a:rPr>
              <a:t>i</a:t>
            </a:r>
            <a:r>
              <a:rPr sz="1200" spc="-4" dirty="0">
                <a:latin typeface="Arial"/>
                <a:cs typeface="Arial"/>
              </a:rPr>
              <a:t>r</a:t>
            </a:r>
            <a:r>
              <a:rPr sz="1200" spc="4" dirty="0">
                <a:latin typeface="Arial"/>
                <a:cs typeface="Arial"/>
              </a:rPr>
              <a:t>e</a:t>
            </a:r>
            <a:r>
              <a:rPr sz="1200" dirty="0">
                <a:latin typeface="Arial"/>
                <a:cs typeface="Arial"/>
              </a:rPr>
              <a:t>s</a:t>
            </a:r>
            <a:r>
              <a:rPr sz="1200" spc="-9" dirty="0">
                <a:latin typeface="Arial"/>
                <a:cs typeface="Arial"/>
              </a:rPr>
              <a:t> </a:t>
            </a:r>
            <a:r>
              <a:rPr sz="1200" dirty="0">
                <a:latin typeface="Arial"/>
                <a:cs typeface="Arial"/>
              </a:rPr>
              <a:t>to c</a:t>
            </a:r>
            <a:r>
              <a:rPr sz="1200" spc="4" dirty="0">
                <a:latin typeface="Arial"/>
                <a:cs typeface="Arial"/>
              </a:rPr>
              <a:t>omp</a:t>
            </a:r>
            <a:r>
              <a:rPr sz="1200" dirty="0">
                <a:latin typeface="Arial"/>
                <a:cs typeface="Arial"/>
              </a:rPr>
              <a:t>le</a:t>
            </a:r>
            <a:r>
              <a:rPr sz="1200" spc="4" dirty="0">
                <a:latin typeface="Arial"/>
                <a:cs typeface="Arial"/>
              </a:rPr>
              <a:t>t</a:t>
            </a:r>
            <a:r>
              <a:rPr sz="1200" dirty="0">
                <a:latin typeface="Arial"/>
                <a:cs typeface="Arial"/>
              </a:rPr>
              <a:t>e</a:t>
            </a:r>
            <a:r>
              <a:rPr sz="1200" spc="-3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a:t>
            </a:r>
            <a:r>
              <a:rPr sz="1200" spc="-4" dirty="0">
                <a:latin typeface="Arial"/>
                <a:cs typeface="Arial"/>
              </a:rPr>
              <a:t>n</a:t>
            </a:r>
            <a:r>
              <a:rPr sz="1200" dirty="0">
                <a:latin typeface="Arial"/>
                <a:cs typeface="Arial"/>
              </a:rPr>
              <a:t>t.</a:t>
            </a:r>
          </a:p>
        </p:txBody>
      </p:sp>
      <p:sp>
        <p:nvSpPr>
          <p:cNvPr id="22" name="Title 21"/>
          <p:cNvSpPr>
            <a:spLocks noGrp="1"/>
          </p:cNvSpPr>
          <p:nvPr>
            <p:ph type="title"/>
          </p:nvPr>
        </p:nvSpPr>
        <p:spPr>
          <a:xfrm>
            <a:off x="1783418" y="277114"/>
            <a:ext cx="8509933" cy="637286"/>
          </a:xfrm>
        </p:spPr>
        <p:txBody>
          <a:bodyPr>
            <a:normAutofit fontScale="90000"/>
          </a:bodyPr>
          <a:lstStyle/>
          <a:p>
            <a:r>
              <a:rPr lang="en-US" sz="2400" dirty="0">
                <a:latin typeface="+mn-lt"/>
                <a:cs typeface="Arial"/>
              </a:rPr>
              <a:t>Outbound Delivery - Environment</a:t>
            </a:r>
            <a:br>
              <a:rPr lang="en-US" sz="2800" dirty="0">
                <a:latin typeface="Arial"/>
                <a:cs typeface="Arial"/>
              </a:rPr>
            </a:b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5B2DDF7-CAA8-492D-AE69-3EE1EA5F4655}"/>
              </a:ext>
            </a:extLst>
          </p:cNvPr>
          <p:cNvPicPr>
            <a:picLocks noChangeAspect="1"/>
          </p:cNvPicPr>
          <p:nvPr/>
        </p:nvPicPr>
        <p:blipFill>
          <a:blip r:embed="rId2"/>
          <a:stretch>
            <a:fillRect/>
          </a:stretch>
        </p:blipFill>
        <p:spPr>
          <a:xfrm>
            <a:off x="2142185" y="5381106"/>
            <a:ext cx="5782547" cy="1239946"/>
          </a:xfrm>
          <a:prstGeom prst="rect">
            <a:avLst/>
          </a:prstGeom>
          <a:ln w="28575">
            <a:solidFill>
              <a:schemeClr val="tx1"/>
            </a:solidFill>
          </a:ln>
        </p:spPr>
      </p:pic>
      <p:pic>
        <p:nvPicPr>
          <p:cNvPr id="16" name="Picture 15">
            <a:extLst>
              <a:ext uri="{FF2B5EF4-FFF2-40B4-BE49-F238E27FC236}">
                <a16:creationId xmlns:a16="http://schemas.microsoft.com/office/drawing/2014/main" id="{575FA242-7A1A-4FB2-9E97-2398268EE42C}"/>
              </a:ext>
            </a:extLst>
          </p:cNvPr>
          <p:cNvPicPr>
            <a:picLocks noChangeAspect="1"/>
          </p:cNvPicPr>
          <p:nvPr/>
        </p:nvPicPr>
        <p:blipFill>
          <a:blip r:embed="rId3"/>
          <a:stretch>
            <a:fillRect/>
          </a:stretch>
        </p:blipFill>
        <p:spPr>
          <a:xfrm>
            <a:off x="3962270" y="3266733"/>
            <a:ext cx="5662678" cy="2125494"/>
          </a:xfrm>
          <a:prstGeom prst="rect">
            <a:avLst/>
          </a:prstGeom>
          <a:ln w="28575">
            <a:solidFill>
              <a:schemeClr val="tx1"/>
            </a:solidFill>
          </a:ln>
        </p:spPr>
      </p:pic>
      <p:pic>
        <p:nvPicPr>
          <p:cNvPr id="15" name="Picture 14">
            <a:extLst>
              <a:ext uri="{FF2B5EF4-FFF2-40B4-BE49-F238E27FC236}">
                <a16:creationId xmlns:a16="http://schemas.microsoft.com/office/drawing/2014/main" id="{B64961DF-782A-446F-9D11-FE10C6EBCA8B}"/>
              </a:ext>
            </a:extLst>
          </p:cNvPr>
          <p:cNvPicPr>
            <a:picLocks noChangeAspect="1"/>
          </p:cNvPicPr>
          <p:nvPr/>
        </p:nvPicPr>
        <p:blipFill>
          <a:blip r:embed="rId4"/>
          <a:stretch>
            <a:fillRect/>
          </a:stretch>
        </p:blipFill>
        <p:spPr>
          <a:xfrm>
            <a:off x="1800290" y="1143393"/>
            <a:ext cx="5395847" cy="2452359"/>
          </a:xfrm>
          <a:prstGeom prst="rect">
            <a:avLst/>
          </a:prstGeom>
          <a:ln w="28575">
            <a:solidFill>
              <a:schemeClr val="tx1"/>
            </a:solidFill>
          </a:ln>
        </p:spPr>
      </p:pic>
      <p:sp>
        <p:nvSpPr>
          <p:cNvPr id="28" name="object 28"/>
          <p:cNvSpPr/>
          <p:nvPr/>
        </p:nvSpPr>
        <p:spPr>
          <a:xfrm>
            <a:off x="8986902" y="5114926"/>
            <a:ext cx="1300099" cy="600075"/>
          </a:xfrm>
          <a:custGeom>
            <a:avLst/>
            <a:gdLst/>
            <a:ahLst/>
            <a:cxnLst/>
            <a:rect l="l" t="t" r="r" b="b"/>
            <a:pathLst>
              <a:path w="1300099" h="600075">
                <a:moveTo>
                  <a:pt x="157099" y="155575"/>
                </a:moveTo>
                <a:lnTo>
                  <a:pt x="0" y="0"/>
                </a:lnTo>
                <a:lnTo>
                  <a:pt x="157099" y="288925"/>
                </a:lnTo>
                <a:lnTo>
                  <a:pt x="157099" y="511175"/>
                </a:lnTo>
                <a:lnTo>
                  <a:pt x="158060" y="524305"/>
                </a:lnTo>
                <a:lnTo>
                  <a:pt x="173747" y="563003"/>
                </a:lnTo>
                <a:lnTo>
                  <a:pt x="204749" y="589958"/>
                </a:lnTo>
                <a:lnTo>
                  <a:pt x="245999" y="600075"/>
                </a:lnTo>
                <a:lnTo>
                  <a:pt x="1211199" y="600075"/>
                </a:lnTo>
                <a:lnTo>
                  <a:pt x="1251203" y="590598"/>
                </a:lnTo>
                <a:lnTo>
                  <a:pt x="1282631" y="564125"/>
                </a:lnTo>
                <a:lnTo>
                  <a:pt x="1298913" y="525737"/>
                </a:lnTo>
                <a:lnTo>
                  <a:pt x="1300099" y="511175"/>
                </a:lnTo>
                <a:lnTo>
                  <a:pt x="1300099" y="155575"/>
                </a:lnTo>
                <a:lnTo>
                  <a:pt x="1290631" y="115570"/>
                </a:lnTo>
                <a:lnTo>
                  <a:pt x="1264171" y="84142"/>
                </a:lnTo>
                <a:lnTo>
                  <a:pt x="1225774" y="67860"/>
                </a:lnTo>
                <a:lnTo>
                  <a:pt x="1211199" y="66675"/>
                </a:lnTo>
                <a:lnTo>
                  <a:pt x="245999" y="66675"/>
                </a:lnTo>
                <a:lnTo>
                  <a:pt x="205994" y="76142"/>
                </a:lnTo>
                <a:lnTo>
                  <a:pt x="174566" y="102602"/>
                </a:lnTo>
                <a:lnTo>
                  <a:pt x="158284" y="140999"/>
                </a:lnTo>
                <a:lnTo>
                  <a:pt x="157099" y="155575"/>
                </a:lnTo>
                <a:close/>
              </a:path>
            </a:pathLst>
          </a:custGeom>
          <a:solidFill>
            <a:srgbClr val="FFFF99"/>
          </a:solidFill>
        </p:spPr>
        <p:txBody>
          <a:bodyPr wrap="square" lIns="0" tIns="0" rIns="0" bIns="0" rtlCol="0">
            <a:noAutofit/>
          </a:bodyPr>
          <a:lstStyle/>
          <a:p>
            <a:endParaRPr/>
          </a:p>
        </p:txBody>
      </p:sp>
      <p:sp>
        <p:nvSpPr>
          <p:cNvPr id="29" name="object 29"/>
          <p:cNvSpPr/>
          <p:nvPr/>
        </p:nvSpPr>
        <p:spPr>
          <a:xfrm>
            <a:off x="8986902" y="5114926"/>
            <a:ext cx="1300099" cy="600075"/>
          </a:xfrm>
          <a:custGeom>
            <a:avLst/>
            <a:gdLst/>
            <a:ahLst/>
            <a:cxnLst/>
            <a:rect l="l" t="t" r="r" b="b"/>
            <a:pathLst>
              <a:path w="1300099" h="600075">
                <a:moveTo>
                  <a:pt x="157099" y="155575"/>
                </a:moveTo>
                <a:lnTo>
                  <a:pt x="158284" y="140999"/>
                </a:lnTo>
                <a:lnTo>
                  <a:pt x="161716" y="127187"/>
                </a:lnTo>
                <a:lnTo>
                  <a:pt x="167206" y="114325"/>
                </a:lnTo>
                <a:lnTo>
                  <a:pt x="174566" y="102602"/>
                </a:lnTo>
                <a:lnTo>
                  <a:pt x="183609" y="92206"/>
                </a:lnTo>
                <a:lnTo>
                  <a:pt x="194148" y="83323"/>
                </a:lnTo>
                <a:lnTo>
                  <a:pt x="205994" y="76142"/>
                </a:lnTo>
                <a:lnTo>
                  <a:pt x="218959" y="70851"/>
                </a:lnTo>
                <a:lnTo>
                  <a:pt x="232857" y="67636"/>
                </a:lnTo>
                <a:lnTo>
                  <a:pt x="245999" y="66675"/>
                </a:lnTo>
                <a:lnTo>
                  <a:pt x="347599" y="66675"/>
                </a:lnTo>
                <a:lnTo>
                  <a:pt x="633349" y="66675"/>
                </a:lnTo>
                <a:lnTo>
                  <a:pt x="1211199" y="66675"/>
                </a:lnTo>
                <a:lnTo>
                  <a:pt x="1225774" y="67860"/>
                </a:lnTo>
                <a:lnTo>
                  <a:pt x="1239586" y="71292"/>
                </a:lnTo>
                <a:lnTo>
                  <a:pt x="1252448" y="76782"/>
                </a:lnTo>
                <a:lnTo>
                  <a:pt x="1264171" y="84142"/>
                </a:lnTo>
                <a:lnTo>
                  <a:pt x="1274567" y="93185"/>
                </a:lnTo>
                <a:lnTo>
                  <a:pt x="1283450" y="103724"/>
                </a:lnTo>
                <a:lnTo>
                  <a:pt x="1290631" y="115570"/>
                </a:lnTo>
                <a:lnTo>
                  <a:pt x="1295922" y="128535"/>
                </a:lnTo>
                <a:lnTo>
                  <a:pt x="1299137" y="142433"/>
                </a:lnTo>
                <a:lnTo>
                  <a:pt x="1300099" y="155575"/>
                </a:lnTo>
                <a:lnTo>
                  <a:pt x="1300099" y="288925"/>
                </a:lnTo>
                <a:lnTo>
                  <a:pt x="1300099" y="511175"/>
                </a:lnTo>
                <a:lnTo>
                  <a:pt x="1298913" y="525737"/>
                </a:lnTo>
                <a:lnTo>
                  <a:pt x="1295481" y="539543"/>
                </a:lnTo>
                <a:lnTo>
                  <a:pt x="1289991" y="552401"/>
                </a:lnTo>
                <a:lnTo>
                  <a:pt x="1282631" y="564125"/>
                </a:lnTo>
                <a:lnTo>
                  <a:pt x="1273588" y="574524"/>
                </a:lnTo>
                <a:lnTo>
                  <a:pt x="1263049" y="583412"/>
                </a:lnTo>
                <a:lnTo>
                  <a:pt x="1251203" y="590598"/>
                </a:lnTo>
                <a:lnTo>
                  <a:pt x="1238238" y="595894"/>
                </a:lnTo>
                <a:lnTo>
                  <a:pt x="1224340" y="599112"/>
                </a:lnTo>
                <a:lnTo>
                  <a:pt x="1211199" y="600075"/>
                </a:lnTo>
                <a:lnTo>
                  <a:pt x="633349" y="600075"/>
                </a:lnTo>
                <a:lnTo>
                  <a:pt x="347599" y="600075"/>
                </a:lnTo>
                <a:lnTo>
                  <a:pt x="245999" y="600075"/>
                </a:lnTo>
                <a:lnTo>
                  <a:pt x="231423" y="598888"/>
                </a:lnTo>
                <a:lnTo>
                  <a:pt x="217611" y="595452"/>
                </a:lnTo>
                <a:lnTo>
                  <a:pt x="204749" y="589958"/>
                </a:lnTo>
                <a:lnTo>
                  <a:pt x="193026" y="582592"/>
                </a:lnTo>
                <a:lnTo>
                  <a:pt x="182630" y="573544"/>
                </a:lnTo>
                <a:lnTo>
                  <a:pt x="173747" y="563003"/>
                </a:lnTo>
                <a:lnTo>
                  <a:pt x="166566" y="551157"/>
                </a:lnTo>
                <a:lnTo>
                  <a:pt x="161275" y="538195"/>
                </a:lnTo>
                <a:lnTo>
                  <a:pt x="158060" y="524305"/>
                </a:lnTo>
                <a:lnTo>
                  <a:pt x="157099" y="511175"/>
                </a:lnTo>
                <a:lnTo>
                  <a:pt x="157099" y="288925"/>
                </a:lnTo>
                <a:lnTo>
                  <a:pt x="0" y="0"/>
                </a:lnTo>
                <a:lnTo>
                  <a:pt x="157099" y="155575"/>
                </a:lnTo>
                <a:close/>
              </a:path>
            </a:pathLst>
          </a:custGeom>
          <a:ln w="12700">
            <a:solidFill>
              <a:srgbClr val="000000"/>
            </a:solidFill>
          </a:ln>
        </p:spPr>
        <p:txBody>
          <a:bodyPr wrap="square" lIns="0" tIns="0" rIns="0" bIns="0" rtlCol="0">
            <a:noAutofit/>
          </a:bodyPr>
          <a:lstStyle/>
          <a:p>
            <a:endParaRPr/>
          </a:p>
        </p:txBody>
      </p:sp>
      <p:sp>
        <p:nvSpPr>
          <p:cNvPr id="30" name="object 30"/>
          <p:cNvSpPr/>
          <p:nvPr/>
        </p:nvSpPr>
        <p:spPr>
          <a:xfrm>
            <a:off x="1981200" y="4724401"/>
            <a:ext cx="1981200" cy="866775"/>
          </a:xfrm>
          <a:custGeom>
            <a:avLst/>
            <a:gdLst/>
            <a:ahLst/>
            <a:cxnLst/>
            <a:rect l="l" t="t" r="r" b="b"/>
            <a:pathLst>
              <a:path w="1981200" h="866775">
                <a:moveTo>
                  <a:pt x="0" y="311150"/>
                </a:moveTo>
                <a:lnTo>
                  <a:pt x="0" y="444500"/>
                </a:lnTo>
                <a:lnTo>
                  <a:pt x="962" y="457641"/>
                </a:lnTo>
                <a:lnTo>
                  <a:pt x="16662" y="496350"/>
                </a:lnTo>
                <a:lnTo>
                  <a:pt x="47673" y="523292"/>
                </a:lnTo>
                <a:lnTo>
                  <a:pt x="88900" y="533400"/>
                </a:lnTo>
                <a:lnTo>
                  <a:pt x="1155700" y="533400"/>
                </a:lnTo>
                <a:lnTo>
                  <a:pt x="1724025" y="866775"/>
                </a:lnTo>
                <a:lnTo>
                  <a:pt x="1651000" y="533400"/>
                </a:lnTo>
                <a:lnTo>
                  <a:pt x="1892300" y="533400"/>
                </a:lnTo>
                <a:lnTo>
                  <a:pt x="1905441" y="532438"/>
                </a:lnTo>
                <a:lnTo>
                  <a:pt x="1944150" y="516751"/>
                </a:lnTo>
                <a:lnTo>
                  <a:pt x="1971092" y="485749"/>
                </a:lnTo>
                <a:lnTo>
                  <a:pt x="1981200" y="444500"/>
                </a:lnTo>
                <a:lnTo>
                  <a:pt x="1981200" y="88900"/>
                </a:lnTo>
                <a:lnTo>
                  <a:pt x="1971732" y="48895"/>
                </a:lnTo>
                <a:lnTo>
                  <a:pt x="1945272" y="17467"/>
                </a:lnTo>
                <a:lnTo>
                  <a:pt x="1906875" y="1185"/>
                </a:lnTo>
                <a:lnTo>
                  <a:pt x="1892300" y="0"/>
                </a:lnTo>
                <a:lnTo>
                  <a:pt x="88900" y="0"/>
                </a:lnTo>
                <a:lnTo>
                  <a:pt x="48917" y="9467"/>
                </a:lnTo>
                <a:lnTo>
                  <a:pt x="17482" y="35927"/>
                </a:lnTo>
                <a:lnTo>
                  <a:pt x="1186" y="74324"/>
                </a:lnTo>
                <a:lnTo>
                  <a:pt x="0" y="88900"/>
                </a:lnTo>
                <a:lnTo>
                  <a:pt x="0" y="311150"/>
                </a:lnTo>
                <a:close/>
              </a:path>
            </a:pathLst>
          </a:custGeom>
          <a:solidFill>
            <a:srgbClr val="FFFF99"/>
          </a:solidFill>
        </p:spPr>
        <p:txBody>
          <a:bodyPr wrap="square" lIns="0" tIns="0" rIns="0" bIns="0" rtlCol="0">
            <a:noAutofit/>
          </a:bodyPr>
          <a:lstStyle/>
          <a:p>
            <a:endParaRPr/>
          </a:p>
        </p:txBody>
      </p:sp>
      <p:sp>
        <p:nvSpPr>
          <p:cNvPr id="31" name="object 31"/>
          <p:cNvSpPr/>
          <p:nvPr/>
        </p:nvSpPr>
        <p:spPr>
          <a:xfrm>
            <a:off x="1981200" y="4724401"/>
            <a:ext cx="1981200" cy="866775"/>
          </a:xfrm>
          <a:custGeom>
            <a:avLst/>
            <a:gdLst/>
            <a:ahLst/>
            <a:cxnLst/>
            <a:rect l="l" t="t" r="r" b="b"/>
            <a:pathLst>
              <a:path w="1981200" h="866775">
                <a:moveTo>
                  <a:pt x="0" y="88900"/>
                </a:moveTo>
                <a:lnTo>
                  <a:pt x="1186" y="74324"/>
                </a:lnTo>
                <a:lnTo>
                  <a:pt x="4622" y="60512"/>
                </a:lnTo>
                <a:lnTo>
                  <a:pt x="10116" y="47650"/>
                </a:lnTo>
                <a:lnTo>
                  <a:pt x="17482" y="35927"/>
                </a:lnTo>
                <a:lnTo>
                  <a:pt x="26530" y="25531"/>
                </a:lnTo>
                <a:lnTo>
                  <a:pt x="37071" y="16648"/>
                </a:lnTo>
                <a:lnTo>
                  <a:pt x="48917" y="9467"/>
                </a:lnTo>
                <a:lnTo>
                  <a:pt x="61879" y="4176"/>
                </a:lnTo>
                <a:lnTo>
                  <a:pt x="75769" y="961"/>
                </a:lnTo>
                <a:lnTo>
                  <a:pt x="88900" y="0"/>
                </a:lnTo>
                <a:lnTo>
                  <a:pt x="1155700" y="0"/>
                </a:lnTo>
                <a:lnTo>
                  <a:pt x="1651000" y="0"/>
                </a:lnTo>
                <a:lnTo>
                  <a:pt x="1892300" y="0"/>
                </a:lnTo>
                <a:lnTo>
                  <a:pt x="1906875" y="1185"/>
                </a:lnTo>
                <a:lnTo>
                  <a:pt x="1920687" y="4617"/>
                </a:lnTo>
                <a:lnTo>
                  <a:pt x="1933549" y="10107"/>
                </a:lnTo>
                <a:lnTo>
                  <a:pt x="1945272" y="17467"/>
                </a:lnTo>
                <a:lnTo>
                  <a:pt x="1955668" y="26510"/>
                </a:lnTo>
                <a:lnTo>
                  <a:pt x="1964551" y="37049"/>
                </a:lnTo>
                <a:lnTo>
                  <a:pt x="1971732" y="48895"/>
                </a:lnTo>
                <a:lnTo>
                  <a:pt x="1977023" y="61860"/>
                </a:lnTo>
                <a:lnTo>
                  <a:pt x="1980238" y="75758"/>
                </a:lnTo>
                <a:lnTo>
                  <a:pt x="1981200" y="88900"/>
                </a:lnTo>
                <a:lnTo>
                  <a:pt x="1981200" y="311150"/>
                </a:lnTo>
                <a:lnTo>
                  <a:pt x="1981200" y="444500"/>
                </a:lnTo>
                <a:lnTo>
                  <a:pt x="1980014" y="459075"/>
                </a:lnTo>
                <a:lnTo>
                  <a:pt x="1976582" y="472887"/>
                </a:lnTo>
                <a:lnTo>
                  <a:pt x="1971092" y="485749"/>
                </a:lnTo>
                <a:lnTo>
                  <a:pt x="1963732" y="497472"/>
                </a:lnTo>
                <a:lnTo>
                  <a:pt x="1954689" y="507868"/>
                </a:lnTo>
                <a:lnTo>
                  <a:pt x="1944150" y="516751"/>
                </a:lnTo>
                <a:lnTo>
                  <a:pt x="1932304" y="523932"/>
                </a:lnTo>
                <a:lnTo>
                  <a:pt x="1919339" y="529223"/>
                </a:lnTo>
                <a:lnTo>
                  <a:pt x="1905441" y="532438"/>
                </a:lnTo>
                <a:lnTo>
                  <a:pt x="1892300" y="533400"/>
                </a:lnTo>
                <a:lnTo>
                  <a:pt x="1651000" y="533400"/>
                </a:lnTo>
                <a:lnTo>
                  <a:pt x="1724025" y="866775"/>
                </a:lnTo>
                <a:lnTo>
                  <a:pt x="1155700" y="533400"/>
                </a:lnTo>
                <a:lnTo>
                  <a:pt x="88900" y="533400"/>
                </a:lnTo>
                <a:lnTo>
                  <a:pt x="74337" y="532214"/>
                </a:lnTo>
                <a:lnTo>
                  <a:pt x="60531" y="528782"/>
                </a:lnTo>
                <a:lnTo>
                  <a:pt x="47673" y="523292"/>
                </a:lnTo>
                <a:lnTo>
                  <a:pt x="35949" y="515932"/>
                </a:lnTo>
                <a:lnTo>
                  <a:pt x="25550" y="506889"/>
                </a:lnTo>
                <a:lnTo>
                  <a:pt x="16662" y="496350"/>
                </a:lnTo>
                <a:lnTo>
                  <a:pt x="9476" y="484504"/>
                </a:lnTo>
                <a:lnTo>
                  <a:pt x="4180" y="471539"/>
                </a:lnTo>
                <a:lnTo>
                  <a:pt x="962" y="457641"/>
                </a:lnTo>
                <a:lnTo>
                  <a:pt x="0" y="444500"/>
                </a:lnTo>
                <a:lnTo>
                  <a:pt x="0" y="311150"/>
                </a:lnTo>
                <a:lnTo>
                  <a:pt x="0" y="88900"/>
                </a:lnTo>
                <a:close/>
              </a:path>
            </a:pathLst>
          </a:custGeom>
          <a:ln w="12700">
            <a:solidFill>
              <a:srgbClr val="000000"/>
            </a:solidFill>
          </a:ln>
        </p:spPr>
        <p:txBody>
          <a:bodyPr wrap="square" lIns="0" tIns="0" rIns="0" bIns="0" rtlCol="0">
            <a:noAutofit/>
          </a:bodyPr>
          <a:lstStyle/>
          <a:p>
            <a:endParaRPr/>
          </a:p>
        </p:txBody>
      </p:sp>
      <p:sp>
        <p:nvSpPr>
          <p:cNvPr id="14" name="object 14"/>
          <p:cNvSpPr txBox="1"/>
          <p:nvPr/>
        </p:nvSpPr>
        <p:spPr>
          <a:xfrm>
            <a:off x="9249918" y="5263086"/>
            <a:ext cx="799896" cy="177800"/>
          </a:xfrm>
          <a:prstGeom prst="rect">
            <a:avLst/>
          </a:prstGeom>
        </p:spPr>
        <p:txBody>
          <a:bodyPr wrap="square" lIns="0" tIns="0" rIns="0" bIns="0" rtlCol="0">
            <a:noAutofit/>
          </a:bodyPr>
          <a:lstStyle/>
          <a:p>
            <a:pPr marL="12700">
              <a:lnSpc>
                <a:spcPts val="1325"/>
              </a:lnSpc>
              <a:spcBef>
                <a:spcPts val="66"/>
              </a:spcBef>
            </a:pPr>
            <a:r>
              <a:rPr sz="1200" b="1" spc="-4" dirty="0">
                <a:latin typeface="Arial"/>
                <a:cs typeface="Arial"/>
              </a:rPr>
              <a:t>M</a:t>
            </a:r>
            <a:r>
              <a:rPr sz="1200" b="1" dirty="0">
                <a:latin typeface="Arial"/>
                <a:cs typeface="Arial"/>
              </a:rPr>
              <a:t>o</a:t>
            </a:r>
            <a:r>
              <a:rPr sz="1200" b="1" spc="-19" dirty="0">
                <a:latin typeface="Arial"/>
                <a:cs typeface="Arial"/>
              </a:rPr>
              <a:t>v</a:t>
            </a:r>
            <a:r>
              <a:rPr sz="1200" b="1" spc="4" dirty="0">
                <a:latin typeface="Arial"/>
                <a:cs typeface="Arial"/>
              </a:rPr>
              <a:t>e</a:t>
            </a:r>
            <a:r>
              <a:rPr sz="1200" b="1" dirty="0">
                <a:latin typeface="Arial"/>
                <a:cs typeface="Arial"/>
              </a:rPr>
              <a:t>m</a:t>
            </a:r>
            <a:r>
              <a:rPr sz="1200" b="1" spc="4" dirty="0">
                <a:latin typeface="Arial"/>
                <a:cs typeface="Arial"/>
              </a:rPr>
              <a:t>e</a:t>
            </a:r>
            <a:r>
              <a:rPr sz="1200" b="1" dirty="0">
                <a:latin typeface="Arial"/>
                <a:cs typeface="Arial"/>
              </a:rPr>
              <a:t>nt</a:t>
            </a:r>
            <a:endParaRPr sz="1200">
              <a:latin typeface="Arial"/>
              <a:cs typeface="Arial"/>
            </a:endParaRPr>
          </a:p>
        </p:txBody>
      </p:sp>
      <p:sp>
        <p:nvSpPr>
          <p:cNvPr id="13" name="object 13"/>
          <p:cNvSpPr txBox="1"/>
          <p:nvPr/>
        </p:nvSpPr>
        <p:spPr>
          <a:xfrm>
            <a:off x="9592818" y="5445966"/>
            <a:ext cx="357174" cy="177800"/>
          </a:xfrm>
          <a:prstGeom prst="rect">
            <a:avLst/>
          </a:prstGeom>
        </p:spPr>
        <p:txBody>
          <a:bodyPr wrap="square" lIns="0" tIns="0" rIns="0" bIns="0" rtlCol="0">
            <a:noAutofit/>
          </a:bodyPr>
          <a:lstStyle/>
          <a:p>
            <a:pPr marL="12700">
              <a:lnSpc>
                <a:spcPts val="1325"/>
              </a:lnSpc>
              <a:spcBef>
                <a:spcPts val="66"/>
              </a:spcBef>
            </a:pPr>
            <a:r>
              <a:rPr sz="1200" b="1" dirty="0">
                <a:latin typeface="Arial"/>
                <a:cs typeface="Arial"/>
              </a:rPr>
              <a:t>t</a:t>
            </a:r>
            <a:r>
              <a:rPr sz="1200" b="1" spc="-34" dirty="0">
                <a:latin typeface="Arial"/>
                <a:cs typeface="Arial"/>
              </a:rPr>
              <a:t>y</a:t>
            </a:r>
            <a:r>
              <a:rPr sz="1200" b="1" dirty="0">
                <a:latin typeface="Arial"/>
                <a:cs typeface="Arial"/>
              </a:rPr>
              <a:t>pe</a:t>
            </a:r>
            <a:endParaRPr sz="1200">
              <a:latin typeface="Arial"/>
              <a:cs typeface="Arial"/>
            </a:endParaRPr>
          </a:p>
        </p:txBody>
      </p:sp>
      <p:sp>
        <p:nvSpPr>
          <p:cNvPr id="11" name="object 11"/>
          <p:cNvSpPr txBox="1"/>
          <p:nvPr/>
        </p:nvSpPr>
        <p:spPr>
          <a:xfrm>
            <a:off x="1814513" y="1128649"/>
            <a:ext cx="5381625" cy="2133600"/>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7196138" y="1128649"/>
            <a:ext cx="2559563" cy="2133600"/>
          </a:xfrm>
          <a:prstGeom prst="rect">
            <a:avLst/>
          </a:prstGeom>
        </p:spPr>
        <p:txBody>
          <a:bodyPr wrap="square" lIns="0" tIns="0" rIns="0" bIns="0" rtlCol="0">
            <a:noAutofit/>
          </a:bodyPr>
          <a:lstStyle/>
          <a:p>
            <a:pPr marR="130752">
              <a:lnSpc>
                <a:spcPts val="500"/>
              </a:lnSpc>
              <a:spcBef>
                <a:spcPts val="21"/>
              </a:spcBef>
            </a:pPr>
            <a:endParaRPr sz="500" dirty="0"/>
          </a:p>
        </p:txBody>
      </p:sp>
      <p:sp>
        <p:nvSpPr>
          <p:cNvPr id="9" name="object 9"/>
          <p:cNvSpPr txBox="1"/>
          <p:nvPr/>
        </p:nvSpPr>
        <p:spPr>
          <a:xfrm>
            <a:off x="1814512" y="3262250"/>
            <a:ext cx="2133536" cy="447675"/>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3948049" y="3262250"/>
            <a:ext cx="3248088" cy="447675"/>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7196138" y="3262250"/>
            <a:ext cx="2428811" cy="447675"/>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1814512" y="3709924"/>
            <a:ext cx="2133536" cy="1705006"/>
          </a:xfrm>
          <a:prstGeom prst="rect">
            <a:avLst/>
          </a:prstGeom>
        </p:spPr>
        <p:txBody>
          <a:bodyPr wrap="square" lIns="0" tIns="0" rIns="0" bIns="0" rtlCol="0">
            <a:noAutofit/>
          </a:bodyPr>
          <a:lstStyle/>
          <a:p>
            <a:pPr>
              <a:lnSpc>
                <a:spcPts val="550"/>
              </a:lnSpc>
              <a:spcBef>
                <a:spcPts val="26"/>
              </a:spcBef>
            </a:pPr>
            <a:endParaRPr sz="550"/>
          </a:p>
          <a:p>
            <a:pPr marL="627240" marR="198020" indent="-342899">
              <a:lnSpc>
                <a:spcPct val="100041"/>
              </a:lnSpc>
              <a:spcBef>
                <a:spcPts val="8000"/>
              </a:spcBef>
            </a:pPr>
            <a:r>
              <a:rPr sz="1200" b="1" spc="-39" dirty="0">
                <a:latin typeface="Arial"/>
                <a:cs typeface="Arial"/>
              </a:rPr>
              <a:t>A</a:t>
            </a:r>
            <a:r>
              <a:rPr sz="1200" b="1" spc="4" dirty="0">
                <a:latin typeface="Arial"/>
                <a:cs typeface="Arial"/>
              </a:rPr>
              <a:t>cc</a:t>
            </a:r>
            <a:r>
              <a:rPr sz="1200" b="1" dirty="0">
                <a:latin typeface="Arial"/>
                <a:cs typeface="Arial"/>
              </a:rPr>
              <a:t>oun</a:t>
            </a:r>
            <a:r>
              <a:rPr sz="1200" b="1" spc="-4" dirty="0">
                <a:latin typeface="Arial"/>
                <a:cs typeface="Arial"/>
              </a:rPr>
              <a:t>t</a:t>
            </a:r>
            <a:r>
              <a:rPr sz="1200" b="1" dirty="0">
                <a:latin typeface="Arial"/>
                <a:cs typeface="Arial"/>
              </a:rPr>
              <a:t>ing</a:t>
            </a:r>
            <a:r>
              <a:rPr sz="1200" b="1" spc="39" dirty="0">
                <a:latin typeface="Arial"/>
                <a:cs typeface="Arial"/>
              </a:rPr>
              <a:t> </a:t>
            </a:r>
            <a:r>
              <a:rPr sz="1200" b="1" spc="4" dirty="0">
                <a:latin typeface="Arial"/>
                <a:cs typeface="Arial"/>
              </a:rPr>
              <a:t>e</a:t>
            </a:r>
            <a:r>
              <a:rPr sz="1200" b="1" dirty="0">
                <a:latin typeface="Arial"/>
                <a:cs typeface="Arial"/>
              </a:rPr>
              <a:t>n</a:t>
            </a:r>
            <a:r>
              <a:rPr sz="1200" b="1" spc="-4" dirty="0">
                <a:latin typeface="Arial"/>
                <a:cs typeface="Arial"/>
              </a:rPr>
              <a:t>t</a:t>
            </a:r>
            <a:r>
              <a:rPr sz="1200" b="1" dirty="0">
                <a:latin typeface="Arial"/>
                <a:cs typeface="Arial"/>
              </a:rPr>
              <a:t>ry</a:t>
            </a:r>
            <a:r>
              <a:rPr sz="1200" b="1" spc="-4" dirty="0">
                <a:latin typeface="Arial"/>
                <a:cs typeface="Arial"/>
              </a:rPr>
              <a:t> </a:t>
            </a:r>
            <a:r>
              <a:rPr sz="1200" b="1" spc="4" dirty="0">
                <a:latin typeface="Arial"/>
                <a:cs typeface="Arial"/>
              </a:rPr>
              <a:t>a</a:t>
            </a:r>
            <a:r>
              <a:rPr sz="1200" b="1" dirty="0">
                <a:latin typeface="Arial"/>
                <a:cs typeface="Arial"/>
              </a:rPr>
              <a:t>f</a:t>
            </a:r>
            <a:r>
              <a:rPr sz="1200" b="1" spc="-4" dirty="0">
                <a:latin typeface="Arial"/>
                <a:cs typeface="Arial"/>
              </a:rPr>
              <a:t>t</a:t>
            </a:r>
            <a:r>
              <a:rPr sz="1200" b="1" spc="4" dirty="0">
                <a:latin typeface="Arial"/>
                <a:cs typeface="Arial"/>
              </a:rPr>
              <a:t>e</a:t>
            </a:r>
            <a:r>
              <a:rPr sz="1200" b="1" dirty="0">
                <a:latin typeface="Arial"/>
                <a:cs typeface="Arial"/>
              </a:rPr>
              <a:t>r post goods</a:t>
            </a:r>
            <a:r>
              <a:rPr sz="1200" b="1" spc="14" dirty="0">
                <a:latin typeface="Arial"/>
                <a:cs typeface="Arial"/>
              </a:rPr>
              <a:t> </a:t>
            </a:r>
            <a:r>
              <a:rPr sz="1200" b="1" dirty="0">
                <a:latin typeface="Arial"/>
                <a:cs typeface="Arial"/>
              </a:rPr>
              <a:t>i</a:t>
            </a:r>
            <a:r>
              <a:rPr sz="1200" b="1" spc="4" dirty="0">
                <a:latin typeface="Arial"/>
                <a:cs typeface="Arial"/>
              </a:rPr>
              <a:t>ss</a:t>
            </a:r>
            <a:r>
              <a:rPr sz="1200" b="1" dirty="0">
                <a:latin typeface="Arial"/>
                <a:cs typeface="Arial"/>
              </a:rPr>
              <a:t>ue</a:t>
            </a:r>
            <a:endParaRPr sz="1200">
              <a:latin typeface="Arial"/>
              <a:cs typeface="Arial"/>
            </a:endParaRPr>
          </a:p>
        </p:txBody>
      </p:sp>
      <p:sp>
        <p:nvSpPr>
          <p:cNvPr id="4" name="object 4"/>
          <p:cNvSpPr txBox="1"/>
          <p:nvPr/>
        </p:nvSpPr>
        <p:spPr>
          <a:xfrm>
            <a:off x="1814512" y="5414931"/>
            <a:ext cx="304800" cy="1143031"/>
          </a:xfrm>
          <a:prstGeom prst="rect">
            <a:avLst/>
          </a:prstGeom>
        </p:spPr>
        <p:txBody>
          <a:bodyPr wrap="square" lIns="0" tIns="0" rIns="0" bIns="0" rtlCol="0">
            <a:noAutofit/>
          </a:bodyPr>
          <a:lstStyle/>
          <a:p>
            <a:pPr marL="25400">
              <a:lnSpc>
                <a:spcPts val="1000"/>
              </a:lnSpc>
            </a:pPr>
            <a:endParaRPr sz="1000"/>
          </a:p>
        </p:txBody>
      </p:sp>
      <p:sp>
        <p:nvSpPr>
          <p:cNvPr id="3" name="object 3"/>
          <p:cNvSpPr txBox="1"/>
          <p:nvPr/>
        </p:nvSpPr>
        <p:spPr>
          <a:xfrm>
            <a:off x="2119312" y="5414931"/>
            <a:ext cx="5791200" cy="1143031"/>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7910512" y="5414931"/>
            <a:ext cx="1714436" cy="1143031"/>
          </a:xfrm>
          <a:prstGeom prst="rect">
            <a:avLst/>
          </a:prstGeom>
        </p:spPr>
        <p:txBody>
          <a:bodyPr wrap="square" lIns="0" tIns="0" rIns="0" bIns="0" rtlCol="0">
            <a:noAutofit/>
          </a:bodyPr>
          <a:lstStyle/>
          <a:p>
            <a:pPr marL="25400">
              <a:lnSpc>
                <a:spcPts val="1000"/>
              </a:lnSpc>
            </a:pPr>
            <a:endParaRPr sz="1000"/>
          </a:p>
        </p:txBody>
      </p:sp>
      <p:sp>
        <p:nvSpPr>
          <p:cNvPr id="34" name="Rectangle 33"/>
          <p:cNvSpPr/>
          <p:nvPr/>
        </p:nvSpPr>
        <p:spPr>
          <a:xfrm>
            <a:off x="6963918" y="1180408"/>
            <a:ext cx="4028626" cy="2287806"/>
          </a:xfrm>
          <a:prstGeom prst="rect">
            <a:avLst/>
          </a:prstGeom>
        </p:spPr>
        <p:txBody>
          <a:bodyPr wrap="square">
            <a:spAutoFit/>
          </a:bodyPr>
          <a:lstStyle/>
          <a:p>
            <a:pPr marL="605218" indent="-342900">
              <a:lnSpc>
                <a:spcPct val="100041"/>
              </a:lnSpc>
              <a:spcBef>
                <a:spcPts val="1000"/>
              </a:spcBef>
              <a:buClr>
                <a:srgbClr val="00B0F0"/>
              </a:buClr>
              <a:buFont typeface="Wingdings" panose="05000000000000000000" pitchFamily="2" charset="2"/>
              <a:buChar char="§"/>
            </a:pPr>
            <a:r>
              <a:rPr lang="en-US" spc="4" dirty="0">
                <a:cs typeface="Arial"/>
              </a:rPr>
              <a:t>W</a:t>
            </a:r>
            <a:r>
              <a:rPr lang="en-US" dirty="0">
                <a:cs typeface="Arial"/>
              </a:rPr>
              <a:t>hen</a:t>
            </a:r>
            <a:r>
              <a:rPr lang="en-US" spc="-48" dirty="0">
                <a:cs typeface="Arial"/>
              </a:rPr>
              <a:t> </a:t>
            </a:r>
            <a:r>
              <a:rPr lang="en-US" spc="-34" dirty="0">
                <a:cs typeface="Arial"/>
              </a:rPr>
              <a:t>y</a:t>
            </a:r>
            <a:r>
              <a:rPr lang="en-US" dirty="0">
                <a:cs typeface="Arial"/>
              </a:rPr>
              <a:t>ou</a:t>
            </a:r>
            <a:r>
              <a:rPr lang="en-US" spc="11" dirty="0">
                <a:cs typeface="Arial"/>
              </a:rPr>
              <a:t> </a:t>
            </a:r>
            <a:r>
              <a:rPr lang="en-US" dirty="0">
                <a:cs typeface="Arial"/>
              </a:rPr>
              <a:t>p</a:t>
            </a:r>
            <a:r>
              <a:rPr lang="en-US" spc="-4" dirty="0">
                <a:cs typeface="Arial"/>
              </a:rPr>
              <a:t>o</a:t>
            </a:r>
            <a:r>
              <a:rPr lang="en-US" dirty="0">
                <a:cs typeface="Arial"/>
              </a:rPr>
              <a:t>st</a:t>
            </a:r>
            <a:r>
              <a:rPr lang="en-US" spc="-13" dirty="0">
                <a:cs typeface="Arial"/>
              </a:rPr>
              <a:t> </a:t>
            </a:r>
            <a:r>
              <a:rPr lang="en-US" dirty="0">
                <a:cs typeface="Arial"/>
              </a:rPr>
              <a:t>g</a:t>
            </a:r>
            <a:r>
              <a:rPr lang="en-US" spc="-4" dirty="0">
                <a:cs typeface="Arial"/>
              </a:rPr>
              <a:t>o</a:t>
            </a:r>
            <a:r>
              <a:rPr lang="en-US" dirty="0">
                <a:cs typeface="Arial"/>
              </a:rPr>
              <a:t>o</a:t>
            </a:r>
            <a:r>
              <a:rPr lang="en-US" spc="-4" dirty="0">
                <a:cs typeface="Arial"/>
              </a:rPr>
              <a:t>d</a:t>
            </a:r>
            <a:r>
              <a:rPr lang="en-US" dirty="0">
                <a:cs typeface="Arial"/>
              </a:rPr>
              <a:t>s issue f</a:t>
            </a:r>
            <a:r>
              <a:rPr lang="en-US" spc="-9" dirty="0">
                <a:cs typeface="Arial"/>
              </a:rPr>
              <a:t>o</a:t>
            </a:r>
            <a:r>
              <a:rPr lang="en-US" dirty="0">
                <a:cs typeface="Arial"/>
              </a:rPr>
              <a:t>r</a:t>
            </a:r>
            <a:r>
              <a:rPr lang="en-US" spc="8" dirty="0">
                <a:cs typeface="Arial"/>
              </a:rPr>
              <a:t> </a:t>
            </a:r>
            <a:r>
              <a:rPr lang="en-US" dirty="0">
                <a:cs typeface="Arial"/>
              </a:rPr>
              <a:t>an</a:t>
            </a:r>
            <a:r>
              <a:rPr lang="en-US" spc="-18" dirty="0">
                <a:cs typeface="Arial"/>
              </a:rPr>
              <a:t> </a:t>
            </a:r>
            <a:r>
              <a:rPr lang="en-US" spc="-4" dirty="0">
                <a:cs typeface="Arial"/>
              </a:rPr>
              <a:t>o</a:t>
            </a:r>
            <a:r>
              <a:rPr lang="en-US" dirty="0">
                <a:cs typeface="Arial"/>
              </a:rPr>
              <a:t>u</a:t>
            </a:r>
            <a:r>
              <a:rPr lang="en-US" spc="-9" dirty="0">
                <a:cs typeface="Arial"/>
              </a:rPr>
              <a:t>t</a:t>
            </a:r>
            <a:r>
              <a:rPr lang="en-US" dirty="0">
                <a:cs typeface="Arial"/>
              </a:rPr>
              <a:t>b</a:t>
            </a:r>
            <a:r>
              <a:rPr lang="en-US" spc="-9" dirty="0">
                <a:cs typeface="Arial"/>
              </a:rPr>
              <a:t>o</a:t>
            </a:r>
            <a:r>
              <a:rPr lang="en-US" dirty="0">
                <a:cs typeface="Arial"/>
              </a:rPr>
              <a:t>u</a:t>
            </a:r>
            <a:r>
              <a:rPr lang="en-US" spc="-9" dirty="0">
                <a:cs typeface="Arial"/>
              </a:rPr>
              <a:t>n</a:t>
            </a:r>
            <a:r>
              <a:rPr lang="en-US" dirty="0">
                <a:cs typeface="Arial"/>
              </a:rPr>
              <a:t>d</a:t>
            </a:r>
            <a:r>
              <a:rPr lang="en-US" spc="29" dirty="0">
                <a:cs typeface="Arial"/>
              </a:rPr>
              <a:t> </a:t>
            </a:r>
            <a:r>
              <a:rPr lang="en-US" dirty="0">
                <a:cs typeface="Arial"/>
              </a:rPr>
              <a:t>d</a:t>
            </a:r>
            <a:r>
              <a:rPr lang="en-US" spc="-4" dirty="0">
                <a:cs typeface="Arial"/>
              </a:rPr>
              <a:t>e</a:t>
            </a:r>
            <a:r>
              <a:rPr lang="en-US" dirty="0">
                <a:cs typeface="Arial"/>
              </a:rPr>
              <a:t>l</a:t>
            </a:r>
            <a:r>
              <a:rPr lang="en-US" spc="9" dirty="0">
                <a:cs typeface="Arial"/>
              </a:rPr>
              <a:t>i</a:t>
            </a:r>
            <a:r>
              <a:rPr lang="en-US" spc="-34" dirty="0">
                <a:cs typeface="Arial"/>
              </a:rPr>
              <a:t>v</a:t>
            </a:r>
            <a:r>
              <a:rPr lang="en-US" dirty="0">
                <a:cs typeface="Arial"/>
              </a:rPr>
              <a:t>ery it ge</a:t>
            </a:r>
            <a:r>
              <a:rPr lang="en-US" spc="-4" dirty="0">
                <a:cs typeface="Arial"/>
              </a:rPr>
              <a:t>n</a:t>
            </a:r>
            <a:r>
              <a:rPr lang="en-US" dirty="0">
                <a:cs typeface="Arial"/>
              </a:rPr>
              <a:t>erates</a:t>
            </a:r>
            <a:r>
              <a:rPr lang="en-US" spc="-60" dirty="0">
                <a:cs typeface="Arial"/>
              </a:rPr>
              <a:t> </a:t>
            </a:r>
            <a:r>
              <a:rPr lang="en-US" dirty="0">
                <a:cs typeface="Arial"/>
              </a:rPr>
              <a:t>t</a:t>
            </a:r>
            <a:r>
              <a:rPr lang="en-US" spc="-4" dirty="0">
                <a:cs typeface="Arial"/>
              </a:rPr>
              <a:t>h</a:t>
            </a:r>
            <a:r>
              <a:rPr lang="en-US" dirty="0">
                <a:cs typeface="Arial"/>
              </a:rPr>
              <a:t>e</a:t>
            </a:r>
            <a:r>
              <a:rPr lang="en-US" spc="-13" dirty="0">
                <a:cs typeface="Arial"/>
              </a:rPr>
              <a:t> </a:t>
            </a:r>
            <a:r>
              <a:rPr lang="en-US" dirty="0">
                <a:cs typeface="Arial"/>
              </a:rPr>
              <a:t>ma</a:t>
            </a:r>
            <a:r>
              <a:rPr lang="en-US" spc="-4" dirty="0">
                <a:cs typeface="Arial"/>
              </a:rPr>
              <a:t>t</a:t>
            </a:r>
            <a:r>
              <a:rPr lang="en-US" dirty="0">
                <a:cs typeface="Arial"/>
              </a:rPr>
              <a:t>erial d</a:t>
            </a:r>
            <a:r>
              <a:rPr lang="en-US" spc="-4" dirty="0">
                <a:cs typeface="Arial"/>
              </a:rPr>
              <a:t>o</a:t>
            </a:r>
            <a:r>
              <a:rPr lang="en-US" dirty="0">
                <a:cs typeface="Arial"/>
              </a:rPr>
              <a:t>cu</a:t>
            </a:r>
            <a:r>
              <a:rPr lang="en-US" spc="-4" dirty="0">
                <a:cs typeface="Arial"/>
              </a:rPr>
              <a:t>m</a:t>
            </a:r>
            <a:r>
              <a:rPr lang="en-US" dirty="0">
                <a:cs typeface="Arial"/>
              </a:rPr>
              <a:t>ent</a:t>
            </a:r>
            <a:r>
              <a:rPr lang="en-US" spc="-61" dirty="0">
                <a:cs typeface="Arial"/>
              </a:rPr>
              <a:t> </a:t>
            </a:r>
            <a:r>
              <a:rPr lang="en-US" dirty="0">
                <a:cs typeface="Arial"/>
              </a:rPr>
              <a:t>and</a:t>
            </a:r>
            <a:r>
              <a:rPr lang="en-US" spc="-23" dirty="0">
                <a:cs typeface="Arial"/>
              </a:rPr>
              <a:t> </a:t>
            </a:r>
            <a:r>
              <a:rPr lang="en-US" dirty="0">
                <a:cs typeface="Arial"/>
              </a:rPr>
              <a:t>accounting  d</a:t>
            </a:r>
            <a:r>
              <a:rPr lang="en-US" spc="-4" dirty="0">
                <a:cs typeface="Arial"/>
              </a:rPr>
              <a:t>o</a:t>
            </a:r>
            <a:r>
              <a:rPr lang="en-US" dirty="0">
                <a:cs typeface="Arial"/>
              </a:rPr>
              <a:t>cu</a:t>
            </a:r>
            <a:r>
              <a:rPr lang="en-US" spc="-4" dirty="0">
                <a:cs typeface="Arial"/>
              </a:rPr>
              <a:t>m</a:t>
            </a:r>
            <a:r>
              <a:rPr lang="en-US" dirty="0">
                <a:cs typeface="Arial"/>
              </a:rPr>
              <a:t>ent</a:t>
            </a:r>
          </a:p>
          <a:p>
            <a:pPr marL="262318">
              <a:lnSpc>
                <a:spcPct val="100041"/>
              </a:lnSpc>
              <a:spcBef>
                <a:spcPts val="1000"/>
              </a:spcBef>
            </a:pPr>
            <a:endParaRPr lang="en-US" b="1" dirty="0">
              <a:latin typeface="Arial"/>
              <a:cs typeface="Arial"/>
            </a:endParaRPr>
          </a:p>
          <a:p>
            <a:pPr marL="262318">
              <a:lnSpc>
                <a:spcPct val="100041"/>
              </a:lnSpc>
              <a:spcBef>
                <a:spcPts val="1000"/>
              </a:spcBef>
            </a:pPr>
            <a:endParaRPr lang="en-US" dirty="0">
              <a:latin typeface="Arial"/>
              <a:cs typeface="Arial"/>
            </a:endParaRPr>
          </a:p>
        </p:txBody>
      </p:sp>
      <p:sp>
        <p:nvSpPr>
          <p:cNvPr id="12" name="Title 11"/>
          <p:cNvSpPr>
            <a:spLocks noGrp="1"/>
          </p:cNvSpPr>
          <p:nvPr>
            <p:ph type="title"/>
          </p:nvPr>
        </p:nvSpPr>
        <p:spPr>
          <a:xfrm>
            <a:off x="1842222" y="262186"/>
            <a:ext cx="8509933" cy="859536"/>
          </a:xfrm>
        </p:spPr>
        <p:txBody>
          <a:bodyPr>
            <a:normAutofit/>
          </a:bodyPr>
          <a:lstStyle/>
          <a:p>
            <a:r>
              <a:rPr lang="en-US" sz="2400" dirty="0">
                <a:latin typeface="+mn-lt"/>
                <a:cs typeface="Arial"/>
              </a:rPr>
              <a:t>Post Goods Issue(PGI)</a:t>
            </a:r>
            <a:br>
              <a:rPr lang="en-US" sz="2400" dirty="0">
                <a:latin typeface="+mn-lt"/>
                <a:cs typeface="Arial"/>
              </a:rPr>
            </a:br>
            <a:endParaRPr lang="en-US" sz="2400" dirty="0">
              <a:latin typeface="+mn-lt"/>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071785-6EFE-4BE3-9785-72E6CEE0684D}"/>
              </a:ext>
            </a:extLst>
          </p:cNvPr>
          <p:cNvPicPr>
            <a:picLocks noChangeAspect="1"/>
          </p:cNvPicPr>
          <p:nvPr/>
        </p:nvPicPr>
        <p:blipFill>
          <a:blip r:embed="rId2"/>
          <a:stretch>
            <a:fillRect/>
          </a:stretch>
        </p:blipFill>
        <p:spPr>
          <a:xfrm>
            <a:off x="6324601" y="1847699"/>
            <a:ext cx="4191000" cy="3562501"/>
          </a:xfrm>
          <a:prstGeom prst="rect">
            <a:avLst/>
          </a:prstGeom>
          <a:ln w="28575">
            <a:solidFill>
              <a:schemeClr val="tx1"/>
            </a:solidFill>
          </a:ln>
        </p:spPr>
      </p:pic>
      <p:pic>
        <p:nvPicPr>
          <p:cNvPr id="7" name="Picture 6">
            <a:extLst>
              <a:ext uri="{FF2B5EF4-FFF2-40B4-BE49-F238E27FC236}">
                <a16:creationId xmlns:a16="http://schemas.microsoft.com/office/drawing/2014/main" id="{B648B901-0044-48F6-BCE0-C4B9F3CCA2C8}"/>
              </a:ext>
            </a:extLst>
          </p:cNvPr>
          <p:cNvPicPr>
            <a:picLocks noChangeAspect="1"/>
          </p:cNvPicPr>
          <p:nvPr/>
        </p:nvPicPr>
        <p:blipFill>
          <a:blip r:embed="rId3"/>
          <a:stretch>
            <a:fillRect/>
          </a:stretch>
        </p:blipFill>
        <p:spPr>
          <a:xfrm>
            <a:off x="1814514" y="1828800"/>
            <a:ext cx="4343400" cy="3581400"/>
          </a:xfrm>
          <a:prstGeom prst="rect">
            <a:avLst/>
          </a:prstGeom>
          <a:ln w="28575">
            <a:solidFill>
              <a:schemeClr val="tx1"/>
            </a:solidFill>
          </a:ln>
        </p:spPr>
      </p:pic>
      <p:sp>
        <p:nvSpPr>
          <p:cNvPr id="16" name="object 16"/>
          <p:cNvSpPr/>
          <p:nvPr/>
        </p:nvSpPr>
        <p:spPr>
          <a:xfrm>
            <a:off x="2133600" y="5321300"/>
            <a:ext cx="1828800" cy="1155700"/>
          </a:xfrm>
          <a:custGeom>
            <a:avLst/>
            <a:gdLst/>
            <a:ahLst/>
            <a:cxnLst/>
            <a:rect l="l" t="t" r="r" b="b"/>
            <a:pathLst>
              <a:path w="1828800" h="1155700">
                <a:moveTo>
                  <a:pt x="237" y="1024219"/>
                </a:moveTo>
                <a:lnTo>
                  <a:pt x="9233" y="1066050"/>
                </a:lnTo>
                <a:lnTo>
                  <a:pt x="29741" y="1102177"/>
                </a:lnTo>
                <a:lnTo>
                  <a:pt x="59696" y="1130536"/>
                </a:lnTo>
                <a:lnTo>
                  <a:pt x="97037" y="1149065"/>
                </a:lnTo>
                <a:lnTo>
                  <a:pt x="139700" y="1155700"/>
                </a:lnTo>
                <a:lnTo>
                  <a:pt x="1689100" y="1155700"/>
                </a:lnTo>
                <a:lnTo>
                  <a:pt x="1739176" y="1146466"/>
                </a:lnTo>
                <a:lnTo>
                  <a:pt x="1775304" y="1125958"/>
                </a:lnTo>
                <a:lnTo>
                  <a:pt x="1803654" y="1096003"/>
                </a:lnTo>
                <a:lnTo>
                  <a:pt x="1822171" y="1058662"/>
                </a:lnTo>
                <a:lnTo>
                  <a:pt x="1828800" y="1016000"/>
                </a:lnTo>
                <a:lnTo>
                  <a:pt x="1828800" y="457200"/>
                </a:lnTo>
                <a:lnTo>
                  <a:pt x="1819573" y="407149"/>
                </a:lnTo>
                <a:lnTo>
                  <a:pt x="1799078" y="371022"/>
                </a:lnTo>
                <a:lnTo>
                  <a:pt x="1769130" y="342663"/>
                </a:lnTo>
                <a:lnTo>
                  <a:pt x="1731786" y="324134"/>
                </a:lnTo>
                <a:lnTo>
                  <a:pt x="1689100" y="317500"/>
                </a:lnTo>
                <a:lnTo>
                  <a:pt x="1524000" y="317500"/>
                </a:lnTo>
                <a:lnTo>
                  <a:pt x="1506601" y="0"/>
                </a:lnTo>
                <a:lnTo>
                  <a:pt x="1066800" y="317500"/>
                </a:lnTo>
                <a:lnTo>
                  <a:pt x="139700" y="317500"/>
                </a:lnTo>
                <a:lnTo>
                  <a:pt x="131480" y="317737"/>
                </a:lnTo>
                <a:lnTo>
                  <a:pt x="103060" y="322354"/>
                </a:lnTo>
                <a:lnTo>
                  <a:pt x="76871" y="332392"/>
                </a:lnTo>
                <a:lnTo>
                  <a:pt x="53522" y="347241"/>
                </a:lnTo>
                <a:lnTo>
                  <a:pt x="33625" y="366289"/>
                </a:lnTo>
                <a:lnTo>
                  <a:pt x="17792" y="388924"/>
                </a:lnTo>
                <a:lnTo>
                  <a:pt x="6634" y="414537"/>
                </a:lnTo>
                <a:lnTo>
                  <a:pt x="762" y="442515"/>
                </a:lnTo>
                <a:lnTo>
                  <a:pt x="0" y="457200"/>
                </a:lnTo>
                <a:lnTo>
                  <a:pt x="0" y="1016000"/>
                </a:lnTo>
                <a:lnTo>
                  <a:pt x="237" y="1024219"/>
                </a:lnTo>
                <a:close/>
              </a:path>
            </a:pathLst>
          </a:custGeom>
          <a:solidFill>
            <a:srgbClr val="FFFF99"/>
          </a:solidFill>
        </p:spPr>
        <p:txBody>
          <a:bodyPr wrap="square" lIns="0" tIns="0" rIns="0" bIns="0" rtlCol="0">
            <a:noAutofit/>
          </a:bodyPr>
          <a:lstStyle/>
          <a:p>
            <a:endParaRPr/>
          </a:p>
        </p:txBody>
      </p:sp>
      <p:sp>
        <p:nvSpPr>
          <p:cNvPr id="17" name="object 17"/>
          <p:cNvSpPr/>
          <p:nvPr/>
        </p:nvSpPr>
        <p:spPr>
          <a:xfrm>
            <a:off x="2133600" y="5321300"/>
            <a:ext cx="1828800" cy="1155700"/>
          </a:xfrm>
          <a:custGeom>
            <a:avLst/>
            <a:gdLst/>
            <a:ahLst/>
            <a:cxnLst/>
            <a:rect l="l" t="t" r="r" b="b"/>
            <a:pathLst>
              <a:path w="1828800" h="1155700">
                <a:moveTo>
                  <a:pt x="0" y="457200"/>
                </a:moveTo>
                <a:lnTo>
                  <a:pt x="762" y="442515"/>
                </a:lnTo>
                <a:lnTo>
                  <a:pt x="2999" y="428268"/>
                </a:lnTo>
                <a:lnTo>
                  <a:pt x="6634" y="414537"/>
                </a:lnTo>
                <a:lnTo>
                  <a:pt x="11591" y="401397"/>
                </a:lnTo>
                <a:lnTo>
                  <a:pt x="17792" y="388924"/>
                </a:lnTo>
                <a:lnTo>
                  <a:pt x="25163" y="377196"/>
                </a:lnTo>
                <a:lnTo>
                  <a:pt x="33625" y="366289"/>
                </a:lnTo>
                <a:lnTo>
                  <a:pt x="43104" y="356278"/>
                </a:lnTo>
                <a:lnTo>
                  <a:pt x="53522" y="347241"/>
                </a:lnTo>
                <a:lnTo>
                  <a:pt x="64803" y="339253"/>
                </a:lnTo>
                <a:lnTo>
                  <a:pt x="76871" y="332392"/>
                </a:lnTo>
                <a:lnTo>
                  <a:pt x="89649" y="326733"/>
                </a:lnTo>
                <a:lnTo>
                  <a:pt x="103060" y="322354"/>
                </a:lnTo>
                <a:lnTo>
                  <a:pt x="117030" y="319330"/>
                </a:lnTo>
                <a:lnTo>
                  <a:pt x="131480" y="317737"/>
                </a:lnTo>
                <a:lnTo>
                  <a:pt x="139700" y="317500"/>
                </a:lnTo>
                <a:lnTo>
                  <a:pt x="1066800" y="317500"/>
                </a:lnTo>
                <a:lnTo>
                  <a:pt x="1506601" y="0"/>
                </a:lnTo>
                <a:lnTo>
                  <a:pt x="1524000" y="317500"/>
                </a:lnTo>
                <a:lnTo>
                  <a:pt x="1689100" y="317500"/>
                </a:lnTo>
                <a:lnTo>
                  <a:pt x="1703795" y="318262"/>
                </a:lnTo>
                <a:lnTo>
                  <a:pt x="1718049" y="320499"/>
                </a:lnTo>
                <a:lnTo>
                  <a:pt x="1731786" y="324134"/>
                </a:lnTo>
                <a:lnTo>
                  <a:pt x="1744929" y="329091"/>
                </a:lnTo>
                <a:lnTo>
                  <a:pt x="1757403" y="335292"/>
                </a:lnTo>
                <a:lnTo>
                  <a:pt x="1769130" y="342663"/>
                </a:lnTo>
                <a:lnTo>
                  <a:pt x="1780036" y="351125"/>
                </a:lnTo>
                <a:lnTo>
                  <a:pt x="1790044" y="360604"/>
                </a:lnTo>
                <a:lnTo>
                  <a:pt x="1799078" y="371022"/>
                </a:lnTo>
                <a:lnTo>
                  <a:pt x="1807061" y="382303"/>
                </a:lnTo>
                <a:lnTo>
                  <a:pt x="1813918" y="394371"/>
                </a:lnTo>
                <a:lnTo>
                  <a:pt x="1819573" y="407149"/>
                </a:lnTo>
                <a:lnTo>
                  <a:pt x="1823949" y="420560"/>
                </a:lnTo>
                <a:lnTo>
                  <a:pt x="1826971" y="434530"/>
                </a:lnTo>
                <a:lnTo>
                  <a:pt x="1828562" y="448980"/>
                </a:lnTo>
                <a:lnTo>
                  <a:pt x="1828800" y="457200"/>
                </a:lnTo>
                <a:lnTo>
                  <a:pt x="1828800" y="666750"/>
                </a:lnTo>
                <a:lnTo>
                  <a:pt x="1828800" y="1016000"/>
                </a:lnTo>
                <a:lnTo>
                  <a:pt x="1828038" y="1030684"/>
                </a:lnTo>
                <a:lnTo>
                  <a:pt x="1825803" y="1044931"/>
                </a:lnTo>
                <a:lnTo>
                  <a:pt x="1822171" y="1058662"/>
                </a:lnTo>
                <a:lnTo>
                  <a:pt x="1817218" y="1071802"/>
                </a:lnTo>
                <a:lnTo>
                  <a:pt x="1811020" y="1084275"/>
                </a:lnTo>
                <a:lnTo>
                  <a:pt x="1803654" y="1096003"/>
                </a:lnTo>
                <a:lnTo>
                  <a:pt x="1795195" y="1106910"/>
                </a:lnTo>
                <a:lnTo>
                  <a:pt x="1785720" y="1116921"/>
                </a:lnTo>
                <a:lnTo>
                  <a:pt x="1775304" y="1125958"/>
                </a:lnTo>
                <a:lnTo>
                  <a:pt x="1764024" y="1133946"/>
                </a:lnTo>
                <a:lnTo>
                  <a:pt x="1751956" y="1140807"/>
                </a:lnTo>
                <a:lnTo>
                  <a:pt x="1739176" y="1146466"/>
                </a:lnTo>
                <a:lnTo>
                  <a:pt x="1725760" y="1150845"/>
                </a:lnTo>
                <a:lnTo>
                  <a:pt x="1711785" y="1153869"/>
                </a:lnTo>
                <a:lnTo>
                  <a:pt x="1697325" y="1155462"/>
                </a:lnTo>
                <a:lnTo>
                  <a:pt x="1689100" y="1155700"/>
                </a:lnTo>
                <a:lnTo>
                  <a:pt x="1524000" y="1155700"/>
                </a:lnTo>
                <a:lnTo>
                  <a:pt x="1066800" y="1155700"/>
                </a:lnTo>
                <a:lnTo>
                  <a:pt x="139700" y="1155700"/>
                </a:lnTo>
                <a:lnTo>
                  <a:pt x="125015" y="1154937"/>
                </a:lnTo>
                <a:lnTo>
                  <a:pt x="110768" y="1152700"/>
                </a:lnTo>
                <a:lnTo>
                  <a:pt x="97037" y="1149065"/>
                </a:lnTo>
                <a:lnTo>
                  <a:pt x="83897" y="1144108"/>
                </a:lnTo>
                <a:lnTo>
                  <a:pt x="71424" y="1137907"/>
                </a:lnTo>
                <a:lnTo>
                  <a:pt x="59696" y="1130536"/>
                </a:lnTo>
                <a:lnTo>
                  <a:pt x="48789" y="1122074"/>
                </a:lnTo>
                <a:lnTo>
                  <a:pt x="38778" y="1112595"/>
                </a:lnTo>
                <a:lnTo>
                  <a:pt x="29741" y="1102177"/>
                </a:lnTo>
                <a:lnTo>
                  <a:pt x="21753" y="1090896"/>
                </a:lnTo>
                <a:lnTo>
                  <a:pt x="14892" y="1078828"/>
                </a:lnTo>
                <a:lnTo>
                  <a:pt x="9233" y="1066050"/>
                </a:lnTo>
                <a:lnTo>
                  <a:pt x="4854" y="1052639"/>
                </a:lnTo>
                <a:lnTo>
                  <a:pt x="1830" y="1038669"/>
                </a:lnTo>
                <a:lnTo>
                  <a:pt x="237" y="1024219"/>
                </a:lnTo>
                <a:lnTo>
                  <a:pt x="0" y="1016000"/>
                </a:lnTo>
                <a:lnTo>
                  <a:pt x="0" y="666750"/>
                </a:lnTo>
                <a:lnTo>
                  <a:pt x="0" y="457200"/>
                </a:lnTo>
                <a:close/>
              </a:path>
            </a:pathLst>
          </a:custGeom>
          <a:ln w="12700">
            <a:solidFill>
              <a:srgbClr val="000000"/>
            </a:solidFill>
          </a:ln>
        </p:spPr>
        <p:txBody>
          <a:bodyPr wrap="square" lIns="0" tIns="0" rIns="0" bIns="0" rtlCol="0">
            <a:noAutofit/>
          </a:bodyPr>
          <a:lstStyle/>
          <a:p>
            <a:endParaRPr/>
          </a:p>
        </p:txBody>
      </p:sp>
      <p:sp>
        <p:nvSpPr>
          <p:cNvPr id="12" name="object 12"/>
          <p:cNvSpPr/>
          <p:nvPr/>
        </p:nvSpPr>
        <p:spPr>
          <a:xfrm>
            <a:off x="6781800" y="5237100"/>
            <a:ext cx="1219200" cy="1239901"/>
          </a:xfrm>
          <a:custGeom>
            <a:avLst/>
            <a:gdLst/>
            <a:ahLst/>
            <a:cxnLst/>
            <a:rect l="l" t="t" r="r" b="b"/>
            <a:pathLst>
              <a:path w="1219200" h="1239901">
                <a:moveTo>
                  <a:pt x="237" y="1108420"/>
                </a:moveTo>
                <a:lnTo>
                  <a:pt x="9226" y="1150251"/>
                </a:lnTo>
                <a:lnTo>
                  <a:pt x="29721" y="1186378"/>
                </a:lnTo>
                <a:lnTo>
                  <a:pt x="59669" y="1214737"/>
                </a:lnTo>
                <a:lnTo>
                  <a:pt x="97013" y="1233266"/>
                </a:lnTo>
                <a:lnTo>
                  <a:pt x="139700" y="1239901"/>
                </a:lnTo>
                <a:lnTo>
                  <a:pt x="1079500" y="1239901"/>
                </a:lnTo>
                <a:lnTo>
                  <a:pt x="1129576" y="1230667"/>
                </a:lnTo>
                <a:lnTo>
                  <a:pt x="1165704" y="1210159"/>
                </a:lnTo>
                <a:lnTo>
                  <a:pt x="1194054" y="1180204"/>
                </a:lnTo>
                <a:lnTo>
                  <a:pt x="1212571" y="1142863"/>
                </a:lnTo>
                <a:lnTo>
                  <a:pt x="1219200" y="1100201"/>
                </a:lnTo>
                <a:lnTo>
                  <a:pt x="1219200" y="541401"/>
                </a:lnTo>
                <a:lnTo>
                  <a:pt x="1209958" y="491350"/>
                </a:lnTo>
                <a:lnTo>
                  <a:pt x="1189439" y="455223"/>
                </a:lnTo>
                <a:lnTo>
                  <a:pt x="1159475" y="426864"/>
                </a:lnTo>
                <a:lnTo>
                  <a:pt x="1122138" y="408335"/>
                </a:lnTo>
                <a:lnTo>
                  <a:pt x="1079500" y="401700"/>
                </a:lnTo>
                <a:lnTo>
                  <a:pt x="1016000" y="401700"/>
                </a:lnTo>
                <a:lnTo>
                  <a:pt x="1125601" y="0"/>
                </a:lnTo>
                <a:lnTo>
                  <a:pt x="711200" y="401700"/>
                </a:lnTo>
                <a:lnTo>
                  <a:pt x="139700" y="401700"/>
                </a:lnTo>
                <a:lnTo>
                  <a:pt x="131474" y="401938"/>
                </a:lnTo>
                <a:lnTo>
                  <a:pt x="103039" y="406555"/>
                </a:lnTo>
                <a:lnTo>
                  <a:pt x="76843" y="416593"/>
                </a:lnTo>
                <a:lnTo>
                  <a:pt x="53495" y="431442"/>
                </a:lnTo>
                <a:lnTo>
                  <a:pt x="33604" y="450490"/>
                </a:lnTo>
                <a:lnTo>
                  <a:pt x="17779" y="473125"/>
                </a:lnTo>
                <a:lnTo>
                  <a:pt x="6628" y="498738"/>
                </a:lnTo>
                <a:lnTo>
                  <a:pt x="761" y="526716"/>
                </a:lnTo>
                <a:lnTo>
                  <a:pt x="0" y="541401"/>
                </a:lnTo>
                <a:lnTo>
                  <a:pt x="0" y="1100201"/>
                </a:lnTo>
                <a:lnTo>
                  <a:pt x="237" y="1108420"/>
                </a:lnTo>
                <a:close/>
              </a:path>
            </a:pathLst>
          </a:custGeom>
          <a:solidFill>
            <a:srgbClr val="FFFF99"/>
          </a:solidFill>
        </p:spPr>
        <p:txBody>
          <a:bodyPr wrap="square" lIns="0" tIns="0" rIns="0" bIns="0" rtlCol="0">
            <a:noAutofit/>
          </a:bodyPr>
          <a:lstStyle/>
          <a:p>
            <a:endParaRPr/>
          </a:p>
        </p:txBody>
      </p:sp>
      <p:sp>
        <p:nvSpPr>
          <p:cNvPr id="13" name="object 13"/>
          <p:cNvSpPr/>
          <p:nvPr/>
        </p:nvSpPr>
        <p:spPr>
          <a:xfrm>
            <a:off x="6781800" y="5237100"/>
            <a:ext cx="1219200" cy="1239901"/>
          </a:xfrm>
          <a:custGeom>
            <a:avLst/>
            <a:gdLst/>
            <a:ahLst/>
            <a:cxnLst/>
            <a:rect l="l" t="t" r="r" b="b"/>
            <a:pathLst>
              <a:path w="1219200" h="1239901">
                <a:moveTo>
                  <a:pt x="0" y="541401"/>
                </a:moveTo>
                <a:lnTo>
                  <a:pt x="761" y="526716"/>
                </a:lnTo>
                <a:lnTo>
                  <a:pt x="2996" y="512469"/>
                </a:lnTo>
                <a:lnTo>
                  <a:pt x="6628" y="498738"/>
                </a:lnTo>
                <a:lnTo>
                  <a:pt x="11581" y="485598"/>
                </a:lnTo>
                <a:lnTo>
                  <a:pt x="17779" y="473125"/>
                </a:lnTo>
                <a:lnTo>
                  <a:pt x="25145" y="461397"/>
                </a:lnTo>
                <a:lnTo>
                  <a:pt x="33604" y="450490"/>
                </a:lnTo>
                <a:lnTo>
                  <a:pt x="43079" y="440479"/>
                </a:lnTo>
                <a:lnTo>
                  <a:pt x="53495" y="431442"/>
                </a:lnTo>
                <a:lnTo>
                  <a:pt x="64775" y="423454"/>
                </a:lnTo>
                <a:lnTo>
                  <a:pt x="76843" y="416593"/>
                </a:lnTo>
                <a:lnTo>
                  <a:pt x="89623" y="410934"/>
                </a:lnTo>
                <a:lnTo>
                  <a:pt x="103039" y="406555"/>
                </a:lnTo>
                <a:lnTo>
                  <a:pt x="117014" y="403531"/>
                </a:lnTo>
                <a:lnTo>
                  <a:pt x="131474" y="401938"/>
                </a:lnTo>
                <a:lnTo>
                  <a:pt x="139700" y="401700"/>
                </a:lnTo>
                <a:lnTo>
                  <a:pt x="711200" y="401700"/>
                </a:lnTo>
                <a:lnTo>
                  <a:pt x="1125601" y="0"/>
                </a:lnTo>
                <a:lnTo>
                  <a:pt x="1016000" y="401700"/>
                </a:lnTo>
                <a:lnTo>
                  <a:pt x="1079500" y="401700"/>
                </a:lnTo>
                <a:lnTo>
                  <a:pt x="1094174" y="402463"/>
                </a:lnTo>
                <a:lnTo>
                  <a:pt x="1108412" y="404700"/>
                </a:lnTo>
                <a:lnTo>
                  <a:pt x="1122138" y="408335"/>
                </a:lnTo>
                <a:lnTo>
                  <a:pt x="1135275" y="413292"/>
                </a:lnTo>
                <a:lnTo>
                  <a:pt x="1147746" y="419493"/>
                </a:lnTo>
                <a:lnTo>
                  <a:pt x="1159475" y="426864"/>
                </a:lnTo>
                <a:lnTo>
                  <a:pt x="1170384" y="435326"/>
                </a:lnTo>
                <a:lnTo>
                  <a:pt x="1180398" y="444805"/>
                </a:lnTo>
                <a:lnTo>
                  <a:pt x="1189439" y="455223"/>
                </a:lnTo>
                <a:lnTo>
                  <a:pt x="1197430" y="466504"/>
                </a:lnTo>
                <a:lnTo>
                  <a:pt x="1204295" y="478572"/>
                </a:lnTo>
                <a:lnTo>
                  <a:pt x="1209958" y="491350"/>
                </a:lnTo>
                <a:lnTo>
                  <a:pt x="1214341" y="504761"/>
                </a:lnTo>
                <a:lnTo>
                  <a:pt x="1217368" y="518731"/>
                </a:lnTo>
                <a:lnTo>
                  <a:pt x="1218961" y="533181"/>
                </a:lnTo>
                <a:lnTo>
                  <a:pt x="1219200" y="541401"/>
                </a:lnTo>
                <a:lnTo>
                  <a:pt x="1219200" y="750951"/>
                </a:lnTo>
                <a:lnTo>
                  <a:pt x="1219200" y="1100201"/>
                </a:lnTo>
                <a:lnTo>
                  <a:pt x="1218438" y="1114885"/>
                </a:lnTo>
                <a:lnTo>
                  <a:pt x="1216203" y="1129132"/>
                </a:lnTo>
                <a:lnTo>
                  <a:pt x="1212571" y="1142863"/>
                </a:lnTo>
                <a:lnTo>
                  <a:pt x="1207618" y="1156003"/>
                </a:lnTo>
                <a:lnTo>
                  <a:pt x="1201420" y="1168476"/>
                </a:lnTo>
                <a:lnTo>
                  <a:pt x="1194054" y="1180204"/>
                </a:lnTo>
                <a:lnTo>
                  <a:pt x="1185595" y="1191111"/>
                </a:lnTo>
                <a:lnTo>
                  <a:pt x="1176120" y="1201122"/>
                </a:lnTo>
                <a:lnTo>
                  <a:pt x="1165704" y="1210159"/>
                </a:lnTo>
                <a:lnTo>
                  <a:pt x="1154424" y="1218147"/>
                </a:lnTo>
                <a:lnTo>
                  <a:pt x="1142356" y="1225008"/>
                </a:lnTo>
                <a:lnTo>
                  <a:pt x="1129576" y="1230667"/>
                </a:lnTo>
                <a:lnTo>
                  <a:pt x="1116160" y="1235046"/>
                </a:lnTo>
                <a:lnTo>
                  <a:pt x="1102185" y="1238070"/>
                </a:lnTo>
                <a:lnTo>
                  <a:pt x="1087725" y="1239663"/>
                </a:lnTo>
                <a:lnTo>
                  <a:pt x="1079500" y="1239901"/>
                </a:lnTo>
                <a:lnTo>
                  <a:pt x="1016000" y="1239901"/>
                </a:lnTo>
                <a:lnTo>
                  <a:pt x="711200" y="1239901"/>
                </a:lnTo>
                <a:lnTo>
                  <a:pt x="139700" y="1239901"/>
                </a:lnTo>
                <a:lnTo>
                  <a:pt x="125004" y="1239138"/>
                </a:lnTo>
                <a:lnTo>
                  <a:pt x="110750" y="1236901"/>
                </a:lnTo>
                <a:lnTo>
                  <a:pt x="97013" y="1233266"/>
                </a:lnTo>
                <a:lnTo>
                  <a:pt x="83870" y="1228309"/>
                </a:lnTo>
                <a:lnTo>
                  <a:pt x="71396" y="1222108"/>
                </a:lnTo>
                <a:lnTo>
                  <a:pt x="59669" y="1214737"/>
                </a:lnTo>
                <a:lnTo>
                  <a:pt x="48763" y="1206275"/>
                </a:lnTo>
                <a:lnTo>
                  <a:pt x="38755" y="1196796"/>
                </a:lnTo>
                <a:lnTo>
                  <a:pt x="29721" y="1186378"/>
                </a:lnTo>
                <a:lnTo>
                  <a:pt x="21738" y="1175097"/>
                </a:lnTo>
                <a:lnTo>
                  <a:pt x="14881" y="1163029"/>
                </a:lnTo>
                <a:lnTo>
                  <a:pt x="9226" y="1150251"/>
                </a:lnTo>
                <a:lnTo>
                  <a:pt x="4850" y="1136840"/>
                </a:lnTo>
                <a:lnTo>
                  <a:pt x="1828" y="1122870"/>
                </a:lnTo>
                <a:lnTo>
                  <a:pt x="237" y="1108420"/>
                </a:lnTo>
                <a:lnTo>
                  <a:pt x="0" y="1100201"/>
                </a:lnTo>
                <a:lnTo>
                  <a:pt x="0" y="750951"/>
                </a:lnTo>
                <a:lnTo>
                  <a:pt x="0" y="541401"/>
                </a:lnTo>
                <a:close/>
              </a:path>
            </a:pathLst>
          </a:custGeom>
          <a:ln w="12699">
            <a:solidFill>
              <a:srgbClr val="000000"/>
            </a:solidFill>
          </a:ln>
        </p:spPr>
        <p:txBody>
          <a:bodyPr wrap="square" lIns="0" tIns="0" rIns="0" bIns="0" rtlCol="0">
            <a:noAutofit/>
          </a:bodyPr>
          <a:lstStyle/>
          <a:p>
            <a:endParaRPr/>
          </a:p>
        </p:txBody>
      </p:sp>
      <p:sp>
        <p:nvSpPr>
          <p:cNvPr id="6" name="object 6"/>
          <p:cNvSpPr txBox="1"/>
          <p:nvPr/>
        </p:nvSpPr>
        <p:spPr>
          <a:xfrm>
            <a:off x="2253488" y="5741608"/>
            <a:ext cx="1550468" cy="630428"/>
          </a:xfrm>
          <a:prstGeom prst="rect">
            <a:avLst/>
          </a:prstGeom>
        </p:spPr>
        <p:txBody>
          <a:bodyPr wrap="square" lIns="0" tIns="0" rIns="0" bIns="0" rtlCol="0">
            <a:noAutofit/>
          </a:bodyPr>
          <a:lstStyle/>
          <a:p>
            <a:pPr marL="12700">
              <a:lnSpc>
                <a:spcPts val="1535"/>
              </a:lnSpc>
              <a:spcBef>
                <a:spcPts val="76"/>
              </a:spcBef>
            </a:pPr>
            <a:r>
              <a:rPr sz="1400" spc="-4" dirty="0">
                <a:latin typeface="Arial"/>
                <a:cs typeface="Arial"/>
              </a:rPr>
              <a:t>C</a:t>
            </a:r>
            <a:r>
              <a:rPr sz="1400" dirty="0">
                <a:latin typeface="Arial"/>
                <a:cs typeface="Arial"/>
              </a:rPr>
              <a:t>opy</a:t>
            </a:r>
            <a:r>
              <a:rPr sz="1400" spc="-25" dirty="0">
                <a:latin typeface="Arial"/>
                <a:cs typeface="Arial"/>
              </a:rPr>
              <a:t> </a:t>
            </a:r>
            <a:r>
              <a:rPr sz="1400" dirty="0">
                <a:latin typeface="Arial"/>
                <a:cs typeface="Arial"/>
              </a:rPr>
              <a:t>i</a:t>
            </a:r>
            <a:r>
              <a:rPr sz="1400" spc="4" dirty="0">
                <a:latin typeface="Arial"/>
                <a:cs typeface="Arial"/>
              </a:rPr>
              <a:t>t</a:t>
            </a:r>
            <a:r>
              <a:rPr sz="1400" dirty="0">
                <a:latin typeface="Arial"/>
                <a:cs typeface="Arial"/>
              </a:rPr>
              <a:t>em</a:t>
            </a:r>
            <a:r>
              <a:rPr sz="1400" spc="-19" dirty="0">
                <a:latin typeface="Arial"/>
                <a:cs typeface="Arial"/>
              </a:rPr>
              <a:t> </a:t>
            </a:r>
            <a:r>
              <a:rPr sz="1400" dirty="0">
                <a:latin typeface="Arial"/>
                <a:cs typeface="Arial"/>
              </a:rPr>
              <a:t>no.</a:t>
            </a:r>
            <a:r>
              <a:rPr sz="1400" spc="-14" dirty="0">
                <a:latin typeface="Arial"/>
                <a:cs typeface="Arial"/>
              </a:rPr>
              <a:t> </a:t>
            </a:r>
            <a:r>
              <a:rPr sz="1400" spc="4" dirty="0">
                <a:latin typeface="Arial"/>
                <a:cs typeface="Arial"/>
              </a:rPr>
              <a:t>f</a:t>
            </a:r>
            <a:r>
              <a:rPr sz="1400" dirty="0">
                <a:latin typeface="Arial"/>
                <a:cs typeface="Arial"/>
              </a:rPr>
              <a:t>rom</a:t>
            </a:r>
            <a:endParaRPr sz="1400">
              <a:latin typeface="Arial"/>
              <a:cs typeface="Arial"/>
            </a:endParaRPr>
          </a:p>
          <a:p>
            <a:pPr marL="12700" marR="429585">
              <a:lnSpc>
                <a:spcPct val="100041"/>
              </a:lnSpc>
            </a:pPr>
            <a:r>
              <a:rPr sz="1400" spc="4" dirty="0">
                <a:latin typeface="Arial"/>
                <a:cs typeface="Arial"/>
              </a:rPr>
              <a:t>t</a:t>
            </a:r>
            <a:r>
              <a:rPr sz="1400" dirty="0">
                <a:latin typeface="Arial"/>
                <a:cs typeface="Arial"/>
              </a:rPr>
              <a:t>he</a:t>
            </a:r>
            <a:r>
              <a:rPr sz="1400" spc="-29" dirty="0">
                <a:latin typeface="Arial"/>
                <a:cs typeface="Arial"/>
              </a:rPr>
              <a:t> </a:t>
            </a:r>
            <a:r>
              <a:rPr sz="1400" dirty="0">
                <a:latin typeface="Arial"/>
                <a:cs typeface="Arial"/>
              </a:rPr>
              <a:t>pre</a:t>
            </a:r>
            <a:r>
              <a:rPr sz="1400" spc="4" dirty="0">
                <a:latin typeface="Arial"/>
                <a:cs typeface="Arial"/>
              </a:rPr>
              <a:t>c</a:t>
            </a:r>
            <a:r>
              <a:rPr sz="1400" dirty="0">
                <a:latin typeface="Arial"/>
                <a:cs typeface="Arial"/>
              </a:rPr>
              <a:t>eding do</a:t>
            </a:r>
            <a:r>
              <a:rPr sz="1400" spc="4" dirty="0">
                <a:latin typeface="Arial"/>
                <a:cs typeface="Arial"/>
              </a:rPr>
              <a:t>c</a:t>
            </a:r>
            <a:r>
              <a:rPr sz="1400" dirty="0">
                <a:latin typeface="Arial"/>
                <a:cs typeface="Arial"/>
              </a:rPr>
              <a:t>u</a:t>
            </a:r>
            <a:r>
              <a:rPr sz="1400" spc="-4" dirty="0">
                <a:latin typeface="Arial"/>
                <a:cs typeface="Arial"/>
              </a:rPr>
              <a:t>m</a:t>
            </a:r>
            <a:r>
              <a:rPr sz="1400" dirty="0">
                <a:latin typeface="Arial"/>
                <a:cs typeface="Arial"/>
              </a:rPr>
              <a:t>ent</a:t>
            </a:r>
            <a:endParaRPr sz="1400">
              <a:latin typeface="Arial"/>
              <a:cs typeface="Arial"/>
            </a:endParaRPr>
          </a:p>
        </p:txBody>
      </p:sp>
      <p:sp>
        <p:nvSpPr>
          <p:cNvPr id="5" name="object 5"/>
          <p:cNvSpPr txBox="1"/>
          <p:nvPr/>
        </p:nvSpPr>
        <p:spPr>
          <a:xfrm>
            <a:off x="6916039" y="5747758"/>
            <a:ext cx="967200" cy="715772"/>
          </a:xfrm>
          <a:prstGeom prst="rect">
            <a:avLst/>
          </a:prstGeom>
        </p:spPr>
        <p:txBody>
          <a:bodyPr wrap="square" lIns="0" tIns="0" rIns="0" bIns="0" rtlCol="0">
            <a:noAutofit/>
          </a:bodyPr>
          <a:lstStyle/>
          <a:p>
            <a:pPr marL="120434" marR="137720" algn="ctr">
              <a:lnSpc>
                <a:spcPts val="1730"/>
              </a:lnSpc>
              <a:spcBef>
                <a:spcPts val="86"/>
              </a:spcBef>
            </a:pPr>
            <a:r>
              <a:rPr sz="1600" dirty="0">
                <a:latin typeface="Arial"/>
                <a:cs typeface="Arial"/>
              </a:rPr>
              <a:t>Update</a:t>
            </a:r>
            <a:endParaRPr sz="1600">
              <a:latin typeface="Arial"/>
              <a:cs typeface="Arial"/>
            </a:endParaRPr>
          </a:p>
          <a:p>
            <a:pPr algn="ctr">
              <a:lnSpc>
                <a:spcPct val="95825"/>
              </a:lnSpc>
            </a:pPr>
            <a:r>
              <a:rPr sz="1600" dirty="0">
                <a:latin typeface="Arial"/>
                <a:cs typeface="Arial"/>
              </a:rPr>
              <a:t>Do</a:t>
            </a:r>
            <a:r>
              <a:rPr sz="1600" spc="4" dirty="0">
                <a:latin typeface="Arial"/>
                <a:cs typeface="Arial"/>
              </a:rPr>
              <a:t>c</a:t>
            </a:r>
            <a:r>
              <a:rPr sz="1600" dirty="0">
                <a:latin typeface="Arial"/>
                <a:cs typeface="Arial"/>
              </a:rPr>
              <a:t>ument</a:t>
            </a:r>
            <a:endParaRPr sz="1600">
              <a:latin typeface="Arial"/>
              <a:cs typeface="Arial"/>
            </a:endParaRPr>
          </a:p>
          <a:p>
            <a:pPr marL="234734" marR="248779" algn="ctr">
              <a:lnSpc>
                <a:spcPct val="95825"/>
              </a:lnSpc>
              <a:spcBef>
                <a:spcPts val="80"/>
              </a:spcBef>
            </a:pPr>
            <a:r>
              <a:rPr sz="1600" dirty="0">
                <a:latin typeface="Arial"/>
                <a:cs typeface="Arial"/>
              </a:rPr>
              <a:t>Flow</a:t>
            </a:r>
            <a:endParaRPr sz="1600">
              <a:latin typeface="Arial"/>
              <a:cs typeface="Arial"/>
            </a:endParaRPr>
          </a:p>
        </p:txBody>
      </p:sp>
      <p:sp>
        <p:nvSpPr>
          <p:cNvPr id="4" name="Title 3"/>
          <p:cNvSpPr>
            <a:spLocks noGrp="1"/>
          </p:cNvSpPr>
          <p:nvPr>
            <p:ph type="title"/>
          </p:nvPr>
        </p:nvSpPr>
        <p:spPr>
          <a:xfrm>
            <a:off x="1814513" y="228600"/>
            <a:ext cx="8509933" cy="609600"/>
          </a:xfrm>
        </p:spPr>
        <p:txBody>
          <a:bodyPr>
            <a:normAutofit fontScale="90000"/>
          </a:bodyPr>
          <a:lstStyle/>
          <a:p>
            <a:r>
              <a:rPr lang="en-US" sz="2400" dirty="0">
                <a:latin typeface="Arial"/>
                <a:cs typeface="Arial"/>
              </a:rPr>
              <a:t>Copy Controls</a:t>
            </a:r>
            <a:br>
              <a:rPr lang="en-US" sz="2800" dirty="0">
                <a:latin typeface="Arial"/>
                <a:cs typeface="Arial"/>
              </a:rPr>
            </a:b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Lesson Objectives</a:t>
            </a:r>
          </a:p>
        </p:txBody>
      </p:sp>
      <p:sp>
        <p:nvSpPr>
          <p:cNvPr id="4" name="Content Placeholder 2">
            <a:extLst>
              <a:ext uri="{FF2B5EF4-FFF2-40B4-BE49-F238E27FC236}">
                <a16:creationId xmlns:a16="http://schemas.microsoft.com/office/drawing/2014/main" id="{EA681864-F249-4060-8978-B31FF617B60A}"/>
              </a:ext>
            </a:extLst>
          </p:cNvPr>
          <p:cNvSpPr txBox="1">
            <a:spLocks/>
          </p:cNvSpPr>
          <p:nvPr/>
        </p:nvSpPr>
        <p:spPr>
          <a:xfrm>
            <a:off x="7336829" y="980728"/>
            <a:ext cx="5095875" cy="415448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ltLang="en-US" dirty="0"/>
              <a:t>Delivery Type - Controls</a:t>
            </a:r>
          </a:p>
          <a:p>
            <a:pPr marL="285750" indent="-285750">
              <a:buFont typeface="Wingdings" panose="05000000000000000000" pitchFamily="2" charset="2"/>
              <a:buChar char="§"/>
            </a:pPr>
            <a:r>
              <a:rPr lang="en-US" altLang="en-US" sz="1800" dirty="0"/>
              <a:t>Delivery Item Category</a:t>
            </a:r>
          </a:p>
          <a:p>
            <a:pPr lvl="1"/>
            <a:r>
              <a:rPr lang="en-US" altLang="en-US" dirty="0"/>
              <a:t>Delivery Item Category – Controls</a:t>
            </a:r>
          </a:p>
          <a:p>
            <a:pPr marL="285750" indent="-285750">
              <a:buFont typeface="Wingdings" panose="05000000000000000000" pitchFamily="2" charset="2"/>
              <a:buChar char="§"/>
            </a:pPr>
            <a:r>
              <a:rPr lang="en-US" altLang="en-US" sz="1800" dirty="0"/>
              <a:t>Delivery Processing – Create</a:t>
            </a:r>
          </a:p>
          <a:p>
            <a:pPr lvl="1"/>
            <a:r>
              <a:rPr lang="en-US" altLang="en-US" dirty="0"/>
              <a:t>Delivery Header Views</a:t>
            </a:r>
          </a:p>
          <a:p>
            <a:pPr lvl="1"/>
            <a:r>
              <a:rPr lang="en-US" altLang="en-US" dirty="0"/>
              <a:t>Delivery Item Views</a:t>
            </a:r>
          </a:p>
          <a:p>
            <a:pPr lvl="1"/>
            <a:r>
              <a:rPr lang="en-US" altLang="en-US" dirty="0"/>
              <a:t>Outbound Delivery-Environment</a:t>
            </a:r>
          </a:p>
          <a:p>
            <a:pPr lvl="1"/>
            <a:r>
              <a:rPr lang="en-US" altLang="en-US" dirty="0"/>
              <a:t>Post Goods Issue(PGI)</a:t>
            </a:r>
          </a:p>
          <a:p>
            <a:pPr lvl="1"/>
            <a:r>
              <a:rPr lang="en-US" altLang="en-US" dirty="0"/>
              <a:t>Copy Controls</a:t>
            </a:r>
          </a:p>
          <a:p>
            <a:pPr marL="285750" indent="-285750">
              <a:buFont typeface="Wingdings" panose="05000000000000000000" pitchFamily="2" charset="2"/>
              <a:buChar char="§"/>
            </a:pPr>
            <a:r>
              <a:rPr lang="en-US" altLang="en-US" sz="1800" dirty="0"/>
              <a:t>Outbound Delivery Monitor</a:t>
            </a:r>
          </a:p>
          <a:p>
            <a:pPr marL="285750" indent="-285750">
              <a:buFont typeface="Wingdings" panose="05000000000000000000" pitchFamily="2" charset="2"/>
              <a:buChar char="§"/>
            </a:pPr>
            <a:r>
              <a:rPr lang="en-US" altLang="en-US" sz="1800" dirty="0"/>
              <a:t>Transaction Codes</a:t>
            </a:r>
          </a:p>
          <a:p>
            <a:pPr marL="285750" indent="-285750">
              <a:buFont typeface="Wingdings" panose="05000000000000000000" pitchFamily="2" charset="2"/>
              <a:buChar char="§"/>
            </a:pPr>
            <a:r>
              <a:rPr lang="en-US" altLang="en-US" sz="1800" dirty="0"/>
              <a:t>Additional Info</a:t>
            </a:r>
          </a:p>
          <a:p>
            <a:endParaRPr lang="en-US" altLang="en-US" dirty="0"/>
          </a:p>
        </p:txBody>
      </p:sp>
    </p:spTree>
    <p:extLst>
      <p:ext uri="{BB962C8B-B14F-4D97-AF65-F5344CB8AC3E}">
        <p14:creationId xmlns:p14="http://schemas.microsoft.com/office/powerpoint/2010/main" val="25264383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78B59-66E3-4C00-AB1A-C1200367CECE}"/>
              </a:ext>
            </a:extLst>
          </p:cNvPr>
          <p:cNvPicPr>
            <a:picLocks noChangeAspect="1"/>
          </p:cNvPicPr>
          <p:nvPr/>
        </p:nvPicPr>
        <p:blipFill>
          <a:blip r:embed="rId2"/>
          <a:stretch>
            <a:fillRect/>
          </a:stretch>
        </p:blipFill>
        <p:spPr>
          <a:xfrm>
            <a:off x="2590800" y="2161856"/>
            <a:ext cx="7115175" cy="4186301"/>
          </a:xfrm>
          <a:prstGeom prst="rect">
            <a:avLst/>
          </a:prstGeom>
          <a:ln w="28575">
            <a:solidFill>
              <a:schemeClr val="tx1"/>
            </a:solidFill>
          </a:ln>
        </p:spPr>
      </p:pic>
      <p:sp>
        <p:nvSpPr>
          <p:cNvPr id="4" name="object 4"/>
          <p:cNvSpPr txBox="1"/>
          <p:nvPr/>
        </p:nvSpPr>
        <p:spPr>
          <a:xfrm>
            <a:off x="1866899" y="884902"/>
            <a:ext cx="8534400" cy="1158147"/>
          </a:xfrm>
          <a:prstGeom prst="rect">
            <a:avLst/>
          </a:prstGeom>
        </p:spPr>
        <p:txBody>
          <a:bodyPr wrap="square" lIns="0" tIns="0" rIns="0" bIns="0" rtlCol="0">
            <a:noAutofit/>
          </a:bodyPr>
          <a:lstStyle/>
          <a:p>
            <a:pPr marL="355600" marR="22349" indent="-342900">
              <a:spcBef>
                <a:spcPts val="86"/>
              </a:spcBef>
              <a:buClr>
                <a:srgbClr val="00B0F0"/>
              </a:buClr>
              <a:buFont typeface="Wingdings" panose="05000000000000000000" pitchFamily="2" charset="2"/>
              <a:buChar char="§"/>
            </a:pPr>
            <a:r>
              <a:rPr spc="4" dirty="0">
                <a:cs typeface="Arial"/>
              </a:rPr>
              <a:t>The delivery monitor is a one stop application for collective processing of deliveries </a:t>
            </a:r>
            <a:r>
              <a:rPr lang="en-US" spc="4" dirty="0">
                <a:cs typeface="Arial"/>
              </a:rPr>
              <a:t>&amp; </a:t>
            </a:r>
            <a:r>
              <a:rPr spc="4" dirty="0">
                <a:cs typeface="Arial"/>
              </a:rPr>
              <a:t>for</a:t>
            </a:r>
            <a:r>
              <a:rPr lang="en-US" spc="4" dirty="0">
                <a:cs typeface="Arial"/>
              </a:rPr>
              <a:t> </a:t>
            </a:r>
            <a:r>
              <a:rPr spc="4" dirty="0">
                <a:cs typeface="Arial"/>
              </a:rPr>
              <a:t>obtaining information on general shipping processing</a:t>
            </a:r>
          </a:p>
        </p:txBody>
      </p:sp>
      <p:sp>
        <p:nvSpPr>
          <p:cNvPr id="2" name="object 2"/>
          <p:cNvSpPr txBox="1"/>
          <p:nvPr/>
        </p:nvSpPr>
        <p:spPr>
          <a:xfrm>
            <a:off x="2576513" y="2043049"/>
            <a:ext cx="7115175" cy="4214876"/>
          </a:xfrm>
          <a:prstGeom prst="rect">
            <a:avLst/>
          </a:prstGeom>
        </p:spPr>
        <p:txBody>
          <a:bodyPr wrap="square" lIns="0" tIns="0" rIns="0" bIns="0" rtlCol="0">
            <a:noAutofit/>
          </a:bodyPr>
          <a:lstStyle/>
          <a:p>
            <a:pPr marL="25400">
              <a:lnSpc>
                <a:spcPts val="1000"/>
              </a:lnSpc>
            </a:pPr>
            <a:endParaRPr sz="1000"/>
          </a:p>
        </p:txBody>
      </p:sp>
      <p:sp>
        <p:nvSpPr>
          <p:cNvPr id="3" name="Title 2"/>
          <p:cNvSpPr>
            <a:spLocks noGrp="1"/>
          </p:cNvSpPr>
          <p:nvPr>
            <p:ph type="title"/>
          </p:nvPr>
        </p:nvSpPr>
        <p:spPr>
          <a:xfrm>
            <a:off x="1879134" y="228600"/>
            <a:ext cx="8509933" cy="609600"/>
          </a:xfrm>
        </p:spPr>
        <p:txBody>
          <a:bodyPr>
            <a:normAutofit fontScale="90000"/>
          </a:bodyPr>
          <a:lstStyle/>
          <a:p>
            <a:r>
              <a:rPr lang="en-US" sz="2400" dirty="0">
                <a:latin typeface="Arial"/>
                <a:cs typeface="Arial"/>
              </a:rPr>
              <a:t>Out</a:t>
            </a:r>
            <a:r>
              <a:rPr lang="en-US" sz="2400" spc="-14" dirty="0">
                <a:latin typeface="Arial"/>
                <a:cs typeface="Arial"/>
              </a:rPr>
              <a:t>b</a:t>
            </a:r>
            <a:r>
              <a:rPr lang="en-US" sz="2400" dirty="0">
                <a:latin typeface="Arial"/>
                <a:cs typeface="Arial"/>
              </a:rPr>
              <a:t>ound Delivery Monitor</a:t>
            </a:r>
            <a:br>
              <a:rPr lang="en-US" sz="2800" dirty="0">
                <a:latin typeface="Arial"/>
                <a:cs typeface="Arial"/>
              </a:rPr>
            </a:b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801859683"/>
              </p:ext>
            </p:extLst>
          </p:nvPr>
        </p:nvGraphicFramePr>
        <p:xfrm>
          <a:off x="1828801" y="1196752"/>
          <a:ext cx="8706544" cy="4622800"/>
        </p:xfrm>
        <a:graphic>
          <a:graphicData uri="http://schemas.openxmlformats.org/drawingml/2006/table">
            <a:tbl>
              <a:tblPr firstRow="1" bandRow="1">
                <a:tableStyleId>{5C22544A-7EE6-4342-B048-85BDC9FD1C3A}</a:tableStyleId>
              </a:tblPr>
              <a:tblGrid>
                <a:gridCol w="1480112">
                  <a:extLst>
                    <a:ext uri="{9D8B030D-6E8A-4147-A177-3AD203B41FA5}">
                      <a16:colId xmlns:a16="http://schemas.microsoft.com/office/drawing/2014/main" val="20000"/>
                    </a:ext>
                  </a:extLst>
                </a:gridCol>
                <a:gridCol w="7226432">
                  <a:extLst>
                    <a:ext uri="{9D8B030D-6E8A-4147-A177-3AD203B41FA5}">
                      <a16:colId xmlns:a16="http://schemas.microsoft.com/office/drawing/2014/main" val="20001"/>
                    </a:ext>
                  </a:extLst>
                </a:gridCol>
              </a:tblGrid>
              <a:tr h="370840">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dirty="0">
                          <a:solidFill>
                            <a:schemeClr val="tx1"/>
                          </a:solidFill>
                          <a:latin typeface="+mn-lt"/>
                          <a:ea typeface="+mn-ea"/>
                          <a:cs typeface="+mn-cs"/>
                        </a:rPr>
                        <a:t>OVLK</a:t>
                      </a: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solidFill>
                            <a:schemeClr val="dk1"/>
                          </a:solidFill>
                          <a:latin typeface="+mn-lt"/>
                          <a:ea typeface="+mn-ea"/>
                          <a:cs typeface="Arial"/>
                        </a:rPr>
                        <a:t>Define Delivery Types</a:t>
                      </a:r>
                    </a:p>
                  </a:txBody>
                  <a:tcPr>
                    <a:noFill/>
                  </a:tcPr>
                </a:tc>
                <a:extLst>
                  <a:ext uri="{0D108BD9-81ED-4DB2-BD59-A6C34878D82A}">
                    <a16:rowId xmlns:a16="http://schemas.microsoft.com/office/drawing/2014/main" val="10000"/>
                  </a:ext>
                </a:extLst>
              </a:tr>
              <a:tr h="370840">
                <a:tc>
                  <a:txBody>
                    <a:bodyPr/>
                    <a:lstStyle/>
                    <a:p>
                      <a:r>
                        <a:rPr lang="en-US" sz="1800" b="0" dirty="0">
                          <a:solidFill>
                            <a:schemeClr val="tx1"/>
                          </a:solidFill>
                          <a:latin typeface="+mn-lt"/>
                        </a:rPr>
                        <a:t>OVLP</a:t>
                      </a: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Define</a:t>
                      </a:r>
                      <a:r>
                        <a:rPr lang="en-US" sz="1800" b="0" spc="-38" dirty="0">
                          <a:latin typeface="+mn-lt"/>
                          <a:cs typeface="Arial"/>
                        </a:rPr>
                        <a:t> </a:t>
                      </a:r>
                      <a:r>
                        <a:rPr lang="en-US" sz="1800" b="0" spc="0" dirty="0">
                          <a:latin typeface="+mn-lt"/>
                          <a:cs typeface="Arial"/>
                        </a:rPr>
                        <a:t>Item</a:t>
                      </a:r>
                      <a:r>
                        <a:rPr lang="en-US" sz="1800" b="0" spc="-12" dirty="0">
                          <a:latin typeface="+mn-lt"/>
                          <a:cs typeface="Arial"/>
                        </a:rPr>
                        <a:t> </a:t>
                      </a:r>
                      <a:r>
                        <a:rPr lang="en-US" sz="1800" b="0" spc="0" dirty="0">
                          <a:latin typeface="+mn-lt"/>
                          <a:cs typeface="Arial"/>
                        </a:rPr>
                        <a:t>categ</a:t>
                      </a:r>
                      <a:r>
                        <a:rPr lang="en-US" sz="1800" b="0" spc="-9" dirty="0">
                          <a:latin typeface="+mn-lt"/>
                          <a:cs typeface="Arial"/>
                        </a:rPr>
                        <a:t>o</a:t>
                      </a:r>
                      <a:r>
                        <a:rPr lang="en-US" sz="1800" b="0" spc="0" dirty="0">
                          <a:latin typeface="+mn-lt"/>
                          <a:cs typeface="Arial"/>
                        </a:rPr>
                        <a:t>ries</a:t>
                      </a:r>
                      <a:r>
                        <a:rPr lang="en-US" sz="1800" b="0" spc="-50" dirty="0">
                          <a:latin typeface="+mn-lt"/>
                          <a:cs typeface="Arial"/>
                        </a:rPr>
                        <a:t> </a:t>
                      </a:r>
                      <a:r>
                        <a:rPr lang="en-US" sz="1800" b="0" spc="0" dirty="0">
                          <a:latin typeface="+mn-lt"/>
                          <a:cs typeface="Arial"/>
                        </a:rPr>
                        <a:t>f</a:t>
                      </a:r>
                      <a:r>
                        <a:rPr lang="en-US" sz="1800" b="0" spc="-4" dirty="0">
                          <a:latin typeface="+mn-lt"/>
                          <a:cs typeface="Arial"/>
                        </a:rPr>
                        <a:t>o</a:t>
                      </a:r>
                      <a:r>
                        <a:rPr lang="en-US" sz="1800" b="0" spc="0" dirty="0">
                          <a:latin typeface="+mn-lt"/>
                          <a:cs typeface="Arial"/>
                        </a:rPr>
                        <a:t>r</a:t>
                      </a:r>
                      <a:r>
                        <a:rPr lang="en-US" sz="1800" b="0" spc="3" dirty="0">
                          <a:latin typeface="+mn-lt"/>
                          <a:cs typeface="Arial"/>
                        </a:rPr>
                        <a:t> </a:t>
                      </a:r>
                      <a:r>
                        <a:rPr lang="en-US" sz="1800" b="0" spc="0" dirty="0">
                          <a:latin typeface="+mn-lt"/>
                          <a:cs typeface="Arial"/>
                        </a:rPr>
                        <a:t>Deli</a:t>
                      </a:r>
                      <a:r>
                        <a:rPr lang="en-US" sz="1800" b="0" spc="-29" dirty="0">
                          <a:latin typeface="+mn-lt"/>
                          <a:cs typeface="Arial"/>
                        </a:rPr>
                        <a:t>v</a:t>
                      </a:r>
                      <a:r>
                        <a:rPr lang="en-US" sz="1800" b="0" spc="0" dirty="0">
                          <a:latin typeface="+mn-lt"/>
                          <a:cs typeface="Arial"/>
                        </a:rPr>
                        <a:t>eries</a:t>
                      </a:r>
                      <a:endParaRPr lang="en-US" sz="1800" b="0" dirty="0">
                        <a:latin typeface="+mn-lt"/>
                      </a:endParaRPr>
                    </a:p>
                  </a:txBody>
                  <a:tcPr>
                    <a:noFill/>
                  </a:tcPr>
                </a:tc>
                <a:extLst>
                  <a:ext uri="{0D108BD9-81ED-4DB2-BD59-A6C34878D82A}">
                    <a16:rowId xmlns:a16="http://schemas.microsoft.com/office/drawing/2014/main" val="10001"/>
                  </a:ext>
                </a:extLst>
              </a:tr>
              <a:tr h="370840">
                <a:tc>
                  <a:txBody>
                    <a:bodyPr/>
                    <a:lstStyle/>
                    <a:p>
                      <a:r>
                        <a:rPr lang="en-US" sz="1800" b="0" dirty="0">
                          <a:solidFill>
                            <a:schemeClr val="tx1"/>
                          </a:solidFill>
                          <a:latin typeface="+mn-lt"/>
                        </a:rPr>
                        <a:t>VN01</a:t>
                      </a: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Define</a:t>
                      </a:r>
                      <a:r>
                        <a:rPr lang="en-US" sz="1800" b="0" spc="-38" dirty="0">
                          <a:latin typeface="+mn-lt"/>
                          <a:cs typeface="Arial"/>
                        </a:rPr>
                        <a:t> </a:t>
                      </a:r>
                      <a:r>
                        <a:rPr lang="en-US" sz="1800" b="0" spc="0" dirty="0">
                          <a:latin typeface="+mn-lt"/>
                          <a:cs typeface="Arial"/>
                        </a:rPr>
                        <a:t>Number</a:t>
                      </a:r>
                      <a:r>
                        <a:rPr lang="en-US" sz="1800" b="0" spc="-50" dirty="0">
                          <a:latin typeface="+mn-lt"/>
                          <a:cs typeface="Arial"/>
                        </a:rPr>
                        <a:t> </a:t>
                      </a:r>
                      <a:r>
                        <a:rPr lang="en-US" sz="1800" b="0" spc="0" dirty="0">
                          <a:latin typeface="+mn-lt"/>
                          <a:cs typeface="Arial"/>
                        </a:rPr>
                        <a:t>Ranges</a:t>
                      </a:r>
                      <a:r>
                        <a:rPr lang="en-US" sz="1800" b="0" spc="-47" dirty="0">
                          <a:latin typeface="+mn-lt"/>
                          <a:cs typeface="Arial"/>
                        </a:rPr>
                        <a:t> </a:t>
                      </a:r>
                      <a:r>
                        <a:rPr lang="en-US" sz="1800" b="0" spc="0" dirty="0">
                          <a:latin typeface="+mn-lt"/>
                          <a:cs typeface="Arial"/>
                        </a:rPr>
                        <a:t>f</a:t>
                      </a:r>
                      <a:r>
                        <a:rPr lang="en-US" sz="1800" b="0" spc="-4" dirty="0">
                          <a:latin typeface="+mn-lt"/>
                          <a:cs typeface="Arial"/>
                        </a:rPr>
                        <a:t>o</a:t>
                      </a:r>
                      <a:r>
                        <a:rPr lang="en-US" sz="1800" b="0" spc="0" dirty="0">
                          <a:latin typeface="+mn-lt"/>
                          <a:cs typeface="Arial"/>
                        </a:rPr>
                        <a:t>r</a:t>
                      </a:r>
                      <a:r>
                        <a:rPr lang="en-US" sz="1800" b="0" spc="3" dirty="0">
                          <a:latin typeface="+mn-lt"/>
                          <a:cs typeface="Arial"/>
                        </a:rPr>
                        <a:t> </a:t>
                      </a:r>
                      <a:r>
                        <a:rPr lang="en-US" sz="1800" b="0" spc="0" dirty="0">
                          <a:latin typeface="+mn-lt"/>
                          <a:cs typeface="Arial"/>
                        </a:rPr>
                        <a:t>Deli</a:t>
                      </a:r>
                      <a:r>
                        <a:rPr lang="en-US" sz="1800" b="0" spc="-29" dirty="0">
                          <a:latin typeface="+mn-lt"/>
                          <a:cs typeface="Arial"/>
                        </a:rPr>
                        <a:t>v</a:t>
                      </a:r>
                      <a:r>
                        <a:rPr lang="en-US" sz="1800" b="0" spc="0" dirty="0">
                          <a:latin typeface="+mn-lt"/>
                          <a:cs typeface="Arial"/>
                        </a:rPr>
                        <a:t>eries</a:t>
                      </a:r>
                      <a:endParaRPr lang="en-US" sz="1800" b="0" dirty="0">
                        <a:latin typeface="+mn-lt"/>
                        <a:cs typeface="Arial"/>
                      </a:endParaRPr>
                    </a:p>
                  </a:txBody>
                  <a:tcPr>
                    <a:noFill/>
                  </a:tcPr>
                </a:tc>
                <a:extLst>
                  <a:ext uri="{0D108BD9-81ED-4DB2-BD59-A6C34878D82A}">
                    <a16:rowId xmlns:a16="http://schemas.microsoft.com/office/drawing/2014/main" val="10002"/>
                  </a:ext>
                </a:extLst>
              </a:tr>
              <a:tr h="370840">
                <a:tc>
                  <a:txBody>
                    <a:bodyPr/>
                    <a:lstStyle/>
                    <a:p>
                      <a:r>
                        <a:rPr lang="en-US" sz="1800" b="0" dirty="0">
                          <a:solidFill>
                            <a:schemeClr val="tx1"/>
                          </a:solidFill>
                          <a:latin typeface="+mn-lt"/>
                        </a:rPr>
                        <a:t>VTLA</a:t>
                      </a: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4" dirty="0">
                          <a:latin typeface="+mn-lt"/>
                          <a:cs typeface="Arial"/>
                        </a:rPr>
                        <a:t>S</a:t>
                      </a:r>
                      <a:r>
                        <a:rPr lang="en-US" sz="1800" b="0" spc="0" dirty="0">
                          <a:latin typeface="+mn-lt"/>
                          <a:cs typeface="Arial"/>
                        </a:rPr>
                        <a:t>peci</a:t>
                      </a:r>
                      <a:r>
                        <a:rPr lang="en-US" sz="1800" b="0" spc="-4" dirty="0">
                          <a:latin typeface="+mn-lt"/>
                          <a:cs typeface="Arial"/>
                        </a:rPr>
                        <a:t>f</a:t>
                      </a:r>
                      <a:r>
                        <a:rPr lang="en-US" sz="1800" b="0" spc="0" dirty="0">
                          <a:latin typeface="+mn-lt"/>
                          <a:cs typeface="Arial"/>
                        </a:rPr>
                        <a:t>y</a:t>
                      </a:r>
                      <a:r>
                        <a:rPr lang="en-US" sz="1800" b="0" spc="-56" dirty="0">
                          <a:latin typeface="+mn-lt"/>
                          <a:cs typeface="Arial"/>
                        </a:rPr>
                        <a:t> </a:t>
                      </a:r>
                      <a:r>
                        <a:rPr lang="en-US" sz="1800" b="0" spc="0" dirty="0">
                          <a:latin typeface="+mn-lt"/>
                          <a:cs typeface="Arial"/>
                        </a:rPr>
                        <a:t>Copy</a:t>
                      </a:r>
                      <a:r>
                        <a:rPr lang="en-US" sz="1800" b="0" spc="-34" dirty="0">
                          <a:latin typeface="+mn-lt"/>
                          <a:cs typeface="Arial"/>
                        </a:rPr>
                        <a:t> </a:t>
                      </a:r>
                      <a:r>
                        <a:rPr lang="en-US" sz="1800" b="0" spc="0" dirty="0">
                          <a:latin typeface="+mn-lt"/>
                          <a:cs typeface="Arial"/>
                        </a:rPr>
                        <a:t>Con</a:t>
                      </a:r>
                      <a:r>
                        <a:rPr lang="en-US" sz="1800" b="0" spc="-9" dirty="0">
                          <a:latin typeface="+mn-lt"/>
                          <a:cs typeface="Arial"/>
                        </a:rPr>
                        <a:t>t</a:t>
                      </a:r>
                      <a:r>
                        <a:rPr lang="en-US" sz="1800" b="0" spc="0" dirty="0">
                          <a:latin typeface="+mn-lt"/>
                          <a:cs typeface="Arial"/>
                        </a:rPr>
                        <a:t>rol</a:t>
                      </a:r>
                      <a:r>
                        <a:rPr lang="en-US" sz="1800" b="0" spc="-21" dirty="0">
                          <a:latin typeface="+mn-lt"/>
                          <a:cs typeface="Arial"/>
                        </a:rPr>
                        <a:t> </a:t>
                      </a:r>
                      <a:r>
                        <a:rPr lang="en-US" sz="1800" b="0" spc="0" dirty="0">
                          <a:latin typeface="+mn-lt"/>
                          <a:cs typeface="Arial"/>
                        </a:rPr>
                        <a:t>f</a:t>
                      </a:r>
                      <a:r>
                        <a:rPr lang="en-US" sz="1800" b="0" spc="-4" dirty="0">
                          <a:latin typeface="+mn-lt"/>
                          <a:cs typeface="Arial"/>
                        </a:rPr>
                        <a:t>o</a:t>
                      </a:r>
                      <a:r>
                        <a:rPr lang="en-US" sz="1800" b="0" spc="0" dirty="0">
                          <a:latin typeface="+mn-lt"/>
                          <a:cs typeface="Arial"/>
                        </a:rPr>
                        <a:t>r</a:t>
                      </a:r>
                      <a:r>
                        <a:rPr lang="en-US" sz="1800" b="0" spc="-6" dirty="0">
                          <a:latin typeface="+mn-lt"/>
                          <a:cs typeface="Arial"/>
                        </a:rPr>
                        <a:t> </a:t>
                      </a:r>
                      <a:r>
                        <a:rPr lang="en-US" sz="1800" b="0" spc="0" dirty="0">
                          <a:latin typeface="+mn-lt"/>
                          <a:cs typeface="Arial"/>
                        </a:rPr>
                        <a:t>Deli</a:t>
                      </a:r>
                      <a:r>
                        <a:rPr lang="en-US" sz="1800" b="0" spc="-29" dirty="0">
                          <a:latin typeface="+mn-lt"/>
                          <a:cs typeface="Arial"/>
                        </a:rPr>
                        <a:t>v</a:t>
                      </a:r>
                      <a:r>
                        <a:rPr lang="en-US" sz="1800" b="0" spc="0" dirty="0">
                          <a:latin typeface="+mn-lt"/>
                          <a:cs typeface="Arial"/>
                        </a:rPr>
                        <a:t>e</a:t>
                      </a:r>
                      <a:r>
                        <a:rPr lang="en-US" sz="1800" b="0" spc="14" dirty="0">
                          <a:latin typeface="+mn-lt"/>
                          <a:cs typeface="Arial"/>
                        </a:rPr>
                        <a:t>r</a:t>
                      </a:r>
                      <a:r>
                        <a:rPr lang="en-US" sz="1800" b="0" spc="0" dirty="0">
                          <a:latin typeface="+mn-lt"/>
                          <a:cs typeface="Arial"/>
                        </a:rPr>
                        <a:t>ies</a:t>
                      </a:r>
                      <a:endParaRPr lang="en-US" sz="1800" b="0" dirty="0">
                        <a:latin typeface="+mn-lt"/>
                        <a:cs typeface="Arial"/>
                      </a:endParaRPr>
                    </a:p>
                  </a:txBody>
                  <a:tcPr>
                    <a:noFill/>
                  </a:tcPr>
                </a:tc>
                <a:extLst>
                  <a:ext uri="{0D108BD9-81ED-4DB2-BD59-A6C34878D82A}">
                    <a16:rowId xmlns:a16="http://schemas.microsoft.com/office/drawing/2014/main" val="10003"/>
                  </a:ext>
                </a:extLst>
              </a:tr>
              <a:tr h="370840">
                <a:tc>
                  <a:txBody>
                    <a:bodyPr/>
                    <a:lstStyle/>
                    <a:p>
                      <a:r>
                        <a:rPr lang="en-US" sz="1800" b="0" dirty="0">
                          <a:solidFill>
                            <a:schemeClr val="tx1"/>
                          </a:solidFill>
                          <a:latin typeface="+mn-lt"/>
                        </a:rPr>
                        <a:t>VOFM</a:t>
                      </a: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Define</a:t>
                      </a:r>
                      <a:r>
                        <a:rPr lang="en-US" sz="1800" b="0" spc="-38" dirty="0">
                          <a:latin typeface="+mn-lt"/>
                          <a:cs typeface="Arial"/>
                        </a:rPr>
                        <a:t> </a:t>
                      </a:r>
                      <a:r>
                        <a:rPr lang="en-US" sz="1800" b="0" spc="0" dirty="0">
                          <a:latin typeface="+mn-lt"/>
                          <a:cs typeface="Arial"/>
                        </a:rPr>
                        <a:t>Cop</a:t>
                      </a:r>
                      <a:r>
                        <a:rPr lang="en-US" sz="1800" b="0" spc="-39" dirty="0">
                          <a:latin typeface="+mn-lt"/>
                          <a:cs typeface="Arial"/>
                        </a:rPr>
                        <a:t>y</a:t>
                      </a:r>
                      <a:r>
                        <a:rPr lang="en-US" sz="1800" b="0" spc="0" dirty="0">
                          <a:latin typeface="+mn-lt"/>
                          <a:cs typeface="Arial"/>
                        </a:rPr>
                        <a:t>ing</a:t>
                      </a:r>
                      <a:r>
                        <a:rPr lang="en-US" sz="1800" b="0" spc="-8" dirty="0">
                          <a:latin typeface="+mn-lt"/>
                          <a:cs typeface="Arial"/>
                        </a:rPr>
                        <a:t> </a:t>
                      </a:r>
                      <a:r>
                        <a:rPr lang="en-US" sz="1800" b="0" spc="0" dirty="0">
                          <a:latin typeface="+mn-lt"/>
                          <a:cs typeface="Arial"/>
                        </a:rPr>
                        <a:t>Requiremen</a:t>
                      </a:r>
                      <a:r>
                        <a:rPr lang="en-US" sz="1800" b="0" spc="-4" dirty="0">
                          <a:latin typeface="+mn-lt"/>
                          <a:cs typeface="Arial"/>
                        </a:rPr>
                        <a:t>t</a:t>
                      </a:r>
                      <a:r>
                        <a:rPr lang="en-US" sz="1800" b="0" spc="0" dirty="0">
                          <a:latin typeface="+mn-lt"/>
                          <a:cs typeface="Arial"/>
                        </a:rPr>
                        <a:t>s</a:t>
                      </a:r>
                      <a:endParaRPr lang="en-US" sz="1800" b="0" dirty="0">
                        <a:latin typeface="+mn-lt"/>
                        <a:cs typeface="Arial"/>
                      </a:endParaRPr>
                    </a:p>
                  </a:txBody>
                  <a:tcPr>
                    <a:noFill/>
                  </a:tcPr>
                </a:tc>
                <a:extLst>
                  <a:ext uri="{0D108BD9-81ED-4DB2-BD59-A6C34878D82A}">
                    <a16:rowId xmlns:a16="http://schemas.microsoft.com/office/drawing/2014/main" val="10004"/>
                  </a:ext>
                </a:extLst>
              </a:tr>
              <a:tr h="370840">
                <a:tc>
                  <a:txBody>
                    <a:bodyPr/>
                    <a:lstStyle/>
                    <a:p>
                      <a:r>
                        <a:rPr lang="en-US" sz="1800" b="0" dirty="0">
                          <a:solidFill>
                            <a:schemeClr val="tx1"/>
                          </a:solidFill>
                          <a:latin typeface="+mn-lt"/>
                        </a:rPr>
                        <a:t>VOFM</a:t>
                      </a: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Define</a:t>
                      </a:r>
                      <a:r>
                        <a:rPr lang="en-US" sz="1800" b="0" spc="-38" dirty="0">
                          <a:latin typeface="+mn-lt"/>
                          <a:cs typeface="Arial"/>
                        </a:rPr>
                        <a:t> </a:t>
                      </a:r>
                      <a:r>
                        <a:rPr lang="en-US" sz="1800" b="0" spc="0" dirty="0">
                          <a:latin typeface="+mn-lt"/>
                          <a:cs typeface="Arial"/>
                        </a:rPr>
                        <a:t>F</a:t>
                      </a:r>
                      <a:r>
                        <a:rPr lang="en-US" sz="1800" b="0" spc="-4" dirty="0">
                          <a:latin typeface="+mn-lt"/>
                          <a:cs typeface="Arial"/>
                        </a:rPr>
                        <a:t>O</a:t>
                      </a:r>
                      <a:r>
                        <a:rPr lang="en-US" sz="1800" b="0" spc="0" dirty="0">
                          <a:latin typeface="+mn-lt"/>
                          <a:cs typeface="Arial"/>
                        </a:rPr>
                        <a:t>RM</a:t>
                      </a:r>
                      <a:r>
                        <a:rPr lang="en-US" sz="1800" b="0" spc="-17" dirty="0">
                          <a:latin typeface="+mn-lt"/>
                          <a:cs typeface="Arial"/>
                        </a:rPr>
                        <a:t> </a:t>
                      </a:r>
                      <a:r>
                        <a:rPr lang="en-US" sz="1800" b="0" spc="0" dirty="0">
                          <a:latin typeface="+mn-lt"/>
                          <a:cs typeface="Arial"/>
                        </a:rPr>
                        <a:t>Rou</a:t>
                      </a:r>
                      <a:r>
                        <a:rPr lang="en-US" sz="1800" b="0" spc="-9" dirty="0">
                          <a:latin typeface="+mn-lt"/>
                          <a:cs typeface="Arial"/>
                        </a:rPr>
                        <a:t>t</a:t>
                      </a:r>
                      <a:r>
                        <a:rPr lang="en-US" sz="1800" b="0" spc="0" dirty="0">
                          <a:latin typeface="+mn-lt"/>
                          <a:cs typeface="Arial"/>
                        </a:rPr>
                        <a:t>ines</a:t>
                      </a:r>
                      <a:r>
                        <a:rPr lang="en-US" sz="1800" b="0" spc="-48" dirty="0">
                          <a:latin typeface="+mn-lt"/>
                          <a:cs typeface="Arial"/>
                        </a:rPr>
                        <a:t> </a:t>
                      </a:r>
                      <a:r>
                        <a:rPr lang="en-US" sz="1800" b="0" spc="0" dirty="0">
                          <a:latin typeface="+mn-lt"/>
                          <a:cs typeface="Arial"/>
                        </a:rPr>
                        <a:t>f</a:t>
                      </a:r>
                      <a:r>
                        <a:rPr lang="en-US" sz="1800" b="0" spc="-4" dirty="0">
                          <a:latin typeface="+mn-lt"/>
                          <a:cs typeface="Arial"/>
                        </a:rPr>
                        <a:t>o</a:t>
                      </a:r>
                      <a:r>
                        <a:rPr lang="en-US" sz="1800" b="0" spc="0" dirty="0">
                          <a:latin typeface="+mn-lt"/>
                          <a:cs typeface="Arial"/>
                        </a:rPr>
                        <a:t>r</a:t>
                      </a:r>
                      <a:r>
                        <a:rPr lang="en-US" sz="1800" b="0" spc="3" dirty="0">
                          <a:latin typeface="+mn-lt"/>
                          <a:cs typeface="Arial"/>
                        </a:rPr>
                        <a:t> </a:t>
                      </a:r>
                      <a:r>
                        <a:rPr lang="en-US" sz="1800" b="0" spc="0" dirty="0">
                          <a:latin typeface="+mn-lt"/>
                          <a:cs typeface="Arial"/>
                        </a:rPr>
                        <a:t>Data</a:t>
                      </a:r>
                      <a:r>
                        <a:rPr lang="en-US" sz="1800" b="0" spc="-24" dirty="0">
                          <a:latin typeface="+mn-lt"/>
                          <a:cs typeface="Arial"/>
                        </a:rPr>
                        <a:t> </a:t>
                      </a:r>
                      <a:r>
                        <a:rPr lang="en-US" sz="1800" b="0" spc="-89" dirty="0">
                          <a:latin typeface="+mn-lt"/>
                          <a:cs typeface="Arial"/>
                        </a:rPr>
                        <a:t>T</a:t>
                      </a:r>
                      <a:r>
                        <a:rPr lang="en-US" sz="1800" b="0" spc="0" dirty="0">
                          <a:latin typeface="+mn-lt"/>
                          <a:cs typeface="Arial"/>
                        </a:rPr>
                        <a:t>ransfers</a:t>
                      </a:r>
                      <a:endParaRPr lang="en-US" sz="1800" b="0" dirty="0">
                        <a:latin typeface="+mn-lt"/>
                      </a:endParaRPr>
                    </a:p>
                  </a:txBody>
                  <a:tcPr>
                    <a:noFill/>
                  </a:tcPr>
                </a:tc>
                <a:extLst>
                  <a:ext uri="{0D108BD9-81ED-4DB2-BD59-A6C34878D82A}">
                    <a16:rowId xmlns:a16="http://schemas.microsoft.com/office/drawing/2014/main" val="10005"/>
                  </a:ext>
                </a:extLst>
              </a:tr>
              <a:tr h="370840">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dirty="0">
                          <a:solidFill>
                            <a:schemeClr val="tx1"/>
                          </a:solidFill>
                          <a:latin typeface="+mn-lt"/>
                          <a:ea typeface="+mn-ea"/>
                          <a:cs typeface="+mn-cs"/>
                        </a:rPr>
                        <a:t>VL01N / VL02N / VL03N</a:t>
                      </a: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C</a:t>
                      </a:r>
                      <a:r>
                        <a:rPr lang="en-US" sz="1800" b="0" spc="-4" dirty="0">
                          <a:latin typeface="+mn-lt"/>
                          <a:cs typeface="Arial"/>
                        </a:rPr>
                        <a:t>r</a:t>
                      </a:r>
                      <a:r>
                        <a:rPr lang="en-US" sz="1800" b="0" spc="0" dirty="0">
                          <a:latin typeface="+mn-lt"/>
                          <a:cs typeface="Arial"/>
                        </a:rPr>
                        <a:t>e</a:t>
                      </a:r>
                      <a:r>
                        <a:rPr lang="en-US" sz="1800" b="0" spc="-9" dirty="0">
                          <a:latin typeface="+mn-lt"/>
                          <a:cs typeface="Arial"/>
                        </a:rPr>
                        <a:t>a</a:t>
                      </a:r>
                      <a:r>
                        <a:rPr lang="en-US" sz="1800" b="0" spc="0" dirty="0">
                          <a:latin typeface="+mn-lt"/>
                          <a:cs typeface="Arial"/>
                        </a:rPr>
                        <a:t>te /</a:t>
                      </a:r>
                      <a:r>
                        <a:rPr lang="en-US" sz="1800" b="0" spc="4" dirty="0">
                          <a:latin typeface="+mn-lt"/>
                          <a:cs typeface="Arial"/>
                        </a:rPr>
                        <a:t> </a:t>
                      </a:r>
                      <a:r>
                        <a:rPr lang="en-US" sz="1800" b="0" spc="0" dirty="0">
                          <a:latin typeface="+mn-lt"/>
                          <a:cs typeface="Arial"/>
                        </a:rPr>
                        <a:t>Change</a:t>
                      </a:r>
                      <a:r>
                        <a:rPr lang="en-US" sz="1800" b="0" spc="-4" dirty="0">
                          <a:latin typeface="+mn-lt"/>
                          <a:cs typeface="Arial"/>
                        </a:rPr>
                        <a:t> </a:t>
                      </a:r>
                      <a:r>
                        <a:rPr lang="en-US" sz="1800" b="0" spc="0" dirty="0">
                          <a:latin typeface="+mn-lt"/>
                          <a:cs typeface="Arial"/>
                        </a:rPr>
                        <a:t>Display D</a:t>
                      </a:r>
                      <a:r>
                        <a:rPr lang="en-US" sz="1800" b="0" spc="-9" dirty="0">
                          <a:latin typeface="+mn-lt"/>
                          <a:cs typeface="Arial"/>
                        </a:rPr>
                        <a:t>e</a:t>
                      </a:r>
                      <a:r>
                        <a:rPr lang="en-US" sz="1800" b="0" spc="0" dirty="0">
                          <a:latin typeface="+mn-lt"/>
                          <a:cs typeface="Arial"/>
                        </a:rPr>
                        <a:t>l</a:t>
                      </a:r>
                      <a:r>
                        <a:rPr lang="en-US" sz="1800" b="0" spc="4" dirty="0">
                          <a:latin typeface="+mn-lt"/>
                          <a:cs typeface="Arial"/>
                        </a:rPr>
                        <a:t>i</a:t>
                      </a:r>
                      <a:r>
                        <a:rPr lang="en-US" sz="1800" b="0" spc="-39" dirty="0">
                          <a:latin typeface="+mn-lt"/>
                          <a:cs typeface="Arial"/>
                        </a:rPr>
                        <a:t>v</a:t>
                      </a:r>
                      <a:r>
                        <a:rPr lang="en-US" sz="1800" b="0" spc="0" dirty="0">
                          <a:latin typeface="+mn-lt"/>
                          <a:cs typeface="Arial"/>
                        </a:rPr>
                        <a:t>ery</a:t>
                      </a:r>
                      <a:endParaRPr lang="en-US" sz="1800" b="0" dirty="0">
                        <a:latin typeface="+mn-lt"/>
                        <a:cs typeface="Arial"/>
                      </a:endParaRPr>
                    </a:p>
                  </a:txBody>
                  <a:tcPr>
                    <a:noFill/>
                  </a:tcPr>
                </a:tc>
                <a:extLst>
                  <a:ext uri="{0D108BD9-81ED-4DB2-BD59-A6C34878D82A}">
                    <a16:rowId xmlns:a16="http://schemas.microsoft.com/office/drawing/2014/main" val="10006"/>
                  </a:ext>
                </a:extLst>
              </a:tr>
              <a:tr h="370840">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V</a:t>
                      </a:r>
                      <a:r>
                        <a:rPr lang="en-US" sz="1800" b="0" spc="4" dirty="0">
                          <a:latin typeface="+mn-lt"/>
                          <a:cs typeface="Arial"/>
                        </a:rPr>
                        <a:t>L</a:t>
                      </a:r>
                      <a:r>
                        <a:rPr lang="en-US" sz="1800" b="0" spc="0" dirty="0">
                          <a:latin typeface="+mn-lt"/>
                          <a:cs typeface="Arial"/>
                        </a:rPr>
                        <a:t>0</a:t>
                      </a:r>
                      <a:r>
                        <a:rPr lang="en-US" sz="1800" b="0" spc="-9" dirty="0">
                          <a:latin typeface="+mn-lt"/>
                          <a:cs typeface="Arial"/>
                        </a:rPr>
                        <a:t>6</a:t>
                      </a:r>
                      <a:r>
                        <a:rPr lang="en-US" sz="1800" b="0" spc="0" dirty="0">
                          <a:latin typeface="+mn-lt"/>
                          <a:cs typeface="Arial"/>
                        </a:rPr>
                        <a:t>O</a:t>
                      </a:r>
                      <a:endParaRPr lang="en-US" sz="1800" b="0" dirty="0">
                        <a:latin typeface="+mn-lt"/>
                        <a:cs typeface="Arial"/>
                      </a:endParaRP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O</a:t>
                      </a:r>
                      <a:r>
                        <a:rPr lang="en-US" sz="1800" b="0" spc="4" dirty="0">
                          <a:latin typeface="+mn-lt"/>
                          <a:cs typeface="Arial"/>
                        </a:rPr>
                        <a:t>u</a:t>
                      </a:r>
                      <a:r>
                        <a:rPr lang="en-US" sz="1800" b="0" spc="0" dirty="0">
                          <a:latin typeface="+mn-lt"/>
                          <a:cs typeface="Arial"/>
                        </a:rPr>
                        <a:t>tb</a:t>
                      </a:r>
                      <a:r>
                        <a:rPr lang="en-US" sz="1800" b="0" spc="4" dirty="0">
                          <a:latin typeface="+mn-lt"/>
                          <a:cs typeface="Arial"/>
                        </a:rPr>
                        <a:t>o</a:t>
                      </a:r>
                      <a:r>
                        <a:rPr lang="en-US" sz="1800" b="0" spc="0" dirty="0">
                          <a:latin typeface="+mn-lt"/>
                          <a:cs typeface="Arial"/>
                        </a:rPr>
                        <a:t>u</a:t>
                      </a:r>
                      <a:r>
                        <a:rPr lang="en-US" sz="1800" b="0" spc="4" dirty="0">
                          <a:latin typeface="+mn-lt"/>
                          <a:cs typeface="Arial"/>
                        </a:rPr>
                        <a:t>n</a:t>
                      </a:r>
                      <a:r>
                        <a:rPr lang="en-US" sz="1800" b="0" spc="0" dirty="0">
                          <a:latin typeface="+mn-lt"/>
                          <a:cs typeface="Arial"/>
                        </a:rPr>
                        <a:t>d</a:t>
                      </a:r>
                      <a:r>
                        <a:rPr lang="en-US" sz="1800" b="0" spc="-39" dirty="0">
                          <a:latin typeface="+mn-lt"/>
                          <a:cs typeface="Arial"/>
                        </a:rPr>
                        <a:t> </a:t>
                      </a:r>
                      <a:r>
                        <a:rPr lang="en-US" sz="1800" b="0" spc="0" dirty="0">
                          <a:latin typeface="+mn-lt"/>
                          <a:cs typeface="Arial"/>
                        </a:rPr>
                        <a:t>D</a:t>
                      </a:r>
                      <a:r>
                        <a:rPr lang="en-US" sz="1800" b="0" spc="-9" dirty="0">
                          <a:latin typeface="+mn-lt"/>
                          <a:cs typeface="Arial"/>
                        </a:rPr>
                        <a:t>e</a:t>
                      </a:r>
                      <a:r>
                        <a:rPr lang="en-US" sz="1800" b="0" spc="0" dirty="0">
                          <a:latin typeface="+mn-lt"/>
                          <a:cs typeface="Arial"/>
                        </a:rPr>
                        <a:t>l</a:t>
                      </a:r>
                      <a:r>
                        <a:rPr lang="en-US" sz="1800" b="0" spc="4" dirty="0">
                          <a:latin typeface="+mn-lt"/>
                          <a:cs typeface="Arial"/>
                        </a:rPr>
                        <a:t>i</a:t>
                      </a:r>
                      <a:r>
                        <a:rPr lang="en-US" sz="1800" b="0" spc="-39" dirty="0">
                          <a:latin typeface="+mn-lt"/>
                          <a:cs typeface="Arial"/>
                        </a:rPr>
                        <a:t>v</a:t>
                      </a:r>
                      <a:r>
                        <a:rPr lang="en-US" sz="1800" b="0" spc="0" dirty="0">
                          <a:latin typeface="+mn-lt"/>
                          <a:cs typeface="Arial"/>
                        </a:rPr>
                        <a:t>ery</a:t>
                      </a:r>
                      <a:r>
                        <a:rPr lang="en-US" sz="1800" b="0" spc="39" dirty="0">
                          <a:latin typeface="+mn-lt"/>
                          <a:cs typeface="Arial"/>
                        </a:rPr>
                        <a:t> </a:t>
                      </a:r>
                      <a:r>
                        <a:rPr lang="en-US" sz="1800" b="0" spc="0" dirty="0">
                          <a:latin typeface="+mn-lt"/>
                          <a:cs typeface="Arial"/>
                        </a:rPr>
                        <a:t>Mo</a:t>
                      </a:r>
                      <a:r>
                        <a:rPr lang="en-US" sz="1800" b="0" spc="4" dirty="0">
                          <a:latin typeface="+mn-lt"/>
                          <a:cs typeface="Arial"/>
                        </a:rPr>
                        <a:t>n</a:t>
                      </a:r>
                      <a:r>
                        <a:rPr lang="en-US" sz="1800" b="0" spc="0" dirty="0">
                          <a:latin typeface="+mn-lt"/>
                          <a:cs typeface="Arial"/>
                        </a:rPr>
                        <a:t>it</a:t>
                      </a:r>
                      <a:r>
                        <a:rPr lang="en-US" sz="1800" b="0" spc="4" dirty="0">
                          <a:latin typeface="+mn-lt"/>
                          <a:cs typeface="Arial"/>
                        </a:rPr>
                        <a:t>o</a:t>
                      </a:r>
                      <a:r>
                        <a:rPr lang="en-US" sz="1800" b="0" spc="0" dirty="0">
                          <a:latin typeface="+mn-lt"/>
                          <a:cs typeface="Arial"/>
                        </a:rPr>
                        <a:t>r</a:t>
                      </a:r>
                      <a:endParaRPr lang="en-US" sz="1800" b="0" dirty="0">
                        <a:latin typeface="+mn-lt"/>
                        <a:cs typeface="Arial"/>
                      </a:endParaRPr>
                    </a:p>
                  </a:txBody>
                  <a:tcPr>
                    <a:noFill/>
                  </a:tcPr>
                </a:tc>
                <a:extLst>
                  <a:ext uri="{0D108BD9-81ED-4DB2-BD59-A6C34878D82A}">
                    <a16:rowId xmlns:a16="http://schemas.microsoft.com/office/drawing/2014/main" val="10007"/>
                  </a:ext>
                </a:extLst>
              </a:tr>
              <a:tr h="370840">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V</a:t>
                      </a:r>
                      <a:r>
                        <a:rPr lang="en-US" sz="1800" b="0" spc="4" dirty="0">
                          <a:latin typeface="+mn-lt"/>
                          <a:cs typeface="Arial"/>
                        </a:rPr>
                        <a:t>L</a:t>
                      </a:r>
                      <a:r>
                        <a:rPr lang="en-US" sz="1800" b="0" spc="0" dirty="0">
                          <a:latin typeface="+mn-lt"/>
                          <a:cs typeface="Arial"/>
                        </a:rPr>
                        <a:t>09</a:t>
                      </a:r>
                      <a:endParaRPr lang="en-US" sz="1800" b="0" dirty="0">
                        <a:latin typeface="+mn-lt"/>
                        <a:cs typeface="Arial"/>
                      </a:endParaRP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C</a:t>
                      </a:r>
                      <a:r>
                        <a:rPr lang="en-US" sz="1800" b="0" spc="-9" dirty="0">
                          <a:latin typeface="+mn-lt"/>
                          <a:cs typeface="Arial"/>
                        </a:rPr>
                        <a:t>a</a:t>
                      </a:r>
                      <a:r>
                        <a:rPr lang="en-US" sz="1800" b="0" spc="0" dirty="0">
                          <a:latin typeface="+mn-lt"/>
                          <a:cs typeface="Arial"/>
                        </a:rPr>
                        <a:t>nc</a:t>
                      </a:r>
                      <a:r>
                        <a:rPr lang="en-US" sz="1800" b="0" spc="-4" dirty="0">
                          <a:latin typeface="+mn-lt"/>
                          <a:cs typeface="Arial"/>
                        </a:rPr>
                        <a:t>e</a:t>
                      </a:r>
                      <a:r>
                        <a:rPr lang="en-US" sz="1800" b="0" spc="0" dirty="0">
                          <a:latin typeface="+mn-lt"/>
                          <a:cs typeface="Arial"/>
                        </a:rPr>
                        <a:t>l</a:t>
                      </a:r>
                      <a:r>
                        <a:rPr lang="en-US" sz="1800" b="0" spc="4" dirty="0">
                          <a:latin typeface="+mn-lt"/>
                          <a:cs typeface="Arial"/>
                        </a:rPr>
                        <a:t>l</a:t>
                      </a:r>
                      <a:r>
                        <a:rPr lang="en-US" sz="1800" b="0" spc="0" dirty="0">
                          <a:latin typeface="+mn-lt"/>
                          <a:cs typeface="Arial"/>
                        </a:rPr>
                        <a:t>ation</a:t>
                      </a:r>
                      <a:r>
                        <a:rPr lang="en-US" sz="1800" b="0" spc="-14" dirty="0">
                          <a:latin typeface="+mn-lt"/>
                          <a:cs typeface="Arial"/>
                        </a:rPr>
                        <a:t> </a:t>
                      </a:r>
                      <a:r>
                        <a:rPr lang="en-US" sz="1800" b="0" spc="0" dirty="0">
                          <a:latin typeface="+mn-lt"/>
                          <a:cs typeface="Arial"/>
                        </a:rPr>
                        <a:t>/</a:t>
                      </a:r>
                      <a:r>
                        <a:rPr lang="en-US" sz="1800" b="0" spc="4" dirty="0">
                          <a:latin typeface="+mn-lt"/>
                          <a:cs typeface="Arial"/>
                        </a:rPr>
                        <a:t> </a:t>
                      </a:r>
                      <a:r>
                        <a:rPr lang="en-US" sz="1800" b="0" spc="0" dirty="0">
                          <a:latin typeface="+mn-lt"/>
                          <a:cs typeface="Arial"/>
                        </a:rPr>
                        <a:t>R</a:t>
                      </a:r>
                      <a:r>
                        <a:rPr lang="en-US" sz="1800" b="0" spc="-9" dirty="0">
                          <a:latin typeface="+mn-lt"/>
                          <a:cs typeface="Arial"/>
                        </a:rPr>
                        <a:t>e</a:t>
                      </a:r>
                      <a:r>
                        <a:rPr lang="en-US" sz="1800" b="0" spc="-39" dirty="0">
                          <a:latin typeface="+mn-lt"/>
                          <a:cs typeface="Arial"/>
                        </a:rPr>
                        <a:t>v</a:t>
                      </a:r>
                      <a:r>
                        <a:rPr lang="en-US" sz="1800" b="0" spc="0" dirty="0">
                          <a:latin typeface="+mn-lt"/>
                          <a:cs typeface="Arial"/>
                        </a:rPr>
                        <a:t>ers</a:t>
                      </a:r>
                      <a:r>
                        <a:rPr lang="en-US" sz="1800" b="0" spc="-4" dirty="0">
                          <a:latin typeface="+mn-lt"/>
                          <a:cs typeface="Arial"/>
                        </a:rPr>
                        <a:t>a</a:t>
                      </a:r>
                      <a:r>
                        <a:rPr lang="en-US" sz="1800" b="0" spc="0" dirty="0">
                          <a:latin typeface="+mn-lt"/>
                          <a:cs typeface="Arial"/>
                        </a:rPr>
                        <a:t>l</a:t>
                      </a:r>
                      <a:r>
                        <a:rPr lang="en-US" sz="1800" b="0" spc="44" dirty="0">
                          <a:latin typeface="+mn-lt"/>
                          <a:cs typeface="Arial"/>
                        </a:rPr>
                        <a:t> </a:t>
                      </a:r>
                      <a:r>
                        <a:rPr lang="en-US" sz="1800" b="0" spc="0" dirty="0">
                          <a:latin typeface="+mn-lt"/>
                          <a:cs typeface="Arial"/>
                        </a:rPr>
                        <a:t>of</a:t>
                      </a:r>
                      <a:r>
                        <a:rPr lang="en-US" sz="1800" b="0" spc="9" dirty="0">
                          <a:latin typeface="+mn-lt"/>
                          <a:cs typeface="Arial"/>
                        </a:rPr>
                        <a:t> </a:t>
                      </a:r>
                      <a:r>
                        <a:rPr lang="en-US" sz="1800" b="0" spc="0" dirty="0">
                          <a:latin typeface="+mn-lt"/>
                          <a:cs typeface="Arial"/>
                        </a:rPr>
                        <a:t>PGI</a:t>
                      </a:r>
                      <a:endParaRPr lang="en-US" sz="1800" b="0" dirty="0">
                        <a:latin typeface="+mn-lt"/>
                        <a:cs typeface="Arial"/>
                      </a:endParaRPr>
                    </a:p>
                  </a:txBody>
                  <a:tcPr>
                    <a:noFill/>
                  </a:tcPr>
                </a:tc>
                <a:extLst>
                  <a:ext uri="{0D108BD9-81ED-4DB2-BD59-A6C34878D82A}">
                    <a16:rowId xmlns:a16="http://schemas.microsoft.com/office/drawing/2014/main" val="10008"/>
                  </a:ext>
                </a:extLst>
              </a:tr>
              <a:tr h="370840">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V</a:t>
                      </a:r>
                      <a:r>
                        <a:rPr lang="en-US" sz="1800" b="0" spc="4" dirty="0">
                          <a:latin typeface="+mn-lt"/>
                          <a:cs typeface="Arial"/>
                        </a:rPr>
                        <a:t>L</a:t>
                      </a:r>
                      <a:r>
                        <a:rPr lang="en-US" sz="1800" b="0" spc="0" dirty="0">
                          <a:latin typeface="+mn-lt"/>
                          <a:cs typeface="Arial"/>
                        </a:rPr>
                        <a:t>1</a:t>
                      </a:r>
                      <a:r>
                        <a:rPr lang="en-US" sz="1800" b="0" spc="-9" dirty="0">
                          <a:latin typeface="+mn-lt"/>
                          <a:cs typeface="Arial"/>
                        </a:rPr>
                        <a:t>0</a:t>
                      </a:r>
                      <a:r>
                        <a:rPr lang="en-US" sz="1800" b="0" spc="0" dirty="0">
                          <a:latin typeface="+mn-lt"/>
                          <a:cs typeface="Arial"/>
                        </a:rPr>
                        <a:t>B</a:t>
                      </a:r>
                      <a:endParaRPr lang="en-US" sz="1800" b="0" dirty="0">
                        <a:latin typeface="+mn-lt"/>
                        <a:cs typeface="Arial"/>
                      </a:endParaRP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Col</a:t>
                      </a:r>
                      <a:r>
                        <a:rPr lang="en-US" sz="1800" b="0" spc="4" dirty="0">
                          <a:latin typeface="+mn-lt"/>
                          <a:cs typeface="Arial"/>
                        </a:rPr>
                        <a:t>l</a:t>
                      </a:r>
                      <a:r>
                        <a:rPr lang="en-US" sz="1800" b="0" spc="0" dirty="0">
                          <a:latin typeface="+mn-lt"/>
                          <a:cs typeface="Arial"/>
                        </a:rPr>
                        <a:t>e</a:t>
                      </a:r>
                      <a:r>
                        <a:rPr lang="en-US" sz="1800" b="0" spc="-9" dirty="0">
                          <a:latin typeface="+mn-lt"/>
                          <a:cs typeface="Arial"/>
                        </a:rPr>
                        <a:t>c</a:t>
                      </a:r>
                      <a:r>
                        <a:rPr lang="en-US" sz="1800" b="0" spc="0" dirty="0">
                          <a:latin typeface="+mn-lt"/>
                          <a:cs typeface="Arial"/>
                        </a:rPr>
                        <a:t>ti</a:t>
                      </a:r>
                      <a:r>
                        <a:rPr lang="en-US" sz="1800" b="0" spc="-34" dirty="0">
                          <a:latin typeface="+mn-lt"/>
                          <a:cs typeface="Arial"/>
                        </a:rPr>
                        <a:t>v</a:t>
                      </a:r>
                      <a:r>
                        <a:rPr lang="en-US" sz="1800" b="0" spc="0" dirty="0">
                          <a:latin typeface="+mn-lt"/>
                          <a:cs typeface="Arial"/>
                        </a:rPr>
                        <a:t>e</a:t>
                      </a:r>
                      <a:r>
                        <a:rPr lang="en-US" sz="1800" b="0" spc="25" dirty="0">
                          <a:latin typeface="+mn-lt"/>
                          <a:cs typeface="Arial"/>
                        </a:rPr>
                        <a:t> </a:t>
                      </a:r>
                      <a:r>
                        <a:rPr lang="en-US" sz="1800" b="0" spc="0" dirty="0">
                          <a:latin typeface="+mn-lt"/>
                          <a:cs typeface="Arial"/>
                        </a:rPr>
                        <a:t>proc</a:t>
                      </a:r>
                      <a:r>
                        <a:rPr lang="en-US" sz="1800" b="0" spc="-4" dirty="0">
                          <a:latin typeface="+mn-lt"/>
                          <a:cs typeface="Arial"/>
                        </a:rPr>
                        <a:t>e</a:t>
                      </a:r>
                      <a:r>
                        <a:rPr lang="en-US" sz="1800" b="0" spc="0" dirty="0">
                          <a:latin typeface="+mn-lt"/>
                          <a:cs typeface="Arial"/>
                        </a:rPr>
                        <a:t>s</a:t>
                      </a:r>
                      <a:r>
                        <a:rPr lang="en-US" sz="1800" b="0" spc="-9" dirty="0">
                          <a:latin typeface="+mn-lt"/>
                          <a:cs typeface="Arial"/>
                        </a:rPr>
                        <a:t>s</a:t>
                      </a:r>
                      <a:r>
                        <a:rPr lang="en-US" sz="1800" b="0" spc="0" dirty="0">
                          <a:latin typeface="+mn-lt"/>
                          <a:cs typeface="Arial"/>
                        </a:rPr>
                        <a:t>i</a:t>
                      </a:r>
                      <a:r>
                        <a:rPr lang="en-US" sz="1800" b="0" spc="4" dirty="0">
                          <a:latin typeface="+mn-lt"/>
                          <a:cs typeface="Arial"/>
                        </a:rPr>
                        <a:t>n</a:t>
                      </a:r>
                      <a:r>
                        <a:rPr lang="en-US" sz="1800" b="0" spc="0" dirty="0">
                          <a:latin typeface="+mn-lt"/>
                          <a:cs typeface="Arial"/>
                        </a:rPr>
                        <a:t>g</a:t>
                      </a:r>
                      <a:r>
                        <a:rPr lang="en-US" sz="1800" b="0" spc="4" dirty="0">
                          <a:latin typeface="+mn-lt"/>
                          <a:cs typeface="Arial"/>
                        </a:rPr>
                        <a:t> </a:t>
                      </a:r>
                      <a:r>
                        <a:rPr lang="en-US" sz="1800" b="0" spc="0" dirty="0">
                          <a:latin typeface="+mn-lt"/>
                          <a:cs typeface="Arial"/>
                        </a:rPr>
                        <a:t>of </a:t>
                      </a:r>
                      <a:r>
                        <a:rPr lang="en-US" sz="1800" b="0" spc="-4" dirty="0">
                          <a:latin typeface="+mn-lt"/>
                          <a:cs typeface="Arial"/>
                        </a:rPr>
                        <a:t>D</a:t>
                      </a:r>
                      <a:r>
                        <a:rPr lang="en-US" sz="1800" b="0" spc="0" dirty="0">
                          <a:latin typeface="+mn-lt"/>
                          <a:cs typeface="Arial"/>
                        </a:rPr>
                        <a:t>eli</a:t>
                      </a:r>
                      <a:r>
                        <a:rPr lang="en-US" sz="1800" b="0" spc="-39" dirty="0">
                          <a:latin typeface="+mn-lt"/>
                          <a:cs typeface="Arial"/>
                        </a:rPr>
                        <a:t>v</a:t>
                      </a:r>
                      <a:r>
                        <a:rPr lang="en-US" sz="1800" b="0" spc="0" dirty="0">
                          <a:latin typeface="+mn-lt"/>
                          <a:cs typeface="Arial"/>
                        </a:rPr>
                        <a:t>ery ag</a:t>
                      </a:r>
                      <a:r>
                        <a:rPr lang="en-US" sz="1800" b="0" spc="-4" dirty="0">
                          <a:latin typeface="+mn-lt"/>
                          <a:cs typeface="Arial"/>
                        </a:rPr>
                        <a:t>a</a:t>
                      </a:r>
                      <a:r>
                        <a:rPr lang="en-US" sz="1800" b="0" spc="0" dirty="0">
                          <a:latin typeface="+mn-lt"/>
                          <a:cs typeface="Arial"/>
                        </a:rPr>
                        <a:t>i</a:t>
                      </a:r>
                      <a:r>
                        <a:rPr lang="en-US" sz="1800" b="0" spc="4" dirty="0">
                          <a:latin typeface="+mn-lt"/>
                          <a:cs typeface="Arial"/>
                        </a:rPr>
                        <a:t>n</a:t>
                      </a:r>
                      <a:r>
                        <a:rPr lang="en-US" sz="1800" b="0" spc="0" dirty="0">
                          <a:latin typeface="+mn-lt"/>
                          <a:cs typeface="Arial"/>
                        </a:rPr>
                        <a:t>st</a:t>
                      </a:r>
                      <a:r>
                        <a:rPr lang="en-US" sz="1800" b="0" spc="-9" dirty="0">
                          <a:latin typeface="+mn-lt"/>
                          <a:cs typeface="Arial"/>
                        </a:rPr>
                        <a:t> </a:t>
                      </a:r>
                      <a:r>
                        <a:rPr lang="en-US" sz="1800" b="0" spc="0" dirty="0">
                          <a:latin typeface="+mn-lt"/>
                          <a:cs typeface="Arial"/>
                        </a:rPr>
                        <a:t>Pur</a:t>
                      </a:r>
                      <a:r>
                        <a:rPr lang="en-US" sz="1800" b="0" spc="-4" dirty="0">
                          <a:latin typeface="+mn-lt"/>
                          <a:cs typeface="Arial"/>
                        </a:rPr>
                        <a:t>c</a:t>
                      </a:r>
                      <a:r>
                        <a:rPr lang="en-US" sz="1800" b="0" spc="0" dirty="0">
                          <a:latin typeface="+mn-lt"/>
                          <a:cs typeface="Arial"/>
                        </a:rPr>
                        <a:t>ha</a:t>
                      </a:r>
                      <a:r>
                        <a:rPr lang="en-US" sz="1800" b="0" spc="-4" dirty="0">
                          <a:latin typeface="+mn-lt"/>
                          <a:cs typeface="Arial"/>
                        </a:rPr>
                        <a:t>s</a:t>
                      </a:r>
                      <a:r>
                        <a:rPr lang="en-US" sz="1800" b="0" spc="0" dirty="0">
                          <a:latin typeface="+mn-lt"/>
                          <a:cs typeface="Arial"/>
                        </a:rPr>
                        <a:t>e Order</a:t>
                      </a:r>
                      <a:endParaRPr lang="en-US" sz="1800" b="0" dirty="0">
                        <a:latin typeface="+mn-lt"/>
                        <a:cs typeface="Arial"/>
                      </a:endParaRPr>
                    </a:p>
                  </a:txBody>
                  <a:tcPr>
                    <a:noFill/>
                  </a:tcPr>
                </a:tc>
                <a:extLst>
                  <a:ext uri="{0D108BD9-81ED-4DB2-BD59-A6C34878D82A}">
                    <a16:rowId xmlns:a16="http://schemas.microsoft.com/office/drawing/2014/main" val="10009"/>
                  </a:ext>
                </a:extLst>
              </a:tr>
              <a:tr h="370840">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VKM5</a:t>
                      </a:r>
                      <a:endParaRPr lang="en-US" sz="1800" b="0" dirty="0">
                        <a:latin typeface="+mn-lt"/>
                        <a:cs typeface="Arial"/>
                      </a:endParaRPr>
                    </a:p>
                  </a:txBody>
                  <a:tcPr>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0" spc="0" dirty="0">
                          <a:latin typeface="+mn-lt"/>
                          <a:cs typeface="Arial"/>
                        </a:rPr>
                        <a:t>R</a:t>
                      </a:r>
                      <a:r>
                        <a:rPr lang="en-US" sz="1800" b="0" spc="-9" dirty="0">
                          <a:latin typeface="+mn-lt"/>
                          <a:cs typeface="Arial"/>
                        </a:rPr>
                        <a:t>e</a:t>
                      </a:r>
                      <a:r>
                        <a:rPr lang="en-US" sz="1800" b="0" spc="0" dirty="0">
                          <a:latin typeface="+mn-lt"/>
                          <a:cs typeface="Arial"/>
                        </a:rPr>
                        <a:t>le</a:t>
                      </a:r>
                      <a:r>
                        <a:rPr lang="en-US" sz="1800" b="0" spc="-4" dirty="0">
                          <a:latin typeface="+mn-lt"/>
                          <a:cs typeface="Arial"/>
                        </a:rPr>
                        <a:t>a</a:t>
                      </a:r>
                      <a:r>
                        <a:rPr lang="en-US" sz="1800" b="0" spc="0" dirty="0">
                          <a:latin typeface="+mn-lt"/>
                          <a:cs typeface="Arial"/>
                        </a:rPr>
                        <a:t>sing b</a:t>
                      </a:r>
                      <a:r>
                        <a:rPr lang="en-US" sz="1800" b="0" spc="4" dirty="0">
                          <a:latin typeface="+mn-lt"/>
                          <a:cs typeface="Arial"/>
                        </a:rPr>
                        <a:t>l</a:t>
                      </a:r>
                      <a:r>
                        <a:rPr lang="en-US" sz="1800" b="0" spc="0" dirty="0">
                          <a:latin typeface="+mn-lt"/>
                          <a:cs typeface="Arial"/>
                        </a:rPr>
                        <a:t>ock</a:t>
                      </a:r>
                      <a:r>
                        <a:rPr lang="en-US" sz="1800" b="0" spc="-14" dirty="0">
                          <a:latin typeface="+mn-lt"/>
                          <a:cs typeface="Arial"/>
                        </a:rPr>
                        <a:t> </a:t>
                      </a:r>
                      <a:r>
                        <a:rPr lang="en-US" sz="1800" b="0" spc="0" dirty="0">
                          <a:latin typeface="+mn-lt"/>
                          <a:cs typeface="Arial"/>
                        </a:rPr>
                        <a:t>ag</a:t>
                      </a:r>
                      <a:r>
                        <a:rPr lang="en-US" sz="1800" b="0" spc="-4" dirty="0">
                          <a:latin typeface="+mn-lt"/>
                          <a:cs typeface="Arial"/>
                        </a:rPr>
                        <a:t>a</a:t>
                      </a:r>
                      <a:r>
                        <a:rPr lang="en-US" sz="1800" b="0" spc="0" dirty="0">
                          <a:latin typeface="+mn-lt"/>
                          <a:cs typeface="Arial"/>
                        </a:rPr>
                        <a:t>i</a:t>
                      </a:r>
                      <a:r>
                        <a:rPr lang="en-US" sz="1800" b="0" spc="4" dirty="0">
                          <a:latin typeface="+mn-lt"/>
                          <a:cs typeface="Arial"/>
                        </a:rPr>
                        <a:t>n</a:t>
                      </a:r>
                      <a:r>
                        <a:rPr lang="en-US" sz="1800" b="0" spc="0" dirty="0">
                          <a:latin typeface="+mn-lt"/>
                          <a:cs typeface="Arial"/>
                        </a:rPr>
                        <a:t>st del</a:t>
                      </a:r>
                      <a:r>
                        <a:rPr lang="en-US" sz="1800" b="0" spc="4" dirty="0">
                          <a:latin typeface="+mn-lt"/>
                          <a:cs typeface="Arial"/>
                        </a:rPr>
                        <a:t>i</a:t>
                      </a:r>
                      <a:r>
                        <a:rPr lang="en-US" sz="1800" b="0" spc="-39" dirty="0">
                          <a:latin typeface="+mn-lt"/>
                          <a:cs typeface="Arial"/>
                        </a:rPr>
                        <a:t>v</a:t>
                      </a:r>
                      <a:r>
                        <a:rPr lang="en-US" sz="1800" b="0" spc="0" dirty="0">
                          <a:latin typeface="+mn-lt"/>
                          <a:cs typeface="Arial"/>
                        </a:rPr>
                        <a:t>ery d</a:t>
                      </a:r>
                      <a:r>
                        <a:rPr lang="en-US" sz="1800" b="0" spc="4" dirty="0">
                          <a:latin typeface="+mn-lt"/>
                          <a:cs typeface="Arial"/>
                        </a:rPr>
                        <a:t>o</a:t>
                      </a:r>
                      <a:r>
                        <a:rPr lang="en-US" sz="1800" b="0" spc="0" dirty="0">
                          <a:latin typeface="+mn-lt"/>
                          <a:cs typeface="Arial"/>
                        </a:rPr>
                        <a:t>cum</a:t>
                      </a:r>
                      <a:r>
                        <a:rPr lang="en-US" sz="1800" b="0" spc="-9" dirty="0">
                          <a:latin typeface="+mn-lt"/>
                          <a:cs typeface="Arial"/>
                        </a:rPr>
                        <a:t>e</a:t>
                      </a:r>
                      <a:r>
                        <a:rPr lang="en-US" sz="1800" b="0" spc="0" dirty="0">
                          <a:latin typeface="+mn-lt"/>
                          <a:cs typeface="Arial"/>
                        </a:rPr>
                        <a:t>nt</a:t>
                      </a:r>
                      <a:endParaRPr lang="en-US" sz="1800" b="0" dirty="0">
                        <a:latin typeface="+mn-lt"/>
                        <a:cs typeface="Arial"/>
                      </a:endParaRPr>
                    </a:p>
                  </a:txBody>
                  <a:tcPr>
                    <a:noFill/>
                  </a:tcPr>
                </a:tc>
                <a:extLst>
                  <a:ext uri="{0D108BD9-81ED-4DB2-BD59-A6C34878D82A}">
                    <a16:rowId xmlns:a16="http://schemas.microsoft.com/office/drawing/2014/main" val="10010"/>
                  </a:ext>
                </a:extLst>
              </a:tr>
            </a:tbl>
          </a:graphicData>
        </a:graphic>
      </p:graphicFrame>
      <p:sp>
        <p:nvSpPr>
          <p:cNvPr id="4" name="Title 3"/>
          <p:cNvSpPr>
            <a:spLocks noGrp="1"/>
          </p:cNvSpPr>
          <p:nvPr>
            <p:ph type="title"/>
          </p:nvPr>
        </p:nvSpPr>
        <p:spPr>
          <a:xfrm>
            <a:off x="1828801" y="304800"/>
            <a:ext cx="8509933" cy="533400"/>
          </a:xfrm>
        </p:spPr>
        <p:txBody>
          <a:bodyPr>
            <a:normAutofit fontScale="90000"/>
          </a:bodyPr>
          <a:lstStyle/>
          <a:p>
            <a:r>
              <a:rPr lang="en-US" sz="2400" dirty="0">
                <a:latin typeface="+mn-lt"/>
                <a:cs typeface="Arial" panose="020B0604020202020204" pitchFamily="34" charset="0"/>
              </a:rPr>
              <a:t>Transaction Codes</a:t>
            </a:r>
            <a:br>
              <a:rPr lang="en-US" sz="2800" b="1" dirty="0">
                <a:latin typeface="Arial" panose="020B0604020202020204" pitchFamily="34" charset="0"/>
                <a:cs typeface="Arial" panose="020B0604020202020204" pitchFamily="34" charset="0"/>
              </a:rPr>
            </a:br>
            <a:endParaRPr lang="en-US" dirty="0"/>
          </a:p>
        </p:txBody>
      </p:sp>
    </p:spTree>
    <p:extLst>
      <p:ext uri="{BB962C8B-B14F-4D97-AF65-F5344CB8AC3E}">
        <p14:creationId xmlns:p14="http://schemas.microsoft.com/office/powerpoint/2010/main" val="42492136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12"/>
          <p:cNvSpPr txBox="1"/>
          <p:nvPr/>
        </p:nvSpPr>
        <p:spPr>
          <a:xfrm>
            <a:off x="1828800" y="1232587"/>
            <a:ext cx="6550660" cy="416880"/>
          </a:xfrm>
          <a:prstGeom prst="rect">
            <a:avLst/>
          </a:prstGeom>
        </p:spPr>
        <p:txBody>
          <a:bodyPr wrap="square" lIns="0" tIns="0" rIns="0" bIns="0" rtlCol="0">
            <a:noAutofit/>
          </a:bodyPr>
          <a:lstStyle/>
          <a:p>
            <a:pPr marL="605218" indent="-342900">
              <a:lnSpc>
                <a:spcPct val="100041"/>
              </a:lnSpc>
              <a:spcBef>
                <a:spcPts val="1000"/>
              </a:spcBef>
              <a:buClr>
                <a:srgbClr val="00B0F0"/>
              </a:buClr>
              <a:buFont typeface="Wingdings" panose="05000000000000000000" pitchFamily="2" charset="2"/>
              <a:buChar char="§"/>
            </a:pPr>
            <a:r>
              <a:rPr spc="4" dirty="0">
                <a:cs typeface="Arial"/>
              </a:rPr>
              <a:t>Prerequisites goods issue reversal are :</a:t>
            </a:r>
          </a:p>
        </p:txBody>
      </p:sp>
      <p:sp>
        <p:nvSpPr>
          <p:cNvPr id="10" name="object 10"/>
          <p:cNvSpPr txBox="1"/>
          <p:nvPr/>
        </p:nvSpPr>
        <p:spPr>
          <a:xfrm>
            <a:off x="2402840" y="1659234"/>
            <a:ext cx="7171628" cy="1387028"/>
          </a:xfrm>
          <a:prstGeom prst="rect">
            <a:avLst/>
          </a:prstGeom>
        </p:spPr>
        <p:txBody>
          <a:bodyPr wrap="square" lIns="0" tIns="0" rIns="0" bIns="0" rtlCol="0">
            <a:noAutofit/>
          </a:bodyPr>
          <a:lstStyle/>
          <a:p>
            <a:pPr marL="298450" marR="82062" indent="-285750">
              <a:lnSpc>
                <a:spcPct val="100041"/>
              </a:lnSpc>
              <a:spcBef>
                <a:spcPts val="910"/>
              </a:spcBef>
              <a:buClr>
                <a:srgbClr val="C00000"/>
              </a:buClr>
              <a:buFont typeface="Wingdings" panose="05000000000000000000" pitchFamily="2" charset="2"/>
              <a:buChar char="§"/>
            </a:pPr>
            <a:r>
              <a:rPr lang="en-US" spc="-4" dirty="0">
                <a:latin typeface="Arial"/>
                <a:cs typeface="Arial"/>
              </a:rPr>
              <a:t> </a:t>
            </a:r>
            <a:r>
              <a:rPr spc="4" dirty="0">
                <a:cs typeface="Arial"/>
              </a:rPr>
              <a:t>Like the goods issue posting, the goods issue reversal is only</a:t>
            </a:r>
            <a:r>
              <a:rPr lang="en-US" spc="4" dirty="0">
                <a:cs typeface="Arial"/>
              </a:rPr>
              <a:t>   </a:t>
            </a:r>
            <a:r>
              <a:rPr spc="4" dirty="0">
                <a:cs typeface="Arial"/>
              </a:rPr>
              <a:t> possible for the entire</a:t>
            </a:r>
            <a:r>
              <a:rPr lang="en-US" spc="4" dirty="0">
                <a:cs typeface="Arial"/>
              </a:rPr>
              <a:t> </a:t>
            </a:r>
            <a:r>
              <a:rPr spc="4" dirty="0">
                <a:cs typeface="Arial"/>
              </a:rPr>
              <a:t>delivery. You cannot reverse goods issue for</a:t>
            </a:r>
            <a:r>
              <a:rPr lang="en-US" spc="4" dirty="0">
                <a:cs typeface="Arial"/>
              </a:rPr>
              <a:t> </a:t>
            </a:r>
            <a:r>
              <a:rPr spc="4" dirty="0">
                <a:cs typeface="Arial"/>
              </a:rPr>
              <a:t>only part of a delivery</a:t>
            </a:r>
          </a:p>
          <a:p>
            <a:pPr marL="298450" marR="82062" indent="-285750">
              <a:lnSpc>
                <a:spcPct val="100041"/>
              </a:lnSpc>
              <a:spcBef>
                <a:spcPts val="910"/>
              </a:spcBef>
              <a:buClr>
                <a:srgbClr val="C00000"/>
              </a:buClr>
              <a:buFont typeface="Wingdings" panose="05000000000000000000" pitchFamily="2" charset="2"/>
              <a:buChar char="§"/>
            </a:pPr>
            <a:r>
              <a:rPr spc="4" dirty="0">
                <a:cs typeface="Arial"/>
              </a:rPr>
              <a:t>I</a:t>
            </a:r>
            <a:r>
              <a:rPr dirty="0">
                <a:cs typeface="Arial"/>
              </a:rPr>
              <a:t>f</a:t>
            </a:r>
            <a:r>
              <a:rPr spc="-25" dirty="0">
                <a:cs typeface="Arial"/>
              </a:rPr>
              <a:t> </a:t>
            </a:r>
            <a:r>
              <a:rPr dirty="0">
                <a:cs typeface="Arial"/>
              </a:rPr>
              <a:t>t</a:t>
            </a:r>
            <a:r>
              <a:rPr spc="-4" dirty="0">
                <a:cs typeface="Arial"/>
              </a:rPr>
              <a:t>h</a:t>
            </a:r>
            <a:r>
              <a:rPr dirty="0">
                <a:cs typeface="Arial"/>
              </a:rPr>
              <a:t>e</a:t>
            </a:r>
            <a:r>
              <a:rPr spc="-14" dirty="0">
                <a:cs typeface="Arial"/>
              </a:rPr>
              <a:t> </a:t>
            </a:r>
            <a:r>
              <a:rPr spc="-4" dirty="0">
                <a:cs typeface="Arial"/>
              </a:rPr>
              <a:t>d</a:t>
            </a:r>
            <a:r>
              <a:rPr dirty="0">
                <a:cs typeface="Arial"/>
              </a:rPr>
              <a:t>e</a:t>
            </a:r>
            <a:r>
              <a:rPr spc="4" dirty="0">
                <a:cs typeface="Arial"/>
              </a:rPr>
              <a:t>li</a:t>
            </a:r>
            <a:r>
              <a:rPr spc="-14" dirty="0">
                <a:cs typeface="Arial"/>
              </a:rPr>
              <a:t>v</a:t>
            </a:r>
            <a:r>
              <a:rPr dirty="0">
                <a:cs typeface="Arial"/>
              </a:rPr>
              <a:t>e</a:t>
            </a:r>
            <a:r>
              <a:rPr spc="4" dirty="0">
                <a:cs typeface="Arial"/>
              </a:rPr>
              <a:t>r</a:t>
            </a:r>
            <a:r>
              <a:rPr dirty="0">
                <a:cs typeface="Arial"/>
              </a:rPr>
              <a:t>y</a:t>
            </a:r>
            <a:r>
              <a:rPr spc="-29" dirty="0">
                <a:cs typeface="Arial"/>
              </a:rPr>
              <a:t> </a:t>
            </a:r>
            <a:r>
              <a:rPr spc="-4" dirty="0">
                <a:cs typeface="Arial"/>
              </a:rPr>
              <a:t>h</a:t>
            </a:r>
            <a:r>
              <a:rPr dirty="0">
                <a:cs typeface="Arial"/>
              </a:rPr>
              <a:t>as</a:t>
            </a:r>
            <a:r>
              <a:rPr spc="-4" dirty="0">
                <a:cs typeface="Arial"/>
              </a:rPr>
              <a:t> </a:t>
            </a:r>
            <a:r>
              <a:rPr dirty="0">
                <a:cs typeface="Arial"/>
              </a:rPr>
              <a:t>a</a:t>
            </a:r>
            <a:r>
              <a:rPr spc="4" dirty="0">
                <a:cs typeface="Arial"/>
              </a:rPr>
              <a:t>lr</a:t>
            </a:r>
            <a:r>
              <a:rPr dirty="0">
                <a:cs typeface="Arial"/>
              </a:rPr>
              <a:t>ea</a:t>
            </a:r>
            <a:r>
              <a:rPr spc="-4" dirty="0">
                <a:cs typeface="Arial"/>
              </a:rPr>
              <a:t>d</a:t>
            </a:r>
            <a:r>
              <a:rPr dirty="0">
                <a:cs typeface="Arial"/>
              </a:rPr>
              <a:t>y</a:t>
            </a:r>
            <a:r>
              <a:rPr spc="-39" dirty="0">
                <a:cs typeface="Arial"/>
              </a:rPr>
              <a:t> </a:t>
            </a:r>
            <a:r>
              <a:rPr spc="-4" dirty="0">
                <a:cs typeface="Arial"/>
              </a:rPr>
              <a:t>b</a:t>
            </a:r>
            <a:r>
              <a:rPr dirty="0">
                <a:cs typeface="Arial"/>
              </a:rPr>
              <a:t>een</a:t>
            </a:r>
            <a:r>
              <a:rPr spc="-24" dirty="0">
                <a:cs typeface="Arial"/>
              </a:rPr>
              <a:t> </a:t>
            </a:r>
            <a:r>
              <a:rPr spc="-4" dirty="0">
                <a:cs typeface="Arial"/>
              </a:rPr>
              <a:t>b</a:t>
            </a:r>
            <a:r>
              <a:rPr spc="4" dirty="0">
                <a:cs typeface="Arial"/>
              </a:rPr>
              <a:t>ill</a:t>
            </a:r>
            <a:r>
              <a:rPr dirty="0">
                <a:cs typeface="Arial"/>
              </a:rPr>
              <a:t>ed</a:t>
            </a:r>
            <a:r>
              <a:rPr spc="-34" dirty="0">
                <a:cs typeface="Arial"/>
              </a:rPr>
              <a:t> </a:t>
            </a:r>
            <a:r>
              <a:rPr spc="-4" dirty="0">
                <a:cs typeface="Arial"/>
              </a:rPr>
              <a:t>p</a:t>
            </a:r>
            <a:r>
              <a:rPr dirty="0">
                <a:cs typeface="Arial"/>
              </a:rPr>
              <a:t>a</a:t>
            </a:r>
            <a:r>
              <a:rPr spc="4" dirty="0">
                <a:cs typeface="Arial"/>
              </a:rPr>
              <a:t>r</a:t>
            </a:r>
            <a:r>
              <a:rPr dirty="0">
                <a:cs typeface="Arial"/>
              </a:rPr>
              <a:t>t</a:t>
            </a:r>
            <a:r>
              <a:rPr spc="4" dirty="0">
                <a:cs typeface="Arial"/>
              </a:rPr>
              <a:t>i</a:t>
            </a:r>
            <a:r>
              <a:rPr dirty="0">
                <a:cs typeface="Arial"/>
              </a:rPr>
              <a:t>a</a:t>
            </a:r>
            <a:r>
              <a:rPr spc="4" dirty="0">
                <a:cs typeface="Arial"/>
              </a:rPr>
              <a:t>ll</a:t>
            </a:r>
            <a:r>
              <a:rPr dirty="0">
                <a:cs typeface="Arial"/>
              </a:rPr>
              <a:t>y</a:t>
            </a:r>
            <a:r>
              <a:rPr spc="-50" dirty="0">
                <a:cs typeface="Arial"/>
              </a:rPr>
              <a:t> </a:t>
            </a:r>
            <a:r>
              <a:rPr spc="-4" dirty="0">
                <a:cs typeface="Arial"/>
              </a:rPr>
              <a:t>o</a:t>
            </a:r>
            <a:r>
              <a:rPr dirty="0">
                <a:cs typeface="Arial"/>
              </a:rPr>
              <a:t>r f</a:t>
            </a:r>
            <a:r>
              <a:rPr spc="-4" dirty="0">
                <a:cs typeface="Arial"/>
              </a:rPr>
              <a:t>u</a:t>
            </a:r>
            <a:r>
              <a:rPr spc="4" dirty="0">
                <a:cs typeface="Arial"/>
              </a:rPr>
              <a:t>ll</a:t>
            </a:r>
            <a:r>
              <a:rPr spc="-154" dirty="0">
                <a:cs typeface="Arial"/>
              </a:rPr>
              <a:t>y</a:t>
            </a:r>
            <a:r>
              <a:rPr dirty="0">
                <a:cs typeface="Arial"/>
              </a:rPr>
              <a:t>,</a:t>
            </a:r>
            <a:r>
              <a:rPr spc="9" dirty="0">
                <a:cs typeface="Arial"/>
              </a:rPr>
              <a:t> </a:t>
            </a:r>
            <a:r>
              <a:rPr dirty="0">
                <a:cs typeface="Arial"/>
              </a:rPr>
              <a:t>t</a:t>
            </a:r>
            <a:r>
              <a:rPr spc="-4" dirty="0">
                <a:cs typeface="Arial"/>
              </a:rPr>
              <a:t>h</a:t>
            </a:r>
            <a:r>
              <a:rPr dirty="0">
                <a:cs typeface="Arial"/>
              </a:rPr>
              <a:t>e</a:t>
            </a:r>
            <a:r>
              <a:rPr spc="-14" dirty="0">
                <a:cs typeface="Arial"/>
              </a:rPr>
              <a:t> </a:t>
            </a:r>
            <a:r>
              <a:rPr spc="-4" dirty="0">
                <a:cs typeface="Arial"/>
              </a:rPr>
              <a:t>b</a:t>
            </a:r>
            <a:r>
              <a:rPr spc="4" dirty="0">
                <a:cs typeface="Arial"/>
              </a:rPr>
              <a:t>illi</a:t>
            </a:r>
            <a:r>
              <a:rPr spc="-4" dirty="0">
                <a:cs typeface="Arial"/>
              </a:rPr>
              <a:t>n</a:t>
            </a:r>
            <a:r>
              <a:rPr dirty="0">
                <a:cs typeface="Arial"/>
              </a:rPr>
              <a:t>g</a:t>
            </a:r>
            <a:r>
              <a:rPr spc="-44" dirty="0">
                <a:cs typeface="Arial"/>
              </a:rPr>
              <a:t> </a:t>
            </a:r>
            <a:r>
              <a:rPr spc="-4" dirty="0">
                <a:cs typeface="Arial"/>
              </a:rPr>
              <a:t>do</a:t>
            </a:r>
            <a:r>
              <a:rPr dirty="0">
                <a:cs typeface="Arial"/>
              </a:rPr>
              <a:t>c</a:t>
            </a:r>
            <a:r>
              <a:rPr spc="-4" dirty="0">
                <a:cs typeface="Arial"/>
              </a:rPr>
              <a:t>u</a:t>
            </a:r>
            <a:r>
              <a:rPr dirty="0">
                <a:cs typeface="Arial"/>
              </a:rPr>
              <a:t>me</a:t>
            </a:r>
            <a:r>
              <a:rPr spc="-4" dirty="0">
                <a:cs typeface="Arial"/>
              </a:rPr>
              <a:t>n</a:t>
            </a:r>
            <a:r>
              <a:rPr dirty="0">
                <a:cs typeface="Arial"/>
              </a:rPr>
              <a:t>t</a:t>
            </a:r>
            <a:r>
              <a:rPr spc="-14" dirty="0">
                <a:cs typeface="Arial"/>
              </a:rPr>
              <a:t> </a:t>
            </a:r>
            <a:r>
              <a:rPr dirty="0">
                <a:cs typeface="Arial"/>
              </a:rPr>
              <a:t>m</a:t>
            </a:r>
            <a:r>
              <a:rPr spc="-4" dirty="0">
                <a:cs typeface="Arial"/>
              </a:rPr>
              <a:t>u</a:t>
            </a:r>
            <a:r>
              <a:rPr dirty="0">
                <a:cs typeface="Arial"/>
              </a:rPr>
              <a:t>st</a:t>
            </a:r>
            <a:r>
              <a:rPr spc="-14" dirty="0">
                <a:cs typeface="Arial"/>
              </a:rPr>
              <a:t> </a:t>
            </a:r>
            <a:r>
              <a:rPr spc="-4" dirty="0">
                <a:cs typeface="Arial"/>
              </a:rPr>
              <a:t>b</a:t>
            </a:r>
            <a:r>
              <a:rPr dirty="0">
                <a:cs typeface="Arial"/>
              </a:rPr>
              <a:t>e ca</a:t>
            </a:r>
            <a:r>
              <a:rPr spc="-4" dirty="0">
                <a:cs typeface="Arial"/>
              </a:rPr>
              <a:t>n</a:t>
            </a:r>
            <a:r>
              <a:rPr dirty="0">
                <a:cs typeface="Arial"/>
              </a:rPr>
              <a:t>ce</a:t>
            </a:r>
            <a:r>
              <a:rPr spc="4" dirty="0">
                <a:cs typeface="Arial"/>
              </a:rPr>
              <a:t>ll</a:t>
            </a:r>
            <a:r>
              <a:rPr spc="-14" dirty="0">
                <a:cs typeface="Arial"/>
              </a:rPr>
              <a:t>e</a:t>
            </a:r>
            <a:r>
              <a:rPr dirty="0">
                <a:cs typeface="Arial"/>
              </a:rPr>
              <a:t>d</a:t>
            </a:r>
            <a:r>
              <a:rPr spc="-59" dirty="0">
                <a:cs typeface="Arial"/>
              </a:rPr>
              <a:t> </a:t>
            </a:r>
            <a:r>
              <a:rPr spc="-4" dirty="0">
                <a:cs typeface="Arial"/>
              </a:rPr>
              <a:t>b</a:t>
            </a:r>
            <a:r>
              <a:rPr dirty="0">
                <a:cs typeface="Arial"/>
              </a:rPr>
              <a:t>ef</a:t>
            </a:r>
            <a:r>
              <a:rPr spc="-4" dirty="0">
                <a:cs typeface="Arial"/>
              </a:rPr>
              <a:t>o</a:t>
            </a:r>
            <a:r>
              <a:rPr spc="4" dirty="0">
                <a:cs typeface="Arial"/>
              </a:rPr>
              <a:t>r</a:t>
            </a:r>
            <a:r>
              <a:rPr dirty="0">
                <a:cs typeface="Arial"/>
              </a:rPr>
              <a:t>e</a:t>
            </a:r>
            <a:r>
              <a:rPr spc="-14" dirty="0">
                <a:cs typeface="Arial"/>
              </a:rPr>
              <a:t> </a:t>
            </a:r>
            <a:r>
              <a:rPr dirty="0">
                <a:cs typeface="Arial"/>
              </a:rPr>
              <a:t>t</a:t>
            </a:r>
            <a:r>
              <a:rPr spc="-4" dirty="0">
                <a:cs typeface="Arial"/>
              </a:rPr>
              <a:t>h</a:t>
            </a:r>
            <a:r>
              <a:rPr dirty="0">
                <a:cs typeface="Arial"/>
              </a:rPr>
              <a:t>e</a:t>
            </a:r>
            <a:r>
              <a:rPr spc="-14" dirty="0">
                <a:cs typeface="Arial"/>
              </a:rPr>
              <a:t> </a:t>
            </a:r>
            <a:r>
              <a:rPr spc="4" dirty="0">
                <a:cs typeface="Arial"/>
              </a:rPr>
              <a:t>r</a:t>
            </a:r>
            <a:r>
              <a:rPr dirty="0">
                <a:cs typeface="Arial"/>
              </a:rPr>
              <a:t>e</a:t>
            </a:r>
            <a:r>
              <a:rPr spc="-14" dirty="0">
                <a:cs typeface="Arial"/>
              </a:rPr>
              <a:t>v</a:t>
            </a:r>
            <a:r>
              <a:rPr dirty="0">
                <a:cs typeface="Arial"/>
              </a:rPr>
              <a:t>e</a:t>
            </a:r>
            <a:r>
              <a:rPr spc="4" dirty="0">
                <a:cs typeface="Arial"/>
              </a:rPr>
              <a:t>r</a:t>
            </a:r>
            <a:r>
              <a:rPr dirty="0">
                <a:cs typeface="Arial"/>
              </a:rPr>
              <a:t>sal</a:t>
            </a:r>
            <a:r>
              <a:rPr spc="-25" dirty="0">
                <a:cs typeface="Arial"/>
              </a:rPr>
              <a:t> </a:t>
            </a:r>
            <a:r>
              <a:rPr spc="-4" dirty="0">
                <a:cs typeface="Arial"/>
              </a:rPr>
              <a:t>o</a:t>
            </a:r>
            <a:r>
              <a:rPr dirty="0">
                <a:cs typeface="Arial"/>
              </a:rPr>
              <a:t>f </a:t>
            </a:r>
            <a:r>
              <a:rPr spc="-4" dirty="0">
                <a:cs typeface="Arial"/>
              </a:rPr>
              <a:t>good</a:t>
            </a:r>
            <a:r>
              <a:rPr dirty="0">
                <a:cs typeface="Arial"/>
              </a:rPr>
              <a:t>s</a:t>
            </a:r>
            <a:r>
              <a:rPr spc="-14" dirty="0">
                <a:cs typeface="Arial"/>
              </a:rPr>
              <a:t> </a:t>
            </a:r>
            <a:r>
              <a:rPr spc="4" dirty="0">
                <a:cs typeface="Arial"/>
              </a:rPr>
              <a:t>i</a:t>
            </a:r>
            <a:r>
              <a:rPr dirty="0">
                <a:cs typeface="Arial"/>
              </a:rPr>
              <a:t>ss</a:t>
            </a:r>
            <a:r>
              <a:rPr spc="-4" dirty="0">
                <a:cs typeface="Arial"/>
              </a:rPr>
              <a:t>u</a:t>
            </a:r>
            <a:r>
              <a:rPr dirty="0">
                <a:cs typeface="Arial"/>
              </a:rPr>
              <a:t>e</a:t>
            </a:r>
          </a:p>
        </p:txBody>
      </p:sp>
      <p:sp>
        <p:nvSpPr>
          <p:cNvPr id="8" name="object 8"/>
          <p:cNvSpPr txBox="1"/>
          <p:nvPr/>
        </p:nvSpPr>
        <p:spPr>
          <a:xfrm>
            <a:off x="1879732" y="3252382"/>
            <a:ext cx="8178668" cy="335642"/>
          </a:xfrm>
          <a:prstGeom prst="rect">
            <a:avLst/>
          </a:prstGeom>
        </p:spPr>
        <p:txBody>
          <a:bodyPr wrap="square" lIns="0" tIns="0" rIns="0" bIns="0" rtlCol="0">
            <a:noAutofit/>
          </a:bodyPr>
          <a:lstStyle/>
          <a:p>
            <a:pPr marL="605218" indent="-342900">
              <a:lnSpc>
                <a:spcPct val="100041"/>
              </a:lnSpc>
              <a:spcBef>
                <a:spcPts val="1000"/>
              </a:spcBef>
              <a:buClr>
                <a:srgbClr val="00B0F0"/>
              </a:buClr>
              <a:buFont typeface="Wingdings" panose="05000000000000000000" pitchFamily="2" charset="2"/>
              <a:buChar char="§"/>
            </a:pPr>
            <a:endParaRPr sz="2200" spc="4" dirty="0">
              <a:latin typeface="Arial"/>
              <a:cs typeface="Arial"/>
            </a:endParaRPr>
          </a:p>
        </p:txBody>
      </p:sp>
      <p:sp>
        <p:nvSpPr>
          <p:cNvPr id="3" name="object 3"/>
          <p:cNvSpPr txBox="1"/>
          <p:nvPr/>
        </p:nvSpPr>
        <p:spPr>
          <a:xfrm>
            <a:off x="1879733" y="3573040"/>
            <a:ext cx="7190273" cy="1602915"/>
          </a:xfrm>
          <a:prstGeom prst="rect">
            <a:avLst/>
          </a:prstGeom>
        </p:spPr>
        <p:txBody>
          <a:bodyPr wrap="square" lIns="0" tIns="0" rIns="0" bIns="0" rtlCol="0">
            <a:noAutofit/>
          </a:bodyPr>
          <a:lstStyle/>
          <a:p>
            <a:pPr marL="605218" indent="-342900">
              <a:lnSpc>
                <a:spcPct val="100041"/>
              </a:lnSpc>
              <a:spcBef>
                <a:spcPts val="1000"/>
              </a:spcBef>
              <a:buClr>
                <a:srgbClr val="00B0F0"/>
              </a:buClr>
              <a:buFont typeface="Wingdings" panose="05000000000000000000" pitchFamily="2" charset="2"/>
              <a:buChar char="§"/>
            </a:pPr>
            <a:r>
              <a:rPr spc="4" dirty="0">
                <a:cs typeface="Arial"/>
              </a:rPr>
              <a:t>The delivery process can be more automatic (less key stroke based!) by making Item</a:t>
            </a:r>
            <a:r>
              <a:rPr lang="en-US" spc="4" dirty="0">
                <a:cs typeface="Arial"/>
              </a:rPr>
              <a:t> </a:t>
            </a:r>
            <a:r>
              <a:rPr spc="4" dirty="0">
                <a:cs typeface="Arial"/>
              </a:rPr>
              <a:t>Categories not relevant for picking and by defaulting an issue storage location</a:t>
            </a:r>
          </a:p>
        </p:txBody>
      </p:sp>
      <p:sp>
        <p:nvSpPr>
          <p:cNvPr id="2" name="Title 1"/>
          <p:cNvSpPr>
            <a:spLocks noGrp="1"/>
          </p:cNvSpPr>
          <p:nvPr>
            <p:ph type="title"/>
          </p:nvPr>
        </p:nvSpPr>
        <p:spPr>
          <a:xfrm>
            <a:off x="1828801" y="373051"/>
            <a:ext cx="8509933" cy="859536"/>
          </a:xfrm>
        </p:spPr>
        <p:txBody>
          <a:bodyPr/>
          <a:lstStyle/>
          <a:p>
            <a:r>
              <a:rPr lang="en-US" sz="2400" dirty="0">
                <a:latin typeface="Arial"/>
                <a:cs typeface="Arial"/>
              </a:rPr>
              <a:t>Additional Info</a:t>
            </a:r>
            <a:br>
              <a:rPr lang="en-US" sz="2800" dirty="0">
                <a:latin typeface="Arial"/>
                <a:cs typeface="Arial"/>
              </a:rPr>
            </a:br>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14"/>
          <p:cNvSpPr txBox="1">
            <a:spLocks noGrp="1"/>
          </p:cNvSpPr>
          <p:nvPr>
            <p:ph type="title"/>
          </p:nvPr>
        </p:nvSpPr>
        <p:spPr>
          <a:prstGeom prst="rect">
            <a:avLst/>
          </a:prstGeom>
        </p:spPr>
        <p:txBody>
          <a:bodyPr vert="horz" wrap="square" lIns="0" tIns="0" rIns="0" bIns="0" rtlCol="0" anchor="t">
            <a:noAutofit/>
          </a:bodyPr>
          <a:lstStyle/>
          <a:p>
            <a:pPr marL="12700">
              <a:lnSpc>
                <a:spcPts val="4600"/>
              </a:lnSpc>
              <a:spcBef>
                <a:spcPts val="230"/>
              </a:spcBef>
            </a:pPr>
            <a:r>
              <a:rPr sz="2400" b="1" dirty="0">
                <a:latin typeface="Arial"/>
                <a:cs typeface="Arial"/>
              </a:rPr>
              <a:t>Additional</a:t>
            </a:r>
            <a:r>
              <a:rPr lang="en-US" sz="2400" b="1" dirty="0">
                <a:latin typeface="Arial"/>
                <a:cs typeface="Arial"/>
              </a:rPr>
              <a:t> Info</a:t>
            </a:r>
            <a:endParaRPr sz="2400" dirty="0">
              <a:latin typeface="Arial"/>
              <a:cs typeface="Arial"/>
            </a:endParaRPr>
          </a:p>
        </p:txBody>
      </p:sp>
      <p:sp>
        <p:nvSpPr>
          <p:cNvPr id="5" name="Text Placeholder 2">
            <a:extLst>
              <a:ext uri="{FF2B5EF4-FFF2-40B4-BE49-F238E27FC236}">
                <a16:creationId xmlns:a16="http://schemas.microsoft.com/office/drawing/2014/main" id="{58ED93E9-BD6E-4832-8F25-C9F1C95E3405}"/>
              </a:ext>
            </a:extLst>
          </p:cNvPr>
          <p:cNvSpPr txBox="1">
            <a:spLocks/>
          </p:cNvSpPr>
          <p:nvPr/>
        </p:nvSpPr>
        <p:spPr>
          <a:xfrm>
            <a:off x="457200" y="1524000"/>
            <a:ext cx="9455224" cy="420052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spc="4" dirty="0"/>
              <a:t>Cancellation of a goods issue for a delivery results in the following:</a:t>
            </a:r>
          </a:p>
          <a:p>
            <a:pPr marL="869950" marR="82062" lvl="2" indent="-285750">
              <a:lnSpc>
                <a:spcPct val="100041"/>
              </a:lnSpc>
              <a:spcBef>
                <a:spcPts val="910"/>
              </a:spcBef>
              <a:buClr>
                <a:srgbClr val="C00000"/>
              </a:buClr>
              <a:buFont typeface="Wingdings" panose="05000000000000000000" pitchFamily="2" charset="2"/>
              <a:buChar char="§"/>
            </a:pPr>
            <a:r>
              <a:rPr lang="en-US" sz="1800" spc="4" dirty="0"/>
              <a:t>It creates a cancellation document that adopts the quantities and the valuation from the</a:t>
            </a:r>
          </a:p>
          <a:p>
            <a:pPr marL="869950" marR="82062" lvl="2" indent="-285750">
              <a:lnSpc>
                <a:spcPct val="100041"/>
              </a:lnSpc>
              <a:spcBef>
                <a:spcPts val="910"/>
              </a:spcBef>
              <a:buClr>
                <a:srgbClr val="C00000"/>
              </a:buClr>
              <a:buFont typeface="Wingdings" panose="05000000000000000000" pitchFamily="2" charset="2"/>
              <a:buChar char="§"/>
            </a:pPr>
            <a:r>
              <a:rPr lang="en-US" sz="1800" spc="4" dirty="0"/>
              <a:t>original goods issue document, and also executes the respective value and quantity posting to stock</a:t>
            </a:r>
          </a:p>
          <a:p>
            <a:pPr marL="869950" marR="82062" lvl="2" indent="-285750">
              <a:lnSpc>
                <a:spcPct val="100041"/>
              </a:lnSpc>
              <a:spcBef>
                <a:spcPts val="910"/>
              </a:spcBef>
              <a:buClr>
                <a:srgbClr val="C00000"/>
              </a:buClr>
              <a:buFont typeface="Wingdings" panose="05000000000000000000" pitchFamily="2" charset="2"/>
              <a:buChar char="§"/>
            </a:pPr>
            <a:r>
              <a:rPr lang="en-US" sz="1800" spc="4" dirty="0"/>
              <a:t>The goods movement/goods issue status of the delivery is reset to Not yet started. In this way, the delivery can be processed further as required</a:t>
            </a:r>
          </a:p>
          <a:p>
            <a:pPr marL="869950" marR="82062" lvl="2" indent="-285750">
              <a:lnSpc>
                <a:spcPct val="100041"/>
              </a:lnSpc>
              <a:spcBef>
                <a:spcPts val="910"/>
              </a:spcBef>
              <a:buClr>
                <a:srgbClr val="C00000"/>
              </a:buClr>
              <a:buFont typeface="Wingdings" panose="05000000000000000000" pitchFamily="2" charset="2"/>
              <a:buChar char="§"/>
            </a:pPr>
            <a:r>
              <a:rPr lang="en-US" sz="1800" spc="4" dirty="0"/>
              <a:t>Delivery requirements are reset</a:t>
            </a:r>
          </a:p>
          <a:p>
            <a:pPr marL="869950" marR="82062" lvl="2" indent="-285750">
              <a:lnSpc>
                <a:spcPct val="100041"/>
              </a:lnSpc>
              <a:spcBef>
                <a:spcPts val="910"/>
              </a:spcBef>
              <a:buClr>
                <a:srgbClr val="C00000"/>
              </a:buClr>
              <a:buFont typeface="Wingdings" panose="05000000000000000000" pitchFamily="2" charset="2"/>
              <a:buChar char="§"/>
            </a:pPr>
            <a:r>
              <a:rPr lang="en-US" sz="1800" spc="4" dirty="0"/>
              <a:t>Credit limit are reset</a:t>
            </a:r>
          </a:p>
          <a:p>
            <a:pPr marL="869950" marR="82062" lvl="2" indent="-285750">
              <a:lnSpc>
                <a:spcPct val="100041"/>
              </a:lnSpc>
              <a:spcBef>
                <a:spcPts val="910"/>
              </a:spcBef>
              <a:buClr>
                <a:srgbClr val="C00000"/>
              </a:buClr>
              <a:buFont typeface="Wingdings" panose="05000000000000000000" pitchFamily="2" charset="2"/>
              <a:buChar char="§"/>
            </a:pPr>
            <a:r>
              <a:rPr lang="en-US" sz="1800" spc="4" dirty="0"/>
              <a:t>Document flow is updated with a note of cancellation</a:t>
            </a:r>
          </a:p>
          <a:p>
            <a:endParaRPr lang="en-US" dirty="0"/>
          </a:p>
        </p:txBody>
      </p:sp>
    </p:spTree>
    <p:extLst>
      <p:ext uri="{BB962C8B-B14F-4D97-AF65-F5344CB8AC3E}">
        <p14:creationId xmlns:p14="http://schemas.microsoft.com/office/powerpoint/2010/main" val="31532285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2059940" y="1508853"/>
            <a:ext cx="7007860" cy="2059104"/>
          </a:xfrm>
          <a:prstGeom prst="rect">
            <a:avLst/>
          </a:prstGeom>
        </p:spPr>
        <p:txBody>
          <a:bodyPr wrap="square" lIns="0" tIns="0" rIns="0" bIns="0" rtlCol="0">
            <a:noAutofit/>
          </a:bodyPr>
          <a:lstStyle/>
          <a:p>
            <a:pPr marL="355600" indent="-342900">
              <a:lnSpc>
                <a:spcPts val="1730"/>
              </a:lnSpc>
              <a:spcBef>
                <a:spcPts val="86"/>
              </a:spcBef>
              <a:buClr>
                <a:srgbClr val="00B0F0"/>
              </a:buClr>
              <a:buFont typeface="Wingdings" panose="05000000000000000000" pitchFamily="2" charset="2"/>
              <a:buChar char="§"/>
            </a:pPr>
            <a:r>
              <a:rPr spc="-79" dirty="0">
                <a:cs typeface="Arial"/>
              </a:rPr>
              <a:t>V</a:t>
            </a:r>
            <a:r>
              <a:rPr dirty="0">
                <a:cs typeface="Arial"/>
              </a:rPr>
              <a:t>arious</a:t>
            </a:r>
            <a:r>
              <a:rPr spc="-58" dirty="0">
                <a:cs typeface="Arial"/>
              </a:rPr>
              <a:t> </a:t>
            </a:r>
            <a:r>
              <a:rPr dirty="0">
                <a:cs typeface="Arial"/>
              </a:rPr>
              <a:t>Mo</a:t>
            </a:r>
            <a:r>
              <a:rPr spc="-34" dirty="0">
                <a:cs typeface="Arial"/>
              </a:rPr>
              <a:t>v</a:t>
            </a:r>
            <a:r>
              <a:rPr dirty="0">
                <a:cs typeface="Arial"/>
              </a:rPr>
              <a:t>eme</a:t>
            </a:r>
            <a:r>
              <a:rPr spc="4" dirty="0">
                <a:cs typeface="Arial"/>
              </a:rPr>
              <a:t>n</a:t>
            </a:r>
            <a:r>
              <a:rPr dirty="0">
                <a:cs typeface="Arial"/>
              </a:rPr>
              <a:t>t</a:t>
            </a:r>
            <a:r>
              <a:rPr spc="-24" dirty="0">
                <a:cs typeface="Arial"/>
              </a:rPr>
              <a:t> </a:t>
            </a:r>
            <a:r>
              <a:rPr spc="-125" dirty="0">
                <a:cs typeface="Arial"/>
              </a:rPr>
              <a:t>T</a:t>
            </a:r>
            <a:r>
              <a:rPr spc="-34" dirty="0">
                <a:cs typeface="Arial"/>
              </a:rPr>
              <a:t>y</a:t>
            </a:r>
            <a:r>
              <a:rPr dirty="0">
                <a:cs typeface="Arial"/>
              </a:rPr>
              <a:t>pes</a:t>
            </a:r>
            <a:r>
              <a:rPr spc="-1" dirty="0">
                <a:cs typeface="Arial"/>
              </a:rPr>
              <a:t> </a:t>
            </a:r>
            <a:r>
              <a:rPr dirty="0">
                <a:cs typeface="Arial"/>
              </a:rPr>
              <a:t>d</a:t>
            </a:r>
            <a:r>
              <a:rPr spc="-4" dirty="0">
                <a:cs typeface="Arial"/>
              </a:rPr>
              <a:t>u</a:t>
            </a:r>
            <a:r>
              <a:rPr dirty="0">
                <a:cs typeface="Arial"/>
              </a:rPr>
              <a:t>ring</a:t>
            </a:r>
            <a:r>
              <a:rPr spc="-29" dirty="0">
                <a:cs typeface="Arial"/>
              </a:rPr>
              <a:t> </a:t>
            </a:r>
            <a:r>
              <a:rPr spc="-4" dirty="0">
                <a:cs typeface="Arial"/>
              </a:rPr>
              <a:t>G</a:t>
            </a:r>
            <a:r>
              <a:rPr dirty="0">
                <a:cs typeface="Arial"/>
              </a:rPr>
              <a:t>o</a:t>
            </a:r>
            <a:r>
              <a:rPr spc="-4" dirty="0">
                <a:cs typeface="Arial"/>
              </a:rPr>
              <a:t>o</a:t>
            </a:r>
            <a:r>
              <a:rPr dirty="0">
                <a:cs typeface="Arial"/>
              </a:rPr>
              <a:t>ds</a:t>
            </a:r>
            <a:r>
              <a:rPr spc="-30" dirty="0">
                <a:cs typeface="Arial"/>
              </a:rPr>
              <a:t> </a:t>
            </a:r>
            <a:r>
              <a:rPr dirty="0">
                <a:cs typeface="Arial"/>
              </a:rPr>
              <a:t>issue</a:t>
            </a:r>
            <a:r>
              <a:rPr spc="-30" dirty="0">
                <a:cs typeface="Arial"/>
              </a:rPr>
              <a:t> </a:t>
            </a:r>
            <a:r>
              <a:rPr dirty="0">
                <a:cs typeface="Arial"/>
              </a:rPr>
              <a:t>are:</a:t>
            </a:r>
          </a:p>
          <a:p>
            <a:pPr marL="755650" marR="82062" lvl="1" indent="-285750">
              <a:lnSpc>
                <a:spcPct val="100041"/>
              </a:lnSpc>
              <a:spcBef>
                <a:spcPts val="910"/>
              </a:spcBef>
              <a:buClr>
                <a:srgbClr val="C00000"/>
              </a:buClr>
              <a:buFont typeface="Wingdings" panose="05000000000000000000" pitchFamily="2" charset="2"/>
              <a:buChar char="§"/>
            </a:pPr>
            <a:r>
              <a:rPr spc="4" dirty="0">
                <a:cs typeface="Arial"/>
              </a:rPr>
              <a:t>601 – Goods issue for delivery</a:t>
            </a:r>
          </a:p>
          <a:p>
            <a:pPr marL="755650" marR="82062" lvl="1" indent="-285750">
              <a:lnSpc>
                <a:spcPct val="100041"/>
              </a:lnSpc>
              <a:spcBef>
                <a:spcPts val="910"/>
              </a:spcBef>
              <a:buClr>
                <a:srgbClr val="C00000"/>
              </a:buClr>
              <a:buFont typeface="Wingdings" panose="05000000000000000000" pitchFamily="2" charset="2"/>
              <a:buChar char="§"/>
            </a:pPr>
            <a:r>
              <a:rPr spc="4" dirty="0">
                <a:cs typeface="Arial"/>
              </a:rPr>
              <a:t>602 – Reversal of Goods issue</a:t>
            </a:r>
          </a:p>
          <a:p>
            <a:pPr marL="755650" marR="82062" lvl="1" indent="-285750">
              <a:lnSpc>
                <a:spcPct val="100041"/>
              </a:lnSpc>
              <a:spcBef>
                <a:spcPts val="910"/>
              </a:spcBef>
              <a:buClr>
                <a:srgbClr val="C00000"/>
              </a:buClr>
              <a:buFont typeface="Wingdings" panose="05000000000000000000" pitchFamily="2" charset="2"/>
              <a:buChar char="§"/>
            </a:pPr>
            <a:r>
              <a:rPr spc="4" dirty="0">
                <a:cs typeface="Arial"/>
              </a:rPr>
              <a:t>641 -  Transfer stock in Transit</a:t>
            </a:r>
          </a:p>
          <a:p>
            <a:pPr marL="755650" marR="82062" lvl="1" indent="-285750">
              <a:lnSpc>
                <a:spcPct val="100041"/>
              </a:lnSpc>
              <a:spcBef>
                <a:spcPts val="910"/>
              </a:spcBef>
              <a:buClr>
                <a:srgbClr val="C00000"/>
              </a:buClr>
              <a:buFont typeface="Wingdings" panose="05000000000000000000" pitchFamily="2" charset="2"/>
              <a:buChar char="§"/>
            </a:pPr>
            <a:r>
              <a:rPr spc="4" dirty="0">
                <a:cs typeface="Arial"/>
              </a:rPr>
              <a:t>643 -  Transfer to cross company</a:t>
            </a:r>
          </a:p>
        </p:txBody>
      </p:sp>
      <p:sp>
        <p:nvSpPr>
          <p:cNvPr id="9" name="object 9"/>
          <p:cNvSpPr txBox="1"/>
          <p:nvPr/>
        </p:nvSpPr>
        <p:spPr>
          <a:xfrm>
            <a:off x="2059940" y="3710144"/>
            <a:ext cx="6550660" cy="1242857"/>
          </a:xfrm>
          <a:prstGeom prst="rect">
            <a:avLst/>
          </a:prstGeom>
        </p:spPr>
        <p:txBody>
          <a:bodyPr wrap="square" lIns="0" tIns="0" rIns="0" bIns="0" rtlCol="0">
            <a:noAutofit/>
          </a:bodyPr>
          <a:lstStyle/>
          <a:p>
            <a:pPr marL="355600" indent="-342900">
              <a:lnSpc>
                <a:spcPts val="1730"/>
              </a:lnSpc>
              <a:spcBef>
                <a:spcPts val="86"/>
              </a:spcBef>
              <a:buClr>
                <a:srgbClr val="00B0F0"/>
              </a:buClr>
              <a:buFont typeface="Wingdings" panose="05000000000000000000" pitchFamily="2" charset="2"/>
              <a:buChar char="§"/>
            </a:pPr>
            <a:r>
              <a:rPr spc="-79" dirty="0">
                <a:cs typeface="Arial"/>
              </a:rPr>
              <a:t>Relevant Tables for Outbound delivery:</a:t>
            </a:r>
            <a:endParaRPr lang="en-US" spc="-79" dirty="0">
              <a:cs typeface="Arial"/>
            </a:endParaRPr>
          </a:p>
          <a:p>
            <a:pPr marL="755650" marR="82062" lvl="1" indent="-285750">
              <a:lnSpc>
                <a:spcPct val="100041"/>
              </a:lnSpc>
              <a:spcBef>
                <a:spcPts val="910"/>
              </a:spcBef>
              <a:buClr>
                <a:srgbClr val="C00000"/>
              </a:buClr>
              <a:buFont typeface="Wingdings" panose="05000000000000000000" pitchFamily="2" charset="2"/>
              <a:buChar char="§"/>
            </a:pPr>
            <a:r>
              <a:rPr lang="en-US" spc="4" dirty="0">
                <a:cs typeface="Arial"/>
              </a:rPr>
              <a:t>LIKP: SD Document: Delivery Header Data</a:t>
            </a:r>
          </a:p>
          <a:p>
            <a:pPr marL="755650" marR="82062" lvl="1" indent="-285750">
              <a:lnSpc>
                <a:spcPct val="100041"/>
              </a:lnSpc>
              <a:spcBef>
                <a:spcPts val="910"/>
              </a:spcBef>
              <a:buClr>
                <a:srgbClr val="C00000"/>
              </a:buClr>
              <a:buFont typeface="Wingdings" panose="05000000000000000000" pitchFamily="2" charset="2"/>
              <a:buChar char="§"/>
            </a:pPr>
            <a:r>
              <a:rPr lang="en-US" spc="4" dirty="0">
                <a:cs typeface="Arial"/>
              </a:rPr>
              <a:t>LIPS: SD Document: Delivery Item Data</a:t>
            </a:r>
          </a:p>
          <a:p>
            <a:pPr marL="755650" marR="82062" lvl="1" indent="-285750">
              <a:lnSpc>
                <a:spcPct val="100041"/>
              </a:lnSpc>
              <a:spcBef>
                <a:spcPts val="910"/>
              </a:spcBef>
              <a:buClr>
                <a:srgbClr val="C00000"/>
              </a:buClr>
              <a:buFont typeface="Wingdings" panose="05000000000000000000" pitchFamily="2" charset="2"/>
              <a:buChar char="§"/>
            </a:pPr>
            <a:endParaRPr spc="4" dirty="0">
              <a:latin typeface="Arial"/>
              <a:cs typeface="Arial"/>
            </a:endParaRPr>
          </a:p>
        </p:txBody>
      </p:sp>
      <p:sp>
        <p:nvSpPr>
          <p:cNvPr id="2" name="Title 1"/>
          <p:cNvSpPr>
            <a:spLocks noGrp="1"/>
          </p:cNvSpPr>
          <p:nvPr>
            <p:ph type="title"/>
          </p:nvPr>
        </p:nvSpPr>
        <p:spPr>
          <a:xfrm>
            <a:off x="1752601" y="304800"/>
            <a:ext cx="8509933" cy="859536"/>
          </a:xfrm>
        </p:spPr>
        <p:txBody>
          <a:bodyPr/>
          <a:lstStyle/>
          <a:p>
            <a:r>
              <a:rPr lang="en-US" sz="2400" kern="0" dirty="0">
                <a:solidFill>
                  <a:schemeClr val="accent2"/>
                </a:solidFill>
                <a:latin typeface="Arial"/>
                <a:cs typeface="Arial"/>
              </a:rPr>
              <a:t>Additional Info</a:t>
            </a:r>
            <a:br>
              <a:rPr lang="en-US" kern="0" dirty="0">
                <a:solidFill>
                  <a:sysClr val="windowText" lastClr="000000"/>
                </a:solidFill>
                <a:latin typeface="Arial"/>
                <a:cs typeface="Arial"/>
              </a:rPr>
            </a:br>
            <a:endParaRPr lang="en-US"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9"/>
          <p:cNvSpPr txBox="1"/>
          <p:nvPr/>
        </p:nvSpPr>
        <p:spPr>
          <a:xfrm>
            <a:off x="2193759" y="1219200"/>
            <a:ext cx="8017041" cy="4953000"/>
          </a:xfrm>
          <a:prstGeom prst="rect">
            <a:avLst/>
          </a:prstGeom>
        </p:spPr>
        <p:txBody>
          <a:bodyPr wrap="square" lIns="0" tIns="0" rIns="0" bIns="0" rtlCol="0">
            <a:noAutofit/>
          </a:bodyPr>
          <a:lstStyle/>
          <a:p>
            <a:pPr marL="12700" lvl="1">
              <a:lnSpc>
                <a:spcPts val="1730"/>
              </a:lnSpc>
              <a:spcBef>
                <a:spcPts val="86"/>
              </a:spcBef>
              <a:buClr>
                <a:srgbClr val="00B0F0"/>
              </a:buClr>
            </a:pPr>
            <a:endParaRPr lang="en-US" spc="-79" dirty="0">
              <a:latin typeface="Arial"/>
              <a:cs typeface="Arial"/>
            </a:endParaRPr>
          </a:p>
          <a:p>
            <a:pPr marL="355600" lvl="1" indent="-342900">
              <a:lnSpc>
                <a:spcPts val="1730"/>
              </a:lnSpc>
              <a:spcBef>
                <a:spcPts val="86"/>
              </a:spcBef>
              <a:buClr>
                <a:srgbClr val="00B0F0"/>
              </a:buClr>
              <a:buFont typeface="Wingdings" panose="05000000000000000000" pitchFamily="2" charset="2"/>
              <a:buChar char="§"/>
            </a:pPr>
            <a:r>
              <a:rPr lang="en-US" spc="-79" dirty="0">
                <a:cs typeface="Arial"/>
              </a:rPr>
              <a:t>Requirements for automatic creation of packing items include:</a:t>
            </a:r>
          </a:p>
          <a:p>
            <a:pPr marL="755650" marR="82062" lvl="1" indent="-285750">
              <a:lnSpc>
                <a:spcPct val="100041"/>
              </a:lnSpc>
              <a:spcBef>
                <a:spcPts val="910"/>
              </a:spcBef>
              <a:buClr>
                <a:srgbClr val="C00000"/>
              </a:buClr>
              <a:buFont typeface="Wingdings" panose="05000000000000000000" pitchFamily="2" charset="2"/>
              <a:buChar char="§"/>
            </a:pPr>
            <a:r>
              <a:rPr lang="en-US" spc="4" dirty="0">
                <a:cs typeface="Arial"/>
              </a:rPr>
              <a:t>The shipping unit must be assigned to a plant.</a:t>
            </a:r>
          </a:p>
          <a:p>
            <a:pPr marL="755650" marR="82062" lvl="1" indent="-285750">
              <a:lnSpc>
                <a:spcPct val="100041"/>
              </a:lnSpc>
              <a:spcBef>
                <a:spcPts val="910"/>
              </a:spcBef>
              <a:buClr>
                <a:srgbClr val="C00000"/>
              </a:buClr>
              <a:buFont typeface="Wingdings" panose="05000000000000000000" pitchFamily="2" charset="2"/>
              <a:buChar char="§"/>
            </a:pPr>
            <a:r>
              <a:rPr lang="en-US" spc="4" dirty="0">
                <a:cs typeface="Arial"/>
              </a:rPr>
              <a:t>The packing material must have inventory.</a:t>
            </a:r>
          </a:p>
          <a:p>
            <a:pPr marL="755650" marR="82062" lvl="1" indent="-285750">
              <a:lnSpc>
                <a:spcPct val="100041"/>
              </a:lnSpc>
              <a:spcBef>
                <a:spcPts val="910"/>
              </a:spcBef>
              <a:buClr>
                <a:srgbClr val="C00000"/>
              </a:buClr>
              <a:buFont typeface="Wingdings" panose="05000000000000000000" pitchFamily="2" charset="2"/>
              <a:buChar char="§"/>
            </a:pPr>
            <a:r>
              <a:rPr lang="en-US" spc="4" dirty="0">
                <a:cs typeface="Arial"/>
              </a:rPr>
              <a:t>The system must automatically propose an item category.</a:t>
            </a:r>
          </a:p>
          <a:p>
            <a:pPr marL="755650" marR="82062" lvl="1" indent="-285750">
              <a:lnSpc>
                <a:spcPct val="100041"/>
              </a:lnSpc>
              <a:spcBef>
                <a:spcPts val="910"/>
              </a:spcBef>
              <a:buClr>
                <a:srgbClr val="C00000"/>
              </a:buClr>
              <a:buFont typeface="Wingdings" panose="05000000000000000000" pitchFamily="2" charset="2"/>
              <a:buChar char="§"/>
            </a:pPr>
            <a:r>
              <a:rPr lang="en-US" spc="4" dirty="0">
                <a:cs typeface="Arial"/>
              </a:rPr>
              <a:t>(Note: PACK must be entered in the item usage in item category determination for deliveries.)</a:t>
            </a:r>
            <a:endParaRPr lang="en-US" spc="-79" dirty="0">
              <a:cs typeface="Arial"/>
            </a:endParaRPr>
          </a:p>
          <a:p>
            <a:pPr marL="12700">
              <a:lnSpc>
                <a:spcPts val="1730"/>
              </a:lnSpc>
              <a:spcBef>
                <a:spcPts val="86"/>
              </a:spcBef>
              <a:buClr>
                <a:srgbClr val="00B0F0"/>
              </a:buClr>
            </a:pPr>
            <a:endParaRPr lang="en-US" spc="-79" dirty="0">
              <a:cs typeface="Arial"/>
            </a:endParaRPr>
          </a:p>
          <a:p>
            <a:pPr marL="355600" indent="-342900">
              <a:lnSpc>
                <a:spcPts val="1730"/>
              </a:lnSpc>
              <a:spcBef>
                <a:spcPts val="86"/>
              </a:spcBef>
              <a:buClr>
                <a:srgbClr val="00B0F0"/>
              </a:buClr>
              <a:buFont typeface="Wingdings" panose="05000000000000000000" pitchFamily="2" charset="2"/>
              <a:buChar char="§"/>
            </a:pPr>
            <a:r>
              <a:rPr spc="-79" dirty="0">
                <a:cs typeface="Arial"/>
              </a:rPr>
              <a:t>Two different ways you could add item to a delivery include:</a:t>
            </a:r>
            <a:endParaRPr lang="en-US" spc="-79" dirty="0">
              <a:cs typeface="Arial"/>
            </a:endParaRPr>
          </a:p>
          <a:p>
            <a:pPr marL="755650" marR="82062" lvl="1" indent="-285750">
              <a:lnSpc>
                <a:spcPct val="100041"/>
              </a:lnSpc>
              <a:spcBef>
                <a:spcPts val="910"/>
              </a:spcBef>
              <a:buClr>
                <a:srgbClr val="C00000"/>
              </a:buClr>
              <a:buFont typeface="Wingdings" panose="05000000000000000000" pitchFamily="2" charset="2"/>
              <a:buChar char="§"/>
            </a:pPr>
            <a:r>
              <a:rPr lang="en-US" spc="4" dirty="0">
                <a:cs typeface="Arial"/>
              </a:rPr>
              <a:t>Adding items from another order onto the delivery</a:t>
            </a:r>
          </a:p>
          <a:p>
            <a:pPr marL="755650" marR="82062" lvl="1" indent="-285750">
              <a:lnSpc>
                <a:spcPct val="100041"/>
              </a:lnSpc>
              <a:spcBef>
                <a:spcPts val="910"/>
              </a:spcBef>
              <a:buClr>
                <a:srgbClr val="C00000"/>
              </a:buClr>
              <a:buFont typeface="Wingdings" panose="05000000000000000000" pitchFamily="2" charset="2"/>
              <a:buChar char="§"/>
            </a:pPr>
            <a:r>
              <a:rPr lang="en-US" spc="4" dirty="0">
                <a:cs typeface="Arial"/>
              </a:rPr>
              <a:t>Can manually enter material items onto a delivery</a:t>
            </a:r>
          </a:p>
          <a:p>
            <a:pPr marL="755650" marR="82062" lvl="1" indent="-285750">
              <a:lnSpc>
                <a:spcPct val="100041"/>
              </a:lnSpc>
              <a:spcBef>
                <a:spcPts val="910"/>
              </a:spcBef>
              <a:buClr>
                <a:srgbClr val="C00000"/>
              </a:buClr>
              <a:buFont typeface="Wingdings" panose="05000000000000000000" pitchFamily="2" charset="2"/>
              <a:buChar char="§"/>
            </a:pPr>
            <a:endParaRPr lang="en-US" spc="4" dirty="0">
              <a:latin typeface="Arial"/>
              <a:cs typeface="Arial"/>
            </a:endParaRPr>
          </a:p>
          <a:p>
            <a:pPr marL="469900" marR="82062" lvl="1">
              <a:lnSpc>
                <a:spcPct val="100041"/>
              </a:lnSpc>
              <a:spcBef>
                <a:spcPts val="910"/>
              </a:spcBef>
              <a:buClr>
                <a:srgbClr val="C00000"/>
              </a:buClr>
            </a:pPr>
            <a:endParaRPr lang="en-US" spc="-79" dirty="0">
              <a:latin typeface="Arial"/>
              <a:cs typeface="Arial"/>
            </a:endParaRPr>
          </a:p>
          <a:p>
            <a:pPr marL="755650" marR="82062" lvl="1" indent="-285750">
              <a:lnSpc>
                <a:spcPct val="100041"/>
              </a:lnSpc>
              <a:spcBef>
                <a:spcPts val="910"/>
              </a:spcBef>
              <a:buClr>
                <a:srgbClr val="C00000"/>
              </a:buClr>
              <a:buFont typeface="Wingdings" panose="05000000000000000000" pitchFamily="2" charset="2"/>
              <a:buChar char="§"/>
            </a:pPr>
            <a:endParaRPr lang="en-US" spc="4" dirty="0">
              <a:latin typeface="Arial"/>
              <a:cs typeface="Arial"/>
            </a:endParaRPr>
          </a:p>
          <a:p>
            <a:pPr marL="355600" indent="-342900">
              <a:lnSpc>
                <a:spcPts val="1730"/>
              </a:lnSpc>
              <a:spcBef>
                <a:spcPts val="86"/>
              </a:spcBef>
              <a:buClr>
                <a:srgbClr val="00B0F0"/>
              </a:buClr>
              <a:buFont typeface="Wingdings" panose="05000000000000000000" pitchFamily="2" charset="2"/>
              <a:buChar char="§"/>
            </a:pPr>
            <a:endParaRPr sz="2200" spc="-79" dirty="0">
              <a:latin typeface="Arial"/>
              <a:cs typeface="Arial"/>
            </a:endParaRPr>
          </a:p>
        </p:txBody>
      </p:sp>
      <p:sp>
        <p:nvSpPr>
          <p:cNvPr id="6" name="object 6"/>
          <p:cNvSpPr txBox="1"/>
          <p:nvPr/>
        </p:nvSpPr>
        <p:spPr>
          <a:xfrm>
            <a:off x="1907540" y="2840320"/>
            <a:ext cx="8684260" cy="2036480"/>
          </a:xfrm>
          <a:prstGeom prst="rect">
            <a:avLst/>
          </a:prstGeom>
        </p:spPr>
        <p:txBody>
          <a:bodyPr wrap="square" lIns="0" tIns="0" rIns="0" bIns="0" rtlCol="0">
            <a:noAutofit/>
          </a:bodyPr>
          <a:lstStyle/>
          <a:p>
            <a:pPr marL="355600" marR="7552" indent="-342900">
              <a:lnSpc>
                <a:spcPts val="1730"/>
              </a:lnSpc>
              <a:spcBef>
                <a:spcPts val="86"/>
              </a:spcBef>
              <a:buClr>
                <a:srgbClr val="00B0F0"/>
              </a:buClr>
              <a:buFont typeface="Wingdings" panose="05000000000000000000" pitchFamily="2" charset="2"/>
              <a:buChar char="§"/>
            </a:pPr>
            <a:endParaRPr sz="2200" spc="-79" dirty="0">
              <a:latin typeface="Arial"/>
              <a:cs typeface="Arial"/>
            </a:endParaRPr>
          </a:p>
        </p:txBody>
      </p:sp>
      <p:sp>
        <p:nvSpPr>
          <p:cNvPr id="5" name="object 5"/>
          <p:cNvSpPr txBox="1"/>
          <p:nvPr/>
        </p:nvSpPr>
        <p:spPr>
          <a:xfrm>
            <a:off x="1907540" y="4406107"/>
            <a:ext cx="8150860" cy="365760"/>
          </a:xfrm>
          <a:prstGeom prst="rect">
            <a:avLst/>
          </a:prstGeom>
        </p:spPr>
        <p:txBody>
          <a:bodyPr wrap="square" lIns="0" tIns="0" rIns="0" bIns="0" rtlCol="0">
            <a:noAutofit/>
          </a:bodyPr>
          <a:lstStyle/>
          <a:p>
            <a:pPr marL="355600" indent="-342900">
              <a:lnSpc>
                <a:spcPts val="1730"/>
              </a:lnSpc>
              <a:spcBef>
                <a:spcPts val="86"/>
              </a:spcBef>
              <a:buClr>
                <a:srgbClr val="00B0F0"/>
              </a:buClr>
              <a:buFont typeface="Wingdings" panose="05000000000000000000" pitchFamily="2" charset="2"/>
              <a:buChar char="§"/>
            </a:pPr>
            <a:endParaRPr sz="2200" spc="-79" dirty="0">
              <a:latin typeface="Arial"/>
              <a:cs typeface="Arial"/>
            </a:endParaRPr>
          </a:p>
        </p:txBody>
      </p:sp>
      <p:sp>
        <p:nvSpPr>
          <p:cNvPr id="2" name="Title 1"/>
          <p:cNvSpPr>
            <a:spLocks noGrp="1"/>
          </p:cNvSpPr>
          <p:nvPr>
            <p:ph type="title"/>
          </p:nvPr>
        </p:nvSpPr>
        <p:spPr>
          <a:xfrm>
            <a:off x="1907541" y="359664"/>
            <a:ext cx="8509933" cy="707136"/>
          </a:xfrm>
        </p:spPr>
        <p:txBody>
          <a:bodyPr>
            <a:normAutofit fontScale="90000"/>
          </a:bodyPr>
          <a:lstStyle/>
          <a:p>
            <a:r>
              <a:rPr lang="en-US" sz="2400" kern="0" dirty="0">
                <a:solidFill>
                  <a:schemeClr val="accent2"/>
                </a:solidFill>
                <a:latin typeface="Arial"/>
                <a:cs typeface="Arial"/>
              </a:rPr>
              <a:t>Additional Info</a:t>
            </a:r>
            <a:br>
              <a:rPr lang="en-US" kern="0" dirty="0">
                <a:solidFill>
                  <a:sysClr val="windowText" lastClr="000000"/>
                </a:solidFill>
                <a:latin typeface="Arial"/>
                <a:cs typeface="Arial"/>
              </a:rPr>
            </a:br>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2057400" y="1295400"/>
            <a:ext cx="7800700" cy="3581400"/>
          </a:xfrm>
          <a:prstGeom prst="rect">
            <a:avLst/>
          </a:prstGeom>
        </p:spPr>
        <p:txBody>
          <a:bodyPr wrap="square" lIns="0" tIns="0" rIns="0" bIns="0" rtlCol="0">
            <a:noAutofit/>
          </a:bodyPr>
          <a:lstStyle/>
          <a:p>
            <a:pPr marL="298450" marR="22349" indent="-285750">
              <a:spcBef>
                <a:spcPts val="86"/>
              </a:spcBef>
              <a:buClr>
                <a:srgbClr val="00B0F0"/>
              </a:buClr>
              <a:buFont typeface="Wingdings" panose="05000000000000000000" pitchFamily="2" charset="2"/>
              <a:buChar char="§"/>
            </a:pPr>
            <a:r>
              <a:rPr spc="-4" dirty="0">
                <a:cs typeface="Arial"/>
              </a:rPr>
              <a:t>G</a:t>
            </a:r>
            <a:r>
              <a:rPr dirty="0">
                <a:cs typeface="Arial"/>
              </a:rPr>
              <a:t>eneral</a:t>
            </a:r>
            <a:r>
              <a:rPr spc="14" dirty="0">
                <a:cs typeface="Arial"/>
              </a:rPr>
              <a:t>l</a:t>
            </a:r>
            <a:r>
              <a:rPr dirty="0">
                <a:cs typeface="Arial"/>
              </a:rPr>
              <a:t>y</a:t>
            </a:r>
            <a:r>
              <a:rPr spc="-47" dirty="0">
                <a:cs typeface="Arial"/>
              </a:rPr>
              <a:t> </a:t>
            </a:r>
            <a:r>
              <a:rPr dirty="0">
                <a:cs typeface="Arial"/>
              </a:rPr>
              <a:t>f</a:t>
            </a:r>
            <a:r>
              <a:rPr spc="-4" dirty="0">
                <a:cs typeface="Arial"/>
              </a:rPr>
              <a:t>o</a:t>
            </a:r>
            <a:r>
              <a:rPr dirty="0">
                <a:cs typeface="Arial"/>
              </a:rPr>
              <a:t>r</a:t>
            </a:r>
            <a:r>
              <a:rPr spc="-6" dirty="0">
                <a:cs typeface="Arial"/>
              </a:rPr>
              <a:t> </a:t>
            </a:r>
            <a:r>
              <a:rPr dirty="0">
                <a:cs typeface="Arial"/>
              </a:rPr>
              <a:t>picking</a:t>
            </a:r>
            <a:r>
              <a:rPr lang="en-US" dirty="0">
                <a:cs typeface="Arial"/>
              </a:rPr>
              <a:t>,</a:t>
            </a:r>
            <a:r>
              <a:rPr spc="-25" dirty="0">
                <a:cs typeface="Arial"/>
              </a:rPr>
              <a:t> </a:t>
            </a:r>
            <a:r>
              <a:rPr dirty="0">
                <a:cs typeface="Arial"/>
              </a:rPr>
              <a:t>Lean</a:t>
            </a:r>
            <a:r>
              <a:rPr spc="-32" dirty="0">
                <a:cs typeface="Arial"/>
              </a:rPr>
              <a:t> </a:t>
            </a:r>
            <a:r>
              <a:rPr spc="-54" dirty="0">
                <a:cs typeface="Arial"/>
              </a:rPr>
              <a:t>W</a:t>
            </a:r>
            <a:r>
              <a:rPr dirty="0">
                <a:cs typeface="Arial"/>
              </a:rPr>
              <a:t>areho</a:t>
            </a:r>
            <a:r>
              <a:rPr spc="-4" dirty="0">
                <a:cs typeface="Arial"/>
              </a:rPr>
              <a:t>u</a:t>
            </a:r>
            <a:r>
              <a:rPr dirty="0">
                <a:cs typeface="Arial"/>
              </a:rPr>
              <a:t>se</a:t>
            </a:r>
            <a:r>
              <a:rPr spc="-76" dirty="0">
                <a:cs typeface="Arial"/>
              </a:rPr>
              <a:t> </a:t>
            </a:r>
            <a:r>
              <a:rPr dirty="0">
                <a:cs typeface="Arial"/>
              </a:rPr>
              <a:t>in</a:t>
            </a:r>
            <a:r>
              <a:rPr spc="-39" dirty="0">
                <a:cs typeface="Arial"/>
              </a:rPr>
              <a:t>v</a:t>
            </a:r>
            <a:r>
              <a:rPr dirty="0">
                <a:cs typeface="Arial"/>
              </a:rPr>
              <a:t>e</a:t>
            </a:r>
            <a:r>
              <a:rPr spc="9" dirty="0">
                <a:cs typeface="Arial"/>
              </a:rPr>
              <a:t>n</a:t>
            </a:r>
            <a:r>
              <a:rPr dirty="0">
                <a:cs typeface="Arial"/>
              </a:rPr>
              <a:t>t</a:t>
            </a:r>
            <a:r>
              <a:rPr spc="-4" dirty="0">
                <a:cs typeface="Arial"/>
              </a:rPr>
              <a:t>o</a:t>
            </a:r>
            <a:r>
              <a:rPr spc="14" dirty="0">
                <a:cs typeface="Arial"/>
              </a:rPr>
              <a:t>r</a:t>
            </a:r>
            <a:r>
              <a:rPr dirty="0">
                <a:cs typeface="Arial"/>
              </a:rPr>
              <a:t>y</a:t>
            </a:r>
            <a:r>
              <a:rPr spc="-36" dirty="0">
                <a:cs typeface="Arial"/>
              </a:rPr>
              <a:t> </a:t>
            </a:r>
            <a:r>
              <a:rPr dirty="0">
                <a:cs typeface="Arial"/>
              </a:rPr>
              <a:t>ma</a:t>
            </a:r>
            <a:r>
              <a:rPr spc="-4" dirty="0">
                <a:cs typeface="Arial"/>
              </a:rPr>
              <a:t>n</a:t>
            </a:r>
            <a:r>
              <a:rPr dirty="0">
                <a:cs typeface="Arial"/>
              </a:rPr>
              <a:t>ageme</a:t>
            </a:r>
            <a:r>
              <a:rPr spc="-9" dirty="0">
                <a:cs typeface="Arial"/>
              </a:rPr>
              <a:t>n</a:t>
            </a:r>
            <a:r>
              <a:rPr dirty="0">
                <a:cs typeface="Arial"/>
              </a:rPr>
              <a:t>t</a:t>
            </a:r>
            <a:r>
              <a:rPr spc="-53" dirty="0">
                <a:cs typeface="Arial"/>
              </a:rPr>
              <a:t> </a:t>
            </a:r>
            <a:r>
              <a:rPr dirty="0">
                <a:cs typeface="Arial"/>
              </a:rPr>
              <a:t>f</a:t>
            </a:r>
            <a:r>
              <a:rPr spc="-4" dirty="0">
                <a:cs typeface="Arial"/>
              </a:rPr>
              <a:t>u</a:t>
            </a:r>
            <a:r>
              <a:rPr dirty="0">
                <a:cs typeface="Arial"/>
              </a:rPr>
              <a:t>nc</a:t>
            </a:r>
            <a:r>
              <a:rPr spc="-4" dirty="0">
                <a:cs typeface="Arial"/>
              </a:rPr>
              <a:t>t</a:t>
            </a:r>
            <a:r>
              <a:rPr dirty="0">
                <a:cs typeface="Arial"/>
              </a:rPr>
              <a:t>io</a:t>
            </a:r>
            <a:r>
              <a:rPr spc="-4" dirty="0">
                <a:cs typeface="Arial"/>
              </a:rPr>
              <a:t>n</a:t>
            </a:r>
            <a:r>
              <a:rPr dirty="0">
                <a:cs typeface="Arial"/>
              </a:rPr>
              <a:t>ali</a:t>
            </a:r>
            <a:r>
              <a:rPr spc="9" dirty="0">
                <a:cs typeface="Arial"/>
              </a:rPr>
              <a:t>t</a:t>
            </a:r>
            <a:r>
              <a:rPr dirty="0">
                <a:cs typeface="Arial"/>
              </a:rPr>
              <a:t>y</a:t>
            </a:r>
            <a:r>
              <a:rPr spc="-44" dirty="0">
                <a:cs typeface="Arial"/>
              </a:rPr>
              <a:t> </a:t>
            </a:r>
            <a:r>
              <a:rPr dirty="0">
                <a:cs typeface="Arial"/>
              </a:rPr>
              <a:t>is</a:t>
            </a:r>
            <a:r>
              <a:rPr lang="en-US" dirty="0">
                <a:cs typeface="Arial"/>
              </a:rPr>
              <a:t> </a:t>
            </a:r>
            <a:r>
              <a:rPr dirty="0">
                <a:cs typeface="Arial"/>
              </a:rPr>
              <a:t>used</a:t>
            </a:r>
            <a:r>
              <a:rPr spc="-37" dirty="0">
                <a:cs typeface="Arial"/>
              </a:rPr>
              <a:t> </a:t>
            </a:r>
            <a:r>
              <a:rPr spc="39" dirty="0">
                <a:cs typeface="Arial"/>
              </a:rPr>
              <a:t>w</a:t>
            </a:r>
            <a:r>
              <a:rPr dirty="0">
                <a:cs typeface="Arial"/>
              </a:rPr>
              <a:t>here</a:t>
            </a:r>
            <a:r>
              <a:rPr spc="-66" dirty="0">
                <a:cs typeface="Arial"/>
              </a:rPr>
              <a:t> </a:t>
            </a:r>
            <a:r>
              <a:rPr dirty="0">
                <a:cs typeface="Arial"/>
              </a:rPr>
              <a:t>in</a:t>
            </a:r>
            <a:r>
              <a:rPr spc="-4" dirty="0">
                <a:cs typeface="Arial"/>
              </a:rPr>
              <a:t> </a:t>
            </a:r>
            <a:r>
              <a:rPr dirty="0">
                <a:cs typeface="Arial"/>
              </a:rPr>
              <a:t>t</a:t>
            </a:r>
            <a:r>
              <a:rPr spc="-4" dirty="0">
                <a:cs typeface="Arial"/>
              </a:rPr>
              <a:t>h</a:t>
            </a:r>
            <a:r>
              <a:rPr dirty="0">
                <a:cs typeface="Arial"/>
              </a:rPr>
              <a:t>e ma</a:t>
            </a:r>
            <a:r>
              <a:rPr spc="-4" dirty="0">
                <a:cs typeface="Arial"/>
              </a:rPr>
              <a:t>t</a:t>
            </a:r>
            <a:r>
              <a:rPr dirty="0">
                <a:cs typeface="Arial"/>
              </a:rPr>
              <a:t>erial</a:t>
            </a:r>
            <a:r>
              <a:rPr spc="-21" dirty="0">
                <a:cs typeface="Arial"/>
              </a:rPr>
              <a:t> </a:t>
            </a:r>
            <a:r>
              <a:rPr dirty="0">
                <a:cs typeface="Arial"/>
              </a:rPr>
              <a:t>is</a:t>
            </a:r>
            <a:r>
              <a:rPr spc="-3" dirty="0">
                <a:cs typeface="Arial"/>
              </a:rPr>
              <a:t> </a:t>
            </a:r>
            <a:r>
              <a:rPr dirty="0">
                <a:cs typeface="Arial"/>
              </a:rPr>
              <a:t>st</a:t>
            </a:r>
            <a:r>
              <a:rPr spc="-4" dirty="0">
                <a:cs typeface="Arial"/>
              </a:rPr>
              <a:t>o</a:t>
            </a:r>
            <a:r>
              <a:rPr dirty="0">
                <a:cs typeface="Arial"/>
              </a:rPr>
              <a:t>red</a:t>
            </a:r>
            <a:r>
              <a:rPr spc="-38" dirty="0">
                <a:cs typeface="Arial"/>
              </a:rPr>
              <a:t> </a:t>
            </a:r>
            <a:r>
              <a:rPr dirty="0">
                <a:cs typeface="Arial"/>
              </a:rPr>
              <a:t>in</a:t>
            </a:r>
            <a:r>
              <a:rPr spc="5" dirty="0">
                <a:cs typeface="Arial"/>
              </a:rPr>
              <a:t> </a:t>
            </a:r>
            <a:r>
              <a:rPr dirty="0">
                <a:cs typeface="Arial"/>
              </a:rPr>
              <a:t>o</a:t>
            </a:r>
            <a:r>
              <a:rPr spc="-4" dirty="0">
                <a:cs typeface="Arial"/>
              </a:rPr>
              <a:t>n</a:t>
            </a:r>
            <a:r>
              <a:rPr dirty="0">
                <a:cs typeface="Arial"/>
              </a:rPr>
              <a:t>e</a:t>
            </a:r>
            <a:r>
              <a:rPr spc="-18" dirty="0">
                <a:cs typeface="Arial"/>
              </a:rPr>
              <a:t> </a:t>
            </a:r>
            <a:r>
              <a:rPr dirty="0">
                <a:cs typeface="Arial"/>
              </a:rPr>
              <a:t>st</a:t>
            </a:r>
            <a:r>
              <a:rPr spc="-4" dirty="0">
                <a:cs typeface="Arial"/>
              </a:rPr>
              <a:t>o</a:t>
            </a:r>
            <a:r>
              <a:rPr dirty="0">
                <a:cs typeface="Arial"/>
              </a:rPr>
              <a:t>rage</a:t>
            </a:r>
            <a:r>
              <a:rPr spc="-47" dirty="0">
                <a:cs typeface="Arial"/>
              </a:rPr>
              <a:t> </a:t>
            </a:r>
            <a:r>
              <a:rPr dirty="0">
                <a:cs typeface="Arial"/>
              </a:rPr>
              <a:t>bin</a:t>
            </a:r>
            <a:r>
              <a:rPr spc="-8" dirty="0">
                <a:cs typeface="Arial"/>
              </a:rPr>
              <a:t> </a:t>
            </a:r>
            <a:r>
              <a:rPr dirty="0">
                <a:cs typeface="Arial"/>
              </a:rPr>
              <a:t>(</a:t>
            </a:r>
            <a:r>
              <a:rPr spc="-4" dirty="0">
                <a:cs typeface="Arial"/>
              </a:rPr>
              <a:t>F</a:t>
            </a:r>
            <a:r>
              <a:rPr dirty="0">
                <a:cs typeface="Arial"/>
              </a:rPr>
              <a:t>ixed</a:t>
            </a:r>
            <a:r>
              <a:rPr spc="-27" dirty="0">
                <a:cs typeface="Arial"/>
              </a:rPr>
              <a:t> </a:t>
            </a:r>
            <a:r>
              <a:rPr dirty="0">
                <a:cs typeface="Arial"/>
              </a:rPr>
              <a:t>bin</a:t>
            </a:r>
            <a:r>
              <a:rPr spc="-8" dirty="0">
                <a:cs typeface="Arial"/>
              </a:rPr>
              <a:t> </a:t>
            </a:r>
            <a:r>
              <a:rPr dirty="0">
                <a:cs typeface="Arial"/>
              </a:rPr>
              <a:t>st</a:t>
            </a:r>
            <a:r>
              <a:rPr spc="-4" dirty="0">
                <a:cs typeface="Arial"/>
              </a:rPr>
              <a:t>o</a:t>
            </a:r>
            <a:r>
              <a:rPr dirty="0">
                <a:cs typeface="Arial"/>
              </a:rPr>
              <a:t>rage).</a:t>
            </a:r>
            <a:r>
              <a:rPr spc="-32" dirty="0">
                <a:cs typeface="Arial"/>
              </a:rPr>
              <a:t> </a:t>
            </a:r>
            <a:r>
              <a:rPr dirty="0">
                <a:cs typeface="Arial"/>
              </a:rPr>
              <a:t>T</a:t>
            </a:r>
            <a:r>
              <a:rPr spc="-4" dirty="0">
                <a:cs typeface="Arial"/>
              </a:rPr>
              <a:t>h</a:t>
            </a:r>
            <a:r>
              <a:rPr dirty="0">
                <a:cs typeface="Arial"/>
              </a:rPr>
              <a:t>e s</a:t>
            </a:r>
            <a:r>
              <a:rPr spc="-4" dirty="0">
                <a:cs typeface="Arial"/>
              </a:rPr>
              <a:t>t</a:t>
            </a:r>
            <a:r>
              <a:rPr dirty="0">
                <a:cs typeface="Arial"/>
              </a:rPr>
              <a:t>ora</a:t>
            </a:r>
            <a:r>
              <a:rPr spc="-9" dirty="0">
                <a:cs typeface="Arial"/>
              </a:rPr>
              <a:t>g</a:t>
            </a:r>
            <a:r>
              <a:rPr dirty="0">
                <a:cs typeface="Arial"/>
              </a:rPr>
              <a:t>e</a:t>
            </a:r>
            <a:r>
              <a:rPr spc="-47" dirty="0">
                <a:cs typeface="Arial"/>
              </a:rPr>
              <a:t> </a:t>
            </a:r>
            <a:r>
              <a:rPr dirty="0">
                <a:cs typeface="Arial"/>
              </a:rPr>
              <a:t>b</a:t>
            </a:r>
            <a:r>
              <a:rPr spc="-4" dirty="0">
                <a:cs typeface="Arial"/>
              </a:rPr>
              <a:t>i</a:t>
            </a:r>
            <a:r>
              <a:rPr dirty="0">
                <a:cs typeface="Arial"/>
              </a:rPr>
              <a:t>n</a:t>
            </a:r>
            <a:r>
              <a:rPr spc="4" dirty="0">
                <a:cs typeface="Arial"/>
              </a:rPr>
              <a:t> </a:t>
            </a:r>
            <a:r>
              <a:rPr dirty="0">
                <a:cs typeface="Arial"/>
              </a:rPr>
              <a:t>n</a:t>
            </a:r>
            <a:r>
              <a:rPr spc="-9" dirty="0">
                <a:cs typeface="Arial"/>
              </a:rPr>
              <a:t>u</a:t>
            </a:r>
            <a:r>
              <a:rPr spc="-4" dirty="0">
                <a:cs typeface="Arial"/>
              </a:rPr>
              <a:t>m</a:t>
            </a:r>
            <a:r>
              <a:rPr dirty="0">
                <a:cs typeface="Arial"/>
              </a:rPr>
              <a:t>b</a:t>
            </a:r>
            <a:r>
              <a:rPr spc="-4" dirty="0">
                <a:cs typeface="Arial"/>
              </a:rPr>
              <a:t>e</a:t>
            </a:r>
            <a:r>
              <a:rPr dirty="0">
                <a:cs typeface="Arial"/>
              </a:rPr>
              <a:t>r</a:t>
            </a:r>
            <a:r>
              <a:rPr spc="-14" dirty="0">
                <a:cs typeface="Arial"/>
              </a:rPr>
              <a:t> </a:t>
            </a:r>
            <a:r>
              <a:rPr dirty="0">
                <a:cs typeface="Arial"/>
              </a:rPr>
              <a:t>h</a:t>
            </a:r>
            <a:r>
              <a:rPr spc="-4" dirty="0">
                <a:cs typeface="Arial"/>
              </a:rPr>
              <a:t>a</a:t>
            </a:r>
            <a:r>
              <a:rPr dirty="0">
                <a:cs typeface="Arial"/>
              </a:rPr>
              <a:t>s</a:t>
            </a:r>
            <a:r>
              <a:rPr spc="-17" dirty="0">
                <a:cs typeface="Arial"/>
              </a:rPr>
              <a:t> </a:t>
            </a:r>
            <a:r>
              <a:rPr dirty="0">
                <a:cs typeface="Arial"/>
              </a:rPr>
              <a:t>no f</a:t>
            </a:r>
            <a:r>
              <a:rPr spc="-9" dirty="0">
                <a:cs typeface="Arial"/>
              </a:rPr>
              <a:t>u</a:t>
            </a:r>
            <a:r>
              <a:rPr dirty="0">
                <a:cs typeface="Arial"/>
              </a:rPr>
              <a:t>n</a:t>
            </a:r>
            <a:r>
              <a:rPr spc="-4" dirty="0">
                <a:cs typeface="Arial"/>
              </a:rPr>
              <a:t>c</a:t>
            </a:r>
            <a:r>
              <a:rPr dirty="0">
                <a:cs typeface="Arial"/>
              </a:rPr>
              <a:t>ti</a:t>
            </a:r>
            <a:r>
              <a:rPr spc="-9" dirty="0">
                <a:cs typeface="Arial"/>
              </a:rPr>
              <a:t>o</a:t>
            </a:r>
            <a:r>
              <a:rPr dirty="0">
                <a:cs typeface="Arial"/>
              </a:rPr>
              <a:t>n</a:t>
            </a:r>
            <a:r>
              <a:rPr spc="-4" dirty="0">
                <a:cs typeface="Arial"/>
              </a:rPr>
              <a:t>a</a:t>
            </a:r>
            <a:r>
              <a:rPr dirty="0">
                <a:cs typeface="Arial"/>
              </a:rPr>
              <a:t>l</a:t>
            </a:r>
            <a:r>
              <a:rPr spc="9" dirty="0">
                <a:cs typeface="Arial"/>
              </a:rPr>
              <a:t>i</a:t>
            </a:r>
            <a:r>
              <a:rPr spc="4" dirty="0">
                <a:cs typeface="Arial"/>
              </a:rPr>
              <a:t>t</a:t>
            </a:r>
            <a:r>
              <a:rPr dirty="0">
                <a:cs typeface="Arial"/>
              </a:rPr>
              <a:t>y</a:t>
            </a:r>
            <a:r>
              <a:rPr spc="-16" dirty="0">
                <a:cs typeface="Arial"/>
              </a:rPr>
              <a:t> </a:t>
            </a:r>
            <a:r>
              <a:rPr dirty="0">
                <a:cs typeface="Arial"/>
              </a:rPr>
              <a:t>b</a:t>
            </a:r>
            <a:r>
              <a:rPr spc="-4" dirty="0">
                <a:cs typeface="Arial"/>
              </a:rPr>
              <a:t>e</a:t>
            </a:r>
            <a:r>
              <a:rPr dirty="0">
                <a:cs typeface="Arial"/>
              </a:rPr>
              <a:t>h</a:t>
            </a:r>
            <a:r>
              <a:rPr spc="-4" dirty="0">
                <a:cs typeface="Arial"/>
              </a:rPr>
              <a:t>i</a:t>
            </a:r>
            <a:r>
              <a:rPr dirty="0">
                <a:cs typeface="Arial"/>
              </a:rPr>
              <a:t>nd</a:t>
            </a:r>
            <a:r>
              <a:rPr spc="-3" dirty="0">
                <a:cs typeface="Arial"/>
              </a:rPr>
              <a:t> </a:t>
            </a:r>
            <a:r>
              <a:rPr dirty="0">
                <a:cs typeface="Arial"/>
              </a:rPr>
              <a:t>it,</a:t>
            </a:r>
            <a:r>
              <a:rPr spc="19" dirty="0">
                <a:cs typeface="Arial"/>
              </a:rPr>
              <a:t> </a:t>
            </a:r>
            <a:r>
              <a:rPr dirty="0">
                <a:cs typeface="Arial"/>
              </a:rPr>
              <a:t>it</a:t>
            </a:r>
            <a:r>
              <a:rPr spc="19" dirty="0">
                <a:cs typeface="Arial"/>
              </a:rPr>
              <a:t> </a:t>
            </a:r>
            <a:r>
              <a:rPr dirty="0">
                <a:cs typeface="Arial"/>
              </a:rPr>
              <a:t>is</a:t>
            </a:r>
            <a:r>
              <a:rPr spc="9" dirty="0">
                <a:cs typeface="Arial"/>
              </a:rPr>
              <a:t> </a:t>
            </a:r>
            <a:r>
              <a:rPr dirty="0">
                <a:cs typeface="Arial"/>
              </a:rPr>
              <a:t>ca</a:t>
            </a:r>
            <a:r>
              <a:rPr spc="-4" dirty="0">
                <a:cs typeface="Arial"/>
              </a:rPr>
              <a:t>p</a:t>
            </a:r>
            <a:r>
              <a:rPr dirty="0">
                <a:cs typeface="Arial"/>
              </a:rPr>
              <a:t>t</a:t>
            </a:r>
            <a:r>
              <a:rPr spc="-9" dirty="0">
                <a:cs typeface="Arial"/>
              </a:rPr>
              <a:t>u</a:t>
            </a:r>
            <a:r>
              <a:rPr dirty="0">
                <a:cs typeface="Arial"/>
              </a:rPr>
              <a:t>red</a:t>
            </a:r>
            <a:r>
              <a:rPr spc="-32" dirty="0">
                <a:cs typeface="Arial"/>
              </a:rPr>
              <a:t> </a:t>
            </a:r>
            <a:r>
              <a:rPr dirty="0">
                <a:cs typeface="Arial"/>
              </a:rPr>
              <a:t>on t</a:t>
            </a:r>
            <a:r>
              <a:rPr spc="-9" dirty="0">
                <a:cs typeface="Arial"/>
              </a:rPr>
              <a:t>h</a:t>
            </a:r>
            <a:r>
              <a:rPr dirty="0">
                <a:cs typeface="Arial"/>
              </a:rPr>
              <a:t>e</a:t>
            </a:r>
            <a:r>
              <a:rPr spc="10" dirty="0">
                <a:cs typeface="Arial"/>
              </a:rPr>
              <a:t> </a:t>
            </a:r>
            <a:r>
              <a:rPr dirty="0">
                <a:cs typeface="Arial"/>
              </a:rPr>
              <a:t>b</a:t>
            </a:r>
            <a:r>
              <a:rPr spc="-4" dirty="0">
                <a:cs typeface="Arial"/>
              </a:rPr>
              <a:t>a</a:t>
            </a:r>
            <a:r>
              <a:rPr dirty="0">
                <a:cs typeface="Arial"/>
              </a:rPr>
              <a:t>sis</a:t>
            </a:r>
            <a:r>
              <a:rPr spc="-30" dirty="0">
                <a:cs typeface="Arial"/>
              </a:rPr>
              <a:t> </a:t>
            </a:r>
            <a:r>
              <a:rPr dirty="0">
                <a:cs typeface="Arial"/>
              </a:rPr>
              <a:t>of Storage</a:t>
            </a:r>
            <a:r>
              <a:rPr spc="-59" dirty="0">
                <a:cs typeface="Arial"/>
              </a:rPr>
              <a:t> </a:t>
            </a:r>
            <a:r>
              <a:rPr spc="-34" dirty="0">
                <a:cs typeface="Arial"/>
              </a:rPr>
              <a:t>v</a:t>
            </a:r>
            <a:r>
              <a:rPr dirty="0">
                <a:cs typeface="Arial"/>
              </a:rPr>
              <a:t>iew</a:t>
            </a:r>
            <a:r>
              <a:rPr spc="20" dirty="0">
                <a:cs typeface="Arial"/>
              </a:rPr>
              <a:t> </a:t>
            </a:r>
            <a:r>
              <a:rPr dirty="0">
                <a:cs typeface="Arial"/>
              </a:rPr>
              <a:t>of t</a:t>
            </a:r>
            <a:r>
              <a:rPr spc="-4" dirty="0">
                <a:cs typeface="Arial"/>
              </a:rPr>
              <a:t>h</a:t>
            </a:r>
            <a:r>
              <a:rPr dirty="0">
                <a:cs typeface="Arial"/>
              </a:rPr>
              <a:t>e</a:t>
            </a:r>
            <a:r>
              <a:rPr spc="-13" dirty="0">
                <a:cs typeface="Arial"/>
              </a:rPr>
              <a:t> </a:t>
            </a:r>
            <a:r>
              <a:rPr dirty="0">
                <a:cs typeface="Arial"/>
              </a:rPr>
              <a:t>Material</a:t>
            </a:r>
            <a:r>
              <a:rPr spc="-20" dirty="0">
                <a:cs typeface="Arial"/>
              </a:rPr>
              <a:t> </a:t>
            </a:r>
            <a:r>
              <a:rPr dirty="0">
                <a:cs typeface="Arial"/>
              </a:rPr>
              <a:t>mas</a:t>
            </a:r>
            <a:r>
              <a:rPr spc="-4" dirty="0">
                <a:cs typeface="Arial"/>
              </a:rPr>
              <a:t>t</a:t>
            </a:r>
            <a:r>
              <a:rPr dirty="0">
                <a:cs typeface="Arial"/>
              </a:rPr>
              <a:t>er</a:t>
            </a:r>
            <a:r>
              <a:rPr spc="-22" dirty="0">
                <a:cs typeface="Arial"/>
              </a:rPr>
              <a:t> </a:t>
            </a:r>
            <a:r>
              <a:rPr dirty="0">
                <a:cs typeface="Arial"/>
              </a:rPr>
              <a:t>as</a:t>
            </a:r>
            <a:r>
              <a:rPr spc="-7" dirty="0">
                <a:cs typeface="Arial"/>
              </a:rPr>
              <a:t> </a:t>
            </a:r>
            <a:r>
              <a:rPr dirty="0">
                <a:cs typeface="Arial"/>
              </a:rPr>
              <a:t>a</a:t>
            </a:r>
            <a:r>
              <a:rPr spc="-8" dirty="0">
                <a:cs typeface="Arial"/>
              </a:rPr>
              <a:t> </a:t>
            </a:r>
            <a:r>
              <a:rPr dirty="0">
                <a:cs typeface="Arial"/>
              </a:rPr>
              <a:t>piece</a:t>
            </a:r>
            <a:r>
              <a:rPr spc="-30" dirty="0">
                <a:cs typeface="Arial"/>
              </a:rPr>
              <a:t> </a:t>
            </a:r>
            <a:r>
              <a:rPr dirty="0">
                <a:cs typeface="Arial"/>
              </a:rPr>
              <a:t>of text</a:t>
            </a:r>
          </a:p>
          <a:p>
            <a:pPr marL="298450" indent="-285750">
              <a:lnSpc>
                <a:spcPct val="100041"/>
              </a:lnSpc>
              <a:spcBef>
                <a:spcPts val="913"/>
              </a:spcBef>
              <a:buClr>
                <a:srgbClr val="00B0F0"/>
              </a:buClr>
              <a:buFont typeface="Wingdings" panose="05000000000000000000" pitchFamily="2" charset="2"/>
              <a:buChar char="§"/>
            </a:pPr>
            <a:r>
              <a:rPr dirty="0">
                <a:cs typeface="Arial"/>
              </a:rPr>
              <a:t>Normal</a:t>
            </a:r>
            <a:r>
              <a:rPr spc="-35" dirty="0">
                <a:cs typeface="Arial"/>
              </a:rPr>
              <a:t> </a:t>
            </a:r>
            <a:r>
              <a:rPr spc="-54" dirty="0">
                <a:cs typeface="Arial"/>
              </a:rPr>
              <a:t>W</a:t>
            </a:r>
            <a:r>
              <a:rPr dirty="0">
                <a:cs typeface="Arial"/>
              </a:rPr>
              <a:t>areho</a:t>
            </a:r>
            <a:r>
              <a:rPr spc="-4" dirty="0">
                <a:cs typeface="Arial"/>
              </a:rPr>
              <a:t>u</a:t>
            </a:r>
            <a:r>
              <a:rPr dirty="0">
                <a:cs typeface="Arial"/>
              </a:rPr>
              <a:t>se</a:t>
            </a:r>
            <a:r>
              <a:rPr spc="-76" dirty="0">
                <a:cs typeface="Arial"/>
              </a:rPr>
              <a:t> </a:t>
            </a:r>
            <a:r>
              <a:rPr dirty="0">
                <a:cs typeface="Arial"/>
              </a:rPr>
              <a:t>Manageme</a:t>
            </a:r>
            <a:r>
              <a:rPr spc="-9" dirty="0">
                <a:cs typeface="Arial"/>
              </a:rPr>
              <a:t>n</a:t>
            </a:r>
            <a:r>
              <a:rPr dirty="0">
                <a:cs typeface="Arial"/>
              </a:rPr>
              <a:t>t</a:t>
            </a:r>
            <a:r>
              <a:rPr spc="-67" dirty="0">
                <a:cs typeface="Arial"/>
              </a:rPr>
              <a:t> </a:t>
            </a:r>
            <a:r>
              <a:rPr dirty="0">
                <a:cs typeface="Arial"/>
              </a:rPr>
              <a:t>(M</a:t>
            </a:r>
            <a:r>
              <a:rPr spc="9" dirty="0">
                <a:cs typeface="Arial"/>
              </a:rPr>
              <a:t>M</a:t>
            </a:r>
            <a:r>
              <a:rPr spc="-4" dirty="0">
                <a:cs typeface="Arial"/>
              </a:rPr>
              <a:t>-</a:t>
            </a:r>
            <a:r>
              <a:rPr spc="4" dirty="0">
                <a:cs typeface="Arial"/>
              </a:rPr>
              <a:t>W</a:t>
            </a:r>
            <a:r>
              <a:rPr dirty="0">
                <a:cs typeface="Arial"/>
              </a:rPr>
              <a:t>M)</a:t>
            </a:r>
            <a:r>
              <a:rPr spc="-11" dirty="0">
                <a:cs typeface="Arial"/>
              </a:rPr>
              <a:t> </a:t>
            </a:r>
            <a:r>
              <a:rPr dirty="0">
                <a:cs typeface="Arial"/>
              </a:rPr>
              <a:t>uses</a:t>
            </a:r>
            <a:r>
              <a:rPr spc="-36" dirty="0">
                <a:cs typeface="Arial"/>
              </a:rPr>
              <a:t> </a:t>
            </a:r>
            <a:r>
              <a:rPr dirty="0">
                <a:cs typeface="Arial"/>
              </a:rPr>
              <a:t>rand</a:t>
            </a:r>
            <a:r>
              <a:rPr spc="-4" dirty="0">
                <a:cs typeface="Arial"/>
              </a:rPr>
              <a:t>o</a:t>
            </a:r>
            <a:r>
              <a:rPr dirty="0">
                <a:cs typeface="Arial"/>
              </a:rPr>
              <a:t>m</a:t>
            </a:r>
            <a:r>
              <a:rPr spc="-38" dirty="0">
                <a:cs typeface="Arial"/>
              </a:rPr>
              <a:t> </a:t>
            </a:r>
            <a:r>
              <a:rPr dirty="0">
                <a:cs typeface="Arial"/>
              </a:rPr>
              <a:t>bin</a:t>
            </a:r>
            <a:r>
              <a:rPr spc="-8" dirty="0">
                <a:cs typeface="Arial"/>
              </a:rPr>
              <a:t> </a:t>
            </a:r>
            <a:r>
              <a:rPr dirty="0">
                <a:cs typeface="Arial"/>
              </a:rPr>
              <a:t>st</a:t>
            </a:r>
            <a:r>
              <a:rPr spc="-4" dirty="0">
                <a:cs typeface="Arial"/>
              </a:rPr>
              <a:t>o</a:t>
            </a:r>
            <a:r>
              <a:rPr dirty="0">
                <a:cs typeface="Arial"/>
              </a:rPr>
              <a:t>rage</a:t>
            </a:r>
            <a:r>
              <a:rPr spc="-47" dirty="0">
                <a:cs typeface="Arial"/>
              </a:rPr>
              <a:t> </a:t>
            </a:r>
            <a:r>
              <a:rPr dirty="0">
                <a:cs typeface="Arial"/>
              </a:rPr>
              <a:t>loca</a:t>
            </a:r>
            <a:r>
              <a:rPr spc="-4" dirty="0">
                <a:cs typeface="Arial"/>
              </a:rPr>
              <a:t>t</a:t>
            </a:r>
            <a:r>
              <a:rPr dirty="0">
                <a:cs typeface="Arial"/>
              </a:rPr>
              <a:t>ion</a:t>
            </a:r>
            <a:r>
              <a:rPr spc="-31" dirty="0">
                <a:cs typeface="Arial"/>
              </a:rPr>
              <a:t> </a:t>
            </a:r>
            <a:r>
              <a:rPr dirty="0">
                <a:cs typeface="Arial"/>
              </a:rPr>
              <a:t>i.e. a</a:t>
            </a:r>
            <a:r>
              <a:rPr spc="-18" dirty="0">
                <a:cs typeface="Arial"/>
              </a:rPr>
              <a:t> </a:t>
            </a:r>
            <a:r>
              <a:rPr dirty="0">
                <a:cs typeface="Arial"/>
              </a:rPr>
              <a:t>ma</a:t>
            </a:r>
            <a:r>
              <a:rPr spc="-4" dirty="0">
                <a:cs typeface="Arial"/>
              </a:rPr>
              <a:t>t</a:t>
            </a:r>
            <a:r>
              <a:rPr dirty="0">
                <a:cs typeface="Arial"/>
              </a:rPr>
              <a:t>erial</a:t>
            </a:r>
            <a:r>
              <a:rPr spc="-21" dirty="0">
                <a:cs typeface="Arial"/>
              </a:rPr>
              <a:t> </a:t>
            </a:r>
            <a:r>
              <a:rPr dirty="0">
                <a:cs typeface="Arial"/>
              </a:rPr>
              <a:t>can</a:t>
            </a:r>
            <a:r>
              <a:rPr spc="-17" dirty="0">
                <a:cs typeface="Arial"/>
              </a:rPr>
              <a:t> </a:t>
            </a:r>
            <a:r>
              <a:rPr dirty="0">
                <a:cs typeface="Arial"/>
              </a:rPr>
              <a:t>be</a:t>
            </a:r>
            <a:r>
              <a:rPr spc="-8" dirty="0">
                <a:cs typeface="Arial"/>
              </a:rPr>
              <a:t> </a:t>
            </a:r>
            <a:r>
              <a:rPr dirty="0">
                <a:cs typeface="Arial"/>
              </a:rPr>
              <a:t>st</a:t>
            </a:r>
            <a:r>
              <a:rPr spc="-4" dirty="0">
                <a:cs typeface="Arial"/>
              </a:rPr>
              <a:t>o</a:t>
            </a:r>
            <a:r>
              <a:rPr dirty="0">
                <a:cs typeface="Arial"/>
              </a:rPr>
              <a:t>red</a:t>
            </a:r>
            <a:r>
              <a:rPr spc="-23" dirty="0">
                <a:cs typeface="Arial"/>
              </a:rPr>
              <a:t> </a:t>
            </a:r>
            <a:r>
              <a:rPr dirty="0">
                <a:cs typeface="Arial"/>
              </a:rPr>
              <a:t>in</a:t>
            </a:r>
            <a:r>
              <a:rPr spc="-4" dirty="0">
                <a:cs typeface="Arial"/>
              </a:rPr>
              <a:t> </a:t>
            </a:r>
            <a:r>
              <a:rPr dirty="0">
                <a:cs typeface="Arial"/>
              </a:rPr>
              <a:t>m</a:t>
            </a:r>
            <a:r>
              <a:rPr spc="-4" dirty="0">
                <a:cs typeface="Arial"/>
              </a:rPr>
              <a:t>u</a:t>
            </a:r>
            <a:r>
              <a:rPr dirty="0">
                <a:cs typeface="Arial"/>
              </a:rPr>
              <a:t>lti</a:t>
            </a:r>
            <a:r>
              <a:rPr spc="-4" dirty="0">
                <a:cs typeface="Arial"/>
              </a:rPr>
              <a:t>p</a:t>
            </a:r>
            <a:r>
              <a:rPr dirty="0">
                <a:cs typeface="Arial"/>
              </a:rPr>
              <a:t>le</a:t>
            </a:r>
            <a:r>
              <a:rPr spc="-11" dirty="0">
                <a:cs typeface="Arial"/>
              </a:rPr>
              <a:t> </a:t>
            </a:r>
            <a:r>
              <a:rPr dirty="0">
                <a:cs typeface="Arial"/>
              </a:rPr>
              <a:t>st</a:t>
            </a:r>
            <a:r>
              <a:rPr spc="-4" dirty="0">
                <a:cs typeface="Arial"/>
              </a:rPr>
              <a:t>o</a:t>
            </a:r>
            <a:r>
              <a:rPr dirty="0">
                <a:cs typeface="Arial"/>
              </a:rPr>
              <a:t>rage</a:t>
            </a:r>
            <a:r>
              <a:rPr spc="-32" dirty="0">
                <a:cs typeface="Arial"/>
              </a:rPr>
              <a:t> </a:t>
            </a:r>
            <a:r>
              <a:rPr dirty="0">
                <a:cs typeface="Arial"/>
              </a:rPr>
              <a:t>loca</a:t>
            </a:r>
            <a:r>
              <a:rPr spc="-4" dirty="0">
                <a:cs typeface="Arial"/>
              </a:rPr>
              <a:t>t</a:t>
            </a:r>
            <a:r>
              <a:rPr dirty="0">
                <a:cs typeface="Arial"/>
              </a:rPr>
              <a:t>io</a:t>
            </a:r>
            <a:r>
              <a:rPr spc="-4" dirty="0">
                <a:cs typeface="Arial"/>
              </a:rPr>
              <a:t>n</a:t>
            </a:r>
            <a:r>
              <a:rPr dirty="0">
                <a:cs typeface="Arial"/>
              </a:rPr>
              <a:t>s</a:t>
            </a:r>
          </a:p>
          <a:p>
            <a:pPr marL="298450" marR="363206" indent="-285750">
              <a:lnSpc>
                <a:spcPct val="100041"/>
              </a:lnSpc>
              <a:spcBef>
                <a:spcPts val="961"/>
              </a:spcBef>
              <a:buClr>
                <a:srgbClr val="00B0F0"/>
              </a:buClr>
              <a:buFont typeface="Wingdings" panose="05000000000000000000" pitchFamily="2" charset="2"/>
              <a:buChar char="§"/>
            </a:pPr>
            <a:r>
              <a:rPr dirty="0">
                <a:cs typeface="Arial"/>
              </a:rPr>
              <a:t>In</a:t>
            </a:r>
            <a:r>
              <a:rPr spc="-4" dirty="0">
                <a:cs typeface="Arial"/>
              </a:rPr>
              <a:t> </a:t>
            </a:r>
            <a:r>
              <a:rPr dirty="0">
                <a:cs typeface="Arial"/>
              </a:rPr>
              <a:t>eit</a:t>
            </a:r>
            <a:r>
              <a:rPr spc="-4" dirty="0">
                <a:cs typeface="Arial"/>
              </a:rPr>
              <a:t>h</a:t>
            </a:r>
            <a:r>
              <a:rPr dirty="0">
                <a:cs typeface="Arial"/>
              </a:rPr>
              <a:t>er</a:t>
            </a:r>
            <a:r>
              <a:rPr spc="-13" dirty="0">
                <a:cs typeface="Arial"/>
              </a:rPr>
              <a:t> </a:t>
            </a:r>
            <a:r>
              <a:rPr dirty="0">
                <a:cs typeface="Arial"/>
              </a:rPr>
              <a:t>cases,</a:t>
            </a:r>
            <a:r>
              <a:rPr spc="419" dirty="0">
                <a:cs typeface="Arial"/>
              </a:rPr>
              <a:t> </a:t>
            </a:r>
            <a:r>
              <a:rPr dirty="0">
                <a:cs typeface="Arial"/>
              </a:rPr>
              <a:t>Pic</a:t>
            </a:r>
            <a:r>
              <a:rPr spc="4" dirty="0">
                <a:cs typeface="Arial"/>
              </a:rPr>
              <a:t>k</a:t>
            </a:r>
            <a:r>
              <a:rPr dirty="0">
                <a:cs typeface="Arial"/>
              </a:rPr>
              <a:t>ing</a:t>
            </a:r>
            <a:r>
              <a:rPr spc="-51" dirty="0">
                <a:cs typeface="Arial"/>
              </a:rPr>
              <a:t> </a:t>
            </a:r>
            <a:r>
              <a:rPr dirty="0">
                <a:cs typeface="Arial"/>
              </a:rPr>
              <a:t>is</a:t>
            </a:r>
            <a:r>
              <a:rPr spc="-3" dirty="0">
                <a:cs typeface="Arial"/>
              </a:rPr>
              <a:t> </a:t>
            </a:r>
            <a:r>
              <a:rPr dirty="0">
                <a:cs typeface="Arial"/>
              </a:rPr>
              <a:t>perf</a:t>
            </a:r>
            <a:r>
              <a:rPr spc="-4" dirty="0">
                <a:cs typeface="Arial"/>
              </a:rPr>
              <a:t>o</a:t>
            </a:r>
            <a:r>
              <a:rPr dirty="0">
                <a:cs typeface="Arial"/>
              </a:rPr>
              <a:t>rmed</a:t>
            </a:r>
            <a:r>
              <a:rPr spc="-49" dirty="0">
                <a:cs typeface="Arial"/>
              </a:rPr>
              <a:t> </a:t>
            </a:r>
            <a:r>
              <a:rPr dirty="0">
                <a:cs typeface="Arial"/>
              </a:rPr>
              <a:t>t</a:t>
            </a:r>
            <a:r>
              <a:rPr spc="-4" dirty="0">
                <a:cs typeface="Arial"/>
              </a:rPr>
              <a:t>h</a:t>
            </a:r>
            <a:r>
              <a:rPr dirty="0">
                <a:cs typeface="Arial"/>
              </a:rPr>
              <a:t>rou</a:t>
            </a:r>
            <a:r>
              <a:rPr spc="-4" dirty="0">
                <a:cs typeface="Arial"/>
              </a:rPr>
              <a:t>g</a:t>
            </a:r>
            <a:r>
              <a:rPr dirty="0">
                <a:cs typeface="Arial"/>
              </a:rPr>
              <a:t>h</a:t>
            </a:r>
            <a:r>
              <a:rPr spc="-30" dirty="0">
                <a:cs typeface="Arial"/>
              </a:rPr>
              <a:t> </a:t>
            </a:r>
            <a:r>
              <a:rPr spc="-89" dirty="0">
                <a:cs typeface="Arial"/>
              </a:rPr>
              <a:t>T</a:t>
            </a:r>
            <a:r>
              <a:rPr dirty="0">
                <a:cs typeface="Arial"/>
              </a:rPr>
              <a:t>ransfer</a:t>
            </a:r>
            <a:r>
              <a:rPr spc="-49" dirty="0">
                <a:cs typeface="Arial"/>
              </a:rPr>
              <a:t> </a:t>
            </a:r>
            <a:r>
              <a:rPr spc="-4" dirty="0">
                <a:cs typeface="Arial"/>
              </a:rPr>
              <a:t>O</a:t>
            </a:r>
            <a:r>
              <a:rPr dirty="0">
                <a:cs typeface="Arial"/>
              </a:rPr>
              <a:t>rders.</a:t>
            </a:r>
            <a:r>
              <a:rPr spc="-26" dirty="0">
                <a:cs typeface="Arial"/>
              </a:rPr>
              <a:t> </a:t>
            </a:r>
            <a:r>
              <a:rPr dirty="0">
                <a:cs typeface="Arial"/>
              </a:rPr>
              <a:t>By</a:t>
            </a:r>
            <a:r>
              <a:rPr spc="-10" dirty="0">
                <a:cs typeface="Arial"/>
              </a:rPr>
              <a:t> </a:t>
            </a:r>
            <a:r>
              <a:rPr dirty="0">
                <a:cs typeface="Arial"/>
              </a:rPr>
              <a:t>cre</a:t>
            </a:r>
            <a:r>
              <a:rPr spc="4" dirty="0">
                <a:cs typeface="Arial"/>
              </a:rPr>
              <a:t>a</a:t>
            </a:r>
            <a:r>
              <a:rPr dirty="0">
                <a:cs typeface="Arial"/>
              </a:rPr>
              <a:t>ti</a:t>
            </a:r>
            <a:r>
              <a:rPr spc="-4" dirty="0">
                <a:cs typeface="Arial"/>
              </a:rPr>
              <a:t>n</a:t>
            </a:r>
            <a:r>
              <a:rPr dirty="0">
                <a:cs typeface="Arial"/>
              </a:rPr>
              <a:t>g</a:t>
            </a:r>
            <a:r>
              <a:rPr spc="-42" dirty="0">
                <a:cs typeface="Arial"/>
              </a:rPr>
              <a:t> </a:t>
            </a:r>
            <a:r>
              <a:rPr dirty="0">
                <a:cs typeface="Arial"/>
              </a:rPr>
              <a:t>a tra</a:t>
            </a:r>
            <a:r>
              <a:rPr spc="-9" dirty="0">
                <a:cs typeface="Arial"/>
              </a:rPr>
              <a:t>n</a:t>
            </a:r>
            <a:r>
              <a:rPr dirty="0">
                <a:cs typeface="Arial"/>
              </a:rPr>
              <a:t>s</a:t>
            </a:r>
            <a:r>
              <a:rPr spc="-4" dirty="0">
                <a:cs typeface="Arial"/>
              </a:rPr>
              <a:t>f</a:t>
            </a:r>
            <a:r>
              <a:rPr dirty="0">
                <a:cs typeface="Arial"/>
              </a:rPr>
              <a:t>er</a:t>
            </a:r>
            <a:r>
              <a:rPr spc="-49" dirty="0">
                <a:cs typeface="Arial"/>
              </a:rPr>
              <a:t> </a:t>
            </a:r>
            <a:r>
              <a:rPr dirty="0">
                <a:cs typeface="Arial"/>
              </a:rPr>
              <a:t>or</a:t>
            </a:r>
            <a:r>
              <a:rPr spc="-4" dirty="0">
                <a:cs typeface="Arial"/>
              </a:rPr>
              <a:t>d</a:t>
            </a:r>
            <a:r>
              <a:rPr dirty="0">
                <a:cs typeface="Arial"/>
              </a:rPr>
              <a:t>e</a:t>
            </a:r>
            <a:r>
              <a:rPr spc="-84" dirty="0">
                <a:cs typeface="Arial"/>
              </a:rPr>
              <a:t>r</a:t>
            </a:r>
            <a:r>
              <a:rPr dirty="0">
                <a:cs typeface="Arial"/>
              </a:rPr>
              <a:t>,</a:t>
            </a:r>
            <a:r>
              <a:rPr spc="9" dirty="0">
                <a:cs typeface="Arial"/>
              </a:rPr>
              <a:t> </a:t>
            </a:r>
            <a:r>
              <a:rPr dirty="0">
                <a:cs typeface="Arial"/>
              </a:rPr>
              <a:t>t</a:t>
            </a:r>
            <a:r>
              <a:rPr spc="-9" dirty="0">
                <a:cs typeface="Arial"/>
              </a:rPr>
              <a:t>h</a:t>
            </a:r>
            <a:r>
              <a:rPr dirty="0">
                <a:cs typeface="Arial"/>
              </a:rPr>
              <a:t>e s</a:t>
            </a:r>
            <a:r>
              <a:rPr spc="-34" dirty="0">
                <a:cs typeface="Arial"/>
              </a:rPr>
              <a:t>y</a:t>
            </a:r>
            <a:r>
              <a:rPr dirty="0">
                <a:cs typeface="Arial"/>
              </a:rPr>
              <a:t>s</a:t>
            </a:r>
            <a:r>
              <a:rPr spc="-4" dirty="0">
                <a:cs typeface="Arial"/>
              </a:rPr>
              <a:t>t</a:t>
            </a:r>
            <a:r>
              <a:rPr spc="9" dirty="0">
                <a:cs typeface="Arial"/>
              </a:rPr>
              <a:t>e</a:t>
            </a:r>
            <a:r>
              <a:rPr dirty="0">
                <a:cs typeface="Arial"/>
              </a:rPr>
              <a:t>m</a:t>
            </a:r>
            <a:r>
              <a:rPr spc="-10" dirty="0">
                <a:cs typeface="Arial"/>
              </a:rPr>
              <a:t> </a:t>
            </a:r>
            <a:r>
              <a:rPr dirty="0">
                <a:cs typeface="Arial"/>
              </a:rPr>
              <a:t>u</a:t>
            </a:r>
            <a:r>
              <a:rPr spc="-9" dirty="0">
                <a:cs typeface="Arial"/>
              </a:rPr>
              <a:t>p</a:t>
            </a:r>
            <a:r>
              <a:rPr dirty="0">
                <a:cs typeface="Arial"/>
              </a:rPr>
              <a:t>d</a:t>
            </a:r>
            <a:r>
              <a:rPr spc="-4" dirty="0">
                <a:cs typeface="Arial"/>
              </a:rPr>
              <a:t>a</a:t>
            </a:r>
            <a:r>
              <a:rPr dirty="0">
                <a:cs typeface="Arial"/>
              </a:rPr>
              <a:t>t</a:t>
            </a:r>
            <a:r>
              <a:rPr spc="-4" dirty="0">
                <a:cs typeface="Arial"/>
              </a:rPr>
              <a:t>e</a:t>
            </a:r>
            <a:r>
              <a:rPr dirty="0">
                <a:cs typeface="Arial"/>
              </a:rPr>
              <a:t>s</a:t>
            </a:r>
            <a:r>
              <a:rPr spc="-21" dirty="0">
                <a:cs typeface="Arial"/>
              </a:rPr>
              <a:t> </a:t>
            </a:r>
            <a:r>
              <a:rPr dirty="0">
                <a:cs typeface="Arial"/>
              </a:rPr>
              <a:t>t</a:t>
            </a:r>
            <a:r>
              <a:rPr spc="-9" dirty="0">
                <a:cs typeface="Arial"/>
              </a:rPr>
              <a:t>h</a:t>
            </a:r>
            <a:r>
              <a:rPr dirty="0">
                <a:cs typeface="Arial"/>
              </a:rPr>
              <a:t>e p</a:t>
            </a:r>
            <a:r>
              <a:rPr spc="-4" dirty="0">
                <a:cs typeface="Arial"/>
              </a:rPr>
              <a:t>i</a:t>
            </a:r>
            <a:r>
              <a:rPr dirty="0">
                <a:cs typeface="Arial"/>
              </a:rPr>
              <a:t>cki</a:t>
            </a:r>
            <a:r>
              <a:rPr spc="-4" dirty="0">
                <a:cs typeface="Arial"/>
              </a:rPr>
              <a:t>n</a:t>
            </a:r>
            <a:r>
              <a:rPr dirty="0">
                <a:cs typeface="Arial"/>
              </a:rPr>
              <a:t>g</a:t>
            </a:r>
            <a:r>
              <a:rPr spc="-1" dirty="0">
                <a:cs typeface="Arial"/>
              </a:rPr>
              <a:t> </a:t>
            </a:r>
            <a:r>
              <a:rPr dirty="0">
                <a:cs typeface="Arial"/>
              </a:rPr>
              <a:t>q</a:t>
            </a:r>
            <a:r>
              <a:rPr spc="-9" dirty="0">
                <a:cs typeface="Arial"/>
              </a:rPr>
              <a:t>u</a:t>
            </a:r>
            <a:r>
              <a:rPr dirty="0">
                <a:cs typeface="Arial"/>
              </a:rPr>
              <a:t>a</a:t>
            </a:r>
            <a:r>
              <a:rPr spc="-4" dirty="0">
                <a:cs typeface="Arial"/>
              </a:rPr>
              <a:t>n</a:t>
            </a:r>
            <a:r>
              <a:rPr dirty="0">
                <a:cs typeface="Arial"/>
              </a:rPr>
              <a:t>tity</a:t>
            </a:r>
            <a:r>
              <a:rPr spc="-17" dirty="0">
                <a:cs typeface="Arial"/>
              </a:rPr>
              <a:t> </a:t>
            </a:r>
            <a:r>
              <a:rPr dirty="0">
                <a:cs typeface="Arial"/>
              </a:rPr>
              <a:t>to e</a:t>
            </a:r>
            <a:r>
              <a:rPr spc="-4" dirty="0">
                <a:cs typeface="Arial"/>
              </a:rPr>
              <a:t>q</a:t>
            </a:r>
            <a:r>
              <a:rPr dirty="0">
                <a:cs typeface="Arial"/>
              </a:rPr>
              <a:t>u</a:t>
            </a:r>
            <a:r>
              <a:rPr spc="-4" dirty="0">
                <a:cs typeface="Arial"/>
              </a:rPr>
              <a:t>a</a:t>
            </a:r>
            <a:r>
              <a:rPr dirty="0">
                <a:cs typeface="Arial"/>
              </a:rPr>
              <a:t>l</a:t>
            </a:r>
            <a:r>
              <a:rPr spc="-12" dirty="0">
                <a:cs typeface="Arial"/>
              </a:rPr>
              <a:t> </a:t>
            </a:r>
            <a:r>
              <a:rPr dirty="0">
                <a:cs typeface="Arial"/>
              </a:rPr>
              <a:t>t</a:t>
            </a:r>
            <a:r>
              <a:rPr spc="-9" dirty="0">
                <a:cs typeface="Arial"/>
              </a:rPr>
              <a:t>h</a:t>
            </a:r>
            <a:r>
              <a:rPr dirty="0">
                <a:cs typeface="Arial"/>
              </a:rPr>
              <a:t>e d</a:t>
            </a:r>
            <a:r>
              <a:rPr spc="-4" dirty="0">
                <a:cs typeface="Arial"/>
              </a:rPr>
              <a:t>e</a:t>
            </a:r>
            <a:r>
              <a:rPr dirty="0">
                <a:cs typeface="Arial"/>
              </a:rPr>
              <a:t>li</a:t>
            </a:r>
            <a:r>
              <a:rPr spc="-34" dirty="0">
                <a:cs typeface="Arial"/>
              </a:rPr>
              <a:t>v</a:t>
            </a:r>
            <a:r>
              <a:rPr spc="9" dirty="0">
                <a:cs typeface="Arial"/>
              </a:rPr>
              <a:t>e</a:t>
            </a:r>
            <a:r>
              <a:rPr spc="14" dirty="0">
                <a:cs typeface="Arial"/>
              </a:rPr>
              <a:t>r</a:t>
            </a:r>
            <a:r>
              <a:rPr dirty="0">
                <a:cs typeface="Arial"/>
              </a:rPr>
              <a:t>y q</a:t>
            </a:r>
            <a:r>
              <a:rPr spc="-4" dirty="0">
                <a:cs typeface="Arial"/>
              </a:rPr>
              <a:t>u</a:t>
            </a:r>
            <a:r>
              <a:rPr dirty="0">
                <a:cs typeface="Arial"/>
              </a:rPr>
              <a:t>an</a:t>
            </a:r>
            <a:r>
              <a:rPr spc="-4" dirty="0">
                <a:cs typeface="Arial"/>
              </a:rPr>
              <a:t>t</a:t>
            </a:r>
            <a:r>
              <a:rPr dirty="0">
                <a:cs typeface="Arial"/>
              </a:rPr>
              <a:t>i</a:t>
            </a:r>
            <a:r>
              <a:rPr spc="9" dirty="0">
                <a:cs typeface="Arial"/>
              </a:rPr>
              <a:t>t</a:t>
            </a:r>
            <a:r>
              <a:rPr dirty="0">
                <a:cs typeface="Arial"/>
              </a:rPr>
              <a:t>y</a:t>
            </a:r>
          </a:p>
        </p:txBody>
      </p:sp>
      <p:sp>
        <p:nvSpPr>
          <p:cNvPr id="2" name="Title 1"/>
          <p:cNvSpPr>
            <a:spLocks noGrp="1"/>
          </p:cNvSpPr>
          <p:nvPr>
            <p:ph type="title"/>
          </p:nvPr>
        </p:nvSpPr>
        <p:spPr/>
        <p:txBody>
          <a:bodyPr/>
          <a:lstStyle/>
          <a:p>
            <a:r>
              <a:rPr lang="en-US" sz="2400" kern="0" dirty="0">
                <a:solidFill>
                  <a:schemeClr val="accent2"/>
                </a:solidFill>
                <a:latin typeface="Arial"/>
                <a:cs typeface="Arial"/>
              </a:rPr>
              <a:t>Additional Info</a:t>
            </a:r>
            <a:br>
              <a:rPr lang="en-US" sz="2800" b="1" kern="0" dirty="0">
                <a:solidFill>
                  <a:sysClr val="windowText" lastClr="000000"/>
                </a:solidFill>
                <a:latin typeface="Arial"/>
                <a:cs typeface="Arial"/>
              </a:rPr>
            </a:br>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a:spLocks noGrp="1"/>
          </p:cNvSpPr>
          <p:nvPr>
            <p:ph type="title"/>
          </p:nvPr>
        </p:nvSpPr>
        <p:spPr>
          <a:prstGeom prst="rect">
            <a:avLst/>
          </a:prstGeom>
        </p:spPr>
        <p:txBody>
          <a:bodyPr vert="horz" wrap="square" lIns="0" tIns="0" rIns="0" bIns="0" rtlCol="0" anchor="t">
            <a:noAutofit/>
          </a:bodyPr>
          <a:lstStyle/>
          <a:p>
            <a:pPr marL="12700">
              <a:lnSpc>
                <a:spcPts val="4600"/>
              </a:lnSpc>
              <a:spcBef>
                <a:spcPts val="230"/>
              </a:spcBef>
            </a:pPr>
            <a:r>
              <a:rPr sz="2400" kern="0" dirty="0">
                <a:solidFill>
                  <a:schemeClr val="accent2"/>
                </a:solidFill>
                <a:latin typeface="Arial"/>
                <a:cs typeface="Arial"/>
              </a:rPr>
              <a:t>Additional</a:t>
            </a:r>
            <a:r>
              <a:rPr lang="en-US" sz="2400" kern="0" dirty="0">
                <a:solidFill>
                  <a:schemeClr val="accent2"/>
                </a:solidFill>
                <a:latin typeface="Arial"/>
                <a:cs typeface="Arial"/>
              </a:rPr>
              <a:t> Info</a:t>
            </a:r>
            <a:endParaRPr sz="2400" kern="0" dirty="0">
              <a:solidFill>
                <a:schemeClr val="accent2"/>
              </a:solidFill>
              <a:latin typeface="Arial"/>
              <a:cs typeface="Arial"/>
            </a:endParaRPr>
          </a:p>
        </p:txBody>
      </p:sp>
      <p:sp>
        <p:nvSpPr>
          <p:cNvPr id="6" name="object 4">
            <a:extLst>
              <a:ext uri="{FF2B5EF4-FFF2-40B4-BE49-F238E27FC236}">
                <a16:creationId xmlns:a16="http://schemas.microsoft.com/office/drawing/2014/main" id="{FB36337D-F5D8-46B0-95DA-D758CAFDF447}"/>
              </a:ext>
            </a:extLst>
          </p:cNvPr>
          <p:cNvSpPr txBox="1">
            <a:spLocks/>
          </p:cNvSpPr>
          <p:nvPr/>
        </p:nvSpPr>
        <p:spPr>
          <a:xfrm>
            <a:off x="533400" y="1600200"/>
            <a:ext cx="8153400" cy="3657600"/>
          </a:xfrm>
          <a:prstGeom prst="rect">
            <a:avLst/>
          </a:prstGeom>
        </p:spPr>
        <p:txBody>
          <a:bodyPr wrap="square"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spcBef>
                <a:spcPts val="86"/>
              </a:spcBef>
              <a:buClr>
                <a:srgbClr val="00B0F0"/>
              </a:buClr>
            </a:pPr>
            <a:r>
              <a:rPr lang="en-US" spc="4" dirty="0">
                <a:latin typeface="+mn-lt"/>
                <a:cs typeface="Arial"/>
              </a:rPr>
              <a:t>A Pick List is a list of all delivery items that are due to be picked generate individual pick lists as well collective pick lists.</a:t>
            </a:r>
          </a:p>
          <a:p>
            <a:pPr marL="12700" marR="30403">
              <a:lnSpc>
                <a:spcPct val="95825"/>
              </a:lnSpc>
            </a:pPr>
            <a:endParaRPr lang="en-US" sz="1800" b="1" dirty="0">
              <a:latin typeface="+mn-lt"/>
              <a:cs typeface="Arial"/>
            </a:endParaRPr>
          </a:p>
          <a:p>
            <a:pPr marL="355600" lvl="1" indent="-342900">
              <a:lnSpc>
                <a:spcPts val="1730"/>
              </a:lnSpc>
              <a:spcBef>
                <a:spcPts val="86"/>
              </a:spcBef>
              <a:buClr>
                <a:srgbClr val="00B0F0"/>
              </a:buClr>
            </a:pPr>
            <a:endParaRPr lang="en-US" spc="-79" dirty="0">
              <a:latin typeface="+mn-lt"/>
              <a:cs typeface="Arial"/>
            </a:endParaRPr>
          </a:p>
          <a:p>
            <a:pPr marL="342900" lvl="1" indent="-342900">
              <a:spcBef>
                <a:spcPts val="86"/>
              </a:spcBef>
              <a:buClr>
                <a:srgbClr val="00B0F0"/>
              </a:buClr>
            </a:pPr>
            <a:r>
              <a:rPr lang="en-US" spc="4" dirty="0">
                <a:latin typeface="+mn-lt"/>
                <a:cs typeface="Arial"/>
              </a:rPr>
              <a:t>Packing instructions can be entered into sales orders and scheduling agreements. Using this a packing proposal is   created in the delivery. This requires a special copy routine be specified in copy control. The delivery packing proposal can be changed</a:t>
            </a:r>
          </a:p>
          <a:p>
            <a:pPr marL="12700" marR="30403">
              <a:lnSpc>
                <a:spcPct val="95825"/>
              </a:lnSpc>
            </a:pPr>
            <a:endParaRPr lang="en-US" dirty="0">
              <a:latin typeface="Arial"/>
              <a:cs typeface="Arial"/>
            </a:endParaRPr>
          </a:p>
        </p:txBody>
      </p:sp>
    </p:spTree>
    <p:extLst>
      <p:ext uri="{BB962C8B-B14F-4D97-AF65-F5344CB8AC3E}">
        <p14:creationId xmlns:p14="http://schemas.microsoft.com/office/powerpoint/2010/main" val="42403080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r>
              <a:rPr lang="en-US" sz="2800" dirty="0">
                <a:solidFill>
                  <a:schemeClr val="tx1"/>
                </a:solidFill>
              </a:rPr>
              <a:t>Sales and Distribution</a:t>
            </a:r>
            <a:endParaRPr lang="en-US" dirty="0">
              <a:solidFill>
                <a:schemeClr val="tx1"/>
              </a:solidFill>
            </a:endParaRPr>
          </a:p>
        </p:txBody>
      </p:sp>
    </p:spTree>
    <p:extLst>
      <p:ext uri="{BB962C8B-B14F-4D97-AF65-F5344CB8AC3E}">
        <p14:creationId xmlns:p14="http://schemas.microsoft.com/office/powerpoint/2010/main" val="3613317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Shipping</a:t>
            </a:r>
          </a:p>
        </p:txBody>
      </p:sp>
      <p:pic>
        <p:nvPicPr>
          <p:cNvPr id="4" name="Picture 3"/>
          <p:cNvPicPr>
            <a:picLocks noChangeAspect="1"/>
          </p:cNvPicPr>
          <p:nvPr/>
        </p:nvPicPr>
        <p:blipFill>
          <a:blip r:embed="rId2" cstate="print"/>
          <a:stretch>
            <a:fillRect/>
          </a:stretch>
        </p:blipFill>
        <p:spPr>
          <a:xfrm>
            <a:off x="3581400" y="3810001"/>
            <a:ext cx="5143500" cy="2390775"/>
          </a:xfrm>
          <a:prstGeom prst="rect">
            <a:avLst/>
          </a:prstGeom>
        </p:spPr>
      </p:pic>
      <p:sp>
        <p:nvSpPr>
          <p:cNvPr id="5" name="Text Placeholder 2">
            <a:extLst>
              <a:ext uri="{FF2B5EF4-FFF2-40B4-BE49-F238E27FC236}">
                <a16:creationId xmlns:a16="http://schemas.microsoft.com/office/drawing/2014/main" id="{EEA990D4-A256-4119-B80F-AEF15ED2F9DD}"/>
              </a:ext>
            </a:extLst>
          </p:cNvPr>
          <p:cNvSpPr txBox="1">
            <a:spLocks/>
          </p:cNvSpPr>
          <p:nvPr/>
        </p:nvSpPr>
        <p:spPr>
          <a:xfrm>
            <a:off x="304800" y="1143000"/>
            <a:ext cx="10687744" cy="2286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sz="1800" dirty="0"/>
              <a:t>Shipping is the basic process of transporting goods and cargo</a:t>
            </a:r>
          </a:p>
          <a:p>
            <a:pPr marL="285750" indent="-285750">
              <a:buFont typeface="Wingdings" panose="05000000000000000000" pitchFamily="2" charset="2"/>
              <a:buChar char="§"/>
            </a:pPr>
            <a:r>
              <a:rPr lang="en-US" sz="1800" dirty="0"/>
              <a:t>Shipping activities follow sales activities</a:t>
            </a:r>
          </a:p>
          <a:p>
            <a:pPr marL="285750" indent="-285750">
              <a:buFont typeface="Wingdings" panose="05000000000000000000" pitchFamily="2" charset="2"/>
              <a:buChar char="§"/>
            </a:pPr>
            <a:r>
              <a:rPr lang="en-US" sz="1800" dirty="0"/>
              <a:t>Shipping can include a wide range of activities such as selection of items, packing them and printing the shipping documents like packing slip, delivery document</a:t>
            </a:r>
          </a:p>
          <a:p>
            <a:pPr marL="285750" indent="-285750">
              <a:buFont typeface="Wingdings" panose="05000000000000000000" pitchFamily="2" charset="2"/>
              <a:buChar char="§"/>
            </a:pPr>
            <a:r>
              <a:rPr lang="en-US" sz="1800" dirty="0"/>
              <a:t>Delivery document is the source of all shipping activities</a:t>
            </a:r>
          </a:p>
          <a:p>
            <a:endParaRPr lang="en-US" dirty="0"/>
          </a:p>
          <a:p>
            <a:endParaRPr lang="en-US" dirty="0"/>
          </a:p>
          <a:p>
            <a:endParaRPr lang="en-US" dirty="0"/>
          </a:p>
        </p:txBody>
      </p:sp>
    </p:spTree>
    <p:extLst>
      <p:ext uri="{BB962C8B-B14F-4D97-AF65-F5344CB8AC3E}">
        <p14:creationId xmlns:p14="http://schemas.microsoft.com/office/powerpoint/2010/main" val="29600652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rpose</a:t>
            </a:r>
          </a:p>
        </p:txBody>
      </p:sp>
      <p:pic>
        <p:nvPicPr>
          <p:cNvPr id="4" name="Picture 3"/>
          <p:cNvPicPr>
            <a:picLocks noChangeAspect="1"/>
          </p:cNvPicPr>
          <p:nvPr/>
        </p:nvPicPr>
        <p:blipFill>
          <a:blip r:embed="rId2" cstate="print"/>
          <a:stretch>
            <a:fillRect/>
          </a:stretch>
        </p:blipFill>
        <p:spPr>
          <a:xfrm>
            <a:off x="4567554" y="1143000"/>
            <a:ext cx="4043046" cy="2428790"/>
          </a:xfrm>
          <a:prstGeom prst="rect">
            <a:avLst/>
          </a:prstGeom>
        </p:spPr>
      </p:pic>
      <p:sp>
        <p:nvSpPr>
          <p:cNvPr id="5" name="Text Placeholder 2">
            <a:extLst>
              <a:ext uri="{FF2B5EF4-FFF2-40B4-BE49-F238E27FC236}">
                <a16:creationId xmlns:a16="http://schemas.microsoft.com/office/drawing/2014/main" id="{F4F67540-1802-4FAD-A877-531F076CEFF3}"/>
              </a:ext>
            </a:extLst>
          </p:cNvPr>
          <p:cNvSpPr txBox="1">
            <a:spLocks/>
          </p:cNvSpPr>
          <p:nvPr/>
        </p:nvSpPr>
        <p:spPr>
          <a:xfrm>
            <a:off x="533400" y="3810000"/>
            <a:ext cx="11125236" cy="20574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97"/>
              </a:spcBef>
              <a:buFont typeface="Wingdings" panose="05000000000000000000" pitchFamily="2" charset="2"/>
              <a:buChar char="§"/>
            </a:pPr>
            <a:r>
              <a:rPr lang="en-US" sz="1800" dirty="0"/>
              <a:t>Shipping is an important part of the logistics chain in which guaranteed customer service and distribution planning support play major roles</a:t>
            </a:r>
          </a:p>
          <a:p>
            <a:pPr marL="285750" indent="-285750">
              <a:spcBef>
                <a:spcPts val="97"/>
              </a:spcBef>
              <a:buFont typeface="Wingdings" panose="05000000000000000000" pitchFamily="2" charset="2"/>
              <a:buChar char="§"/>
            </a:pPr>
            <a:r>
              <a:rPr lang="en-US" sz="1800" dirty="0"/>
              <a:t>All information regarding shipping is stored in a delivery document</a:t>
            </a:r>
          </a:p>
          <a:p>
            <a:pPr marL="285750" indent="-285750">
              <a:spcBef>
                <a:spcPts val="97"/>
              </a:spcBef>
              <a:buFont typeface="Wingdings" panose="05000000000000000000" pitchFamily="2" charset="2"/>
              <a:buChar char="§"/>
            </a:pPr>
            <a:r>
              <a:rPr lang="en-US" sz="1800" dirty="0"/>
              <a:t>When you create an outbound delivery, you initiate shipping activities like picking, packing, transportation scheduling and goods issue which also helps in monitoring the status of these shipping activities</a:t>
            </a:r>
          </a:p>
          <a:p>
            <a:endParaRPr lang="en-US" dirty="0"/>
          </a:p>
        </p:txBody>
      </p:sp>
    </p:spTree>
    <p:extLst>
      <p:ext uri="{BB962C8B-B14F-4D97-AF65-F5344CB8AC3E}">
        <p14:creationId xmlns:p14="http://schemas.microsoft.com/office/powerpoint/2010/main" val="1158674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Use</a:t>
            </a:r>
          </a:p>
        </p:txBody>
      </p:sp>
      <p:sp>
        <p:nvSpPr>
          <p:cNvPr id="4" name="Text Placeholder 2">
            <a:extLst>
              <a:ext uri="{FF2B5EF4-FFF2-40B4-BE49-F238E27FC236}">
                <a16:creationId xmlns:a16="http://schemas.microsoft.com/office/drawing/2014/main" id="{522CCDE2-65C0-4127-BCD4-9F19BD07F86F}"/>
              </a:ext>
            </a:extLst>
          </p:cNvPr>
          <p:cNvSpPr txBox="1">
            <a:spLocks/>
          </p:cNvSpPr>
          <p:nvPr/>
        </p:nvSpPr>
        <p:spPr>
          <a:xfrm>
            <a:off x="381000" y="1143000"/>
            <a:ext cx="10107488" cy="48006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sz="1800" dirty="0"/>
              <a:t>Creating and processing of outbound deliveries</a:t>
            </a:r>
          </a:p>
          <a:p>
            <a:pPr marL="285750" indent="-285750">
              <a:buFont typeface="Wingdings" panose="05000000000000000000" pitchFamily="2" charset="2"/>
              <a:buChar char="§"/>
            </a:pPr>
            <a:endParaRPr lang="en-US" sz="1800" dirty="0"/>
          </a:p>
          <a:p>
            <a:pPr marL="285750" indent="-285750">
              <a:buFont typeface="Wingdings" panose="05000000000000000000" pitchFamily="2" charset="2"/>
              <a:buChar char="§"/>
            </a:pPr>
            <a:r>
              <a:rPr lang="en-US" sz="1800" dirty="0"/>
              <a:t>Monitoring of goods availability and processing outstanding orders</a:t>
            </a:r>
          </a:p>
          <a:p>
            <a:pPr marL="285750" indent="-285750">
              <a:buFont typeface="Wingdings" panose="05000000000000000000" pitchFamily="2" charset="2"/>
              <a:buChar char="§"/>
            </a:pPr>
            <a:endParaRPr lang="en-US" sz="1800" dirty="0"/>
          </a:p>
          <a:p>
            <a:pPr marL="285750" indent="-285750">
              <a:buFont typeface="Wingdings" panose="05000000000000000000" pitchFamily="2" charset="2"/>
              <a:buChar char="§"/>
            </a:pPr>
            <a:r>
              <a:rPr lang="en-US" sz="1800" dirty="0"/>
              <a:t>Planning and monitoring of work lists for shipping activities</a:t>
            </a:r>
          </a:p>
          <a:p>
            <a:pPr marL="285750" indent="-285750">
              <a:buFont typeface="Wingdings" panose="05000000000000000000" pitchFamily="2" charset="2"/>
              <a:buChar char="§"/>
            </a:pPr>
            <a:endParaRPr lang="en-US" sz="1800" dirty="0"/>
          </a:p>
          <a:p>
            <a:pPr marL="285750" indent="-285750">
              <a:spcBef>
                <a:spcPts val="97"/>
              </a:spcBef>
              <a:buFont typeface="Wingdings" panose="05000000000000000000" pitchFamily="2" charset="2"/>
              <a:buChar char="§"/>
            </a:pPr>
            <a:r>
              <a:rPr lang="en-US" sz="1800" dirty="0"/>
              <a:t>Monitoring of deadlines for reference documents due for shipping(customer orders and purchase orders, for instance)</a:t>
            </a:r>
          </a:p>
          <a:p>
            <a:pPr marL="285750" indent="-285750">
              <a:lnSpc>
                <a:spcPts val="1939"/>
              </a:lnSpc>
              <a:spcBef>
                <a:spcPts val="97"/>
              </a:spcBef>
              <a:buFont typeface="Wingdings" panose="05000000000000000000" pitchFamily="2" charset="2"/>
              <a:buChar char="§"/>
            </a:pPr>
            <a:endParaRPr lang="en-US" sz="1800" dirty="0"/>
          </a:p>
          <a:p>
            <a:pPr marL="285750" indent="-285750">
              <a:lnSpc>
                <a:spcPts val="1939"/>
              </a:lnSpc>
              <a:spcBef>
                <a:spcPts val="97"/>
              </a:spcBef>
              <a:buFont typeface="Wingdings" panose="05000000000000000000" pitchFamily="2" charset="2"/>
              <a:buChar char="§"/>
            </a:pPr>
            <a:r>
              <a:rPr lang="en-US" sz="1800" dirty="0"/>
              <a:t>Packing of deliveries</a:t>
            </a:r>
          </a:p>
          <a:p>
            <a:pPr marL="285750" indent="-285750">
              <a:lnSpc>
                <a:spcPts val="1939"/>
              </a:lnSpc>
              <a:spcBef>
                <a:spcPts val="97"/>
              </a:spcBef>
              <a:buFont typeface="Wingdings" panose="05000000000000000000" pitchFamily="2" charset="2"/>
              <a:buChar char="§"/>
            </a:pPr>
            <a:endParaRPr lang="en-US" sz="1800" dirty="0"/>
          </a:p>
          <a:p>
            <a:pPr marL="285750" indent="-285750">
              <a:lnSpc>
                <a:spcPts val="1939"/>
              </a:lnSpc>
              <a:spcBef>
                <a:spcPts val="97"/>
              </a:spcBef>
              <a:buFont typeface="Wingdings" panose="05000000000000000000" pitchFamily="2" charset="2"/>
              <a:buChar char="§"/>
            </a:pPr>
            <a:r>
              <a:rPr lang="en-US" sz="1800" dirty="0"/>
              <a:t>Printing and distribution of shipping documents</a:t>
            </a:r>
          </a:p>
          <a:p>
            <a:pPr marL="285750" indent="-285750">
              <a:lnSpc>
                <a:spcPts val="1939"/>
              </a:lnSpc>
              <a:spcBef>
                <a:spcPts val="97"/>
              </a:spcBef>
              <a:buFont typeface="Wingdings" panose="05000000000000000000" pitchFamily="2" charset="2"/>
              <a:buChar char="§"/>
            </a:pPr>
            <a:endParaRPr lang="en-US" sz="1800" dirty="0"/>
          </a:p>
          <a:p>
            <a:pPr marL="285750" indent="-285750">
              <a:lnSpc>
                <a:spcPts val="1939"/>
              </a:lnSpc>
              <a:spcBef>
                <a:spcPts val="97"/>
              </a:spcBef>
              <a:buFont typeface="Wingdings" panose="05000000000000000000" pitchFamily="2" charset="2"/>
              <a:buChar char="§"/>
            </a:pPr>
            <a:r>
              <a:rPr lang="en-US" sz="1800" dirty="0"/>
              <a:t>Updating of inventory and financial accounts</a:t>
            </a:r>
          </a:p>
          <a:p>
            <a:pPr marL="38608">
              <a:lnSpc>
                <a:spcPts val="1939"/>
              </a:lnSpc>
              <a:spcBef>
                <a:spcPts val="97"/>
              </a:spcBef>
            </a:pPr>
            <a:endParaRPr lang="en-US" sz="2400" dirty="0"/>
          </a:p>
          <a:p>
            <a:pPr marL="38608">
              <a:lnSpc>
                <a:spcPts val="1939"/>
              </a:lnSpc>
              <a:spcBef>
                <a:spcPts val="97"/>
              </a:spcBef>
            </a:pPr>
            <a:endParaRPr lang="en-US" sz="2400" dirty="0"/>
          </a:p>
          <a:p>
            <a:pPr marL="38608">
              <a:lnSpc>
                <a:spcPts val="1939"/>
              </a:lnSpc>
              <a:spcBef>
                <a:spcPts val="97"/>
              </a:spcBef>
            </a:pPr>
            <a:endParaRPr lang="en-US" sz="2400" dirty="0"/>
          </a:p>
          <a:p>
            <a:endParaRPr lang="en-US" sz="2400" dirty="0"/>
          </a:p>
          <a:p>
            <a:endParaRPr lang="en-US" sz="2400" dirty="0"/>
          </a:p>
          <a:p>
            <a:endParaRPr lang="en-US" sz="2400" dirty="0"/>
          </a:p>
          <a:p>
            <a:endParaRPr lang="en-US" dirty="0"/>
          </a:p>
        </p:txBody>
      </p:sp>
    </p:spTree>
    <p:extLst>
      <p:ext uri="{BB962C8B-B14F-4D97-AF65-F5344CB8AC3E}">
        <p14:creationId xmlns:p14="http://schemas.microsoft.com/office/powerpoint/2010/main" val="2472830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object 45"/>
          <p:cNvSpPr/>
          <p:nvPr/>
        </p:nvSpPr>
        <p:spPr>
          <a:xfrm>
            <a:off x="9265667" y="1188721"/>
            <a:ext cx="57657" cy="214629"/>
          </a:xfrm>
          <a:custGeom>
            <a:avLst/>
            <a:gdLst/>
            <a:ahLst/>
            <a:cxnLst/>
            <a:rect l="l" t="t" r="r" b="b"/>
            <a:pathLst>
              <a:path w="57657" h="214629">
                <a:moveTo>
                  <a:pt x="57657" y="0"/>
                </a:moveTo>
                <a:lnTo>
                  <a:pt x="43306" y="0"/>
                </a:lnTo>
                <a:lnTo>
                  <a:pt x="51515" y="2065"/>
                </a:lnTo>
                <a:lnTo>
                  <a:pt x="57657" y="0"/>
                </a:lnTo>
                <a:close/>
              </a:path>
              <a:path w="57657" h="214629">
                <a:moveTo>
                  <a:pt x="4825" y="126745"/>
                </a:moveTo>
                <a:lnTo>
                  <a:pt x="4825" y="141477"/>
                </a:lnTo>
                <a:lnTo>
                  <a:pt x="14477" y="146303"/>
                </a:lnTo>
                <a:lnTo>
                  <a:pt x="38480" y="160908"/>
                </a:lnTo>
                <a:lnTo>
                  <a:pt x="57657" y="160908"/>
                </a:lnTo>
                <a:lnTo>
                  <a:pt x="81660" y="156082"/>
                </a:lnTo>
                <a:lnTo>
                  <a:pt x="86486" y="151129"/>
                </a:lnTo>
                <a:lnTo>
                  <a:pt x="91312" y="156082"/>
                </a:lnTo>
                <a:lnTo>
                  <a:pt x="110489" y="170687"/>
                </a:lnTo>
                <a:lnTo>
                  <a:pt x="129793" y="185292"/>
                </a:lnTo>
                <a:lnTo>
                  <a:pt x="163322" y="214629"/>
                </a:lnTo>
                <a:lnTo>
                  <a:pt x="182625" y="180466"/>
                </a:lnTo>
                <a:lnTo>
                  <a:pt x="148970" y="151129"/>
                </a:lnTo>
                <a:lnTo>
                  <a:pt x="134619" y="126745"/>
                </a:lnTo>
                <a:lnTo>
                  <a:pt x="134619" y="112140"/>
                </a:lnTo>
                <a:lnTo>
                  <a:pt x="139318" y="92709"/>
                </a:lnTo>
                <a:lnTo>
                  <a:pt x="134619" y="68325"/>
                </a:lnTo>
                <a:lnTo>
                  <a:pt x="120141" y="43941"/>
                </a:lnTo>
                <a:lnTo>
                  <a:pt x="86486" y="24383"/>
                </a:lnTo>
                <a:lnTo>
                  <a:pt x="62483" y="4825"/>
                </a:lnTo>
                <a:lnTo>
                  <a:pt x="51515" y="2065"/>
                </a:lnTo>
                <a:lnTo>
                  <a:pt x="43306" y="4825"/>
                </a:lnTo>
                <a:lnTo>
                  <a:pt x="38480" y="19557"/>
                </a:lnTo>
                <a:lnTo>
                  <a:pt x="43306" y="24383"/>
                </a:lnTo>
                <a:lnTo>
                  <a:pt x="67309" y="53593"/>
                </a:lnTo>
                <a:lnTo>
                  <a:pt x="81660" y="73151"/>
                </a:lnTo>
                <a:lnTo>
                  <a:pt x="52831" y="53593"/>
                </a:lnTo>
                <a:lnTo>
                  <a:pt x="28828" y="43941"/>
                </a:lnTo>
                <a:lnTo>
                  <a:pt x="4825" y="38988"/>
                </a:lnTo>
                <a:lnTo>
                  <a:pt x="0" y="48767"/>
                </a:lnTo>
                <a:lnTo>
                  <a:pt x="4825" y="68325"/>
                </a:lnTo>
                <a:lnTo>
                  <a:pt x="43306" y="87756"/>
                </a:lnTo>
                <a:lnTo>
                  <a:pt x="57657" y="102362"/>
                </a:lnTo>
                <a:lnTo>
                  <a:pt x="57657" y="112140"/>
                </a:lnTo>
                <a:lnTo>
                  <a:pt x="38480" y="117093"/>
                </a:lnTo>
                <a:lnTo>
                  <a:pt x="33654" y="121919"/>
                </a:lnTo>
                <a:lnTo>
                  <a:pt x="19303" y="117093"/>
                </a:lnTo>
                <a:lnTo>
                  <a:pt x="9651" y="117093"/>
                </a:lnTo>
                <a:lnTo>
                  <a:pt x="4825" y="126745"/>
                </a:lnTo>
                <a:close/>
              </a:path>
            </a:pathLst>
          </a:custGeom>
          <a:solidFill>
            <a:srgbClr val="FFDFC0"/>
          </a:solidFill>
        </p:spPr>
        <p:txBody>
          <a:bodyPr wrap="square" lIns="0" tIns="0" rIns="0" bIns="0" rtlCol="0">
            <a:noAutofit/>
          </a:bodyPr>
          <a:lstStyle/>
          <a:p>
            <a:endParaRPr/>
          </a:p>
        </p:txBody>
      </p:sp>
      <p:sp>
        <p:nvSpPr>
          <p:cNvPr id="46" name="object 46"/>
          <p:cNvSpPr/>
          <p:nvPr/>
        </p:nvSpPr>
        <p:spPr>
          <a:xfrm>
            <a:off x="9265667" y="1188721"/>
            <a:ext cx="182625" cy="214629"/>
          </a:xfrm>
          <a:custGeom>
            <a:avLst/>
            <a:gdLst/>
            <a:ahLst/>
            <a:cxnLst/>
            <a:rect l="l" t="t" r="r" b="b"/>
            <a:pathLst>
              <a:path w="182625" h="214629">
                <a:moveTo>
                  <a:pt x="148970" y="151129"/>
                </a:moveTo>
                <a:lnTo>
                  <a:pt x="134619" y="126745"/>
                </a:lnTo>
                <a:lnTo>
                  <a:pt x="134619" y="112140"/>
                </a:lnTo>
                <a:lnTo>
                  <a:pt x="139318" y="92709"/>
                </a:lnTo>
                <a:lnTo>
                  <a:pt x="134619" y="68325"/>
                </a:lnTo>
                <a:lnTo>
                  <a:pt x="120141" y="43941"/>
                </a:lnTo>
                <a:lnTo>
                  <a:pt x="86486" y="24383"/>
                </a:lnTo>
                <a:lnTo>
                  <a:pt x="62483" y="4825"/>
                </a:lnTo>
                <a:lnTo>
                  <a:pt x="43306" y="0"/>
                </a:lnTo>
                <a:lnTo>
                  <a:pt x="57657" y="0"/>
                </a:lnTo>
                <a:lnTo>
                  <a:pt x="43306" y="4825"/>
                </a:lnTo>
                <a:lnTo>
                  <a:pt x="38480" y="19557"/>
                </a:lnTo>
                <a:lnTo>
                  <a:pt x="43306" y="24383"/>
                </a:lnTo>
                <a:lnTo>
                  <a:pt x="67309" y="53593"/>
                </a:lnTo>
                <a:lnTo>
                  <a:pt x="81660" y="73151"/>
                </a:lnTo>
                <a:lnTo>
                  <a:pt x="52831" y="53593"/>
                </a:lnTo>
                <a:lnTo>
                  <a:pt x="28828" y="43941"/>
                </a:lnTo>
                <a:lnTo>
                  <a:pt x="4825" y="38988"/>
                </a:lnTo>
                <a:lnTo>
                  <a:pt x="0" y="48767"/>
                </a:lnTo>
                <a:lnTo>
                  <a:pt x="4825" y="68325"/>
                </a:lnTo>
                <a:lnTo>
                  <a:pt x="43306" y="87756"/>
                </a:lnTo>
                <a:lnTo>
                  <a:pt x="57657" y="102362"/>
                </a:lnTo>
                <a:lnTo>
                  <a:pt x="57657" y="112140"/>
                </a:lnTo>
                <a:lnTo>
                  <a:pt x="38480" y="117093"/>
                </a:lnTo>
                <a:lnTo>
                  <a:pt x="33654" y="121919"/>
                </a:lnTo>
                <a:lnTo>
                  <a:pt x="19303" y="117093"/>
                </a:lnTo>
                <a:lnTo>
                  <a:pt x="9651" y="117093"/>
                </a:lnTo>
                <a:lnTo>
                  <a:pt x="4825" y="126745"/>
                </a:lnTo>
                <a:lnTo>
                  <a:pt x="4825" y="141477"/>
                </a:lnTo>
                <a:lnTo>
                  <a:pt x="14477" y="146303"/>
                </a:lnTo>
                <a:lnTo>
                  <a:pt x="38480" y="160908"/>
                </a:lnTo>
                <a:lnTo>
                  <a:pt x="57657" y="160908"/>
                </a:lnTo>
                <a:lnTo>
                  <a:pt x="81660" y="156082"/>
                </a:lnTo>
                <a:lnTo>
                  <a:pt x="86486" y="151129"/>
                </a:lnTo>
                <a:lnTo>
                  <a:pt x="91312" y="156082"/>
                </a:lnTo>
                <a:lnTo>
                  <a:pt x="110489" y="170687"/>
                </a:lnTo>
                <a:lnTo>
                  <a:pt x="129793" y="185292"/>
                </a:lnTo>
                <a:lnTo>
                  <a:pt x="163322" y="214629"/>
                </a:lnTo>
                <a:lnTo>
                  <a:pt x="182625" y="180466"/>
                </a:lnTo>
                <a:lnTo>
                  <a:pt x="148970" y="151129"/>
                </a:lnTo>
              </a:path>
            </a:pathLst>
          </a:custGeom>
          <a:ln w="12700">
            <a:solidFill>
              <a:srgbClr val="000000"/>
            </a:solidFill>
          </a:ln>
        </p:spPr>
        <p:txBody>
          <a:bodyPr wrap="square" lIns="0" tIns="0" rIns="0" bIns="0" rtlCol="0">
            <a:noAutofit/>
          </a:bodyPr>
          <a:lstStyle/>
          <a:p>
            <a:endParaRPr/>
          </a:p>
        </p:txBody>
      </p:sp>
      <p:sp>
        <p:nvSpPr>
          <p:cNvPr id="47" name="object 47"/>
          <p:cNvSpPr/>
          <p:nvPr/>
        </p:nvSpPr>
        <p:spPr>
          <a:xfrm>
            <a:off x="9376157" y="1330198"/>
            <a:ext cx="273939" cy="287654"/>
          </a:xfrm>
          <a:custGeom>
            <a:avLst/>
            <a:gdLst/>
            <a:ahLst/>
            <a:cxnLst/>
            <a:rect l="l" t="t" r="r" b="b"/>
            <a:pathLst>
              <a:path w="273939" h="287654">
                <a:moveTo>
                  <a:pt x="52832" y="121919"/>
                </a:moveTo>
                <a:lnTo>
                  <a:pt x="110490" y="175513"/>
                </a:lnTo>
                <a:lnTo>
                  <a:pt x="163449" y="224281"/>
                </a:lnTo>
                <a:lnTo>
                  <a:pt x="225805" y="287654"/>
                </a:lnTo>
                <a:lnTo>
                  <a:pt x="259461" y="263271"/>
                </a:lnTo>
                <a:lnTo>
                  <a:pt x="273939" y="234061"/>
                </a:lnTo>
                <a:lnTo>
                  <a:pt x="230632" y="209676"/>
                </a:lnTo>
                <a:lnTo>
                  <a:pt x="182625" y="160909"/>
                </a:lnTo>
                <a:lnTo>
                  <a:pt x="110490" y="92582"/>
                </a:lnTo>
                <a:lnTo>
                  <a:pt x="43307" y="0"/>
                </a:lnTo>
                <a:lnTo>
                  <a:pt x="14477" y="48767"/>
                </a:lnTo>
                <a:lnTo>
                  <a:pt x="0" y="68199"/>
                </a:lnTo>
                <a:lnTo>
                  <a:pt x="9651" y="82803"/>
                </a:lnTo>
                <a:lnTo>
                  <a:pt x="52832" y="121919"/>
                </a:lnTo>
                <a:close/>
              </a:path>
            </a:pathLst>
          </a:custGeom>
          <a:solidFill>
            <a:srgbClr val="4040FF"/>
          </a:solidFill>
        </p:spPr>
        <p:txBody>
          <a:bodyPr wrap="square" lIns="0" tIns="0" rIns="0" bIns="0" rtlCol="0">
            <a:noAutofit/>
          </a:bodyPr>
          <a:lstStyle/>
          <a:p>
            <a:endParaRPr/>
          </a:p>
        </p:txBody>
      </p:sp>
      <p:sp>
        <p:nvSpPr>
          <p:cNvPr id="48" name="object 48"/>
          <p:cNvSpPr/>
          <p:nvPr/>
        </p:nvSpPr>
        <p:spPr>
          <a:xfrm>
            <a:off x="9376157" y="1330198"/>
            <a:ext cx="273939" cy="287654"/>
          </a:xfrm>
          <a:custGeom>
            <a:avLst/>
            <a:gdLst/>
            <a:ahLst/>
            <a:cxnLst/>
            <a:rect l="l" t="t" r="r" b="b"/>
            <a:pathLst>
              <a:path w="273939" h="287654">
                <a:moveTo>
                  <a:pt x="43307" y="0"/>
                </a:moveTo>
                <a:lnTo>
                  <a:pt x="110490" y="92582"/>
                </a:lnTo>
                <a:lnTo>
                  <a:pt x="182625" y="160909"/>
                </a:lnTo>
                <a:lnTo>
                  <a:pt x="230632" y="209676"/>
                </a:lnTo>
                <a:lnTo>
                  <a:pt x="273939" y="234061"/>
                </a:lnTo>
                <a:lnTo>
                  <a:pt x="259461" y="263271"/>
                </a:lnTo>
                <a:lnTo>
                  <a:pt x="225805" y="287654"/>
                </a:lnTo>
                <a:lnTo>
                  <a:pt x="163449" y="224281"/>
                </a:lnTo>
                <a:lnTo>
                  <a:pt x="110490" y="175513"/>
                </a:lnTo>
                <a:lnTo>
                  <a:pt x="52832" y="121919"/>
                </a:lnTo>
                <a:lnTo>
                  <a:pt x="9651" y="82803"/>
                </a:lnTo>
                <a:lnTo>
                  <a:pt x="0" y="68199"/>
                </a:lnTo>
                <a:lnTo>
                  <a:pt x="14477" y="48767"/>
                </a:lnTo>
                <a:lnTo>
                  <a:pt x="43307" y="0"/>
                </a:lnTo>
              </a:path>
            </a:pathLst>
          </a:custGeom>
          <a:ln w="12700">
            <a:solidFill>
              <a:srgbClr val="000000"/>
            </a:solidFill>
          </a:ln>
        </p:spPr>
        <p:txBody>
          <a:bodyPr wrap="square" lIns="0" tIns="0" rIns="0" bIns="0" rtlCol="0">
            <a:noAutofit/>
          </a:bodyPr>
          <a:lstStyle/>
          <a:p>
            <a:endParaRPr/>
          </a:p>
        </p:txBody>
      </p:sp>
      <p:sp>
        <p:nvSpPr>
          <p:cNvPr id="49" name="object 49"/>
          <p:cNvSpPr/>
          <p:nvPr/>
        </p:nvSpPr>
        <p:spPr>
          <a:xfrm>
            <a:off x="8184769" y="1252092"/>
            <a:ext cx="547624" cy="1214374"/>
          </a:xfrm>
          <a:custGeom>
            <a:avLst/>
            <a:gdLst/>
            <a:ahLst/>
            <a:cxnLst/>
            <a:rect l="l" t="t" r="r" b="b"/>
            <a:pathLst>
              <a:path w="547624" h="1214374">
                <a:moveTo>
                  <a:pt x="0" y="0"/>
                </a:moveTo>
                <a:lnTo>
                  <a:pt x="0" y="1214374"/>
                </a:lnTo>
                <a:lnTo>
                  <a:pt x="547624" y="1214374"/>
                </a:lnTo>
                <a:lnTo>
                  <a:pt x="547624" y="0"/>
                </a:lnTo>
                <a:lnTo>
                  <a:pt x="0" y="0"/>
                </a:lnTo>
                <a:close/>
              </a:path>
            </a:pathLst>
          </a:custGeom>
          <a:solidFill>
            <a:srgbClr val="FFC080"/>
          </a:solidFill>
        </p:spPr>
        <p:txBody>
          <a:bodyPr wrap="square" lIns="0" tIns="0" rIns="0" bIns="0" rtlCol="0">
            <a:noAutofit/>
          </a:bodyPr>
          <a:lstStyle/>
          <a:p>
            <a:endParaRPr/>
          </a:p>
        </p:txBody>
      </p:sp>
      <p:sp>
        <p:nvSpPr>
          <p:cNvPr id="50" name="object 50"/>
          <p:cNvSpPr/>
          <p:nvPr/>
        </p:nvSpPr>
        <p:spPr>
          <a:xfrm>
            <a:off x="8184769" y="1252092"/>
            <a:ext cx="547624" cy="1214374"/>
          </a:xfrm>
          <a:custGeom>
            <a:avLst/>
            <a:gdLst/>
            <a:ahLst/>
            <a:cxnLst/>
            <a:rect l="l" t="t" r="r" b="b"/>
            <a:pathLst>
              <a:path w="547624" h="1214374">
                <a:moveTo>
                  <a:pt x="0" y="0"/>
                </a:moveTo>
                <a:lnTo>
                  <a:pt x="547624" y="0"/>
                </a:lnTo>
                <a:lnTo>
                  <a:pt x="547624" y="1214374"/>
                </a:lnTo>
                <a:lnTo>
                  <a:pt x="0" y="1214374"/>
                </a:lnTo>
                <a:lnTo>
                  <a:pt x="0" y="0"/>
                </a:lnTo>
              </a:path>
            </a:pathLst>
          </a:custGeom>
          <a:ln w="12700">
            <a:solidFill>
              <a:srgbClr val="000000"/>
            </a:solidFill>
          </a:ln>
        </p:spPr>
        <p:txBody>
          <a:bodyPr wrap="square" lIns="0" tIns="0" rIns="0" bIns="0" rtlCol="0">
            <a:noAutofit/>
          </a:bodyPr>
          <a:lstStyle/>
          <a:p>
            <a:endParaRPr/>
          </a:p>
        </p:txBody>
      </p:sp>
      <p:sp>
        <p:nvSpPr>
          <p:cNvPr id="51" name="object 51"/>
          <p:cNvSpPr/>
          <p:nvPr/>
        </p:nvSpPr>
        <p:spPr>
          <a:xfrm>
            <a:off x="8026273" y="1252093"/>
            <a:ext cx="158496" cy="1209421"/>
          </a:xfrm>
          <a:custGeom>
            <a:avLst/>
            <a:gdLst/>
            <a:ahLst/>
            <a:cxnLst/>
            <a:rect l="l" t="t" r="r" b="b"/>
            <a:pathLst>
              <a:path w="158496" h="1209421">
                <a:moveTo>
                  <a:pt x="158496" y="1209421"/>
                </a:moveTo>
                <a:lnTo>
                  <a:pt x="158496" y="0"/>
                </a:lnTo>
                <a:lnTo>
                  <a:pt x="0" y="68326"/>
                </a:lnTo>
                <a:lnTo>
                  <a:pt x="0" y="1068070"/>
                </a:lnTo>
                <a:lnTo>
                  <a:pt x="158496" y="1209421"/>
                </a:lnTo>
                <a:close/>
              </a:path>
            </a:pathLst>
          </a:custGeom>
          <a:solidFill>
            <a:srgbClr val="FF9F40"/>
          </a:solidFill>
        </p:spPr>
        <p:txBody>
          <a:bodyPr wrap="square" lIns="0" tIns="0" rIns="0" bIns="0" rtlCol="0">
            <a:noAutofit/>
          </a:bodyPr>
          <a:lstStyle/>
          <a:p>
            <a:endParaRPr/>
          </a:p>
        </p:txBody>
      </p:sp>
      <p:sp>
        <p:nvSpPr>
          <p:cNvPr id="52" name="object 52"/>
          <p:cNvSpPr/>
          <p:nvPr/>
        </p:nvSpPr>
        <p:spPr>
          <a:xfrm>
            <a:off x="8026273" y="1252093"/>
            <a:ext cx="158496" cy="1209421"/>
          </a:xfrm>
          <a:custGeom>
            <a:avLst/>
            <a:gdLst/>
            <a:ahLst/>
            <a:cxnLst/>
            <a:rect l="l" t="t" r="r" b="b"/>
            <a:pathLst>
              <a:path w="158496" h="1209421">
                <a:moveTo>
                  <a:pt x="158496" y="1209421"/>
                </a:moveTo>
                <a:lnTo>
                  <a:pt x="0" y="1068070"/>
                </a:lnTo>
                <a:lnTo>
                  <a:pt x="0" y="68326"/>
                </a:lnTo>
                <a:lnTo>
                  <a:pt x="158496" y="0"/>
                </a:lnTo>
                <a:lnTo>
                  <a:pt x="158496" y="1209421"/>
                </a:lnTo>
              </a:path>
            </a:pathLst>
          </a:custGeom>
          <a:ln w="12699">
            <a:solidFill>
              <a:srgbClr val="000000"/>
            </a:solidFill>
          </a:ln>
        </p:spPr>
        <p:txBody>
          <a:bodyPr wrap="square" lIns="0" tIns="0" rIns="0" bIns="0" rtlCol="0">
            <a:noAutofit/>
          </a:bodyPr>
          <a:lstStyle/>
          <a:p>
            <a:endParaRPr/>
          </a:p>
        </p:txBody>
      </p:sp>
      <p:sp>
        <p:nvSpPr>
          <p:cNvPr id="53" name="object 53"/>
          <p:cNvSpPr/>
          <p:nvPr/>
        </p:nvSpPr>
        <p:spPr>
          <a:xfrm>
            <a:off x="7757161" y="686435"/>
            <a:ext cx="595757" cy="1599564"/>
          </a:xfrm>
          <a:custGeom>
            <a:avLst/>
            <a:gdLst/>
            <a:ahLst/>
            <a:cxnLst/>
            <a:rect l="l" t="t" r="r" b="b"/>
            <a:pathLst>
              <a:path w="595757" h="1599564">
                <a:moveTo>
                  <a:pt x="0" y="0"/>
                </a:moveTo>
                <a:lnTo>
                  <a:pt x="0" y="1599564"/>
                </a:lnTo>
                <a:lnTo>
                  <a:pt x="595757" y="1599564"/>
                </a:lnTo>
                <a:lnTo>
                  <a:pt x="595757" y="0"/>
                </a:lnTo>
                <a:lnTo>
                  <a:pt x="0" y="0"/>
                </a:lnTo>
                <a:close/>
              </a:path>
            </a:pathLst>
          </a:custGeom>
          <a:solidFill>
            <a:srgbClr val="FFC080"/>
          </a:solidFill>
        </p:spPr>
        <p:txBody>
          <a:bodyPr wrap="square" lIns="0" tIns="0" rIns="0" bIns="0" rtlCol="0">
            <a:noAutofit/>
          </a:bodyPr>
          <a:lstStyle/>
          <a:p>
            <a:endParaRPr/>
          </a:p>
        </p:txBody>
      </p:sp>
      <p:sp>
        <p:nvSpPr>
          <p:cNvPr id="54" name="object 54"/>
          <p:cNvSpPr/>
          <p:nvPr/>
        </p:nvSpPr>
        <p:spPr>
          <a:xfrm>
            <a:off x="7757161" y="686435"/>
            <a:ext cx="595757" cy="1599564"/>
          </a:xfrm>
          <a:custGeom>
            <a:avLst/>
            <a:gdLst/>
            <a:ahLst/>
            <a:cxnLst/>
            <a:rect l="l" t="t" r="r" b="b"/>
            <a:pathLst>
              <a:path w="595757" h="1599564">
                <a:moveTo>
                  <a:pt x="0" y="0"/>
                </a:moveTo>
                <a:lnTo>
                  <a:pt x="595757" y="0"/>
                </a:lnTo>
                <a:lnTo>
                  <a:pt x="595757" y="1599564"/>
                </a:lnTo>
                <a:lnTo>
                  <a:pt x="0" y="1599564"/>
                </a:lnTo>
                <a:lnTo>
                  <a:pt x="0" y="0"/>
                </a:lnTo>
              </a:path>
            </a:pathLst>
          </a:custGeom>
          <a:ln w="12700">
            <a:solidFill>
              <a:srgbClr val="000000"/>
            </a:solidFill>
          </a:ln>
        </p:spPr>
        <p:txBody>
          <a:bodyPr wrap="square" lIns="0" tIns="0" rIns="0" bIns="0" rtlCol="0">
            <a:noAutofit/>
          </a:bodyPr>
          <a:lstStyle/>
          <a:p>
            <a:endParaRPr/>
          </a:p>
        </p:txBody>
      </p:sp>
      <p:sp>
        <p:nvSpPr>
          <p:cNvPr id="55" name="object 55"/>
          <p:cNvSpPr/>
          <p:nvPr/>
        </p:nvSpPr>
        <p:spPr>
          <a:xfrm>
            <a:off x="7598664" y="686435"/>
            <a:ext cx="158496" cy="1599564"/>
          </a:xfrm>
          <a:custGeom>
            <a:avLst/>
            <a:gdLst/>
            <a:ahLst/>
            <a:cxnLst/>
            <a:rect l="l" t="t" r="r" b="b"/>
            <a:pathLst>
              <a:path w="158496" h="1599564">
                <a:moveTo>
                  <a:pt x="158496" y="0"/>
                </a:moveTo>
                <a:lnTo>
                  <a:pt x="0" y="121919"/>
                </a:lnTo>
                <a:lnTo>
                  <a:pt x="0" y="1560576"/>
                </a:lnTo>
                <a:lnTo>
                  <a:pt x="158496" y="1599564"/>
                </a:lnTo>
                <a:lnTo>
                  <a:pt x="158496" y="0"/>
                </a:lnTo>
                <a:close/>
              </a:path>
            </a:pathLst>
          </a:custGeom>
          <a:solidFill>
            <a:srgbClr val="FF9F40"/>
          </a:solidFill>
        </p:spPr>
        <p:txBody>
          <a:bodyPr wrap="square" lIns="0" tIns="0" rIns="0" bIns="0" rtlCol="0">
            <a:noAutofit/>
          </a:bodyPr>
          <a:lstStyle/>
          <a:p>
            <a:endParaRPr/>
          </a:p>
        </p:txBody>
      </p:sp>
      <p:sp>
        <p:nvSpPr>
          <p:cNvPr id="56" name="object 56"/>
          <p:cNvSpPr/>
          <p:nvPr/>
        </p:nvSpPr>
        <p:spPr>
          <a:xfrm>
            <a:off x="7598664" y="686435"/>
            <a:ext cx="158496" cy="1599564"/>
          </a:xfrm>
          <a:custGeom>
            <a:avLst/>
            <a:gdLst/>
            <a:ahLst/>
            <a:cxnLst/>
            <a:rect l="l" t="t" r="r" b="b"/>
            <a:pathLst>
              <a:path w="158496" h="1599564">
                <a:moveTo>
                  <a:pt x="158496" y="0"/>
                </a:moveTo>
                <a:lnTo>
                  <a:pt x="0" y="121919"/>
                </a:lnTo>
                <a:lnTo>
                  <a:pt x="0" y="1560576"/>
                </a:lnTo>
                <a:lnTo>
                  <a:pt x="158496" y="1599564"/>
                </a:lnTo>
                <a:lnTo>
                  <a:pt x="158496" y="0"/>
                </a:lnTo>
              </a:path>
            </a:pathLst>
          </a:custGeom>
          <a:ln w="12700">
            <a:solidFill>
              <a:srgbClr val="000000"/>
            </a:solidFill>
          </a:ln>
        </p:spPr>
        <p:txBody>
          <a:bodyPr wrap="square" lIns="0" tIns="0" rIns="0" bIns="0" rtlCol="0">
            <a:noAutofit/>
          </a:bodyPr>
          <a:lstStyle/>
          <a:p>
            <a:endParaRPr/>
          </a:p>
        </p:txBody>
      </p:sp>
      <p:sp>
        <p:nvSpPr>
          <p:cNvPr id="57" name="object 57"/>
          <p:cNvSpPr/>
          <p:nvPr/>
        </p:nvSpPr>
        <p:spPr>
          <a:xfrm>
            <a:off x="7473696" y="1252092"/>
            <a:ext cx="552576" cy="1214374"/>
          </a:xfrm>
          <a:custGeom>
            <a:avLst/>
            <a:gdLst/>
            <a:ahLst/>
            <a:cxnLst/>
            <a:rect l="l" t="t" r="r" b="b"/>
            <a:pathLst>
              <a:path w="552576" h="1214374">
                <a:moveTo>
                  <a:pt x="0" y="0"/>
                </a:moveTo>
                <a:lnTo>
                  <a:pt x="0" y="1214374"/>
                </a:lnTo>
                <a:lnTo>
                  <a:pt x="552576" y="1214374"/>
                </a:lnTo>
                <a:lnTo>
                  <a:pt x="552576" y="0"/>
                </a:lnTo>
                <a:lnTo>
                  <a:pt x="0" y="0"/>
                </a:lnTo>
                <a:close/>
              </a:path>
            </a:pathLst>
          </a:custGeom>
          <a:solidFill>
            <a:srgbClr val="FFC080"/>
          </a:solidFill>
        </p:spPr>
        <p:txBody>
          <a:bodyPr wrap="square" lIns="0" tIns="0" rIns="0" bIns="0" rtlCol="0">
            <a:noAutofit/>
          </a:bodyPr>
          <a:lstStyle/>
          <a:p>
            <a:endParaRPr/>
          </a:p>
        </p:txBody>
      </p:sp>
      <p:sp>
        <p:nvSpPr>
          <p:cNvPr id="58" name="object 58"/>
          <p:cNvSpPr/>
          <p:nvPr/>
        </p:nvSpPr>
        <p:spPr>
          <a:xfrm>
            <a:off x="7473696" y="1252092"/>
            <a:ext cx="552576" cy="1214374"/>
          </a:xfrm>
          <a:custGeom>
            <a:avLst/>
            <a:gdLst/>
            <a:ahLst/>
            <a:cxnLst/>
            <a:rect l="l" t="t" r="r" b="b"/>
            <a:pathLst>
              <a:path w="552576" h="1214374">
                <a:moveTo>
                  <a:pt x="0" y="0"/>
                </a:moveTo>
                <a:lnTo>
                  <a:pt x="552576" y="0"/>
                </a:lnTo>
                <a:lnTo>
                  <a:pt x="552576" y="1214374"/>
                </a:lnTo>
                <a:lnTo>
                  <a:pt x="0" y="1214374"/>
                </a:lnTo>
                <a:lnTo>
                  <a:pt x="0" y="0"/>
                </a:lnTo>
              </a:path>
            </a:pathLst>
          </a:custGeom>
          <a:ln w="12700">
            <a:solidFill>
              <a:srgbClr val="000000"/>
            </a:solidFill>
          </a:ln>
        </p:spPr>
        <p:txBody>
          <a:bodyPr wrap="square" lIns="0" tIns="0" rIns="0" bIns="0" rtlCol="0">
            <a:noAutofit/>
          </a:bodyPr>
          <a:lstStyle/>
          <a:p>
            <a:endParaRPr/>
          </a:p>
        </p:txBody>
      </p:sp>
      <p:sp>
        <p:nvSpPr>
          <p:cNvPr id="59" name="object 59"/>
          <p:cNvSpPr/>
          <p:nvPr/>
        </p:nvSpPr>
        <p:spPr>
          <a:xfrm>
            <a:off x="7315200" y="1252093"/>
            <a:ext cx="158496" cy="1209421"/>
          </a:xfrm>
          <a:custGeom>
            <a:avLst/>
            <a:gdLst/>
            <a:ahLst/>
            <a:cxnLst/>
            <a:rect l="l" t="t" r="r" b="b"/>
            <a:pathLst>
              <a:path w="158496" h="1209421">
                <a:moveTo>
                  <a:pt x="158496" y="1209421"/>
                </a:moveTo>
                <a:lnTo>
                  <a:pt x="158496" y="0"/>
                </a:lnTo>
                <a:lnTo>
                  <a:pt x="0" y="68326"/>
                </a:lnTo>
                <a:lnTo>
                  <a:pt x="0" y="1068070"/>
                </a:lnTo>
                <a:lnTo>
                  <a:pt x="158496" y="1209421"/>
                </a:lnTo>
                <a:close/>
              </a:path>
            </a:pathLst>
          </a:custGeom>
          <a:solidFill>
            <a:srgbClr val="FF9F40"/>
          </a:solidFill>
        </p:spPr>
        <p:txBody>
          <a:bodyPr wrap="square" lIns="0" tIns="0" rIns="0" bIns="0" rtlCol="0">
            <a:noAutofit/>
          </a:bodyPr>
          <a:lstStyle/>
          <a:p>
            <a:endParaRPr/>
          </a:p>
        </p:txBody>
      </p:sp>
      <p:sp>
        <p:nvSpPr>
          <p:cNvPr id="60" name="object 60"/>
          <p:cNvSpPr/>
          <p:nvPr/>
        </p:nvSpPr>
        <p:spPr>
          <a:xfrm>
            <a:off x="7315200" y="1252093"/>
            <a:ext cx="158496" cy="1209421"/>
          </a:xfrm>
          <a:custGeom>
            <a:avLst/>
            <a:gdLst/>
            <a:ahLst/>
            <a:cxnLst/>
            <a:rect l="l" t="t" r="r" b="b"/>
            <a:pathLst>
              <a:path w="158496" h="1209421">
                <a:moveTo>
                  <a:pt x="158496" y="1209421"/>
                </a:moveTo>
                <a:lnTo>
                  <a:pt x="0" y="1068070"/>
                </a:lnTo>
                <a:lnTo>
                  <a:pt x="0" y="68326"/>
                </a:lnTo>
                <a:lnTo>
                  <a:pt x="158496" y="0"/>
                </a:lnTo>
                <a:lnTo>
                  <a:pt x="158496" y="1209421"/>
                </a:lnTo>
              </a:path>
            </a:pathLst>
          </a:custGeom>
          <a:ln w="12699">
            <a:solidFill>
              <a:srgbClr val="000000"/>
            </a:solidFill>
          </a:ln>
        </p:spPr>
        <p:txBody>
          <a:bodyPr wrap="square" lIns="0" tIns="0" rIns="0" bIns="0" rtlCol="0">
            <a:noAutofit/>
          </a:bodyPr>
          <a:lstStyle/>
          <a:p>
            <a:endParaRPr/>
          </a:p>
        </p:txBody>
      </p:sp>
      <p:sp>
        <p:nvSpPr>
          <p:cNvPr id="61" name="object 61"/>
          <p:cNvSpPr/>
          <p:nvPr/>
        </p:nvSpPr>
        <p:spPr>
          <a:xfrm>
            <a:off x="8535417" y="866901"/>
            <a:ext cx="240283" cy="1204468"/>
          </a:xfrm>
          <a:custGeom>
            <a:avLst/>
            <a:gdLst/>
            <a:ahLst/>
            <a:cxnLst/>
            <a:rect l="l" t="t" r="r" b="b"/>
            <a:pathLst>
              <a:path w="240283" h="1204468">
                <a:moveTo>
                  <a:pt x="0" y="1204468"/>
                </a:moveTo>
                <a:lnTo>
                  <a:pt x="240283" y="1204468"/>
                </a:lnTo>
                <a:lnTo>
                  <a:pt x="240283" y="0"/>
                </a:lnTo>
                <a:lnTo>
                  <a:pt x="0" y="0"/>
                </a:lnTo>
                <a:lnTo>
                  <a:pt x="0" y="1204468"/>
                </a:lnTo>
                <a:close/>
              </a:path>
            </a:pathLst>
          </a:custGeom>
          <a:solidFill>
            <a:srgbClr val="FFC080"/>
          </a:solidFill>
        </p:spPr>
        <p:txBody>
          <a:bodyPr wrap="square" lIns="0" tIns="0" rIns="0" bIns="0" rtlCol="0">
            <a:noAutofit/>
          </a:bodyPr>
          <a:lstStyle/>
          <a:p>
            <a:endParaRPr/>
          </a:p>
        </p:txBody>
      </p:sp>
      <p:sp>
        <p:nvSpPr>
          <p:cNvPr id="62" name="object 62"/>
          <p:cNvSpPr/>
          <p:nvPr/>
        </p:nvSpPr>
        <p:spPr>
          <a:xfrm>
            <a:off x="8535416" y="866901"/>
            <a:ext cx="552576" cy="1204468"/>
          </a:xfrm>
          <a:custGeom>
            <a:avLst/>
            <a:gdLst/>
            <a:ahLst/>
            <a:cxnLst/>
            <a:rect l="l" t="t" r="r" b="b"/>
            <a:pathLst>
              <a:path w="552576" h="1204468">
                <a:moveTo>
                  <a:pt x="0" y="0"/>
                </a:moveTo>
                <a:lnTo>
                  <a:pt x="552576" y="0"/>
                </a:lnTo>
                <a:lnTo>
                  <a:pt x="552576" y="1204468"/>
                </a:lnTo>
                <a:lnTo>
                  <a:pt x="0" y="1204468"/>
                </a:lnTo>
                <a:lnTo>
                  <a:pt x="0" y="0"/>
                </a:lnTo>
              </a:path>
            </a:pathLst>
          </a:custGeom>
          <a:ln w="12700">
            <a:solidFill>
              <a:srgbClr val="000000"/>
            </a:solidFill>
          </a:ln>
        </p:spPr>
        <p:txBody>
          <a:bodyPr wrap="square" lIns="0" tIns="0" rIns="0" bIns="0" rtlCol="0">
            <a:noAutofit/>
          </a:bodyPr>
          <a:lstStyle/>
          <a:p>
            <a:endParaRPr/>
          </a:p>
        </p:txBody>
      </p:sp>
      <p:sp>
        <p:nvSpPr>
          <p:cNvPr id="63" name="object 63"/>
          <p:cNvSpPr/>
          <p:nvPr/>
        </p:nvSpPr>
        <p:spPr>
          <a:xfrm>
            <a:off x="8376920" y="866901"/>
            <a:ext cx="158496" cy="1204468"/>
          </a:xfrm>
          <a:custGeom>
            <a:avLst/>
            <a:gdLst/>
            <a:ahLst/>
            <a:cxnLst/>
            <a:rect l="l" t="t" r="r" b="b"/>
            <a:pathLst>
              <a:path w="158496" h="1204468">
                <a:moveTo>
                  <a:pt x="158496" y="1204468"/>
                </a:moveTo>
                <a:lnTo>
                  <a:pt x="158496" y="0"/>
                </a:lnTo>
                <a:lnTo>
                  <a:pt x="0" y="68199"/>
                </a:lnTo>
                <a:lnTo>
                  <a:pt x="0" y="1063117"/>
                </a:lnTo>
                <a:lnTo>
                  <a:pt x="158496" y="1204468"/>
                </a:lnTo>
                <a:close/>
              </a:path>
            </a:pathLst>
          </a:custGeom>
          <a:solidFill>
            <a:srgbClr val="FF9F40"/>
          </a:solidFill>
        </p:spPr>
        <p:txBody>
          <a:bodyPr wrap="square" lIns="0" tIns="0" rIns="0" bIns="0" rtlCol="0">
            <a:noAutofit/>
          </a:bodyPr>
          <a:lstStyle/>
          <a:p>
            <a:endParaRPr/>
          </a:p>
        </p:txBody>
      </p:sp>
      <p:sp>
        <p:nvSpPr>
          <p:cNvPr id="64" name="object 64"/>
          <p:cNvSpPr/>
          <p:nvPr/>
        </p:nvSpPr>
        <p:spPr>
          <a:xfrm>
            <a:off x="8376920" y="866901"/>
            <a:ext cx="158496" cy="1204468"/>
          </a:xfrm>
          <a:custGeom>
            <a:avLst/>
            <a:gdLst/>
            <a:ahLst/>
            <a:cxnLst/>
            <a:rect l="l" t="t" r="r" b="b"/>
            <a:pathLst>
              <a:path w="158496" h="1204468">
                <a:moveTo>
                  <a:pt x="158496" y="1204468"/>
                </a:moveTo>
                <a:lnTo>
                  <a:pt x="0" y="1063117"/>
                </a:lnTo>
                <a:lnTo>
                  <a:pt x="0" y="68199"/>
                </a:lnTo>
                <a:lnTo>
                  <a:pt x="158496" y="0"/>
                </a:lnTo>
                <a:lnTo>
                  <a:pt x="158496" y="1204468"/>
                </a:lnTo>
              </a:path>
            </a:pathLst>
          </a:custGeom>
          <a:ln w="12699">
            <a:solidFill>
              <a:srgbClr val="000000"/>
            </a:solidFill>
          </a:ln>
        </p:spPr>
        <p:txBody>
          <a:bodyPr wrap="square" lIns="0" tIns="0" rIns="0" bIns="0" rtlCol="0">
            <a:noAutofit/>
          </a:bodyPr>
          <a:lstStyle/>
          <a:p>
            <a:endParaRPr/>
          </a:p>
        </p:txBody>
      </p:sp>
      <p:sp>
        <p:nvSpPr>
          <p:cNvPr id="65" name="object 65"/>
          <p:cNvSpPr/>
          <p:nvPr/>
        </p:nvSpPr>
        <p:spPr>
          <a:xfrm>
            <a:off x="8670036" y="652272"/>
            <a:ext cx="682117" cy="112140"/>
          </a:xfrm>
          <a:custGeom>
            <a:avLst/>
            <a:gdLst/>
            <a:ahLst/>
            <a:cxnLst/>
            <a:rect l="l" t="t" r="r" b="b"/>
            <a:pathLst>
              <a:path w="682117" h="112140">
                <a:moveTo>
                  <a:pt x="682117" y="0"/>
                </a:moveTo>
                <a:lnTo>
                  <a:pt x="225806" y="0"/>
                </a:lnTo>
                <a:lnTo>
                  <a:pt x="0" y="112140"/>
                </a:lnTo>
                <a:lnTo>
                  <a:pt x="465963" y="112140"/>
                </a:lnTo>
                <a:lnTo>
                  <a:pt x="682117" y="0"/>
                </a:lnTo>
                <a:close/>
              </a:path>
            </a:pathLst>
          </a:custGeom>
          <a:solidFill>
            <a:srgbClr val="FFC080"/>
          </a:solidFill>
        </p:spPr>
        <p:txBody>
          <a:bodyPr wrap="square" lIns="0" tIns="0" rIns="0" bIns="0" rtlCol="0">
            <a:noAutofit/>
          </a:bodyPr>
          <a:lstStyle/>
          <a:p>
            <a:endParaRPr/>
          </a:p>
        </p:txBody>
      </p:sp>
      <p:sp>
        <p:nvSpPr>
          <p:cNvPr id="66" name="object 66"/>
          <p:cNvSpPr/>
          <p:nvPr/>
        </p:nvSpPr>
        <p:spPr>
          <a:xfrm>
            <a:off x="8670036" y="652272"/>
            <a:ext cx="682117" cy="112140"/>
          </a:xfrm>
          <a:custGeom>
            <a:avLst/>
            <a:gdLst/>
            <a:ahLst/>
            <a:cxnLst/>
            <a:rect l="l" t="t" r="r" b="b"/>
            <a:pathLst>
              <a:path w="682117" h="112140">
                <a:moveTo>
                  <a:pt x="682117" y="0"/>
                </a:moveTo>
                <a:lnTo>
                  <a:pt x="465963" y="112140"/>
                </a:lnTo>
                <a:lnTo>
                  <a:pt x="0" y="112140"/>
                </a:lnTo>
                <a:lnTo>
                  <a:pt x="225806" y="0"/>
                </a:lnTo>
                <a:lnTo>
                  <a:pt x="682117" y="0"/>
                </a:lnTo>
              </a:path>
            </a:pathLst>
          </a:custGeom>
          <a:ln w="12699">
            <a:solidFill>
              <a:srgbClr val="000000"/>
            </a:solidFill>
          </a:ln>
        </p:spPr>
        <p:txBody>
          <a:bodyPr wrap="square" lIns="0" tIns="0" rIns="0" bIns="0" rtlCol="0">
            <a:noAutofit/>
          </a:bodyPr>
          <a:lstStyle/>
          <a:p>
            <a:endParaRPr/>
          </a:p>
        </p:txBody>
      </p:sp>
      <p:sp>
        <p:nvSpPr>
          <p:cNvPr id="67" name="object 67"/>
          <p:cNvSpPr/>
          <p:nvPr/>
        </p:nvSpPr>
        <p:spPr>
          <a:xfrm>
            <a:off x="8895842" y="457200"/>
            <a:ext cx="456310" cy="195072"/>
          </a:xfrm>
          <a:custGeom>
            <a:avLst/>
            <a:gdLst/>
            <a:ahLst/>
            <a:cxnLst/>
            <a:rect l="l" t="t" r="r" b="b"/>
            <a:pathLst>
              <a:path w="456310" h="195072">
                <a:moveTo>
                  <a:pt x="456310" y="195072"/>
                </a:moveTo>
                <a:lnTo>
                  <a:pt x="456310" y="0"/>
                </a:lnTo>
                <a:lnTo>
                  <a:pt x="0" y="0"/>
                </a:lnTo>
                <a:lnTo>
                  <a:pt x="0" y="195072"/>
                </a:lnTo>
                <a:lnTo>
                  <a:pt x="456310" y="195072"/>
                </a:lnTo>
                <a:close/>
              </a:path>
            </a:pathLst>
          </a:custGeom>
          <a:solidFill>
            <a:srgbClr val="FFC080"/>
          </a:solidFill>
        </p:spPr>
        <p:txBody>
          <a:bodyPr wrap="square" lIns="0" tIns="0" rIns="0" bIns="0" rtlCol="0">
            <a:noAutofit/>
          </a:bodyPr>
          <a:lstStyle/>
          <a:p>
            <a:endParaRPr/>
          </a:p>
        </p:txBody>
      </p:sp>
      <p:sp>
        <p:nvSpPr>
          <p:cNvPr id="68" name="object 68"/>
          <p:cNvSpPr/>
          <p:nvPr/>
        </p:nvSpPr>
        <p:spPr>
          <a:xfrm>
            <a:off x="8895842" y="457200"/>
            <a:ext cx="456310" cy="195072"/>
          </a:xfrm>
          <a:custGeom>
            <a:avLst/>
            <a:gdLst/>
            <a:ahLst/>
            <a:cxnLst/>
            <a:rect l="l" t="t" r="r" b="b"/>
            <a:pathLst>
              <a:path w="456310" h="195072">
                <a:moveTo>
                  <a:pt x="456310" y="195072"/>
                </a:moveTo>
                <a:lnTo>
                  <a:pt x="456310" y="0"/>
                </a:lnTo>
                <a:lnTo>
                  <a:pt x="0" y="0"/>
                </a:lnTo>
                <a:lnTo>
                  <a:pt x="0" y="195072"/>
                </a:lnTo>
                <a:lnTo>
                  <a:pt x="456310" y="195072"/>
                </a:lnTo>
              </a:path>
            </a:pathLst>
          </a:custGeom>
          <a:ln w="12700">
            <a:solidFill>
              <a:srgbClr val="000000"/>
            </a:solidFill>
          </a:ln>
        </p:spPr>
        <p:txBody>
          <a:bodyPr wrap="square" lIns="0" tIns="0" rIns="0" bIns="0" rtlCol="0">
            <a:noAutofit/>
          </a:bodyPr>
          <a:lstStyle/>
          <a:p>
            <a:endParaRPr/>
          </a:p>
        </p:txBody>
      </p:sp>
      <p:sp>
        <p:nvSpPr>
          <p:cNvPr id="69" name="object 69"/>
          <p:cNvSpPr/>
          <p:nvPr/>
        </p:nvSpPr>
        <p:spPr>
          <a:xfrm>
            <a:off x="8670035" y="457201"/>
            <a:ext cx="225806" cy="307213"/>
          </a:xfrm>
          <a:custGeom>
            <a:avLst/>
            <a:gdLst/>
            <a:ahLst/>
            <a:cxnLst/>
            <a:rect l="l" t="t" r="r" b="b"/>
            <a:pathLst>
              <a:path w="225806" h="307213">
                <a:moveTo>
                  <a:pt x="225806" y="195072"/>
                </a:moveTo>
                <a:lnTo>
                  <a:pt x="225806" y="0"/>
                </a:lnTo>
                <a:lnTo>
                  <a:pt x="0" y="136525"/>
                </a:lnTo>
                <a:lnTo>
                  <a:pt x="0" y="307213"/>
                </a:lnTo>
                <a:lnTo>
                  <a:pt x="225806" y="195072"/>
                </a:lnTo>
                <a:close/>
              </a:path>
            </a:pathLst>
          </a:custGeom>
          <a:solidFill>
            <a:srgbClr val="FF9F40"/>
          </a:solidFill>
        </p:spPr>
        <p:txBody>
          <a:bodyPr wrap="square" lIns="0" tIns="0" rIns="0" bIns="0" rtlCol="0">
            <a:noAutofit/>
          </a:bodyPr>
          <a:lstStyle/>
          <a:p>
            <a:endParaRPr/>
          </a:p>
        </p:txBody>
      </p:sp>
      <p:sp>
        <p:nvSpPr>
          <p:cNvPr id="70" name="object 70"/>
          <p:cNvSpPr/>
          <p:nvPr/>
        </p:nvSpPr>
        <p:spPr>
          <a:xfrm>
            <a:off x="8670035" y="457201"/>
            <a:ext cx="225806" cy="307213"/>
          </a:xfrm>
          <a:custGeom>
            <a:avLst/>
            <a:gdLst/>
            <a:ahLst/>
            <a:cxnLst/>
            <a:rect l="l" t="t" r="r" b="b"/>
            <a:pathLst>
              <a:path w="225806" h="307213">
                <a:moveTo>
                  <a:pt x="225806" y="195072"/>
                </a:moveTo>
                <a:lnTo>
                  <a:pt x="0" y="307213"/>
                </a:lnTo>
                <a:lnTo>
                  <a:pt x="0" y="136525"/>
                </a:lnTo>
                <a:lnTo>
                  <a:pt x="225806" y="0"/>
                </a:lnTo>
                <a:lnTo>
                  <a:pt x="225806" y="195072"/>
                </a:lnTo>
              </a:path>
            </a:pathLst>
          </a:custGeom>
          <a:ln w="12700">
            <a:solidFill>
              <a:srgbClr val="000000"/>
            </a:solidFill>
          </a:ln>
        </p:spPr>
        <p:txBody>
          <a:bodyPr wrap="square" lIns="0" tIns="0" rIns="0" bIns="0" rtlCol="0">
            <a:noAutofit/>
          </a:bodyPr>
          <a:lstStyle/>
          <a:p>
            <a:endParaRPr/>
          </a:p>
        </p:txBody>
      </p:sp>
      <p:sp>
        <p:nvSpPr>
          <p:cNvPr id="71" name="object 71"/>
          <p:cNvSpPr/>
          <p:nvPr/>
        </p:nvSpPr>
        <p:spPr>
          <a:xfrm>
            <a:off x="8775700" y="652272"/>
            <a:ext cx="595756" cy="1599564"/>
          </a:xfrm>
          <a:custGeom>
            <a:avLst/>
            <a:gdLst/>
            <a:ahLst/>
            <a:cxnLst/>
            <a:rect l="l" t="t" r="r" b="b"/>
            <a:pathLst>
              <a:path w="595756" h="1599564">
                <a:moveTo>
                  <a:pt x="0" y="0"/>
                </a:moveTo>
                <a:lnTo>
                  <a:pt x="0" y="1599564"/>
                </a:lnTo>
                <a:lnTo>
                  <a:pt x="595756" y="1599564"/>
                </a:lnTo>
                <a:lnTo>
                  <a:pt x="595756" y="0"/>
                </a:lnTo>
                <a:lnTo>
                  <a:pt x="0" y="0"/>
                </a:lnTo>
                <a:close/>
              </a:path>
            </a:pathLst>
          </a:custGeom>
          <a:solidFill>
            <a:srgbClr val="FFC080"/>
          </a:solidFill>
        </p:spPr>
        <p:txBody>
          <a:bodyPr wrap="square" lIns="0" tIns="0" rIns="0" bIns="0" rtlCol="0">
            <a:noAutofit/>
          </a:bodyPr>
          <a:lstStyle/>
          <a:p>
            <a:endParaRPr/>
          </a:p>
        </p:txBody>
      </p:sp>
      <p:sp>
        <p:nvSpPr>
          <p:cNvPr id="72" name="object 72"/>
          <p:cNvSpPr/>
          <p:nvPr/>
        </p:nvSpPr>
        <p:spPr>
          <a:xfrm>
            <a:off x="8775700" y="652272"/>
            <a:ext cx="595756" cy="1599564"/>
          </a:xfrm>
          <a:custGeom>
            <a:avLst/>
            <a:gdLst/>
            <a:ahLst/>
            <a:cxnLst/>
            <a:rect l="l" t="t" r="r" b="b"/>
            <a:pathLst>
              <a:path w="595756" h="1599564">
                <a:moveTo>
                  <a:pt x="0" y="0"/>
                </a:moveTo>
                <a:lnTo>
                  <a:pt x="595756" y="0"/>
                </a:lnTo>
                <a:lnTo>
                  <a:pt x="595756" y="1599564"/>
                </a:lnTo>
                <a:lnTo>
                  <a:pt x="0" y="1599564"/>
                </a:lnTo>
                <a:lnTo>
                  <a:pt x="0" y="0"/>
                </a:lnTo>
              </a:path>
            </a:pathLst>
          </a:custGeom>
          <a:ln w="12700">
            <a:solidFill>
              <a:srgbClr val="000000"/>
            </a:solidFill>
          </a:ln>
        </p:spPr>
        <p:txBody>
          <a:bodyPr wrap="square" lIns="0" tIns="0" rIns="0" bIns="0" rtlCol="0">
            <a:noAutofit/>
          </a:bodyPr>
          <a:lstStyle/>
          <a:p>
            <a:endParaRPr/>
          </a:p>
        </p:txBody>
      </p:sp>
      <p:sp>
        <p:nvSpPr>
          <p:cNvPr id="73" name="object 73"/>
          <p:cNvSpPr/>
          <p:nvPr/>
        </p:nvSpPr>
        <p:spPr>
          <a:xfrm>
            <a:off x="8617078" y="652272"/>
            <a:ext cx="158623" cy="1599564"/>
          </a:xfrm>
          <a:custGeom>
            <a:avLst/>
            <a:gdLst/>
            <a:ahLst/>
            <a:cxnLst/>
            <a:rect l="l" t="t" r="r" b="b"/>
            <a:pathLst>
              <a:path w="158623" h="1599564">
                <a:moveTo>
                  <a:pt x="158623" y="0"/>
                </a:moveTo>
                <a:lnTo>
                  <a:pt x="0" y="121919"/>
                </a:lnTo>
                <a:lnTo>
                  <a:pt x="0" y="1560576"/>
                </a:lnTo>
                <a:lnTo>
                  <a:pt x="158623" y="1599564"/>
                </a:lnTo>
                <a:lnTo>
                  <a:pt x="158623" y="0"/>
                </a:lnTo>
                <a:close/>
              </a:path>
            </a:pathLst>
          </a:custGeom>
          <a:solidFill>
            <a:srgbClr val="FF9F40"/>
          </a:solidFill>
        </p:spPr>
        <p:txBody>
          <a:bodyPr wrap="square" lIns="0" tIns="0" rIns="0" bIns="0" rtlCol="0">
            <a:noAutofit/>
          </a:bodyPr>
          <a:lstStyle/>
          <a:p>
            <a:endParaRPr/>
          </a:p>
        </p:txBody>
      </p:sp>
      <p:sp>
        <p:nvSpPr>
          <p:cNvPr id="74" name="object 74"/>
          <p:cNvSpPr/>
          <p:nvPr/>
        </p:nvSpPr>
        <p:spPr>
          <a:xfrm>
            <a:off x="8617078" y="652272"/>
            <a:ext cx="158623" cy="1599564"/>
          </a:xfrm>
          <a:custGeom>
            <a:avLst/>
            <a:gdLst/>
            <a:ahLst/>
            <a:cxnLst/>
            <a:rect l="l" t="t" r="r" b="b"/>
            <a:pathLst>
              <a:path w="158623" h="1599564">
                <a:moveTo>
                  <a:pt x="158623" y="0"/>
                </a:moveTo>
                <a:lnTo>
                  <a:pt x="0" y="121919"/>
                </a:lnTo>
                <a:lnTo>
                  <a:pt x="0" y="1560576"/>
                </a:lnTo>
                <a:lnTo>
                  <a:pt x="158623" y="1599564"/>
                </a:lnTo>
                <a:lnTo>
                  <a:pt x="158623" y="0"/>
                </a:lnTo>
              </a:path>
            </a:pathLst>
          </a:custGeom>
          <a:ln w="12700">
            <a:solidFill>
              <a:srgbClr val="000000"/>
            </a:solidFill>
          </a:ln>
        </p:spPr>
        <p:txBody>
          <a:bodyPr wrap="square" lIns="0" tIns="0" rIns="0" bIns="0" rtlCol="0">
            <a:noAutofit/>
          </a:bodyPr>
          <a:lstStyle/>
          <a:p>
            <a:endParaRPr/>
          </a:p>
        </p:txBody>
      </p:sp>
      <p:sp>
        <p:nvSpPr>
          <p:cNvPr id="75" name="object 75"/>
          <p:cNvSpPr/>
          <p:nvPr/>
        </p:nvSpPr>
        <p:spPr>
          <a:xfrm>
            <a:off x="7363206" y="2344548"/>
            <a:ext cx="792734" cy="121919"/>
          </a:xfrm>
          <a:custGeom>
            <a:avLst/>
            <a:gdLst/>
            <a:ahLst/>
            <a:cxnLst/>
            <a:rect l="l" t="t" r="r" b="b"/>
            <a:pathLst>
              <a:path w="792734" h="121919">
                <a:moveTo>
                  <a:pt x="0" y="121919"/>
                </a:moveTo>
                <a:lnTo>
                  <a:pt x="528447" y="121919"/>
                </a:lnTo>
                <a:lnTo>
                  <a:pt x="792734" y="0"/>
                </a:lnTo>
                <a:lnTo>
                  <a:pt x="245110" y="0"/>
                </a:lnTo>
                <a:lnTo>
                  <a:pt x="0" y="121919"/>
                </a:lnTo>
                <a:close/>
              </a:path>
            </a:pathLst>
          </a:custGeom>
          <a:solidFill>
            <a:srgbClr val="FFC080"/>
          </a:solidFill>
        </p:spPr>
        <p:txBody>
          <a:bodyPr wrap="square" lIns="0" tIns="0" rIns="0" bIns="0" rtlCol="0">
            <a:noAutofit/>
          </a:bodyPr>
          <a:lstStyle/>
          <a:p>
            <a:endParaRPr/>
          </a:p>
        </p:txBody>
      </p:sp>
      <p:sp>
        <p:nvSpPr>
          <p:cNvPr id="76" name="object 76"/>
          <p:cNvSpPr/>
          <p:nvPr/>
        </p:nvSpPr>
        <p:spPr>
          <a:xfrm>
            <a:off x="7363206" y="2344548"/>
            <a:ext cx="792734" cy="121919"/>
          </a:xfrm>
          <a:custGeom>
            <a:avLst/>
            <a:gdLst/>
            <a:ahLst/>
            <a:cxnLst/>
            <a:rect l="l" t="t" r="r" b="b"/>
            <a:pathLst>
              <a:path w="792734" h="121919">
                <a:moveTo>
                  <a:pt x="0" y="121919"/>
                </a:moveTo>
                <a:lnTo>
                  <a:pt x="245110" y="0"/>
                </a:lnTo>
                <a:lnTo>
                  <a:pt x="792734" y="0"/>
                </a:lnTo>
                <a:lnTo>
                  <a:pt x="528447" y="121919"/>
                </a:lnTo>
                <a:lnTo>
                  <a:pt x="0" y="121919"/>
                </a:lnTo>
              </a:path>
            </a:pathLst>
          </a:custGeom>
          <a:ln w="12700">
            <a:solidFill>
              <a:srgbClr val="000000"/>
            </a:solidFill>
          </a:ln>
        </p:spPr>
        <p:txBody>
          <a:bodyPr wrap="square" lIns="0" tIns="0" rIns="0" bIns="0" rtlCol="0">
            <a:noAutofit/>
          </a:bodyPr>
          <a:lstStyle/>
          <a:p>
            <a:endParaRPr/>
          </a:p>
        </p:txBody>
      </p:sp>
      <p:sp>
        <p:nvSpPr>
          <p:cNvPr id="77" name="object 77"/>
          <p:cNvSpPr/>
          <p:nvPr/>
        </p:nvSpPr>
        <p:spPr>
          <a:xfrm>
            <a:off x="7891654" y="2344547"/>
            <a:ext cx="264287" cy="351154"/>
          </a:xfrm>
          <a:custGeom>
            <a:avLst/>
            <a:gdLst/>
            <a:ahLst/>
            <a:cxnLst/>
            <a:rect l="l" t="t" r="r" b="b"/>
            <a:pathLst>
              <a:path w="264287" h="351154">
                <a:moveTo>
                  <a:pt x="0" y="121919"/>
                </a:moveTo>
                <a:lnTo>
                  <a:pt x="0" y="351154"/>
                </a:lnTo>
                <a:lnTo>
                  <a:pt x="264287" y="190118"/>
                </a:lnTo>
                <a:lnTo>
                  <a:pt x="264287" y="0"/>
                </a:lnTo>
                <a:lnTo>
                  <a:pt x="0" y="121919"/>
                </a:lnTo>
                <a:close/>
              </a:path>
            </a:pathLst>
          </a:custGeom>
          <a:solidFill>
            <a:srgbClr val="FF8000"/>
          </a:solidFill>
        </p:spPr>
        <p:txBody>
          <a:bodyPr wrap="square" lIns="0" tIns="0" rIns="0" bIns="0" rtlCol="0">
            <a:noAutofit/>
          </a:bodyPr>
          <a:lstStyle/>
          <a:p>
            <a:endParaRPr/>
          </a:p>
        </p:txBody>
      </p:sp>
      <p:sp>
        <p:nvSpPr>
          <p:cNvPr id="78" name="object 78"/>
          <p:cNvSpPr/>
          <p:nvPr/>
        </p:nvSpPr>
        <p:spPr>
          <a:xfrm>
            <a:off x="7891654" y="2344547"/>
            <a:ext cx="264287" cy="351154"/>
          </a:xfrm>
          <a:custGeom>
            <a:avLst/>
            <a:gdLst/>
            <a:ahLst/>
            <a:cxnLst/>
            <a:rect l="l" t="t" r="r" b="b"/>
            <a:pathLst>
              <a:path w="264287" h="351154">
                <a:moveTo>
                  <a:pt x="0" y="121919"/>
                </a:moveTo>
                <a:lnTo>
                  <a:pt x="264287" y="0"/>
                </a:lnTo>
                <a:lnTo>
                  <a:pt x="264287" y="190118"/>
                </a:lnTo>
                <a:lnTo>
                  <a:pt x="0" y="351154"/>
                </a:lnTo>
                <a:lnTo>
                  <a:pt x="0" y="121919"/>
                </a:lnTo>
              </a:path>
            </a:pathLst>
          </a:custGeom>
          <a:ln w="12700">
            <a:solidFill>
              <a:srgbClr val="000000"/>
            </a:solidFill>
          </a:ln>
        </p:spPr>
        <p:txBody>
          <a:bodyPr wrap="square" lIns="0" tIns="0" rIns="0" bIns="0" rtlCol="0">
            <a:noAutofit/>
          </a:bodyPr>
          <a:lstStyle/>
          <a:p>
            <a:endParaRPr/>
          </a:p>
        </p:txBody>
      </p:sp>
      <p:sp>
        <p:nvSpPr>
          <p:cNvPr id="79" name="object 79"/>
          <p:cNvSpPr/>
          <p:nvPr/>
        </p:nvSpPr>
        <p:spPr>
          <a:xfrm>
            <a:off x="8506587" y="1315465"/>
            <a:ext cx="667893" cy="1092454"/>
          </a:xfrm>
          <a:custGeom>
            <a:avLst/>
            <a:gdLst/>
            <a:ahLst/>
            <a:cxnLst/>
            <a:rect l="l" t="t" r="r" b="b"/>
            <a:pathLst>
              <a:path w="667893" h="1092454">
                <a:moveTo>
                  <a:pt x="0" y="1087628"/>
                </a:moveTo>
                <a:lnTo>
                  <a:pt x="667893" y="1092454"/>
                </a:lnTo>
                <a:lnTo>
                  <a:pt x="667893" y="0"/>
                </a:lnTo>
                <a:lnTo>
                  <a:pt x="0" y="43942"/>
                </a:lnTo>
                <a:lnTo>
                  <a:pt x="0" y="1087628"/>
                </a:lnTo>
                <a:close/>
              </a:path>
            </a:pathLst>
          </a:custGeom>
          <a:solidFill>
            <a:srgbClr val="FFC080"/>
          </a:solidFill>
        </p:spPr>
        <p:txBody>
          <a:bodyPr wrap="square" lIns="0" tIns="0" rIns="0" bIns="0" rtlCol="0">
            <a:noAutofit/>
          </a:bodyPr>
          <a:lstStyle/>
          <a:p>
            <a:endParaRPr/>
          </a:p>
        </p:txBody>
      </p:sp>
      <p:sp>
        <p:nvSpPr>
          <p:cNvPr id="80" name="object 80"/>
          <p:cNvSpPr/>
          <p:nvPr/>
        </p:nvSpPr>
        <p:spPr>
          <a:xfrm>
            <a:off x="8506587" y="1315465"/>
            <a:ext cx="667893" cy="1092454"/>
          </a:xfrm>
          <a:custGeom>
            <a:avLst/>
            <a:gdLst/>
            <a:ahLst/>
            <a:cxnLst/>
            <a:rect l="l" t="t" r="r" b="b"/>
            <a:pathLst>
              <a:path w="667893" h="1092454">
                <a:moveTo>
                  <a:pt x="0" y="1087628"/>
                </a:moveTo>
                <a:lnTo>
                  <a:pt x="667893" y="1092454"/>
                </a:lnTo>
                <a:lnTo>
                  <a:pt x="667893" y="0"/>
                </a:lnTo>
                <a:lnTo>
                  <a:pt x="0" y="43942"/>
                </a:lnTo>
                <a:lnTo>
                  <a:pt x="0" y="1087628"/>
                </a:lnTo>
              </a:path>
            </a:pathLst>
          </a:custGeom>
          <a:ln w="12700">
            <a:solidFill>
              <a:srgbClr val="000000"/>
            </a:solidFill>
          </a:ln>
        </p:spPr>
        <p:txBody>
          <a:bodyPr wrap="square" lIns="0" tIns="0" rIns="0" bIns="0" rtlCol="0">
            <a:noAutofit/>
          </a:bodyPr>
          <a:lstStyle/>
          <a:p>
            <a:endParaRPr/>
          </a:p>
        </p:txBody>
      </p:sp>
      <p:sp>
        <p:nvSpPr>
          <p:cNvPr id="81" name="object 81"/>
          <p:cNvSpPr/>
          <p:nvPr/>
        </p:nvSpPr>
        <p:spPr>
          <a:xfrm>
            <a:off x="9174480" y="1305814"/>
            <a:ext cx="192150" cy="1102106"/>
          </a:xfrm>
          <a:custGeom>
            <a:avLst/>
            <a:gdLst/>
            <a:ahLst/>
            <a:cxnLst/>
            <a:rect l="l" t="t" r="r" b="b"/>
            <a:pathLst>
              <a:path w="192150" h="1102106">
                <a:moveTo>
                  <a:pt x="0" y="0"/>
                </a:moveTo>
                <a:lnTo>
                  <a:pt x="0" y="1102106"/>
                </a:lnTo>
                <a:lnTo>
                  <a:pt x="192150" y="887476"/>
                </a:lnTo>
                <a:lnTo>
                  <a:pt x="192150" y="141350"/>
                </a:lnTo>
                <a:lnTo>
                  <a:pt x="0" y="0"/>
                </a:lnTo>
                <a:close/>
              </a:path>
            </a:pathLst>
          </a:custGeom>
          <a:solidFill>
            <a:srgbClr val="FF9F40"/>
          </a:solidFill>
        </p:spPr>
        <p:txBody>
          <a:bodyPr wrap="square" lIns="0" tIns="0" rIns="0" bIns="0" rtlCol="0">
            <a:noAutofit/>
          </a:bodyPr>
          <a:lstStyle/>
          <a:p>
            <a:endParaRPr/>
          </a:p>
        </p:txBody>
      </p:sp>
      <p:sp>
        <p:nvSpPr>
          <p:cNvPr id="82" name="object 82"/>
          <p:cNvSpPr/>
          <p:nvPr/>
        </p:nvSpPr>
        <p:spPr>
          <a:xfrm>
            <a:off x="9174480" y="1305814"/>
            <a:ext cx="192150" cy="1102106"/>
          </a:xfrm>
          <a:custGeom>
            <a:avLst/>
            <a:gdLst/>
            <a:ahLst/>
            <a:cxnLst/>
            <a:rect l="l" t="t" r="r" b="b"/>
            <a:pathLst>
              <a:path w="192150" h="1102106">
                <a:moveTo>
                  <a:pt x="0" y="0"/>
                </a:moveTo>
                <a:lnTo>
                  <a:pt x="0" y="1102106"/>
                </a:lnTo>
                <a:lnTo>
                  <a:pt x="192150" y="887476"/>
                </a:lnTo>
                <a:lnTo>
                  <a:pt x="192150" y="141350"/>
                </a:lnTo>
                <a:lnTo>
                  <a:pt x="0" y="0"/>
                </a:lnTo>
              </a:path>
            </a:pathLst>
          </a:custGeom>
          <a:ln w="12700">
            <a:solidFill>
              <a:srgbClr val="000000"/>
            </a:solidFill>
          </a:ln>
        </p:spPr>
        <p:txBody>
          <a:bodyPr wrap="square" lIns="0" tIns="0" rIns="0" bIns="0" rtlCol="0">
            <a:noAutofit/>
          </a:bodyPr>
          <a:lstStyle/>
          <a:p>
            <a:endParaRPr/>
          </a:p>
        </p:txBody>
      </p:sp>
      <p:sp>
        <p:nvSpPr>
          <p:cNvPr id="83" name="object 83"/>
          <p:cNvSpPr/>
          <p:nvPr/>
        </p:nvSpPr>
        <p:spPr>
          <a:xfrm>
            <a:off x="8295259" y="1973835"/>
            <a:ext cx="413131" cy="624331"/>
          </a:xfrm>
          <a:custGeom>
            <a:avLst/>
            <a:gdLst/>
            <a:ahLst/>
            <a:cxnLst/>
            <a:rect l="l" t="t" r="r" b="b"/>
            <a:pathLst>
              <a:path w="413131" h="624331">
                <a:moveTo>
                  <a:pt x="0" y="0"/>
                </a:moveTo>
                <a:lnTo>
                  <a:pt x="0" y="624331"/>
                </a:lnTo>
                <a:lnTo>
                  <a:pt x="413131" y="624331"/>
                </a:lnTo>
                <a:lnTo>
                  <a:pt x="413131" y="0"/>
                </a:lnTo>
                <a:lnTo>
                  <a:pt x="0" y="0"/>
                </a:lnTo>
                <a:close/>
              </a:path>
            </a:pathLst>
          </a:custGeom>
          <a:solidFill>
            <a:srgbClr val="FFC080"/>
          </a:solidFill>
        </p:spPr>
        <p:txBody>
          <a:bodyPr wrap="square" lIns="0" tIns="0" rIns="0" bIns="0" rtlCol="0">
            <a:noAutofit/>
          </a:bodyPr>
          <a:lstStyle/>
          <a:p>
            <a:endParaRPr/>
          </a:p>
        </p:txBody>
      </p:sp>
      <p:sp>
        <p:nvSpPr>
          <p:cNvPr id="84" name="object 84"/>
          <p:cNvSpPr/>
          <p:nvPr/>
        </p:nvSpPr>
        <p:spPr>
          <a:xfrm>
            <a:off x="8295259" y="1973835"/>
            <a:ext cx="413131" cy="624331"/>
          </a:xfrm>
          <a:custGeom>
            <a:avLst/>
            <a:gdLst/>
            <a:ahLst/>
            <a:cxnLst/>
            <a:rect l="l" t="t" r="r" b="b"/>
            <a:pathLst>
              <a:path w="413131" h="624331">
                <a:moveTo>
                  <a:pt x="0" y="0"/>
                </a:moveTo>
                <a:lnTo>
                  <a:pt x="413131" y="0"/>
                </a:lnTo>
                <a:lnTo>
                  <a:pt x="413131" y="624331"/>
                </a:lnTo>
                <a:lnTo>
                  <a:pt x="0" y="624331"/>
                </a:lnTo>
                <a:lnTo>
                  <a:pt x="0" y="0"/>
                </a:lnTo>
              </a:path>
            </a:pathLst>
          </a:custGeom>
          <a:ln w="12700">
            <a:solidFill>
              <a:srgbClr val="000000"/>
            </a:solidFill>
          </a:ln>
        </p:spPr>
        <p:txBody>
          <a:bodyPr wrap="square" lIns="0" tIns="0" rIns="0" bIns="0" rtlCol="0">
            <a:noAutofit/>
          </a:bodyPr>
          <a:lstStyle/>
          <a:p>
            <a:endParaRPr/>
          </a:p>
        </p:txBody>
      </p:sp>
      <p:sp>
        <p:nvSpPr>
          <p:cNvPr id="85" name="object 85"/>
          <p:cNvSpPr/>
          <p:nvPr/>
        </p:nvSpPr>
        <p:spPr>
          <a:xfrm>
            <a:off x="8295258" y="1876298"/>
            <a:ext cx="571754" cy="97536"/>
          </a:xfrm>
          <a:custGeom>
            <a:avLst/>
            <a:gdLst/>
            <a:ahLst/>
            <a:cxnLst/>
            <a:rect l="l" t="t" r="r" b="b"/>
            <a:pathLst>
              <a:path w="571754" h="97536">
                <a:moveTo>
                  <a:pt x="0" y="97536"/>
                </a:moveTo>
                <a:lnTo>
                  <a:pt x="408305" y="97536"/>
                </a:lnTo>
                <a:lnTo>
                  <a:pt x="571754" y="0"/>
                </a:lnTo>
                <a:lnTo>
                  <a:pt x="211327" y="0"/>
                </a:lnTo>
                <a:lnTo>
                  <a:pt x="0" y="97536"/>
                </a:lnTo>
                <a:close/>
              </a:path>
            </a:pathLst>
          </a:custGeom>
          <a:solidFill>
            <a:srgbClr val="FFDFC0"/>
          </a:solidFill>
        </p:spPr>
        <p:txBody>
          <a:bodyPr wrap="square" lIns="0" tIns="0" rIns="0" bIns="0" rtlCol="0">
            <a:noAutofit/>
          </a:bodyPr>
          <a:lstStyle/>
          <a:p>
            <a:endParaRPr/>
          </a:p>
        </p:txBody>
      </p:sp>
      <p:sp>
        <p:nvSpPr>
          <p:cNvPr id="86" name="object 86"/>
          <p:cNvSpPr/>
          <p:nvPr/>
        </p:nvSpPr>
        <p:spPr>
          <a:xfrm>
            <a:off x="8295258" y="1876298"/>
            <a:ext cx="571754" cy="97536"/>
          </a:xfrm>
          <a:custGeom>
            <a:avLst/>
            <a:gdLst/>
            <a:ahLst/>
            <a:cxnLst/>
            <a:rect l="l" t="t" r="r" b="b"/>
            <a:pathLst>
              <a:path w="571754" h="97536">
                <a:moveTo>
                  <a:pt x="0" y="97536"/>
                </a:moveTo>
                <a:lnTo>
                  <a:pt x="211327" y="0"/>
                </a:lnTo>
                <a:lnTo>
                  <a:pt x="571754" y="0"/>
                </a:lnTo>
                <a:lnTo>
                  <a:pt x="408305" y="97536"/>
                </a:lnTo>
                <a:lnTo>
                  <a:pt x="0" y="97536"/>
                </a:lnTo>
              </a:path>
            </a:pathLst>
          </a:custGeom>
          <a:ln w="12700">
            <a:solidFill>
              <a:srgbClr val="000000"/>
            </a:solidFill>
          </a:ln>
        </p:spPr>
        <p:txBody>
          <a:bodyPr wrap="square" lIns="0" tIns="0" rIns="0" bIns="0" rtlCol="0">
            <a:noAutofit/>
          </a:bodyPr>
          <a:lstStyle/>
          <a:p>
            <a:endParaRPr/>
          </a:p>
        </p:txBody>
      </p:sp>
      <p:sp>
        <p:nvSpPr>
          <p:cNvPr id="87" name="object 87"/>
          <p:cNvSpPr/>
          <p:nvPr/>
        </p:nvSpPr>
        <p:spPr>
          <a:xfrm>
            <a:off x="8708390" y="1876299"/>
            <a:ext cx="153796" cy="721867"/>
          </a:xfrm>
          <a:custGeom>
            <a:avLst/>
            <a:gdLst/>
            <a:ahLst/>
            <a:cxnLst/>
            <a:rect l="l" t="t" r="r" b="b"/>
            <a:pathLst>
              <a:path w="153796" h="721867">
                <a:moveTo>
                  <a:pt x="0" y="721867"/>
                </a:moveTo>
                <a:lnTo>
                  <a:pt x="153796" y="546226"/>
                </a:lnTo>
                <a:lnTo>
                  <a:pt x="153796" y="0"/>
                </a:lnTo>
                <a:lnTo>
                  <a:pt x="0" y="97536"/>
                </a:lnTo>
                <a:lnTo>
                  <a:pt x="0" y="721867"/>
                </a:lnTo>
                <a:close/>
              </a:path>
            </a:pathLst>
          </a:custGeom>
          <a:solidFill>
            <a:srgbClr val="FF9F40"/>
          </a:solidFill>
        </p:spPr>
        <p:txBody>
          <a:bodyPr wrap="square" lIns="0" tIns="0" rIns="0" bIns="0" rtlCol="0">
            <a:noAutofit/>
          </a:bodyPr>
          <a:lstStyle/>
          <a:p>
            <a:endParaRPr/>
          </a:p>
        </p:txBody>
      </p:sp>
      <p:sp>
        <p:nvSpPr>
          <p:cNvPr id="88" name="object 88"/>
          <p:cNvSpPr/>
          <p:nvPr/>
        </p:nvSpPr>
        <p:spPr>
          <a:xfrm>
            <a:off x="8708390" y="1876299"/>
            <a:ext cx="153796" cy="721867"/>
          </a:xfrm>
          <a:custGeom>
            <a:avLst/>
            <a:gdLst/>
            <a:ahLst/>
            <a:cxnLst/>
            <a:rect l="l" t="t" r="r" b="b"/>
            <a:pathLst>
              <a:path w="153796" h="721867">
                <a:moveTo>
                  <a:pt x="0" y="721867"/>
                </a:moveTo>
                <a:lnTo>
                  <a:pt x="153796" y="546226"/>
                </a:lnTo>
                <a:lnTo>
                  <a:pt x="153796" y="0"/>
                </a:lnTo>
                <a:lnTo>
                  <a:pt x="0" y="97536"/>
                </a:lnTo>
                <a:lnTo>
                  <a:pt x="0" y="721867"/>
                </a:lnTo>
              </a:path>
            </a:pathLst>
          </a:custGeom>
          <a:ln w="12700">
            <a:solidFill>
              <a:srgbClr val="000000"/>
            </a:solidFill>
          </a:ln>
        </p:spPr>
        <p:txBody>
          <a:bodyPr wrap="square" lIns="0" tIns="0" rIns="0" bIns="0" rtlCol="0">
            <a:noAutofit/>
          </a:bodyPr>
          <a:lstStyle/>
          <a:p>
            <a:endParaRPr/>
          </a:p>
        </p:txBody>
      </p:sp>
      <p:sp>
        <p:nvSpPr>
          <p:cNvPr id="89" name="object 89"/>
          <p:cNvSpPr/>
          <p:nvPr/>
        </p:nvSpPr>
        <p:spPr>
          <a:xfrm>
            <a:off x="7982966" y="1973835"/>
            <a:ext cx="1460500" cy="916939"/>
          </a:xfrm>
          <a:custGeom>
            <a:avLst/>
            <a:gdLst/>
            <a:ahLst/>
            <a:cxnLst/>
            <a:rect l="l" t="t" r="r" b="b"/>
            <a:pathLst>
              <a:path w="1460500" h="916939">
                <a:moveTo>
                  <a:pt x="912876" y="0"/>
                </a:moveTo>
                <a:lnTo>
                  <a:pt x="0" y="916939"/>
                </a:lnTo>
                <a:lnTo>
                  <a:pt x="1273175" y="916939"/>
                </a:lnTo>
                <a:lnTo>
                  <a:pt x="1460500" y="0"/>
                </a:lnTo>
                <a:lnTo>
                  <a:pt x="912876" y="0"/>
                </a:lnTo>
                <a:close/>
              </a:path>
            </a:pathLst>
          </a:custGeom>
          <a:solidFill>
            <a:srgbClr val="C0C0C0"/>
          </a:solidFill>
        </p:spPr>
        <p:txBody>
          <a:bodyPr wrap="square" lIns="0" tIns="0" rIns="0" bIns="0" rtlCol="0">
            <a:noAutofit/>
          </a:bodyPr>
          <a:lstStyle/>
          <a:p>
            <a:endParaRPr/>
          </a:p>
        </p:txBody>
      </p:sp>
      <p:sp>
        <p:nvSpPr>
          <p:cNvPr id="90" name="object 90"/>
          <p:cNvSpPr/>
          <p:nvPr/>
        </p:nvSpPr>
        <p:spPr>
          <a:xfrm>
            <a:off x="7982966" y="1973835"/>
            <a:ext cx="1460500" cy="916939"/>
          </a:xfrm>
          <a:custGeom>
            <a:avLst/>
            <a:gdLst/>
            <a:ahLst/>
            <a:cxnLst/>
            <a:rect l="l" t="t" r="r" b="b"/>
            <a:pathLst>
              <a:path w="1460500" h="916939">
                <a:moveTo>
                  <a:pt x="912876" y="0"/>
                </a:moveTo>
                <a:lnTo>
                  <a:pt x="1460500" y="0"/>
                </a:lnTo>
                <a:lnTo>
                  <a:pt x="1273175" y="916939"/>
                </a:lnTo>
                <a:lnTo>
                  <a:pt x="0" y="916939"/>
                </a:lnTo>
                <a:lnTo>
                  <a:pt x="912876" y="0"/>
                </a:lnTo>
              </a:path>
            </a:pathLst>
          </a:custGeom>
          <a:ln w="12700">
            <a:solidFill>
              <a:srgbClr val="000000"/>
            </a:solidFill>
          </a:ln>
        </p:spPr>
        <p:txBody>
          <a:bodyPr wrap="square" lIns="0" tIns="0" rIns="0" bIns="0" rtlCol="0">
            <a:noAutofit/>
          </a:bodyPr>
          <a:lstStyle/>
          <a:p>
            <a:endParaRPr/>
          </a:p>
        </p:txBody>
      </p:sp>
      <p:sp>
        <p:nvSpPr>
          <p:cNvPr id="91" name="object 91"/>
          <p:cNvSpPr/>
          <p:nvPr/>
        </p:nvSpPr>
        <p:spPr>
          <a:xfrm>
            <a:off x="9256142" y="1978787"/>
            <a:ext cx="187325" cy="902208"/>
          </a:xfrm>
          <a:custGeom>
            <a:avLst/>
            <a:gdLst/>
            <a:ahLst/>
            <a:cxnLst/>
            <a:rect l="l" t="t" r="r" b="b"/>
            <a:pathLst>
              <a:path w="187325" h="902208">
                <a:moveTo>
                  <a:pt x="187325" y="0"/>
                </a:moveTo>
                <a:lnTo>
                  <a:pt x="0" y="902208"/>
                </a:lnTo>
                <a:lnTo>
                  <a:pt x="187325" y="375538"/>
                </a:lnTo>
                <a:lnTo>
                  <a:pt x="187325" y="0"/>
                </a:lnTo>
                <a:close/>
              </a:path>
            </a:pathLst>
          </a:custGeom>
          <a:solidFill>
            <a:srgbClr val="808080"/>
          </a:solidFill>
        </p:spPr>
        <p:txBody>
          <a:bodyPr wrap="square" lIns="0" tIns="0" rIns="0" bIns="0" rtlCol="0">
            <a:noAutofit/>
          </a:bodyPr>
          <a:lstStyle/>
          <a:p>
            <a:endParaRPr/>
          </a:p>
        </p:txBody>
      </p:sp>
      <p:sp>
        <p:nvSpPr>
          <p:cNvPr id="92" name="object 92"/>
          <p:cNvSpPr/>
          <p:nvPr/>
        </p:nvSpPr>
        <p:spPr>
          <a:xfrm>
            <a:off x="9256142" y="1978787"/>
            <a:ext cx="187325" cy="902208"/>
          </a:xfrm>
          <a:custGeom>
            <a:avLst/>
            <a:gdLst/>
            <a:ahLst/>
            <a:cxnLst/>
            <a:rect l="l" t="t" r="r" b="b"/>
            <a:pathLst>
              <a:path w="187325" h="902208">
                <a:moveTo>
                  <a:pt x="187325" y="0"/>
                </a:moveTo>
                <a:lnTo>
                  <a:pt x="0" y="902208"/>
                </a:lnTo>
                <a:lnTo>
                  <a:pt x="187325" y="375538"/>
                </a:lnTo>
                <a:lnTo>
                  <a:pt x="187325" y="0"/>
                </a:lnTo>
              </a:path>
            </a:pathLst>
          </a:custGeom>
          <a:ln w="12700">
            <a:solidFill>
              <a:srgbClr val="000000"/>
            </a:solidFill>
          </a:ln>
        </p:spPr>
        <p:txBody>
          <a:bodyPr wrap="square" lIns="0" tIns="0" rIns="0" bIns="0" rtlCol="0">
            <a:noAutofit/>
          </a:bodyPr>
          <a:lstStyle/>
          <a:p>
            <a:endParaRPr/>
          </a:p>
        </p:txBody>
      </p:sp>
      <p:sp>
        <p:nvSpPr>
          <p:cNvPr id="93" name="object 93"/>
          <p:cNvSpPr/>
          <p:nvPr/>
        </p:nvSpPr>
        <p:spPr>
          <a:xfrm>
            <a:off x="9217659" y="2100708"/>
            <a:ext cx="196976" cy="219455"/>
          </a:xfrm>
          <a:custGeom>
            <a:avLst/>
            <a:gdLst/>
            <a:ahLst/>
            <a:cxnLst/>
            <a:rect l="l" t="t" r="r" b="b"/>
            <a:pathLst>
              <a:path w="196976" h="219455">
                <a:moveTo>
                  <a:pt x="0" y="219455"/>
                </a:moveTo>
                <a:lnTo>
                  <a:pt x="168148" y="141350"/>
                </a:lnTo>
                <a:lnTo>
                  <a:pt x="196976" y="0"/>
                </a:lnTo>
                <a:lnTo>
                  <a:pt x="153797" y="38988"/>
                </a:lnTo>
                <a:lnTo>
                  <a:pt x="0" y="219455"/>
                </a:lnTo>
                <a:close/>
              </a:path>
            </a:pathLst>
          </a:custGeom>
          <a:solidFill>
            <a:srgbClr val="9F9F9F"/>
          </a:solidFill>
        </p:spPr>
        <p:txBody>
          <a:bodyPr wrap="square" lIns="0" tIns="0" rIns="0" bIns="0" rtlCol="0">
            <a:noAutofit/>
          </a:bodyPr>
          <a:lstStyle/>
          <a:p>
            <a:endParaRPr/>
          </a:p>
        </p:txBody>
      </p:sp>
      <p:sp>
        <p:nvSpPr>
          <p:cNvPr id="94" name="object 94"/>
          <p:cNvSpPr/>
          <p:nvPr/>
        </p:nvSpPr>
        <p:spPr>
          <a:xfrm>
            <a:off x="8818881" y="1466724"/>
            <a:ext cx="403605" cy="853439"/>
          </a:xfrm>
          <a:custGeom>
            <a:avLst/>
            <a:gdLst/>
            <a:ahLst/>
            <a:cxnLst/>
            <a:rect l="l" t="t" r="r" b="b"/>
            <a:pathLst>
              <a:path w="403605" h="853439">
                <a:moveTo>
                  <a:pt x="0" y="819276"/>
                </a:moveTo>
                <a:lnTo>
                  <a:pt x="403605" y="853439"/>
                </a:lnTo>
                <a:lnTo>
                  <a:pt x="403605" y="0"/>
                </a:lnTo>
                <a:lnTo>
                  <a:pt x="0" y="14604"/>
                </a:lnTo>
                <a:lnTo>
                  <a:pt x="0" y="819276"/>
                </a:lnTo>
                <a:close/>
              </a:path>
            </a:pathLst>
          </a:custGeom>
          <a:solidFill>
            <a:srgbClr val="FFC080"/>
          </a:solidFill>
        </p:spPr>
        <p:txBody>
          <a:bodyPr wrap="square" lIns="0" tIns="0" rIns="0" bIns="0" rtlCol="0">
            <a:noAutofit/>
          </a:bodyPr>
          <a:lstStyle/>
          <a:p>
            <a:endParaRPr/>
          </a:p>
        </p:txBody>
      </p:sp>
      <p:sp>
        <p:nvSpPr>
          <p:cNvPr id="95" name="object 95"/>
          <p:cNvSpPr/>
          <p:nvPr/>
        </p:nvSpPr>
        <p:spPr>
          <a:xfrm>
            <a:off x="8818881" y="1466724"/>
            <a:ext cx="403605" cy="853439"/>
          </a:xfrm>
          <a:custGeom>
            <a:avLst/>
            <a:gdLst/>
            <a:ahLst/>
            <a:cxnLst/>
            <a:rect l="l" t="t" r="r" b="b"/>
            <a:pathLst>
              <a:path w="403605" h="853439">
                <a:moveTo>
                  <a:pt x="0" y="819276"/>
                </a:moveTo>
                <a:lnTo>
                  <a:pt x="403605" y="853439"/>
                </a:lnTo>
                <a:lnTo>
                  <a:pt x="403605" y="0"/>
                </a:lnTo>
                <a:lnTo>
                  <a:pt x="0" y="14604"/>
                </a:lnTo>
                <a:lnTo>
                  <a:pt x="0" y="819276"/>
                </a:lnTo>
              </a:path>
            </a:pathLst>
          </a:custGeom>
          <a:ln w="12700">
            <a:solidFill>
              <a:srgbClr val="000000"/>
            </a:solidFill>
          </a:ln>
        </p:spPr>
        <p:txBody>
          <a:bodyPr wrap="square" lIns="0" tIns="0" rIns="0" bIns="0" rtlCol="0">
            <a:noAutofit/>
          </a:bodyPr>
          <a:lstStyle/>
          <a:p>
            <a:endParaRPr/>
          </a:p>
        </p:txBody>
      </p:sp>
      <p:sp>
        <p:nvSpPr>
          <p:cNvPr id="96" name="object 96"/>
          <p:cNvSpPr/>
          <p:nvPr/>
        </p:nvSpPr>
        <p:spPr>
          <a:xfrm>
            <a:off x="9217659" y="1466724"/>
            <a:ext cx="158496" cy="853439"/>
          </a:xfrm>
          <a:custGeom>
            <a:avLst/>
            <a:gdLst/>
            <a:ahLst/>
            <a:cxnLst/>
            <a:rect l="l" t="t" r="r" b="b"/>
            <a:pathLst>
              <a:path w="158496" h="853439">
                <a:moveTo>
                  <a:pt x="0" y="0"/>
                </a:moveTo>
                <a:lnTo>
                  <a:pt x="0" y="853439"/>
                </a:lnTo>
                <a:lnTo>
                  <a:pt x="158496" y="672973"/>
                </a:lnTo>
                <a:lnTo>
                  <a:pt x="158496" y="102362"/>
                </a:lnTo>
                <a:lnTo>
                  <a:pt x="0" y="0"/>
                </a:lnTo>
                <a:close/>
              </a:path>
            </a:pathLst>
          </a:custGeom>
          <a:solidFill>
            <a:srgbClr val="FF9F40"/>
          </a:solidFill>
        </p:spPr>
        <p:txBody>
          <a:bodyPr wrap="square" lIns="0" tIns="0" rIns="0" bIns="0" rtlCol="0">
            <a:noAutofit/>
          </a:bodyPr>
          <a:lstStyle/>
          <a:p>
            <a:endParaRPr/>
          </a:p>
        </p:txBody>
      </p:sp>
      <p:sp>
        <p:nvSpPr>
          <p:cNvPr id="97" name="object 97"/>
          <p:cNvSpPr/>
          <p:nvPr/>
        </p:nvSpPr>
        <p:spPr>
          <a:xfrm>
            <a:off x="9217659" y="1466724"/>
            <a:ext cx="158496" cy="853439"/>
          </a:xfrm>
          <a:custGeom>
            <a:avLst/>
            <a:gdLst/>
            <a:ahLst/>
            <a:cxnLst/>
            <a:rect l="l" t="t" r="r" b="b"/>
            <a:pathLst>
              <a:path w="158496" h="853439">
                <a:moveTo>
                  <a:pt x="0" y="0"/>
                </a:moveTo>
                <a:lnTo>
                  <a:pt x="158496" y="102362"/>
                </a:lnTo>
                <a:lnTo>
                  <a:pt x="158496" y="672973"/>
                </a:lnTo>
                <a:lnTo>
                  <a:pt x="0" y="853439"/>
                </a:lnTo>
                <a:lnTo>
                  <a:pt x="0" y="0"/>
                </a:lnTo>
              </a:path>
            </a:pathLst>
          </a:custGeom>
          <a:ln w="12699">
            <a:solidFill>
              <a:srgbClr val="000000"/>
            </a:solidFill>
          </a:ln>
        </p:spPr>
        <p:txBody>
          <a:bodyPr wrap="square" lIns="0" tIns="0" rIns="0" bIns="0" rtlCol="0">
            <a:noAutofit/>
          </a:bodyPr>
          <a:lstStyle/>
          <a:p>
            <a:endParaRPr/>
          </a:p>
        </p:txBody>
      </p:sp>
      <p:sp>
        <p:nvSpPr>
          <p:cNvPr id="98" name="object 98"/>
          <p:cNvSpPr/>
          <p:nvPr/>
        </p:nvSpPr>
        <p:spPr>
          <a:xfrm>
            <a:off x="9443466" y="1144778"/>
            <a:ext cx="76834" cy="78105"/>
          </a:xfrm>
          <a:custGeom>
            <a:avLst/>
            <a:gdLst/>
            <a:ahLst/>
            <a:cxnLst/>
            <a:rect l="l" t="t" r="r" b="b"/>
            <a:pathLst>
              <a:path w="76834" h="78105">
                <a:moveTo>
                  <a:pt x="4825" y="68325"/>
                </a:moveTo>
                <a:lnTo>
                  <a:pt x="24002" y="68325"/>
                </a:lnTo>
                <a:lnTo>
                  <a:pt x="33654" y="63500"/>
                </a:lnTo>
                <a:lnTo>
                  <a:pt x="48005" y="63500"/>
                </a:lnTo>
                <a:lnTo>
                  <a:pt x="62483" y="68325"/>
                </a:lnTo>
                <a:lnTo>
                  <a:pt x="76834" y="78105"/>
                </a:lnTo>
                <a:lnTo>
                  <a:pt x="52831" y="34162"/>
                </a:lnTo>
                <a:lnTo>
                  <a:pt x="52831" y="19558"/>
                </a:lnTo>
                <a:lnTo>
                  <a:pt x="48005" y="14732"/>
                </a:lnTo>
                <a:lnTo>
                  <a:pt x="43179" y="14732"/>
                </a:lnTo>
                <a:lnTo>
                  <a:pt x="38480" y="4952"/>
                </a:lnTo>
                <a:lnTo>
                  <a:pt x="28828" y="4952"/>
                </a:lnTo>
                <a:lnTo>
                  <a:pt x="24002" y="0"/>
                </a:lnTo>
                <a:lnTo>
                  <a:pt x="9651" y="0"/>
                </a:lnTo>
                <a:lnTo>
                  <a:pt x="9651" y="4952"/>
                </a:lnTo>
                <a:lnTo>
                  <a:pt x="4825" y="4952"/>
                </a:lnTo>
                <a:lnTo>
                  <a:pt x="0" y="9779"/>
                </a:lnTo>
                <a:lnTo>
                  <a:pt x="0" y="68325"/>
                </a:lnTo>
                <a:lnTo>
                  <a:pt x="4825" y="68325"/>
                </a:lnTo>
                <a:close/>
              </a:path>
            </a:pathLst>
          </a:custGeom>
          <a:solidFill>
            <a:srgbClr val="C0FFFF"/>
          </a:solidFill>
        </p:spPr>
        <p:txBody>
          <a:bodyPr wrap="square" lIns="0" tIns="0" rIns="0" bIns="0" rtlCol="0">
            <a:noAutofit/>
          </a:bodyPr>
          <a:lstStyle/>
          <a:p>
            <a:endParaRPr/>
          </a:p>
        </p:txBody>
      </p:sp>
      <p:sp>
        <p:nvSpPr>
          <p:cNvPr id="99" name="object 99"/>
          <p:cNvSpPr/>
          <p:nvPr/>
        </p:nvSpPr>
        <p:spPr>
          <a:xfrm>
            <a:off x="9443466" y="1144778"/>
            <a:ext cx="76834" cy="78105"/>
          </a:xfrm>
          <a:custGeom>
            <a:avLst/>
            <a:gdLst/>
            <a:ahLst/>
            <a:cxnLst/>
            <a:rect l="l" t="t" r="r" b="b"/>
            <a:pathLst>
              <a:path w="76834" h="78105">
                <a:moveTo>
                  <a:pt x="76834" y="78105"/>
                </a:moveTo>
                <a:lnTo>
                  <a:pt x="52831" y="34162"/>
                </a:lnTo>
                <a:lnTo>
                  <a:pt x="52831" y="19558"/>
                </a:lnTo>
                <a:lnTo>
                  <a:pt x="48005" y="14732"/>
                </a:lnTo>
                <a:lnTo>
                  <a:pt x="43179" y="14732"/>
                </a:lnTo>
                <a:lnTo>
                  <a:pt x="38480" y="4952"/>
                </a:lnTo>
                <a:lnTo>
                  <a:pt x="33654" y="4952"/>
                </a:lnTo>
                <a:lnTo>
                  <a:pt x="28828" y="4952"/>
                </a:lnTo>
                <a:lnTo>
                  <a:pt x="24002" y="0"/>
                </a:lnTo>
                <a:lnTo>
                  <a:pt x="19176" y="0"/>
                </a:lnTo>
                <a:lnTo>
                  <a:pt x="14350" y="0"/>
                </a:lnTo>
                <a:lnTo>
                  <a:pt x="9651" y="0"/>
                </a:lnTo>
                <a:lnTo>
                  <a:pt x="9651" y="4952"/>
                </a:lnTo>
                <a:lnTo>
                  <a:pt x="4825" y="4952"/>
                </a:lnTo>
                <a:lnTo>
                  <a:pt x="0" y="9779"/>
                </a:lnTo>
                <a:lnTo>
                  <a:pt x="0" y="14732"/>
                </a:lnTo>
                <a:lnTo>
                  <a:pt x="0" y="19558"/>
                </a:lnTo>
                <a:lnTo>
                  <a:pt x="0" y="39116"/>
                </a:lnTo>
                <a:lnTo>
                  <a:pt x="0" y="53721"/>
                </a:lnTo>
                <a:lnTo>
                  <a:pt x="0" y="58547"/>
                </a:lnTo>
                <a:lnTo>
                  <a:pt x="0" y="68325"/>
                </a:lnTo>
                <a:lnTo>
                  <a:pt x="4825" y="68325"/>
                </a:lnTo>
                <a:lnTo>
                  <a:pt x="9651" y="68325"/>
                </a:lnTo>
                <a:lnTo>
                  <a:pt x="19176" y="68325"/>
                </a:lnTo>
                <a:lnTo>
                  <a:pt x="24002" y="68325"/>
                </a:lnTo>
                <a:lnTo>
                  <a:pt x="33654" y="63500"/>
                </a:lnTo>
                <a:lnTo>
                  <a:pt x="38480" y="63500"/>
                </a:lnTo>
                <a:lnTo>
                  <a:pt x="48005" y="63500"/>
                </a:lnTo>
                <a:lnTo>
                  <a:pt x="62483" y="68325"/>
                </a:lnTo>
                <a:lnTo>
                  <a:pt x="76834" y="78105"/>
                </a:lnTo>
              </a:path>
            </a:pathLst>
          </a:custGeom>
          <a:ln w="12700">
            <a:solidFill>
              <a:srgbClr val="000000"/>
            </a:solidFill>
          </a:ln>
        </p:spPr>
        <p:txBody>
          <a:bodyPr wrap="square" lIns="0" tIns="0" rIns="0" bIns="0" rtlCol="0">
            <a:noAutofit/>
          </a:bodyPr>
          <a:lstStyle/>
          <a:p>
            <a:endParaRPr/>
          </a:p>
        </p:txBody>
      </p:sp>
      <p:sp>
        <p:nvSpPr>
          <p:cNvPr id="100" name="object 100"/>
          <p:cNvSpPr/>
          <p:nvPr/>
        </p:nvSpPr>
        <p:spPr>
          <a:xfrm>
            <a:off x="9453119" y="2471292"/>
            <a:ext cx="321817" cy="121920"/>
          </a:xfrm>
          <a:custGeom>
            <a:avLst/>
            <a:gdLst/>
            <a:ahLst/>
            <a:cxnLst/>
            <a:rect l="l" t="t" r="r" b="b"/>
            <a:pathLst>
              <a:path w="321817" h="121920">
                <a:moveTo>
                  <a:pt x="14350" y="92710"/>
                </a:moveTo>
                <a:lnTo>
                  <a:pt x="38353" y="102489"/>
                </a:lnTo>
                <a:lnTo>
                  <a:pt x="81660" y="112141"/>
                </a:lnTo>
                <a:lnTo>
                  <a:pt x="124840" y="112141"/>
                </a:lnTo>
                <a:lnTo>
                  <a:pt x="163322" y="102489"/>
                </a:lnTo>
                <a:lnTo>
                  <a:pt x="201675" y="82931"/>
                </a:lnTo>
                <a:lnTo>
                  <a:pt x="201675" y="102489"/>
                </a:lnTo>
                <a:lnTo>
                  <a:pt x="230504" y="117094"/>
                </a:lnTo>
                <a:lnTo>
                  <a:pt x="264159" y="121920"/>
                </a:lnTo>
                <a:lnTo>
                  <a:pt x="283336" y="117094"/>
                </a:lnTo>
                <a:lnTo>
                  <a:pt x="316991" y="107315"/>
                </a:lnTo>
                <a:lnTo>
                  <a:pt x="321817" y="87757"/>
                </a:lnTo>
                <a:lnTo>
                  <a:pt x="316991" y="78105"/>
                </a:lnTo>
                <a:lnTo>
                  <a:pt x="316991" y="38989"/>
                </a:lnTo>
                <a:lnTo>
                  <a:pt x="312165" y="19558"/>
                </a:lnTo>
                <a:lnTo>
                  <a:pt x="292988" y="0"/>
                </a:lnTo>
                <a:lnTo>
                  <a:pt x="225805" y="4953"/>
                </a:lnTo>
                <a:lnTo>
                  <a:pt x="177673" y="0"/>
                </a:lnTo>
                <a:lnTo>
                  <a:pt x="148843" y="9779"/>
                </a:lnTo>
                <a:lnTo>
                  <a:pt x="76834" y="9779"/>
                </a:lnTo>
                <a:lnTo>
                  <a:pt x="28828" y="24384"/>
                </a:lnTo>
                <a:lnTo>
                  <a:pt x="14350" y="34162"/>
                </a:lnTo>
                <a:lnTo>
                  <a:pt x="0" y="43942"/>
                </a:lnTo>
                <a:lnTo>
                  <a:pt x="0" y="73152"/>
                </a:lnTo>
                <a:lnTo>
                  <a:pt x="14350" y="92710"/>
                </a:lnTo>
                <a:close/>
              </a:path>
            </a:pathLst>
          </a:custGeom>
          <a:solidFill>
            <a:srgbClr val="401F00"/>
          </a:solidFill>
        </p:spPr>
        <p:txBody>
          <a:bodyPr wrap="square" lIns="0" tIns="0" rIns="0" bIns="0" rtlCol="0">
            <a:noAutofit/>
          </a:bodyPr>
          <a:lstStyle/>
          <a:p>
            <a:endParaRPr/>
          </a:p>
        </p:txBody>
      </p:sp>
      <p:sp>
        <p:nvSpPr>
          <p:cNvPr id="101" name="object 101"/>
          <p:cNvSpPr/>
          <p:nvPr/>
        </p:nvSpPr>
        <p:spPr>
          <a:xfrm>
            <a:off x="9453119" y="2471292"/>
            <a:ext cx="321817" cy="121920"/>
          </a:xfrm>
          <a:custGeom>
            <a:avLst/>
            <a:gdLst/>
            <a:ahLst/>
            <a:cxnLst/>
            <a:rect l="l" t="t" r="r" b="b"/>
            <a:pathLst>
              <a:path w="321817" h="121920">
                <a:moveTo>
                  <a:pt x="177673" y="0"/>
                </a:moveTo>
                <a:lnTo>
                  <a:pt x="148843" y="9779"/>
                </a:lnTo>
                <a:lnTo>
                  <a:pt x="115315" y="9779"/>
                </a:lnTo>
                <a:lnTo>
                  <a:pt x="76834" y="9779"/>
                </a:lnTo>
                <a:lnTo>
                  <a:pt x="28828" y="24384"/>
                </a:lnTo>
                <a:lnTo>
                  <a:pt x="14350" y="34162"/>
                </a:lnTo>
                <a:lnTo>
                  <a:pt x="0" y="43942"/>
                </a:lnTo>
                <a:lnTo>
                  <a:pt x="0" y="73152"/>
                </a:lnTo>
                <a:lnTo>
                  <a:pt x="14350" y="92710"/>
                </a:lnTo>
                <a:lnTo>
                  <a:pt x="38353" y="102489"/>
                </a:lnTo>
                <a:lnTo>
                  <a:pt x="81660" y="112141"/>
                </a:lnTo>
                <a:lnTo>
                  <a:pt x="124840" y="112141"/>
                </a:lnTo>
                <a:lnTo>
                  <a:pt x="163322" y="102489"/>
                </a:lnTo>
                <a:lnTo>
                  <a:pt x="201675" y="82931"/>
                </a:lnTo>
                <a:lnTo>
                  <a:pt x="201675" y="102489"/>
                </a:lnTo>
                <a:lnTo>
                  <a:pt x="230504" y="117094"/>
                </a:lnTo>
                <a:lnTo>
                  <a:pt x="264159" y="121920"/>
                </a:lnTo>
                <a:lnTo>
                  <a:pt x="283336" y="117094"/>
                </a:lnTo>
                <a:lnTo>
                  <a:pt x="316991" y="107315"/>
                </a:lnTo>
                <a:lnTo>
                  <a:pt x="321817" y="87757"/>
                </a:lnTo>
                <a:lnTo>
                  <a:pt x="316991" y="78105"/>
                </a:lnTo>
                <a:lnTo>
                  <a:pt x="316991" y="68326"/>
                </a:lnTo>
                <a:lnTo>
                  <a:pt x="316991" y="38989"/>
                </a:lnTo>
                <a:lnTo>
                  <a:pt x="312165" y="19558"/>
                </a:lnTo>
                <a:lnTo>
                  <a:pt x="292988" y="0"/>
                </a:lnTo>
                <a:lnTo>
                  <a:pt x="225805" y="4953"/>
                </a:lnTo>
                <a:lnTo>
                  <a:pt x="177673" y="0"/>
                </a:lnTo>
              </a:path>
            </a:pathLst>
          </a:custGeom>
          <a:ln w="12700">
            <a:solidFill>
              <a:srgbClr val="000000"/>
            </a:solidFill>
          </a:ln>
        </p:spPr>
        <p:txBody>
          <a:bodyPr wrap="square" lIns="0" tIns="0" rIns="0" bIns="0" rtlCol="0">
            <a:noAutofit/>
          </a:bodyPr>
          <a:lstStyle/>
          <a:p>
            <a:endParaRPr/>
          </a:p>
        </p:txBody>
      </p:sp>
      <p:sp>
        <p:nvSpPr>
          <p:cNvPr id="102" name="object 102"/>
          <p:cNvSpPr/>
          <p:nvPr/>
        </p:nvSpPr>
        <p:spPr>
          <a:xfrm>
            <a:off x="9366632" y="2471293"/>
            <a:ext cx="345821" cy="126873"/>
          </a:xfrm>
          <a:custGeom>
            <a:avLst/>
            <a:gdLst/>
            <a:ahLst/>
            <a:cxnLst/>
            <a:rect l="l" t="t" r="r" b="b"/>
            <a:pathLst>
              <a:path w="345821" h="126873">
                <a:moveTo>
                  <a:pt x="14350" y="97536"/>
                </a:moveTo>
                <a:lnTo>
                  <a:pt x="43179" y="107315"/>
                </a:lnTo>
                <a:lnTo>
                  <a:pt x="91186" y="117094"/>
                </a:lnTo>
                <a:lnTo>
                  <a:pt x="134493" y="117094"/>
                </a:lnTo>
                <a:lnTo>
                  <a:pt x="172974" y="107315"/>
                </a:lnTo>
                <a:lnTo>
                  <a:pt x="216153" y="87757"/>
                </a:lnTo>
                <a:lnTo>
                  <a:pt x="216153" y="107315"/>
                </a:lnTo>
                <a:lnTo>
                  <a:pt x="249809" y="121920"/>
                </a:lnTo>
                <a:lnTo>
                  <a:pt x="278638" y="126873"/>
                </a:lnTo>
                <a:lnTo>
                  <a:pt x="307467" y="121920"/>
                </a:lnTo>
                <a:lnTo>
                  <a:pt x="341122" y="112141"/>
                </a:lnTo>
                <a:lnTo>
                  <a:pt x="345821" y="92710"/>
                </a:lnTo>
                <a:lnTo>
                  <a:pt x="341122" y="82931"/>
                </a:lnTo>
                <a:lnTo>
                  <a:pt x="341122" y="43942"/>
                </a:lnTo>
                <a:lnTo>
                  <a:pt x="336296" y="19558"/>
                </a:lnTo>
                <a:lnTo>
                  <a:pt x="312293" y="0"/>
                </a:lnTo>
                <a:lnTo>
                  <a:pt x="240157" y="4953"/>
                </a:lnTo>
                <a:lnTo>
                  <a:pt x="192150" y="0"/>
                </a:lnTo>
                <a:lnTo>
                  <a:pt x="158496" y="9779"/>
                </a:lnTo>
                <a:lnTo>
                  <a:pt x="120015" y="9779"/>
                </a:lnTo>
                <a:lnTo>
                  <a:pt x="81661" y="14605"/>
                </a:lnTo>
                <a:lnTo>
                  <a:pt x="28828" y="24384"/>
                </a:lnTo>
                <a:lnTo>
                  <a:pt x="14350" y="34162"/>
                </a:lnTo>
                <a:lnTo>
                  <a:pt x="0" y="43942"/>
                </a:lnTo>
                <a:lnTo>
                  <a:pt x="0" y="78105"/>
                </a:lnTo>
                <a:lnTo>
                  <a:pt x="14350" y="97536"/>
                </a:lnTo>
                <a:close/>
              </a:path>
            </a:pathLst>
          </a:custGeom>
          <a:solidFill>
            <a:srgbClr val="5F2F00"/>
          </a:solidFill>
        </p:spPr>
        <p:txBody>
          <a:bodyPr wrap="square" lIns="0" tIns="0" rIns="0" bIns="0" rtlCol="0">
            <a:noAutofit/>
          </a:bodyPr>
          <a:lstStyle/>
          <a:p>
            <a:endParaRPr/>
          </a:p>
        </p:txBody>
      </p:sp>
      <p:sp>
        <p:nvSpPr>
          <p:cNvPr id="103" name="object 103"/>
          <p:cNvSpPr/>
          <p:nvPr/>
        </p:nvSpPr>
        <p:spPr>
          <a:xfrm>
            <a:off x="9366632" y="2471293"/>
            <a:ext cx="345821" cy="126873"/>
          </a:xfrm>
          <a:custGeom>
            <a:avLst/>
            <a:gdLst/>
            <a:ahLst/>
            <a:cxnLst/>
            <a:rect l="l" t="t" r="r" b="b"/>
            <a:pathLst>
              <a:path w="345821" h="126873">
                <a:moveTo>
                  <a:pt x="192150" y="0"/>
                </a:moveTo>
                <a:lnTo>
                  <a:pt x="158496" y="9779"/>
                </a:lnTo>
                <a:lnTo>
                  <a:pt x="120015" y="9779"/>
                </a:lnTo>
                <a:lnTo>
                  <a:pt x="81661" y="14605"/>
                </a:lnTo>
                <a:lnTo>
                  <a:pt x="28828" y="24384"/>
                </a:lnTo>
                <a:lnTo>
                  <a:pt x="14350" y="34162"/>
                </a:lnTo>
                <a:lnTo>
                  <a:pt x="0" y="43942"/>
                </a:lnTo>
                <a:lnTo>
                  <a:pt x="0" y="78105"/>
                </a:lnTo>
                <a:lnTo>
                  <a:pt x="14350" y="97536"/>
                </a:lnTo>
                <a:lnTo>
                  <a:pt x="43179" y="107315"/>
                </a:lnTo>
                <a:lnTo>
                  <a:pt x="91186" y="117094"/>
                </a:lnTo>
                <a:lnTo>
                  <a:pt x="134493" y="117094"/>
                </a:lnTo>
                <a:lnTo>
                  <a:pt x="172974" y="107315"/>
                </a:lnTo>
                <a:lnTo>
                  <a:pt x="216153" y="87757"/>
                </a:lnTo>
                <a:lnTo>
                  <a:pt x="216153" y="107315"/>
                </a:lnTo>
                <a:lnTo>
                  <a:pt x="249809" y="121920"/>
                </a:lnTo>
                <a:lnTo>
                  <a:pt x="278638" y="126873"/>
                </a:lnTo>
                <a:lnTo>
                  <a:pt x="307467" y="121920"/>
                </a:lnTo>
                <a:lnTo>
                  <a:pt x="341122" y="112141"/>
                </a:lnTo>
                <a:lnTo>
                  <a:pt x="345821" y="92710"/>
                </a:lnTo>
                <a:lnTo>
                  <a:pt x="341122" y="82931"/>
                </a:lnTo>
                <a:lnTo>
                  <a:pt x="341122" y="68326"/>
                </a:lnTo>
                <a:lnTo>
                  <a:pt x="341122" y="43942"/>
                </a:lnTo>
                <a:lnTo>
                  <a:pt x="336296" y="19558"/>
                </a:lnTo>
                <a:lnTo>
                  <a:pt x="312293" y="0"/>
                </a:lnTo>
                <a:lnTo>
                  <a:pt x="240157" y="4953"/>
                </a:lnTo>
                <a:lnTo>
                  <a:pt x="192150" y="0"/>
                </a:lnTo>
              </a:path>
            </a:pathLst>
          </a:custGeom>
          <a:ln w="12700">
            <a:solidFill>
              <a:srgbClr val="000000"/>
            </a:solidFill>
          </a:ln>
        </p:spPr>
        <p:txBody>
          <a:bodyPr wrap="square" lIns="0" tIns="0" rIns="0" bIns="0" rtlCol="0">
            <a:noAutofit/>
          </a:bodyPr>
          <a:lstStyle/>
          <a:p>
            <a:endParaRPr/>
          </a:p>
        </p:txBody>
      </p:sp>
      <p:sp>
        <p:nvSpPr>
          <p:cNvPr id="104" name="object 104"/>
          <p:cNvSpPr/>
          <p:nvPr/>
        </p:nvSpPr>
        <p:spPr>
          <a:xfrm>
            <a:off x="9477122" y="1915414"/>
            <a:ext cx="283463" cy="565658"/>
          </a:xfrm>
          <a:custGeom>
            <a:avLst/>
            <a:gdLst/>
            <a:ahLst/>
            <a:cxnLst/>
            <a:rect l="l" t="t" r="r" b="b"/>
            <a:pathLst>
              <a:path w="283463" h="565658">
                <a:moveTo>
                  <a:pt x="57657" y="185293"/>
                </a:moveTo>
                <a:lnTo>
                  <a:pt x="4825" y="248665"/>
                </a:lnTo>
                <a:lnTo>
                  <a:pt x="0" y="307213"/>
                </a:lnTo>
                <a:lnTo>
                  <a:pt x="19176" y="370586"/>
                </a:lnTo>
                <a:lnTo>
                  <a:pt x="43179" y="443738"/>
                </a:lnTo>
                <a:lnTo>
                  <a:pt x="81660" y="521715"/>
                </a:lnTo>
                <a:lnTo>
                  <a:pt x="96011" y="551052"/>
                </a:lnTo>
                <a:lnTo>
                  <a:pt x="120014" y="565658"/>
                </a:lnTo>
                <a:lnTo>
                  <a:pt x="144145" y="565658"/>
                </a:lnTo>
                <a:lnTo>
                  <a:pt x="172974" y="560832"/>
                </a:lnTo>
                <a:lnTo>
                  <a:pt x="254634" y="560832"/>
                </a:lnTo>
                <a:lnTo>
                  <a:pt x="283463" y="555878"/>
                </a:lnTo>
                <a:lnTo>
                  <a:pt x="264159" y="531495"/>
                </a:lnTo>
                <a:lnTo>
                  <a:pt x="220979" y="477900"/>
                </a:lnTo>
                <a:lnTo>
                  <a:pt x="192150" y="419353"/>
                </a:lnTo>
                <a:lnTo>
                  <a:pt x="158496" y="375412"/>
                </a:lnTo>
                <a:lnTo>
                  <a:pt x="144145" y="336423"/>
                </a:lnTo>
                <a:lnTo>
                  <a:pt x="148844" y="321818"/>
                </a:lnTo>
                <a:lnTo>
                  <a:pt x="158496" y="292608"/>
                </a:lnTo>
                <a:lnTo>
                  <a:pt x="172974" y="253491"/>
                </a:lnTo>
                <a:lnTo>
                  <a:pt x="196976" y="190119"/>
                </a:lnTo>
                <a:lnTo>
                  <a:pt x="220979" y="131572"/>
                </a:lnTo>
                <a:lnTo>
                  <a:pt x="244982" y="87757"/>
                </a:lnTo>
                <a:lnTo>
                  <a:pt x="244982" y="0"/>
                </a:lnTo>
                <a:lnTo>
                  <a:pt x="124840" y="0"/>
                </a:lnTo>
                <a:lnTo>
                  <a:pt x="120014" y="19431"/>
                </a:lnTo>
                <a:lnTo>
                  <a:pt x="120014" y="77977"/>
                </a:lnTo>
                <a:lnTo>
                  <a:pt x="96011" y="126746"/>
                </a:lnTo>
                <a:lnTo>
                  <a:pt x="57657" y="185293"/>
                </a:lnTo>
                <a:close/>
              </a:path>
            </a:pathLst>
          </a:custGeom>
          <a:solidFill>
            <a:srgbClr val="0000C4"/>
          </a:solidFill>
        </p:spPr>
        <p:txBody>
          <a:bodyPr wrap="square" lIns="0" tIns="0" rIns="0" bIns="0" rtlCol="0">
            <a:noAutofit/>
          </a:bodyPr>
          <a:lstStyle/>
          <a:p>
            <a:endParaRPr/>
          </a:p>
        </p:txBody>
      </p:sp>
      <p:sp>
        <p:nvSpPr>
          <p:cNvPr id="105" name="object 105"/>
          <p:cNvSpPr/>
          <p:nvPr/>
        </p:nvSpPr>
        <p:spPr>
          <a:xfrm>
            <a:off x="9477122" y="1915414"/>
            <a:ext cx="283463" cy="565658"/>
          </a:xfrm>
          <a:custGeom>
            <a:avLst/>
            <a:gdLst/>
            <a:ahLst/>
            <a:cxnLst/>
            <a:rect l="l" t="t" r="r" b="b"/>
            <a:pathLst>
              <a:path w="283463" h="565658">
                <a:moveTo>
                  <a:pt x="220979" y="131572"/>
                </a:moveTo>
                <a:lnTo>
                  <a:pt x="196976" y="190119"/>
                </a:lnTo>
                <a:lnTo>
                  <a:pt x="172974" y="253491"/>
                </a:lnTo>
                <a:lnTo>
                  <a:pt x="158496" y="292608"/>
                </a:lnTo>
                <a:lnTo>
                  <a:pt x="148844" y="321818"/>
                </a:lnTo>
                <a:lnTo>
                  <a:pt x="144145" y="336423"/>
                </a:lnTo>
                <a:lnTo>
                  <a:pt x="158496" y="375412"/>
                </a:lnTo>
                <a:lnTo>
                  <a:pt x="192150" y="419353"/>
                </a:lnTo>
                <a:lnTo>
                  <a:pt x="220979" y="477900"/>
                </a:lnTo>
                <a:lnTo>
                  <a:pt x="264159" y="531495"/>
                </a:lnTo>
                <a:lnTo>
                  <a:pt x="283463" y="555878"/>
                </a:lnTo>
                <a:lnTo>
                  <a:pt x="254634" y="560832"/>
                </a:lnTo>
                <a:lnTo>
                  <a:pt x="206501" y="560832"/>
                </a:lnTo>
                <a:lnTo>
                  <a:pt x="172974" y="560832"/>
                </a:lnTo>
                <a:lnTo>
                  <a:pt x="144145" y="565658"/>
                </a:lnTo>
                <a:lnTo>
                  <a:pt x="120014" y="565658"/>
                </a:lnTo>
                <a:lnTo>
                  <a:pt x="96011" y="551052"/>
                </a:lnTo>
                <a:lnTo>
                  <a:pt x="81660" y="521715"/>
                </a:lnTo>
                <a:lnTo>
                  <a:pt x="43179" y="443738"/>
                </a:lnTo>
                <a:lnTo>
                  <a:pt x="19176" y="370586"/>
                </a:lnTo>
                <a:lnTo>
                  <a:pt x="0" y="307213"/>
                </a:lnTo>
                <a:lnTo>
                  <a:pt x="4825" y="248665"/>
                </a:lnTo>
                <a:lnTo>
                  <a:pt x="57657" y="185293"/>
                </a:lnTo>
                <a:lnTo>
                  <a:pt x="96011" y="126746"/>
                </a:lnTo>
                <a:lnTo>
                  <a:pt x="120014" y="77977"/>
                </a:lnTo>
                <a:lnTo>
                  <a:pt x="120014" y="19431"/>
                </a:lnTo>
                <a:lnTo>
                  <a:pt x="124840" y="0"/>
                </a:lnTo>
                <a:lnTo>
                  <a:pt x="206501" y="0"/>
                </a:lnTo>
                <a:lnTo>
                  <a:pt x="244982" y="0"/>
                </a:lnTo>
                <a:lnTo>
                  <a:pt x="244982" y="87757"/>
                </a:lnTo>
                <a:lnTo>
                  <a:pt x="220979" y="131572"/>
                </a:lnTo>
              </a:path>
            </a:pathLst>
          </a:custGeom>
          <a:ln w="12700">
            <a:solidFill>
              <a:srgbClr val="000000"/>
            </a:solidFill>
          </a:ln>
        </p:spPr>
        <p:txBody>
          <a:bodyPr wrap="square" lIns="0" tIns="0" rIns="0" bIns="0" rtlCol="0">
            <a:noAutofit/>
          </a:bodyPr>
          <a:lstStyle/>
          <a:p>
            <a:endParaRPr/>
          </a:p>
        </p:txBody>
      </p:sp>
      <p:sp>
        <p:nvSpPr>
          <p:cNvPr id="106" name="object 106"/>
          <p:cNvSpPr/>
          <p:nvPr/>
        </p:nvSpPr>
        <p:spPr>
          <a:xfrm>
            <a:off x="9414636" y="1905636"/>
            <a:ext cx="321818" cy="590041"/>
          </a:xfrm>
          <a:custGeom>
            <a:avLst/>
            <a:gdLst/>
            <a:ahLst/>
            <a:cxnLst/>
            <a:rect l="l" t="t" r="r" b="b"/>
            <a:pathLst>
              <a:path w="321818" h="590041">
                <a:moveTo>
                  <a:pt x="4826" y="297434"/>
                </a:moveTo>
                <a:lnTo>
                  <a:pt x="0" y="341375"/>
                </a:lnTo>
                <a:lnTo>
                  <a:pt x="4826" y="375538"/>
                </a:lnTo>
                <a:lnTo>
                  <a:pt x="43180" y="429132"/>
                </a:lnTo>
                <a:lnTo>
                  <a:pt x="96139" y="507111"/>
                </a:lnTo>
                <a:lnTo>
                  <a:pt x="129667" y="565657"/>
                </a:lnTo>
                <a:lnTo>
                  <a:pt x="148971" y="575437"/>
                </a:lnTo>
                <a:lnTo>
                  <a:pt x="182499" y="585215"/>
                </a:lnTo>
                <a:lnTo>
                  <a:pt x="211328" y="590041"/>
                </a:lnTo>
                <a:lnTo>
                  <a:pt x="240157" y="585215"/>
                </a:lnTo>
                <a:lnTo>
                  <a:pt x="268986" y="585215"/>
                </a:lnTo>
                <a:lnTo>
                  <a:pt x="278638" y="570611"/>
                </a:lnTo>
                <a:lnTo>
                  <a:pt x="244983" y="526668"/>
                </a:lnTo>
                <a:lnTo>
                  <a:pt x="206629" y="463295"/>
                </a:lnTo>
                <a:lnTo>
                  <a:pt x="182499" y="419353"/>
                </a:lnTo>
                <a:lnTo>
                  <a:pt x="163322" y="385190"/>
                </a:lnTo>
                <a:lnTo>
                  <a:pt x="148971" y="346201"/>
                </a:lnTo>
                <a:lnTo>
                  <a:pt x="129667" y="321817"/>
                </a:lnTo>
                <a:lnTo>
                  <a:pt x="96139" y="307213"/>
                </a:lnTo>
                <a:lnTo>
                  <a:pt x="144145" y="321817"/>
                </a:lnTo>
                <a:lnTo>
                  <a:pt x="158496" y="292607"/>
                </a:lnTo>
                <a:lnTo>
                  <a:pt x="182499" y="253618"/>
                </a:lnTo>
                <a:lnTo>
                  <a:pt x="201803" y="209676"/>
                </a:lnTo>
                <a:lnTo>
                  <a:pt x="230632" y="180466"/>
                </a:lnTo>
                <a:lnTo>
                  <a:pt x="259461" y="170687"/>
                </a:lnTo>
                <a:lnTo>
                  <a:pt x="293116" y="156082"/>
                </a:lnTo>
                <a:lnTo>
                  <a:pt x="307467" y="126745"/>
                </a:lnTo>
                <a:lnTo>
                  <a:pt x="321818" y="73151"/>
                </a:lnTo>
                <a:lnTo>
                  <a:pt x="321818" y="0"/>
                </a:lnTo>
                <a:lnTo>
                  <a:pt x="148971" y="0"/>
                </a:lnTo>
                <a:lnTo>
                  <a:pt x="120142" y="73151"/>
                </a:lnTo>
                <a:lnTo>
                  <a:pt x="105664" y="121919"/>
                </a:lnTo>
                <a:lnTo>
                  <a:pt x="91313" y="141350"/>
                </a:lnTo>
                <a:lnTo>
                  <a:pt x="52832" y="195072"/>
                </a:lnTo>
                <a:lnTo>
                  <a:pt x="19177" y="253618"/>
                </a:lnTo>
                <a:lnTo>
                  <a:pt x="4826" y="297434"/>
                </a:lnTo>
                <a:close/>
              </a:path>
            </a:pathLst>
          </a:custGeom>
          <a:solidFill>
            <a:srgbClr val="0000DF"/>
          </a:solidFill>
        </p:spPr>
        <p:txBody>
          <a:bodyPr wrap="square" lIns="0" tIns="0" rIns="0" bIns="0" rtlCol="0">
            <a:noAutofit/>
          </a:bodyPr>
          <a:lstStyle/>
          <a:p>
            <a:endParaRPr/>
          </a:p>
        </p:txBody>
      </p:sp>
      <p:sp>
        <p:nvSpPr>
          <p:cNvPr id="107" name="object 107"/>
          <p:cNvSpPr/>
          <p:nvPr/>
        </p:nvSpPr>
        <p:spPr>
          <a:xfrm>
            <a:off x="9414636" y="1905636"/>
            <a:ext cx="321818" cy="590041"/>
          </a:xfrm>
          <a:custGeom>
            <a:avLst/>
            <a:gdLst/>
            <a:ahLst/>
            <a:cxnLst/>
            <a:rect l="l" t="t" r="r" b="b"/>
            <a:pathLst>
              <a:path w="321818" h="590041">
                <a:moveTo>
                  <a:pt x="148971" y="0"/>
                </a:moveTo>
                <a:lnTo>
                  <a:pt x="120142" y="73151"/>
                </a:lnTo>
                <a:lnTo>
                  <a:pt x="105664" y="121919"/>
                </a:lnTo>
                <a:lnTo>
                  <a:pt x="91313" y="141350"/>
                </a:lnTo>
                <a:lnTo>
                  <a:pt x="52832" y="195072"/>
                </a:lnTo>
                <a:lnTo>
                  <a:pt x="19177" y="253618"/>
                </a:lnTo>
                <a:lnTo>
                  <a:pt x="4826" y="297434"/>
                </a:lnTo>
                <a:lnTo>
                  <a:pt x="0" y="341375"/>
                </a:lnTo>
                <a:lnTo>
                  <a:pt x="4826" y="375538"/>
                </a:lnTo>
                <a:lnTo>
                  <a:pt x="43180" y="429132"/>
                </a:lnTo>
                <a:lnTo>
                  <a:pt x="96139" y="507111"/>
                </a:lnTo>
                <a:lnTo>
                  <a:pt x="129667" y="565657"/>
                </a:lnTo>
                <a:lnTo>
                  <a:pt x="148971" y="575437"/>
                </a:lnTo>
                <a:lnTo>
                  <a:pt x="182499" y="585215"/>
                </a:lnTo>
                <a:lnTo>
                  <a:pt x="211328" y="590041"/>
                </a:lnTo>
                <a:lnTo>
                  <a:pt x="240157" y="585215"/>
                </a:lnTo>
                <a:lnTo>
                  <a:pt x="268986" y="585215"/>
                </a:lnTo>
                <a:lnTo>
                  <a:pt x="278638" y="570611"/>
                </a:lnTo>
                <a:lnTo>
                  <a:pt x="244983" y="526668"/>
                </a:lnTo>
                <a:lnTo>
                  <a:pt x="206629" y="463295"/>
                </a:lnTo>
                <a:lnTo>
                  <a:pt x="182499" y="419353"/>
                </a:lnTo>
                <a:lnTo>
                  <a:pt x="163322" y="385190"/>
                </a:lnTo>
                <a:lnTo>
                  <a:pt x="148971" y="346201"/>
                </a:lnTo>
                <a:lnTo>
                  <a:pt x="129667" y="321817"/>
                </a:lnTo>
                <a:lnTo>
                  <a:pt x="96139" y="307213"/>
                </a:lnTo>
                <a:lnTo>
                  <a:pt x="144145" y="321817"/>
                </a:lnTo>
                <a:lnTo>
                  <a:pt x="158496" y="292607"/>
                </a:lnTo>
                <a:lnTo>
                  <a:pt x="182499" y="253618"/>
                </a:lnTo>
                <a:lnTo>
                  <a:pt x="201803" y="209676"/>
                </a:lnTo>
                <a:lnTo>
                  <a:pt x="230632" y="180466"/>
                </a:lnTo>
                <a:lnTo>
                  <a:pt x="259461" y="170687"/>
                </a:lnTo>
                <a:lnTo>
                  <a:pt x="293116" y="156082"/>
                </a:lnTo>
                <a:lnTo>
                  <a:pt x="307467" y="126745"/>
                </a:lnTo>
                <a:lnTo>
                  <a:pt x="321818" y="73151"/>
                </a:lnTo>
                <a:lnTo>
                  <a:pt x="321818" y="19430"/>
                </a:lnTo>
                <a:lnTo>
                  <a:pt x="321818" y="0"/>
                </a:lnTo>
                <a:lnTo>
                  <a:pt x="264287" y="0"/>
                </a:lnTo>
                <a:lnTo>
                  <a:pt x="216154" y="0"/>
                </a:lnTo>
                <a:lnTo>
                  <a:pt x="148971" y="0"/>
                </a:lnTo>
              </a:path>
            </a:pathLst>
          </a:custGeom>
          <a:ln w="12700">
            <a:solidFill>
              <a:srgbClr val="000000"/>
            </a:solidFill>
          </a:ln>
        </p:spPr>
        <p:txBody>
          <a:bodyPr wrap="square" lIns="0" tIns="0" rIns="0" bIns="0" rtlCol="0">
            <a:noAutofit/>
          </a:bodyPr>
          <a:lstStyle/>
          <a:p>
            <a:endParaRPr/>
          </a:p>
        </p:txBody>
      </p:sp>
      <p:sp>
        <p:nvSpPr>
          <p:cNvPr id="108" name="object 108"/>
          <p:cNvSpPr/>
          <p:nvPr/>
        </p:nvSpPr>
        <p:spPr>
          <a:xfrm>
            <a:off x="9698101" y="2032381"/>
            <a:ext cx="76834" cy="78105"/>
          </a:xfrm>
          <a:custGeom>
            <a:avLst/>
            <a:gdLst/>
            <a:ahLst/>
            <a:cxnLst/>
            <a:rect l="l" t="t" r="r" b="b"/>
            <a:pathLst>
              <a:path w="76834" h="78105">
                <a:moveTo>
                  <a:pt x="76834" y="0"/>
                </a:moveTo>
                <a:lnTo>
                  <a:pt x="62483" y="24384"/>
                </a:lnTo>
                <a:lnTo>
                  <a:pt x="48005" y="48768"/>
                </a:lnTo>
                <a:lnTo>
                  <a:pt x="28828" y="63373"/>
                </a:lnTo>
                <a:lnTo>
                  <a:pt x="0" y="78105"/>
                </a:lnTo>
              </a:path>
            </a:pathLst>
          </a:custGeom>
          <a:ln w="12700">
            <a:solidFill>
              <a:srgbClr val="000000"/>
            </a:solidFill>
          </a:ln>
        </p:spPr>
        <p:txBody>
          <a:bodyPr wrap="square" lIns="0" tIns="0" rIns="0" bIns="0" rtlCol="0">
            <a:noAutofit/>
          </a:bodyPr>
          <a:lstStyle/>
          <a:p>
            <a:endParaRPr/>
          </a:p>
        </p:txBody>
      </p:sp>
      <p:sp>
        <p:nvSpPr>
          <p:cNvPr id="109" name="object 109"/>
          <p:cNvSpPr/>
          <p:nvPr/>
        </p:nvSpPr>
        <p:spPr>
          <a:xfrm>
            <a:off x="9712452" y="2051940"/>
            <a:ext cx="76962" cy="77977"/>
          </a:xfrm>
          <a:custGeom>
            <a:avLst/>
            <a:gdLst/>
            <a:ahLst/>
            <a:cxnLst/>
            <a:rect l="l" t="t" r="r" b="b"/>
            <a:pathLst>
              <a:path w="76962" h="77977">
                <a:moveTo>
                  <a:pt x="76962" y="0"/>
                </a:moveTo>
                <a:lnTo>
                  <a:pt x="67309" y="24384"/>
                </a:lnTo>
                <a:lnTo>
                  <a:pt x="48132" y="48768"/>
                </a:lnTo>
                <a:lnTo>
                  <a:pt x="28828" y="63373"/>
                </a:lnTo>
                <a:lnTo>
                  <a:pt x="0" y="77977"/>
                </a:lnTo>
              </a:path>
            </a:pathLst>
          </a:custGeom>
          <a:ln w="12700">
            <a:solidFill>
              <a:srgbClr val="000000"/>
            </a:solidFill>
          </a:ln>
        </p:spPr>
        <p:txBody>
          <a:bodyPr wrap="square" lIns="0" tIns="0" rIns="0" bIns="0" rtlCol="0">
            <a:noAutofit/>
          </a:bodyPr>
          <a:lstStyle/>
          <a:p>
            <a:endParaRPr/>
          </a:p>
        </p:txBody>
      </p:sp>
      <p:sp>
        <p:nvSpPr>
          <p:cNvPr id="110" name="object 110"/>
          <p:cNvSpPr/>
          <p:nvPr/>
        </p:nvSpPr>
        <p:spPr>
          <a:xfrm>
            <a:off x="9179180" y="1252092"/>
            <a:ext cx="225805" cy="214630"/>
          </a:xfrm>
          <a:custGeom>
            <a:avLst/>
            <a:gdLst/>
            <a:ahLst/>
            <a:cxnLst/>
            <a:rect l="l" t="t" r="r" b="b"/>
            <a:pathLst>
              <a:path w="225805" h="214630">
                <a:moveTo>
                  <a:pt x="4825" y="97536"/>
                </a:moveTo>
                <a:lnTo>
                  <a:pt x="28828" y="131699"/>
                </a:lnTo>
                <a:lnTo>
                  <a:pt x="52959" y="151257"/>
                </a:lnTo>
                <a:lnTo>
                  <a:pt x="86487" y="165862"/>
                </a:lnTo>
                <a:lnTo>
                  <a:pt x="124968" y="170687"/>
                </a:lnTo>
                <a:lnTo>
                  <a:pt x="177800" y="214630"/>
                </a:lnTo>
                <a:lnTo>
                  <a:pt x="225805" y="170687"/>
                </a:lnTo>
                <a:lnTo>
                  <a:pt x="182625" y="146304"/>
                </a:lnTo>
                <a:lnTo>
                  <a:pt x="182625" y="112141"/>
                </a:lnTo>
                <a:lnTo>
                  <a:pt x="187451" y="87757"/>
                </a:lnTo>
                <a:lnTo>
                  <a:pt x="187451" y="58547"/>
                </a:lnTo>
                <a:lnTo>
                  <a:pt x="177800" y="24384"/>
                </a:lnTo>
                <a:lnTo>
                  <a:pt x="144145" y="0"/>
                </a:lnTo>
                <a:lnTo>
                  <a:pt x="129794" y="0"/>
                </a:lnTo>
                <a:lnTo>
                  <a:pt x="120142" y="9779"/>
                </a:lnTo>
                <a:lnTo>
                  <a:pt x="129794" y="24384"/>
                </a:lnTo>
                <a:lnTo>
                  <a:pt x="144145" y="58547"/>
                </a:lnTo>
                <a:lnTo>
                  <a:pt x="129794" y="78105"/>
                </a:lnTo>
                <a:lnTo>
                  <a:pt x="115316" y="58547"/>
                </a:lnTo>
                <a:lnTo>
                  <a:pt x="67310" y="24384"/>
                </a:lnTo>
                <a:lnTo>
                  <a:pt x="48132" y="14605"/>
                </a:lnTo>
                <a:lnTo>
                  <a:pt x="38480" y="24384"/>
                </a:lnTo>
                <a:lnTo>
                  <a:pt x="43306" y="43942"/>
                </a:lnTo>
                <a:lnTo>
                  <a:pt x="81661" y="87757"/>
                </a:lnTo>
                <a:lnTo>
                  <a:pt x="57657" y="68326"/>
                </a:lnTo>
                <a:lnTo>
                  <a:pt x="24129" y="48768"/>
                </a:lnTo>
                <a:lnTo>
                  <a:pt x="9651" y="58547"/>
                </a:lnTo>
                <a:lnTo>
                  <a:pt x="28828" y="82931"/>
                </a:lnTo>
                <a:lnTo>
                  <a:pt x="0" y="68326"/>
                </a:lnTo>
                <a:lnTo>
                  <a:pt x="0" y="92710"/>
                </a:lnTo>
                <a:lnTo>
                  <a:pt x="4825" y="97536"/>
                </a:lnTo>
                <a:close/>
              </a:path>
            </a:pathLst>
          </a:custGeom>
          <a:solidFill>
            <a:srgbClr val="FFDFC0"/>
          </a:solidFill>
        </p:spPr>
        <p:txBody>
          <a:bodyPr wrap="square" lIns="0" tIns="0" rIns="0" bIns="0" rtlCol="0">
            <a:noAutofit/>
          </a:bodyPr>
          <a:lstStyle/>
          <a:p>
            <a:endParaRPr/>
          </a:p>
        </p:txBody>
      </p:sp>
      <p:sp>
        <p:nvSpPr>
          <p:cNvPr id="111" name="object 111"/>
          <p:cNvSpPr/>
          <p:nvPr/>
        </p:nvSpPr>
        <p:spPr>
          <a:xfrm>
            <a:off x="9179180" y="1252092"/>
            <a:ext cx="225805" cy="214630"/>
          </a:xfrm>
          <a:custGeom>
            <a:avLst/>
            <a:gdLst/>
            <a:ahLst/>
            <a:cxnLst/>
            <a:rect l="l" t="t" r="r" b="b"/>
            <a:pathLst>
              <a:path w="225805" h="214630">
                <a:moveTo>
                  <a:pt x="177800" y="214630"/>
                </a:moveTo>
                <a:lnTo>
                  <a:pt x="124968" y="170687"/>
                </a:lnTo>
                <a:lnTo>
                  <a:pt x="86487" y="165862"/>
                </a:lnTo>
                <a:lnTo>
                  <a:pt x="52959" y="151257"/>
                </a:lnTo>
                <a:lnTo>
                  <a:pt x="28828" y="131699"/>
                </a:lnTo>
                <a:lnTo>
                  <a:pt x="4825" y="97536"/>
                </a:lnTo>
                <a:lnTo>
                  <a:pt x="0" y="92710"/>
                </a:lnTo>
                <a:lnTo>
                  <a:pt x="0" y="68326"/>
                </a:lnTo>
                <a:lnTo>
                  <a:pt x="28828" y="82931"/>
                </a:lnTo>
                <a:lnTo>
                  <a:pt x="9651" y="58547"/>
                </a:lnTo>
                <a:lnTo>
                  <a:pt x="24129" y="48768"/>
                </a:lnTo>
                <a:lnTo>
                  <a:pt x="57657" y="68326"/>
                </a:lnTo>
                <a:lnTo>
                  <a:pt x="81661" y="87757"/>
                </a:lnTo>
                <a:lnTo>
                  <a:pt x="43306" y="43942"/>
                </a:lnTo>
                <a:lnTo>
                  <a:pt x="38480" y="24384"/>
                </a:lnTo>
                <a:lnTo>
                  <a:pt x="48132" y="14605"/>
                </a:lnTo>
                <a:lnTo>
                  <a:pt x="67310" y="24384"/>
                </a:lnTo>
                <a:lnTo>
                  <a:pt x="115316" y="58547"/>
                </a:lnTo>
                <a:lnTo>
                  <a:pt x="129794" y="78105"/>
                </a:lnTo>
                <a:lnTo>
                  <a:pt x="144145" y="58547"/>
                </a:lnTo>
                <a:lnTo>
                  <a:pt x="129794" y="24384"/>
                </a:lnTo>
                <a:lnTo>
                  <a:pt x="120142" y="9779"/>
                </a:lnTo>
                <a:lnTo>
                  <a:pt x="129794" y="0"/>
                </a:lnTo>
                <a:lnTo>
                  <a:pt x="144145" y="0"/>
                </a:lnTo>
                <a:lnTo>
                  <a:pt x="177800" y="24384"/>
                </a:lnTo>
                <a:lnTo>
                  <a:pt x="187451" y="58547"/>
                </a:lnTo>
                <a:lnTo>
                  <a:pt x="187451" y="87757"/>
                </a:lnTo>
                <a:lnTo>
                  <a:pt x="182625" y="112141"/>
                </a:lnTo>
                <a:lnTo>
                  <a:pt x="182625" y="146304"/>
                </a:lnTo>
                <a:lnTo>
                  <a:pt x="225805" y="170687"/>
                </a:lnTo>
                <a:lnTo>
                  <a:pt x="177800" y="214630"/>
                </a:lnTo>
              </a:path>
            </a:pathLst>
          </a:custGeom>
          <a:ln w="12700">
            <a:solidFill>
              <a:srgbClr val="000000"/>
            </a:solidFill>
          </a:ln>
        </p:spPr>
        <p:txBody>
          <a:bodyPr wrap="square" lIns="0" tIns="0" rIns="0" bIns="0" rtlCol="0">
            <a:noAutofit/>
          </a:bodyPr>
          <a:lstStyle/>
          <a:p>
            <a:endParaRPr/>
          </a:p>
        </p:txBody>
      </p:sp>
      <p:sp>
        <p:nvSpPr>
          <p:cNvPr id="112" name="object 112"/>
          <p:cNvSpPr/>
          <p:nvPr/>
        </p:nvSpPr>
        <p:spPr>
          <a:xfrm>
            <a:off x="9304147" y="1369187"/>
            <a:ext cx="489966" cy="565658"/>
          </a:xfrm>
          <a:custGeom>
            <a:avLst/>
            <a:gdLst/>
            <a:ahLst/>
            <a:cxnLst/>
            <a:rect l="l" t="t" r="r" b="b"/>
            <a:pathLst>
              <a:path w="489966" h="565658">
                <a:moveTo>
                  <a:pt x="249808" y="468122"/>
                </a:moveTo>
                <a:lnTo>
                  <a:pt x="244982" y="497459"/>
                </a:lnTo>
                <a:lnTo>
                  <a:pt x="254634" y="536448"/>
                </a:lnTo>
                <a:lnTo>
                  <a:pt x="273811" y="555878"/>
                </a:lnTo>
                <a:lnTo>
                  <a:pt x="302641" y="560832"/>
                </a:lnTo>
                <a:lnTo>
                  <a:pt x="360299" y="565658"/>
                </a:lnTo>
                <a:lnTo>
                  <a:pt x="408304" y="560832"/>
                </a:lnTo>
                <a:lnTo>
                  <a:pt x="441959" y="551052"/>
                </a:lnTo>
                <a:lnTo>
                  <a:pt x="465962" y="531495"/>
                </a:lnTo>
                <a:lnTo>
                  <a:pt x="475614" y="477900"/>
                </a:lnTo>
                <a:lnTo>
                  <a:pt x="470788" y="448690"/>
                </a:lnTo>
                <a:lnTo>
                  <a:pt x="480441" y="399923"/>
                </a:lnTo>
                <a:lnTo>
                  <a:pt x="470788" y="390143"/>
                </a:lnTo>
                <a:lnTo>
                  <a:pt x="470788" y="365760"/>
                </a:lnTo>
                <a:lnTo>
                  <a:pt x="480441" y="351154"/>
                </a:lnTo>
                <a:lnTo>
                  <a:pt x="485267" y="331597"/>
                </a:lnTo>
                <a:lnTo>
                  <a:pt x="489966" y="302387"/>
                </a:lnTo>
                <a:lnTo>
                  <a:pt x="485267" y="273050"/>
                </a:lnTo>
                <a:lnTo>
                  <a:pt x="480441" y="243839"/>
                </a:lnTo>
                <a:lnTo>
                  <a:pt x="475614" y="224282"/>
                </a:lnTo>
                <a:lnTo>
                  <a:pt x="461136" y="204850"/>
                </a:lnTo>
                <a:lnTo>
                  <a:pt x="446785" y="180466"/>
                </a:lnTo>
                <a:lnTo>
                  <a:pt x="422782" y="160909"/>
                </a:lnTo>
                <a:lnTo>
                  <a:pt x="403605" y="165735"/>
                </a:lnTo>
                <a:lnTo>
                  <a:pt x="341122" y="180466"/>
                </a:lnTo>
                <a:lnTo>
                  <a:pt x="312293" y="209676"/>
                </a:lnTo>
                <a:lnTo>
                  <a:pt x="283463" y="195072"/>
                </a:lnTo>
                <a:lnTo>
                  <a:pt x="244982" y="175513"/>
                </a:lnTo>
                <a:lnTo>
                  <a:pt x="225805" y="180466"/>
                </a:lnTo>
                <a:lnTo>
                  <a:pt x="216153" y="170687"/>
                </a:lnTo>
                <a:lnTo>
                  <a:pt x="196976" y="170687"/>
                </a:lnTo>
                <a:lnTo>
                  <a:pt x="158496" y="131699"/>
                </a:lnTo>
                <a:lnTo>
                  <a:pt x="105663" y="53593"/>
                </a:lnTo>
                <a:lnTo>
                  <a:pt x="62483" y="0"/>
                </a:lnTo>
                <a:lnTo>
                  <a:pt x="0" y="87757"/>
                </a:lnTo>
                <a:lnTo>
                  <a:pt x="62483" y="131699"/>
                </a:lnTo>
                <a:lnTo>
                  <a:pt x="129667" y="195072"/>
                </a:lnTo>
                <a:lnTo>
                  <a:pt x="168148" y="234061"/>
                </a:lnTo>
                <a:lnTo>
                  <a:pt x="163322" y="258445"/>
                </a:lnTo>
                <a:lnTo>
                  <a:pt x="192150" y="278002"/>
                </a:lnTo>
                <a:lnTo>
                  <a:pt x="220979" y="278002"/>
                </a:lnTo>
                <a:lnTo>
                  <a:pt x="254634" y="316991"/>
                </a:lnTo>
                <a:lnTo>
                  <a:pt x="273811" y="341375"/>
                </a:lnTo>
                <a:lnTo>
                  <a:pt x="268985" y="380364"/>
                </a:lnTo>
                <a:lnTo>
                  <a:pt x="259460" y="438912"/>
                </a:lnTo>
                <a:lnTo>
                  <a:pt x="249808" y="468122"/>
                </a:lnTo>
                <a:close/>
              </a:path>
            </a:pathLst>
          </a:custGeom>
          <a:solidFill>
            <a:srgbClr val="4040FF"/>
          </a:solidFill>
        </p:spPr>
        <p:txBody>
          <a:bodyPr wrap="square" lIns="0" tIns="0" rIns="0" bIns="0" rtlCol="0">
            <a:noAutofit/>
          </a:bodyPr>
          <a:lstStyle/>
          <a:p>
            <a:endParaRPr/>
          </a:p>
        </p:txBody>
      </p:sp>
      <p:sp>
        <p:nvSpPr>
          <p:cNvPr id="113" name="object 113"/>
          <p:cNvSpPr/>
          <p:nvPr/>
        </p:nvSpPr>
        <p:spPr>
          <a:xfrm>
            <a:off x="9304147" y="1369187"/>
            <a:ext cx="489966" cy="565658"/>
          </a:xfrm>
          <a:custGeom>
            <a:avLst/>
            <a:gdLst/>
            <a:ahLst/>
            <a:cxnLst/>
            <a:rect l="l" t="t" r="r" b="b"/>
            <a:pathLst>
              <a:path w="489966" h="565658">
                <a:moveTo>
                  <a:pt x="446785" y="180466"/>
                </a:moveTo>
                <a:lnTo>
                  <a:pt x="422782" y="160909"/>
                </a:lnTo>
                <a:lnTo>
                  <a:pt x="403605" y="165735"/>
                </a:lnTo>
                <a:lnTo>
                  <a:pt x="341122" y="180466"/>
                </a:lnTo>
                <a:lnTo>
                  <a:pt x="312293" y="209676"/>
                </a:lnTo>
                <a:lnTo>
                  <a:pt x="283463" y="195072"/>
                </a:lnTo>
                <a:lnTo>
                  <a:pt x="244982" y="175513"/>
                </a:lnTo>
                <a:lnTo>
                  <a:pt x="225805" y="180466"/>
                </a:lnTo>
                <a:lnTo>
                  <a:pt x="216153" y="170687"/>
                </a:lnTo>
                <a:lnTo>
                  <a:pt x="196976" y="170687"/>
                </a:lnTo>
                <a:lnTo>
                  <a:pt x="158496" y="131699"/>
                </a:lnTo>
                <a:lnTo>
                  <a:pt x="105663" y="53593"/>
                </a:lnTo>
                <a:lnTo>
                  <a:pt x="62483" y="0"/>
                </a:lnTo>
                <a:lnTo>
                  <a:pt x="0" y="87757"/>
                </a:lnTo>
                <a:lnTo>
                  <a:pt x="62483" y="131699"/>
                </a:lnTo>
                <a:lnTo>
                  <a:pt x="129667" y="195072"/>
                </a:lnTo>
                <a:lnTo>
                  <a:pt x="168148" y="234061"/>
                </a:lnTo>
                <a:lnTo>
                  <a:pt x="163322" y="258445"/>
                </a:lnTo>
                <a:lnTo>
                  <a:pt x="192150" y="278002"/>
                </a:lnTo>
                <a:lnTo>
                  <a:pt x="220979" y="278002"/>
                </a:lnTo>
                <a:lnTo>
                  <a:pt x="254634" y="316991"/>
                </a:lnTo>
                <a:lnTo>
                  <a:pt x="273811" y="341375"/>
                </a:lnTo>
                <a:lnTo>
                  <a:pt x="268985" y="380364"/>
                </a:lnTo>
                <a:lnTo>
                  <a:pt x="259460" y="438912"/>
                </a:lnTo>
                <a:lnTo>
                  <a:pt x="249808" y="468122"/>
                </a:lnTo>
                <a:lnTo>
                  <a:pt x="244982" y="497459"/>
                </a:lnTo>
                <a:lnTo>
                  <a:pt x="254634" y="536448"/>
                </a:lnTo>
                <a:lnTo>
                  <a:pt x="273811" y="555878"/>
                </a:lnTo>
                <a:lnTo>
                  <a:pt x="302641" y="560832"/>
                </a:lnTo>
                <a:lnTo>
                  <a:pt x="360299" y="565658"/>
                </a:lnTo>
                <a:lnTo>
                  <a:pt x="408304" y="560832"/>
                </a:lnTo>
                <a:lnTo>
                  <a:pt x="441959" y="551052"/>
                </a:lnTo>
                <a:lnTo>
                  <a:pt x="465962" y="531495"/>
                </a:lnTo>
                <a:lnTo>
                  <a:pt x="475614" y="477900"/>
                </a:lnTo>
                <a:lnTo>
                  <a:pt x="470788" y="448690"/>
                </a:lnTo>
                <a:lnTo>
                  <a:pt x="480441" y="399923"/>
                </a:lnTo>
                <a:lnTo>
                  <a:pt x="470788" y="390143"/>
                </a:lnTo>
                <a:lnTo>
                  <a:pt x="470788" y="365760"/>
                </a:lnTo>
                <a:lnTo>
                  <a:pt x="480441" y="351154"/>
                </a:lnTo>
                <a:lnTo>
                  <a:pt x="485267" y="331597"/>
                </a:lnTo>
                <a:lnTo>
                  <a:pt x="489966" y="302387"/>
                </a:lnTo>
                <a:lnTo>
                  <a:pt x="485267" y="273050"/>
                </a:lnTo>
                <a:lnTo>
                  <a:pt x="480441" y="243839"/>
                </a:lnTo>
                <a:lnTo>
                  <a:pt x="475614" y="224282"/>
                </a:lnTo>
                <a:lnTo>
                  <a:pt x="461136" y="204850"/>
                </a:lnTo>
                <a:lnTo>
                  <a:pt x="446785" y="180466"/>
                </a:lnTo>
              </a:path>
            </a:pathLst>
          </a:custGeom>
          <a:ln w="12700">
            <a:solidFill>
              <a:srgbClr val="000000"/>
            </a:solidFill>
          </a:ln>
        </p:spPr>
        <p:txBody>
          <a:bodyPr wrap="square" lIns="0" tIns="0" rIns="0" bIns="0" rtlCol="0">
            <a:noAutofit/>
          </a:bodyPr>
          <a:lstStyle/>
          <a:p>
            <a:endParaRPr/>
          </a:p>
        </p:txBody>
      </p:sp>
      <p:sp>
        <p:nvSpPr>
          <p:cNvPr id="114" name="object 114"/>
          <p:cNvSpPr/>
          <p:nvPr/>
        </p:nvSpPr>
        <p:spPr>
          <a:xfrm>
            <a:off x="9664447" y="1773937"/>
            <a:ext cx="105663" cy="121919"/>
          </a:xfrm>
          <a:custGeom>
            <a:avLst/>
            <a:gdLst/>
            <a:ahLst/>
            <a:cxnLst/>
            <a:rect l="l" t="t" r="r" b="b"/>
            <a:pathLst>
              <a:path w="105663" h="121919">
                <a:moveTo>
                  <a:pt x="38480" y="121919"/>
                </a:moveTo>
                <a:lnTo>
                  <a:pt x="81660" y="107314"/>
                </a:lnTo>
                <a:lnTo>
                  <a:pt x="96138" y="92710"/>
                </a:lnTo>
                <a:lnTo>
                  <a:pt x="96138" y="77977"/>
                </a:lnTo>
                <a:lnTo>
                  <a:pt x="105663" y="43941"/>
                </a:lnTo>
                <a:lnTo>
                  <a:pt x="100837" y="0"/>
                </a:lnTo>
                <a:lnTo>
                  <a:pt x="76834" y="53593"/>
                </a:lnTo>
                <a:lnTo>
                  <a:pt x="52831" y="87756"/>
                </a:lnTo>
                <a:lnTo>
                  <a:pt x="19176" y="112140"/>
                </a:lnTo>
                <a:lnTo>
                  <a:pt x="0" y="117093"/>
                </a:lnTo>
                <a:lnTo>
                  <a:pt x="38480" y="121919"/>
                </a:lnTo>
                <a:close/>
              </a:path>
            </a:pathLst>
          </a:custGeom>
          <a:solidFill>
            <a:srgbClr val="0000DF"/>
          </a:solidFill>
        </p:spPr>
        <p:txBody>
          <a:bodyPr wrap="square" lIns="0" tIns="0" rIns="0" bIns="0" rtlCol="0">
            <a:noAutofit/>
          </a:bodyPr>
          <a:lstStyle/>
          <a:p>
            <a:endParaRPr/>
          </a:p>
        </p:txBody>
      </p:sp>
      <p:sp>
        <p:nvSpPr>
          <p:cNvPr id="115" name="object 115"/>
          <p:cNvSpPr/>
          <p:nvPr/>
        </p:nvSpPr>
        <p:spPr>
          <a:xfrm>
            <a:off x="9611614" y="1603249"/>
            <a:ext cx="76834" cy="121919"/>
          </a:xfrm>
          <a:custGeom>
            <a:avLst/>
            <a:gdLst/>
            <a:ahLst/>
            <a:cxnLst/>
            <a:rect l="l" t="t" r="r" b="b"/>
            <a:pathLst>
              <a:path w="76834" h="121919">
                <a:moveTo>
                  <a:pt x="62483" y="112140"/>
                </a:moveTo>
                <a:lnTo>
                  <a:pt x="76834" y="82930"/>
                </a:lnTo>
                <a:lnTo>
                  <a:pt x="67309" y="34162"/>
                </a:lnTo>
                <a:lnTo>
                  <a:pt x="48005" y="0"/>
                </a:lnTo>
                <a:lnTo>
                  <a:pt x="48005" y="53593"/>
                </a:lnTo>
                <a:lnTo>
                  <a:pt x="24002" y="87756"/>
                </a:lnTo>
                <a:lnTo>
                  <a:pt x="0" y="121919"/>
                </a:lnTo>
                <a:lnTo>
                  <a:pt x="24002" y="112140"/>
                </a:lnTo>
                <a:lnTo>
                  <a:pt x="33654" y="97536"/>
                </a:lnTo>
                <a:lnTo>
                  <a:pt x="48005" y="68325"/>
                </a:lnTo>
                <a:lnTo>
                  <a:pt x="62483" y="112140"/>
                </a:lnTo>
                <a:close/>
              </a:path>
            </a:pathLst>
          </a:custGeom>
          <a:solidFill>
            <a:srgbClr val="0000DF"/>
          </a:solidFill>
        </p:spPr>
        <p:txBody>
          <a:bodyPr wrap="square" lIns="0" tIns="0" rIns="0" bIns="0" rtlCol="0">
            <a:noAutofit/>
          </a:bodyPr>
          <a:lstStyle/>
          <a:p>
            <a:endParaRPr/>
          </a:p>
        </p:txBody>
      </p:sp>
      <p:sp>
        <p:nvSpPr>
          <p:cNvPr id="116" name="object 116"/>
          <p:cNvSpPr/>
          <p:nvPr/>
        </p:nvSpPr>
        <p:spPr>
          <a:xfrm>
            <a:off x="9582785" y="1705610"/>
            <a:ext cx="76835" cy="78104"/>
          </a:xfrm>
          <a:custGeom>
            <a:avLst/>
            <a:gdLst/>
            <a:ahLst/>
            <a:cxnLst/>
            <a:rect l="l" t="t" r="r" b="b"/>
            <a:pathLst>
              <a:path w="76835" h="78104">
                <a:moveTo>
                  <a:pt x="0" y="0"/>
                </a:moveTo>
                <a:lnTo>
                  <a:pt x="33655" y="24384"/>
                </a:lnTo>
                <a:lnTo>
                  <a:pt x="67310" y="48767"/>
                </a:lnTo>
                <a:lnTo>
                  <a:pt x="28829" y="48767"/>
                </a:lnTo>
                <a:lnTo>
                  <a:pt x="76835" y="78104"/>
                </a:lnTo>
              </a:path>
            </a:pathLst>
          </a:custGeom>
          <a:ln w="12699">
            <a:solidFill>
              <a:srgbClr val="000000"/>
            </a:solidFill>
          </a:ln>
        </p:spPr>
        <p:txBody>
          <a:bodyPr wrap="square" lIns="0" tIns="0" rIns="0" bIns="0" rtlCol="0">
            <a:noAutofit/>
          </a:bodyPr>
          <a:lstStyle/>
          <a:p>
            <a:endParaRPr/>
          </a:p>
        </p:txBody>
      </p:sp>
      <p:sp>
        <p:nvSpPr>
          <p:cNvPr id="117" name="object 117"/>
          <p:cNvSpPr/>
          <p:nvPr/>
        </p:nvSpPr>
        <p:spPr>
          <a:xfrm>
            <a:off x="9640444" y="1554479"/>
            <a:ext cx="100837" cy="77978"/>
          </a:xfrm>
          <a:custGeom>
            <a:avLst/>
            <a:gdLst/>
            <a:ahLst/>
            <a:cxnLst/>
            <a:rect l="l" t="t" r="r" b="b"/>
            <a:pathLst>
              <a:path w="100837" h="77978">
                <a:moveTo>
                  <a:pt x="4825" y="0"/>
                </a:moveTo>
                <a:lnTo>
                  <a:pt x="0" y="77978"/>
                </a:lnTo>
                <a:lnTo>
                  <a:pt x="67309" y="38989"/>
                </a:lnTo>
                <a:lnTo>
                  <a:pt x="100837" y="0"/>
                </a:lnTo>
              </a:path>
            </a:pathLst>
          </a:custGeom>
          <a:ln w="12700">
            <a:solidFill>
              <a:srgbClr val="000000"/>
            </a:solidFill>
          </a:ln>
        </p:spPr>
        <p:txBody>
          <a:bodyPr wrap="square" lIns="0" tIns="0" rIns="0" bIns="0" rtlCol="0">
            <a:noAutofit/>
          </a:bodyPr>
          <a:lstStyle/>
          <a:p>
            <a:endParaRPr/>
          </a:p>
        </p:txBody>
      </p:sp>
      <p:sp>
        <p:nvSpPr>
          <p:cNvPr id="118" name="object 118"/>
          <p:cNvSpPr/>
          <p:nvPr/>
        </p:nvSpPr>
        <p:spPr>
          <a:xfrm>
            <a:off x="9501124" y="1193547"/>
            <a:ext cx="504444" cy="365759"/>
          </a:xfrm>
          <a:custGeom>
            <a:avLst/>
            <a:gdLst/>
            <a:ahLst/>
            <a:cxnLst/>
            <a:rect l="l" t="t" r="r" b="b"/>
            <a:pathLst>
              <a:path w="504444" h="365759">
                <a:moveTo>
                  <a:pt x="24002" y="175640"/>
                </a:moveTo>
                <a:lnTo>
                  <a:pt x="14350" y="185419"/>
                </a:lnTo>
                <a:lnTo>
                  <a:pt x="4825" y="190245"/>
                </a:lnTo>
                <a:lnTo>
                  <a:pt x="0" y="200025"/>
                </a:lnTo>
                <a:lnTo>
                  <a:pt x="0" y="214629"/>
                </a:lnTo>
                <a:lnTo>
                  <a:pt x="4825" y="243839"/>
                </a:lnTo>
                <a:lnTo>
                  <a:pt x="24002" y="278002"/>
                </a:lnTo>
                <a:lnTo>
                  <a:pt x="62483" y="316991"/>
                </a:lnTo>
                <a:lnTo>
                  <a:pt x="76834" y="331724"/>
                </a:lnTo>
                <a:lnTo>
                  <a:pt x="100837" y="346328"/>
                </a:lnTo>
                <a:lnTo>
                  <a:pt x="139319" y="360933"/>
                </a:lnTo>
                <a:lnTo>
                  <a:pt x="153670" y="365759"/>
                </a:lnTo>
                <a:lnTo>
                  <a:pt x="182499" y="360933"/>
                </a:lnTo>
                <a:lnTo>
                  <a:pt x="211327" y="356107"/>
                </a:lnTo>
                <a:lnTo>
                  <a:pt x="230631" y="351154"/>
                </a:lnTo>
                <a:lnTo>
                  <a:pt x="268985" y="312165"/>
                </a:lnTo>
                <a:lnTo>
                  <a:pt x="283464" y="316991"/>
                </a:lnTo>
                <a:lnTo>
                  <a:pt x="297815" y="321944"/>
                </a:lnTo>
                <a:lnTo>
                  <a:pt x="312293" y="321944"/>
                </a:lnTo>
                <a:lnTo>
                  <a:pt x="326644" y="316991"/>
                </a:lnTo>
                <a:lnTo>
                  <a:pt x="345948" y="312165"/>
                </a:lnTo>
                <a:lnTo>
                  <a:pt x="360299" y="307339"/>
                </a:lnTo>
                <a:lnTo>
                  <a:pt x="403478" y="282955"/>
                </a:lnTo>
                <a:lnTo>
                  <a:pt x="417956" y="273176"/>
                </a:lnTo>
                <a:lnTo>
                  <a:pt x="427608" y="268224"/>
                </a:lnTo>
                <a:lnTo>
                  <a:pt x="451611" y="253618"/>
                </a:lnTo>
                <a:lnTo>
                  <a:pt x="465962" y="234187"/>
                </a:lnTo>
                <a:lnTo>
                  <a:pt x="485267" y="214629"/>
                </a:lnTo>
                <a:lnTo>
                  <a:pt x="494792" y="190245"/>
                </a:lnTo>
                <a:lnTo>
                  <a:pt x="499618" y="161036"/>
                </a:lnTo>
                <a:lnTo>
                  <a:pt x="504444" y="141477"/>
                </a:lnTo>
                <a:lnTo>
                  <a:pt x="499618" y="102488"/>
                </a:lnTo>
                <a:lnTo>
                  <a:pt x="489966" y="68325"/>
                </a:lnTo>
                <a:lnTo>
                  <a:pt x="470789" y="43941"/>
                </a:lnTo>
                <a:lnTo>
                  <a:pt x="446785" y="19557"/>
                </a:lnTo>
                <a:lnTo>
                  <a:pt x="413130" y="4952"/>
                </a:lnTo>
                <a:lnTo>
                  <a:pt x="365125" y="0"/>
                </a:lnTo>
                <a:lnTo>
                  <a:pt x="321818" y="0"/>
                </a:lnTo>
                <a:lnTo>
                  <a:pt x="288290" y="4952"/>
                </a:lnTo>
                <a:lnTo>
                  <a:pt x="249808" y="19557"/>
                </a:lnTo>
                <a:lnTo>
                  <a:pt x="225805" y="34162"/>
                </a:lnTo>
                <a:lnTo>
                  <a:pt x="211327" y="43941"/>
                </a:lnTo>
                <a:lnTo>
                  <a:pt x="201802" y="29337"/>
                </a:lnTo>
                <a:lnTo>
                  <a:pt x="192150" y="19557"/>
                </a:lnTo>
                <a:lnTo>
                  <a:pt x="182499" y="14731"/>
                </a:lnTo>
                <a:lnTo>
                  <a:pt x="168148" y="9778"/>
                </a:lnTo>
                <a:lnTo>
                  <a:pt x="153670" y="4952"/>
                </a:lnTo>
                <a:lnTo>
                  <a:pt x="115316" y="4952"/>
                </a:lnTo>
                <a:lnTo>
                  <a:pt x="100837" y="14731"/>
                </a:lnTo>
                <a:lnTo>
                  <a:pt x="86486" y="19557"/>
                </a:lnTo>
                <a:lnTo>
                  <a:pt x="81660" y="29337"/>
                </a:lnTo>
                <a:lnTo>
                  <a:pt x="76834" y="43941"/>
                </a:lnTo>
                <a:lnTo>
                  <a:pt x="72008" y="58546"/>
                </a:lnTo>
                <a:lnTo>
                  <a:pt x="72008" y="73151"/>
                </a:lnTo>
                <a:lnTo>
                  <a:pt x="81660" y="87883"/>
                </a:lnTo>
                <a:lnTo>
                  <a:pt x="96011" y="97536"/>
                </a:lnTo>
                <a:lnTo>
                  <a:pt x="115316" y="102488"/>
                </a:lnTo>
                <a:lnTo>
                  <a:pt x="120142" y="107314"/>
                </a:lnTo>
                <a:lnTo>
                  <a:pt x="100837" y="112267"/>
                </a:lnTo>
                <a:lnTo>
                  <a:pt x="96011" y="121919"/>
                </a:lnTo>
                <a:lnTo>
                  <a:pt x="110490" y="131699"/>
                </a:lnTo>
                <a:lnTo>
                  <a:pt x="120142" y="165862"/>
                </a:lnTo>
                <a:lnTo>
                  <a:pt x="115316" y="190245"/>
                </a:lnTo>
                <a:lnTo>
                  <a:pt x="110490" y="209803"/>
                </a:lnTo>
                <a:lnTo>
                  <a:pt x="96011" y="219455"/>
                </a:lnTo>
                <a:lnTo>
                  <a:pt x="81660" y="219455"/>
                </a:lnTo>
                <a:lnTo>
                  <a:pt x="57657" y="214629"/>
                </a:lnTo>
                <a:lnTo>
                  <a:pt x="48005" y="195071"/>
                </a:lnTo>
                <a:lnTo>
                  <a:pt x="43179" y="175640"/>
                </a:lnTo>
                <a:lnTo>
                  <a:pt x="24002" y="175640"/>
                </a:lnTo>
                <a:close/>
              </a:path>
            </a:pathLst>
          </a:custGeom>
          <a:solidFill>
            <a:srgbClr val="FFDFC0"/>
          </a:solidFill>
        </p:spPr>
        <p:txBody>
          <a:bodyPr wrap="square" lIns="0" tIns="0" rIns="0" bIns="0" rtlCol="0">
            <a:noAutofit/>
          </a:bodyPr>
          <a:lstStyle/>
          <a:p>
            <a:endParaRPr/>
          </a:p>
        </p:txBody>
      </p:sp>
      <p:sp>
        <p:nvSpPr>
          <p:cNvPr id="119" name="object 119"/>
          <p:cNvSpPr/>
          <p:nvPr/>
        </p:nvSpPr>
        <p:spPr>
          <a:xfrm>
            <a:off x="9501124" y="1193547"/>
            <a:ext cx="504444" cy="365759"/>
          </a:xfrm>
          <a:custGeom>
            <a:avLst/>
            <a:gdLst/>
            <a:ahLst/>
            <a:cxnLst/>
            <a:rect l="l" t="t" r="r" b="b"/>
            <a:pathLst>
              <a:path w="504444" h="365759">
                <a:moveTo>
                  <a:pt x="288290" y="4952"/>
                </a:moveTo>
                <a:lnTo>
                  <a:pt x="249808" y="19557"/>
                </a:lnTo>
                <a:lnTo>
                  <a:pt x="225805" y="34162"/>
                </a:lnTo>
                <a:lnTo>
                  <a:pt x="211327" y="43941"/>
                </a:lnTo>
                <a:lnTo>
                  <a:pt x="201802" y="29337"/>
                </a:lnTo>
                <a:lnTo>
                  <a:pt x="192150" y="19557"/>
                </a:lnTo>
                <a:lnTo>
                  <a:pt x="182499" y="14731"/>
                </a:lnTo>
                <a:lnTo>
                  <a:pt x="168148" y="9778"/>
                </a:lnTo>
                <a:lnTo>
                  <a:pt x="153670" y="4952"/>
                </a:lnTo>
                <a:lnTo>
                  <a:pt x="144145" y="4952"/>
                </a:lnTo>
                <a:lnTo>
                  <a:pt x="129667" y="4952"/>
                </a:lnTo>
                <a:lnTo>
                  <a:pt x="115316" y="4952"/>
                </a:lnTo>
                <a:lnTo>
                  <a:pt x="100837" y="14731"/>
                </a:lnTo>
                <a:lnTo>
                  <a:pt x="86486" y="19557"/>
                </a:lnTo>
                <a:lnTo>
                  <a:pt x="81660" y="29337"/>
                </a:lnTo>
                <a:lnTo>
                  <a:pt x="76834" y="43941"/>
                </a:lnTo>
                <a:lnTo>
                  <a:pt x="72008" y="58546"/>
                </a:lnTo>
                <a:lnTo>
                  <a:pt x="72008" y="73151"/>
                </a:lnTo>
                <a:lnTo>
                  <a:pt x="81660" y="87883"/>
                </a:lnTo>
                <a:lnTo>
                  <a:pt x="96011" y="97536"/>
                </a:lnTo>
                <a:lnTo>
                  <a:pt x="115316" y="102488"/>
                </a:lnTo>
                <a:lnTo>
                  <a:pt x="120142" y="107314"/>
                </a:lnTo>
                <a:lnTo>
                  <a:pt x="100837" y="112267"/>
                </a:lnTo>
                <a:lnTo>
                  <a:pt x="96011" y="121919"/>
                </a:lnTo>
                <a:lnTo>
                  <a:pt x="110490" y="131699"/>
                </a:lnTo>
                <a:lnTo>
                  <a:pt x="120142" y="165862"/>
                </a:lnTo>
                <a:lnTo>
                  <a:pt x="115316" y="190245"/>
                </a:lnTo>
                <a:lnTo>
                  <a:pt x="110490" y="209803"/>
                </a:lnTo>
                <a:lnTo>
                  <a:pt x="96011" y="219455"/>
                </a:lnTo>
                <a:lnTo>
                  <a:pt x="81660" y="219455"/>
                </a:lnTo>
                <a:lnTo>
                  <a:pt x="57657" y="214629"/>
                </a:lnTo>
                <a:lnTo>
                  <a:pt x="48005" y="195071"/>
                </a:lnTo>
                <a:lnTo>
                  <a:pt x="43179" y="175640"/>
                </a:lnTo>
                <a:lnTo>
                  <a:pt x="24002" y="175640"/>
                </a:lnTo>
                <a:lnTo>
                  <a:pt x="14350" y="185419"/>
                </a:lnTo>
                <a:lnTo>
                  <a:pt x="4825" y="190245"/>
                </a:lnTo>
                <a:lnTo>
                  <a:pt x="0" y="200025"/>
                </a:lnTo>
                <a:lnTo>
                  <a:pt x="0" y="214629"/>
                </a:lnTo>
                <a:lnTo>
                  <a:pt x="4825" y="243839"/>
                </a:lnTo>
                <a:lnTo>
                  <a:pt x="24002" y="278002"/>
                </a:lnTo>
                <a:lnTo>
                  <a:pt x="62483" y="316991"/>
                </a:lnTo>
                <a:lnTo>
                  <a:pt x="76834" y="331724"/>
                </a:lnTo>
                <a:lnTo>
                  <a:pt x="100837" y="346328"/>
                </a:lnTo>
                <a:lnTo>
                  <a:pt x="139319" y="360933"/>
                </a:lnTo>
                <a:lnTo>
                  <a:pt x="153670" y="365759"/>
                </a:lnTo>
                <a:lnTo>
                  <a:pt x="182499" y="360933"/>
                </a:lnTo>
                <a:lnTo>
                  <a:pt x="211327" y="356107"/>
                </a:lnTo>
                <a:lnTo>
                  <a:pt x="230631" y="351154"/>
                </a:lnTo>
                <a:lnTo>
                  <a:pt x="268985" y="312165"/>
                </a:lnTo>
                <a:lnTo>
                  <a:pt x="283464" y="316991"/>
                </a:lnTo>
                <a:lnTo>
                  <a:pt x="297815" y="321944"/>
                </a:lnTo>
                <a:lnTo>
                  <a:pt x="312293" y="321944"/>
                </a:lnTo>
                <a:lnTo>
                  <a:pt x="326644" y="316991"/>
                </a:lnTo>
                <a:lnTo>
                  <a:pt x="345948" y="312165"/>
                </a:lnTo>
                <a:lnTo>
                  <a:pt x="360299" y="307339"/>
                </a:lnTo>
                <a:lnTo>
                  <a:pt x="403478" y="282955"/>
                </a:lnTo>
                <a:lnTo>
                  <a:pt x="417956" y="273176"/>
                </a:lnTo>
                <a:lnTo>
                  <a:pt x="427608" y="268224"/>
                </a:lnTo>
                <a:lnTo>
                  <a:pt x="451611" y="253618"/>
                </a:lnTo>
                <a:lnTo>
                  <a:pt x="465962" y="234187"/>
                </a:lnTo>
                <a:lnTo>
                  <a:pt x="485267" y="214629"/>
                </a:lnTo>
                <a:lnTo>
                  <a:pt x="494792" y="190245"/>
                </a:lnTo>
                <a:lnTo>
                  <a:pt x="499618" y="161036"/>
                </a:lnTo>
                <a:lnTo>
                  <a:pt x="504444" y="141477"/>
                </a:lnTo>
                <a:lnTo>
                  <a:pt x="499618" y="102488"/>
                </a:lnTo>
                <a:lnTo>
                  <a:pt x="489966" y="68325"/>
                </a:lnTo>
                <a:lnTo>
                  <a:pt x="470789" y="43941"/>
                </a:lnTo>
                <a:lnTo>
                  <a:pt x="446785" y="19557"/>
                </a:lnTo>
                <a:lnTo>
                  <a:pt x="413130" y="4952"/>
                </a:lnTo>
                <a:lnTo>
                  <a:pt x="365125" y="0"/>
                </a:lnTo>
                <a:lnTo>
                  <a:pt x="321818" y="0"/>
                </a:lnTo>
                <a:lnTo>
                  <a:pt x="288290" y="4952"/>
                </a:lnTo>
              </a:path>
            </a:pathLst>
          </a:custGeom>
          <a:ln w="12700">
            <a:solidFill>
              <a:srgbClr val="000000"/>
            </a:solidFill>
          </a:ln>
        </p:spPr>
        <p:txBody>
          <a:bodyPr wrap="square" lIns="0" tIns="0" rIns="0" bIns="0" rtlCol="0">
            <a:noAutofit/>
          </a:bodyPr>
          <a:lstStyle/>
          <a:p>
            <a:endParaRPr/>
          </a:p>
        </p:txBody>
      </p:sp>
      <p:sp>
        <p:nvSpPr>
          <p:cNvPr id="120" name="object 120"/>
          <p:cNvSpPr/>
          <p:nvPr/>
        </p:nvSpPr>
        <p:spPr>
          <a:xfrm>
            <a:off x="9688450" y="1252093"/>
            <a:ext cx="48005" cy="38989"/>
          </a:xfrm>
          <a:custGeom>
            <a:avLst/>
            <a:gdLst/>
            <a:ahLst/>
            <a:cxnLst/>
            <a:rect l="l" t="t" r="r" b="b"/>
            <a:pathLst>
              <a:path w="48005" h="38989">
                <a:moveTo>
                  <a:pt x="0" y="19558"/>
                </a:moveTo>
                <a:lnTo>
                  <a:pt x="973" y="25066"/>
                </a:lnTo>
                <a:lnTo>
                  <a:pt x="9515" y="35057"/>
                </a:lnTo>
                <a:lnTo>
                  <a:pt x="24002" y="38989"/>
                </a:lnTo>
                <a:lnTo>
                  <a:pt x="30807" y="38208"/>
                </a:lnTo>
                <a:lnTo>
                  <a:pt x="43149" y="31330"/>
                </a:lnTo>
                <a:lnTo>
                  <a:pt x="48005" y="19558"/>
                </a:lnTo>
                <a:lnTo>
                  <a:pt x="47019" y="13975"/>
                </a:lnTo>
                <a:lnTo>
                  <a:pt x="38513" y="3958"/>
                </a:lnTo>
                <a:lnTo>
                  <a:pt x="24002" y="0"/>
                </a:lnTo>
                <a:lnTo>
                  <a:pt x="17166" y="809"/>
                </a:lnTo>
                <a:lnTo>
                  <a:pt x="4870" y="7764"/>
                </a:lnTo>
                <a:lnTo>
                  <a:pt x="0" y="19558"/>
                </a:lnTo>
                <a:close/>
              </a:path>
            </a:pathLst>
          </a:custGeom>
          <a:solidFill>
            <a:srgbClr val="FFFFFF"/>
          </a:solidFill>
        </p:spPr>
        <p:txBody>
          <a:bodyPr wrap="square" lIns="0" tIns="0" rIns="0" bIns="0" rtlCol="0">
            <a:noAutofit/>
          </a:bodyPr>
          <a:lstStyle/>
          <a:p>
            <a:endParaRPr/>
          </a:p>
        </p:txBody>
      </p:sp>
      <p:sp>
        <p:nvSpPr>
          <p:cNvPr id="121" name="object 121"/>
          <p:cNvSpPr/>
          <p:nvPr/>
        </p:nvSpPr>
        <p:spPr>
          <a:xfrm>
            <a:off x="9688450" y="1252093"/>
            <a:ext cx="48005" cy="38989"/>
          </a:xfrm>
          <a:custGeom>
            <a:avLst/>
            <a:gdLst/>
            <a:ahLst/>
            <a:cxnLst/>
            <a:rect l="l" t="t" r="r" b="b"/>
            <a:pathLst>
              <a:path w="48005" h="38989">
                <a:moveTo>
                  <a:pt x="0" y="19558"/>
                </a:moveTo>
                <a:lnTo>
                  <a:pt x="4870" y="7764"/>
                </a:lnTo>
                <a:lnTo>
                  <a:pt x="17166" y="809"/>
                </a:lnTo>
                <a:lnTo>
                  <a:pt x="24002" y="0"/>
                </a:lnTo>
                <a:lnTo>
                  <a:pt x="38513" y="3958"/>
                </a:lnTo>
                <a:lnTo>
                  <a:pt x="47019" y="13975"/>
                </a:lnTo>
                <a:lnTo>
                  <a:pt x="48005" y="19558"/>
                </a:lnTo>
                <a:lnTo>
                  <a:pt x="43149" y="31330"/>
                </a:lnTo>
                <a:lnTo>
                  <a:pt x="30807" y="38208"/>
                </a:lnTo>
                <a:lnTo>
                  <a:pt x="24002" y="38989"/>
                </a:lnTo>
                <a:lnTo>
                  <a:pt x="9515" y="35057"/>
                </a:lnTo>
                <a:lnTo>
                  <a:pt x="973" y="25066"/>
                </a:lnTo>
                <a:lnTo>
                  <a:pt x="0" y="19558"/>
                </a:lnTo>
                <a:close/>
              </a:path>
            </a:pathLst>
          </a:custGeom>
          <a:ln w="12700">
            <a:solidFill>
              <a:srgbClr val="000000"/>
            </a:solidFill>
          </a:ln>
        </p:spPr>
        <p:txBody>
          <a:bodyPr wrap="square" lIns="0" tIns="0" rIns="0" bIns="0" rtlCol="0">
            <a:noAutofit/>
          </a:bodyPr>
          <a:lstStyle/>
          <a:p>
            <a:endParaRPr/>
          </a:p>
        </p:txBody>
      </p:sp>
      <p:sp>
        <p:nvSpPr>
          <p:cNvPr id="122" name="object 122"/>
          <p:cNvSpPr/>
          <p:nvPr/>
        </p:nvSpPr>
        <p:spPr>
          <a:xfrm>
            <a:off x="9712452" y="1261872"/>
            <a:ext cx="38480" cy="38988"/>
          </a:xfrm>
          <a:custGeom>
            <a:avLst/>
            <a:gdLst/>
            <a:ahLst/>
            <a:cxnLst/>
            <a:rect l="l" t="t" r="r" b="b"/>
            <a:pathLst>
              <a:path w="38480" h="38988">
                <a:moveTo>
                  <a:pt x="0" y="19557"/>
                </a:moveTo>
                <a:lnTo>
                  <a:pt x="134" y="21850"/>
                </a:lnTo>
                <a:lnTo>
                  <a:pt x="6433" y="34020"/>
                </a:lnTo>
                <a:lnTo>
                  <a:pt x="19303" y="38988"/>
                </a:lnTo>
                <a:lnTo>
                  <a:pt x="21475" y="38863"/>
                </a:lnTo>
                <a:lnTo>
                  <a:pt x="33552" y="32518"/>
                </a:lnTo>
                <a:lnTo>
                  <a:pt x="38480" y="19557"/>
                </a:lnTo>
                <a:lnTo>
                  <a:pt x="38346" y="17238"/>
                </a:lnTo>
                <a:lnTo>
                  <a:pt x="32066" y="4980"/>
                </a:lnTo>
                <a:lnTo>
                  <a:pt x="19303" y="0"/>
                </a:lnTo>
                <a:lnTo>
                  <a:pt x="16919" y="147"/>
                </a:lnTo>
                <a:lnTo>
                  <a:pt x="4881" y="6557"/>
                </a:lnTo>
                <a:lnTo>
                  <a:pt x="0" y="19557"/>
                </a:lnTo>
                <a:close/>
              </a:path>
            </a:pathLst>
          </a:custGeom>
          <a:solidFill>
            <a:srgbClr val="4040FF"/>
          </a:solidFill>
        </p:spPr>
        <p:txBody>
          <a:bodyPr wrap="square" lIns="0" tIns="0" rIns="0" bIns="0" rtlCol="0">
            <a:noAutofit/>
          </a:bodyPr>
          <a:lstStyle/>
          <a:p>
            <a:endParaRPr/>
          </a:p>
        </p:txBody>
      </p:sp>
      <p:sp>
        <p:nvSpPr>
          <p:cNvPr id="123" name="object 123"/>
          <p:cNvSpPr/>
          <p:nvPr/>
        </p:nvSpPr>
        <p:spPr>
          <a:xfrm>
            <a:off x="9712452" y="1261872"/>
            <a:ext cx="38480" cy="38988"/>
          </a:xfrm>
          <a:custGeom>
            <a:avLst/>
            <a:gdLst/>
            <a:ahLst/>
            <a:cxnLst/>
            <a:rect l="l" t="t" r="r" b="b"/>
            <a:pathLst>
              <a:path w="38480" h="38988">
                <a:moveTo>
                  <a:pt x="0" y="19557"/>
                </a:moveTo>
                <a:lnTo>
                  <a:pt x="4881" y="6557"/>
                </a:lnTo>
                <a:lnTo>
                  <a:pt x="16919" y="147"/>
                </a:lnTo>
                <a:lnTo>
                  <a:pt x="19303" y="0"/>
                </a:lnTo>
                <a:lnTo>
                  <a:pt x="32066" y="4980"/>
                </a:lnTo>
                <a:lnTo>
                  <a:pt x="38346" y="17238"/>
                </a:lnTo>
                <a:lnTo>
                  <a:pt x="38480" y="19557"/>
                </a:lnTo>
                <a:lnTo>
                  <a:pt x="33552" y="32518"/>
                </a:lnTo>
                <a:lnTo>
                  <a:pt x="21475" y="38863"/>
                </a:lnTo>
                <a:lnTo>
                  <a:pt x="19303" y="38988"/>
                </a:lnTo>
                <a:lnTo>
                  <a:pt x="6433" y="34020"/>
                </a:lnTo>
                <a:lnTo>
                  <a:pt x="134" y="21850"/>
                </a:lnTo>
                <a:lnTo>
                  <a:pt x="0" y="19557"/>
                </a:lnTo>
                <a:close/>
              </a:path>
            </a:pathLst>
          </a:custGeom>
          <a:ln w="12700">
            <a:solidFill>
              <a:srgbClr val="000000"/>
            </a:solidFill>
          </a:ln>
        </p:spPr>
        <p:txBody>
          <a:bodyPr wrap="square" lIns="0" tIns="0" rIns="0" bIns="0" rtlCol="0">
            <a:noAutofit/>
          </a:bodyPr>
          <a:lstStyle/>
          <a:p>
            <a:endParaRPr/>
          </a:p>
        </p:txBody>
      </p:sp>
      <p:sp>
        <p:nvSpPr>
          <p:cNvPr id="124" name="object 124"/>
          <p:cNvSpPr/>
          <p:nvPr/>
        </p:nvSpPr>
        <p:spPr>
          <a:xfrm>
            <a:off x="9717278" y="1271651"/>
            <a:ext cx="38480" cy="38988"/>
          </a:xfrm>
          <a:custGeom>
            <a:avLst/>
            <a:gdLst/>
            <a:ahLst/>
            <a:cxnLst/>
            <a:rect l="l" t="t" r="r" b="b"/>
            <a:pathLst>
              <a:path w="38480" h="38988">
                <a:moveTo>
                  <a:pt x="0" y="19431"/>
                </a:moveTo>
                <a:lnTo>
                  <a:pt x="134" y="21750"/>
                </a:lnTo>
                <a:lnTo>
                  <a:pt x="6414" y="34008"/>
                </a:lnTo>
                <a:lnTo>
                  <a:pt x="19176" y="38988"/>
                </a:lnTo>
                <a:lnTo>
                  <a:pt x="21561" y="38841"/>
                </a:lnTo>
                <a:lnTo>
                  <a:pt x="33599" y="32431"/>
                </a:lnTo>
                <a:lnTo>
                  <a:pt x="38480" y="19431"/>
                </a:lnTo>
                <a:lnTo>
                  <a:pt x="38346" y="17138"/>
                </a:lnTo>
                <a:lnTo>
                  <a:pt x="32047" y="4968"/>
                </a:lnTo>
                <a:lnTo>
                  <a:pt x="19176" y="0"/>
                </a:lnTo>
                <a:lnTo>
                  <a:pt x="17005" y="125"/>
                </a:lnTo>
                <a:lnTo>
                  <a:pt x="4928" y="6470"/>
                </a:lnTo>
                <a:lnTo>
                  <a:pt x="0" y="19431"/>
                </a:lnTo>
                <a:close/>
              </a:path>
            </a:pathLst>
          </a:custGeom>
          <a:solidFill>
            <a:srgbClr val="DFDFDF"/>
          </a:solidFill>
        </p:spPr>
        <p:txBody>
          <a:bodyPr wrap="square" lIns="0" tIns="0" rIns="0" bIns="0" rtlCol="0">
            <a:noAutofit/>
          </a:bodyPr>
          <a:lstStyle/>
          <a:p>
            <a:endParaRPr/>
          </a:p>
        </p:txBody>
      </p:sp>
      <p:sp>
        <p:nvSpPr>
          <p:cNvPr id="125" name="object 125"/>
          <p:cNvSpPr/>
          <p:nvPr/>
        </p:nvSpPr>
        <p:spPr>
          <a:xfrm>
            <a:off x="9717278" y="1271651"/>
            <a:ext cx="38480" cy="38988"/>
          </a:xfrm>
          <a:custGeom>
            <a:avLst/>
            <a:gdLst/>
            <a:ahLst/>
            <a:cxnLst/>
            <a:rect l="l" t="t" r="r" b="b"/>
            <a:pathLst>
              <a:path w="38480" h="38988">
                <a:moveTo>
                  <a:pt x="0" y="19431"/>
                </a:moveTo>
                <a:lnTo>
                  <a:pt x="4928" y="6470"/>
                </a:lnTo>
                <a:lnTo>
                  <a:pt x="17005" y="125"/>
                </a:lnTo>
                <a:lnTo>
                  <a:pt x="19176" y="0"/>
                </a:lnTo>
                <a:lnTo>
                  <a:pt x="32047" y="4968"/>
                </a:lnTo>
                <a:lnTo>
                  <a:pt x="38346" y="17138"/>
                </a:lnTo>
                <a:lnTo>
                  <a:pt x="38480" y="19431"/>
                </a:lnTo>
                <a:lnTo>
                  <a:pt x="33599" y="32431"/>
                </a:lnTo>
                <a:lnTo>
                  <a:pt x="21561" y="38841"/>
                </a:lnTo>
                <a:lnTo>
                  <a:pt x="19176" y="38988"/>
                </a:lnTo>
                <a:lnTo>
                  <a:pt x="6414" y="34008"/>
                </a:lnTo>
                <a:lnTo>
                  <a:pt x="134" y="21750"/>
                </a:lnTo>
                <a:lnTo>
                  <a:pt x="0" y="19431"/>
                </a:lnTo>
                <a:close/>
              </a:path>
            </a:pathLst>
          </a:custGeom>
          <a:ln w="12700">
            <a:solidFill>
              <a:srgbClr val="000000"/>
            </a:solidFill>
          </a:ln>
        </p:spPr>
        <p:txBody>
          <a:bodyPr wrap="square" lIns="0" tIns="0" rIns="0" bIns="0" rtlCol="0">
            <a:noAutofit/>
          </a:bodyPr>
          <a:lstStyle/>
          <a:p>
            <a:endParaRPr/>
          </a:p>
        </p:txBody>
      </p:sp>
      <p:sp>
        <p:nvSpPr>
          <p:cNvPr id="126" name="object 126"/>
          <p:cNvSpPr/>
          <p:nvPr/>
        </p:nvSpPr>
        <p:spPr>
          <a:xfrm>
            <a:off x="9731757" y="1281429"/>
            <a:ext cx="240157" cy="273050"/>
          </a:xfrm>
          <a:custGeom>
            <a:avLst/>
            <a:gdLst/>
            <a:ahLst/>
            <a:cxnLst/>
            <a:rect l="l" t="t" r="r" b="b"/>
            <a:pathLst>
              <a:path w="240157" h="273050">
                <a:moveTo>
                  <a:pt x="100838" y="9652"/>
                </a:moveTo>
                <a:lnTo>
                  <a:pt x="86487" y="24384"/>
                </a:lnTo>
                <a:lnTo>
                  <a:pt x="86487" y="53594"/>
                </a:lnTo>
                <a:lnTo>
                  <a:pt x="67183" y="48768"/>
                </a:lnTo>
                <a:lnTo>
                  <a:pt x="52832" y="53594"/>
                </a:lnTo>
                <a:lnTo>
                  <a:pt x="19176" y="68199"/>
                </a:lnTo>
                <a:lnTo>
                  <a:pt x="33527" y="82804"/>
                </a:lnTo>
                <a:lnTo>
                  <a:pt x="9525" y="82804"/>
                </a:lnTo>
                <a:lnTo>
                  <a:pt x="0" y="97536"/>
                </a:lnTo>
                <a:lnTo>
                  <a:pt x="0" y="107187"/>
                </a:lnTo>
                <a:lnTo>
                  <a:pt x="19176" y="107187"/>
                </a:lnTo>
                <a:lnTo>
                  <a:pt x="9525" y="116967"/>
                </a:lnTo>
                <a:lnTo>
                  <a:pt x="38353" y="141350"/>
                </a:lnTo>
                <a:lnTo>
                  <a:pt x="57658" y="131572"/>
                </a:lnTo>
                <a:lnTo>
                  <a:pt x="96012" y="131572"/>
                </a:lnTo>
                <a:lnTo>
                  <a:pt x="115316" y="146304"/>
                </a:lnTo>
                <a:lnTo>
                  <a:pt x="124841" y="160909"/>
                </a:lnTo>
                <a:lnTo>
                  <a:pt x="129667" y="180340"/>
                </a:lnTo>
                <a:lnTo>
                  <a:pt x="124841" y="204724"/>
                </a:lnTo>
                <a:lnTo>
                  <a:pt x="120015" y="219456"/>
                </a:lnTo>
                <a:lnTo>
                  <a:pt x="100838" y="234061"/>
                </a:lnTo>
                <a:lnTo>
                  <a:pt x="81661" y="238887"/>
                </a:lnTo>
                <a:lnTo>
                  <a:pt x="76835" y="248666"/>
                </a:lnTo>
                <a:lnTo>
                  <a:pt x="81661" y="273050"/>
                </a:lnTo>
                <a:lnTo>
                  <a:pt x="105664" y="268224"/>
                </a:lnTo>
                <a:lnTo>
                  <a:pt x="120015" y="263271"/>
                </a:lnTo>
                <a:lnTo>
                  <a:pt x="129667" y="243840"/>
                </a:lnTo>
                <a:lnTo>
                  <a:pt x="139319" y="243840"/>
                </a:lnTo>
                <a:lnTo>
                  <a:pt x="158496" y="238887"/>
                </a:lnTo>
                <a:lnTo>
                  <a:pt x="168148" y="214503"/>
                </a:lnTo>
                <a:lnTo>
                  <a:pt x="187325" y="214503"/>
                </a:lnTo>
                <a:lnTo>
                  <a:pt x="196976" y="199898"/>
                </a:lnTo>
                <a:lnTo>
                  <a:pt x="196976" y="180340"/>
                </a:lnTo>
                <a:lnTo>
                  <a:pt x="201675" y="146304"/>
                </a:lnTo>
                <a:lnTo>
                  <a:pt x="240157" y="112141"/>
                </a:lnTo>
                <a:lnTo>
                  <a:pt x="235330" y="77978"/>
                </a:lnTo>
                <a:lnTo>
                  <a:pt x="201675" y="68199"/>
                </a:lnTo>
                <a:lnTo>
                  <a:pt x="201675" y="38989"/>
                </a:lnTo>
                <a:lnTo>
                  <a:pt x="177673" y="38989"/>
                </a:lnTo>
                <a:lnTo>
                  <a:pt x="177673" y="9652"/>
                </a:lnTo>
                <a:lnTo>
                  <a:pt x="153670" y="9652"/>
                </a:lnTo>
                <a:lnTo>
                  <a:pt x="124841" y="0"/>
                </a:lnTo>
                <a:lnTo>
                  <a:pt x="100838" y="9652"/>
                </a:lnTo>
                <a:close/>
              </a:path>
            </a:pathLst>
          </a:custGeom>
          <a:solidFill>
            <a:srgbClr val="804000"/>
          </a:solidFill>
        </p:spPr>
        <p:txBody>
          <a:bodyPr wrap="square" lIns="0" tIns="0" rIns="0" bIns="0" rtlCol="0">
            <a:noAutofit/>
          </a:bodyPr>
          <a:lstStyle/>
          <a:p>
            <a:endParaRPr/>
          </a:p>
        </p:txBody>
      </p:sp>
      <p:sp>
        <p:nvSpPr>
          <p:cNvPr id="127" name="object 127"/>
          <p:cNvSpPr/>
          <p:nvPr/>
        </p:nvSpPr>
        <p:spPr>
          <a:xfrm>
            <a:off x="9731757" y="1281429"/>
            <a:ext cx="240157" cy="273050"/>
          </a:xfrm>
          <a:custGeom>
            <a:avLst/>
            <a:gdLst/>
            <a:ahLst/>
            <a:cxnLst/>
            <a:rect l="l" t="t" r="r" b="b"/>
            <a:pathLst>
              <a:path w="240157" h="273050">
                <a:moveTo>
                  <a:pt x="124841" y="0"/>
                </a:moveTo>
                <a:lnTo>
                  <a:pt x="100838" y="9652"/>
                </a:lnTo>
                <a:lnTo>
                  <a:pt x="86487" y="24384"/>
                </a:lnTo>
                <a:lnTo>
                  <a:pt x="86487" y="53594"/>
                </a:lnTo>
                <a:lnTo>
                  <a:pt x="67183" y="48768"/>
                </a:lnTo>
                <a:lnTo>
                  <a:pt x="52832" y="53594"/>
                </a:lnTo>
                <a:lnTo>
                  <a:pt x="19176" y="68199"/>
                </a:lnTo>
                <a:lnTo>
                  <a:pt x="33527" y="82804"/>
                </a:lnTo>
                <a:lnTo>
                  <a:pt x="9525" y="82804"/>
                </a:lnTo>
                <a:lnTo>
                  <a:pt x="0" y="97536"/>
                </a:lnTo>
                <a:lnTo>
                  <a:pt x="0" y="107187"/>
                </a:lnTo>
                <a:lnTo>
                  <a:pt x="19176" y="107187"/>
                </a:lnTo>
                <a:lnTo>
                  <a:pt x="9525" y="116967"/>
                </a:lnTo>
                <a:lnTo>
                  <a:pt x="38353" y="141350"/>
                </a:lnTo>
                <a:lnTo>
                  <a:pt x="57658" y="131572"/>
                </a:lnTo>
                <a:lnTo>
                  <a:pt x="76835" y="131572"/>
                </a:lnTo>
                <a:lnTo>
                  <a:pt x="96012" y="131572"/>
                </a:lnTo>
                <a:lnTo>
                  <a:pt x="115316" y="146304"/>
                </a:lnTo>
                <a:lnTo>
                  <a:pt x="124841" y="160909"/>
                </a:lnTo>
                <a:lnTo>
                  <a:pt x="129667" y="180340"/>
                </a:lnTo>
                <a:lnTo>
                  <a:pt x="124841" y="204724"/>
                </a:lnTo>
                <a:lnTo>
                  <a:pt x="120015" y="219456"/>
                </a:lnTo>
                <a:lnTo>
                  <a:pt x="100838" y="234061"/>
                </a:lnTo>
                <a:lnTo>
                  <a:pt x="81661" y="238887"/>
                </a:lnTo>
                <a:lnTo>
                  <a:pt x="76835" y="248666"/>
                </a:lnTo>
                <a:lnTo>
                  <a:pt x="81661" y="273050"/>
                </a:lnTo>
                <a:lnTo>
                  <a:pt x="105664" y="268224"/>
                </a:lnTo>
                <a:lnTo>
                  <a:pt x="120015" y="263271"/>
                </a:lnTo>
                <a:lnTo>
                  <a:pt x="129667" y="243840"/>
                </a:lnTo>
                <a:lnTo>
                  <a:pt x="139319" y="243840"/>
                </a:lnTo>
                <a:lnTo>
                  <a:pt x="158496" y="238887"/>
                </a:lnTo>
                <a:lnTo>
                  <a:pt x="168148" y="214503"/>
                </a:lnTo>
                <a:lnTo>
                  <a:pt x="187325" y="214503"/>
                </a:lnTo>
                <a:lnTo>
                  <a:pt x="196976" y="199898"/>
                </a:lnTo>
                <a:lnTo>
                  <a:pt x="196976" y="180340"/>
                </a:lnTo>
                <a:lnTo>
                  <a:pt x="201675" y="146304"/>
                </a:lnTo>
                <a:lnTo>
                  <a:pt x="240157" y="112141"/>
                </a:lnTo>
                <a:lnTo>
                  <a:pt x="235330" y="77978"/>
                </a:lnTo>
                <a:lnTo>
                  <a:pt x="201675" y="68199"/>
                </a:lnTo>
                <a:lnTo>
                  <a:pt x="201675" y="38989"/>
                </a:lnTo>
                <a:lnTo>
                  <a:pt x="177673" y="38989"/>
                </a:lnTo>
                <a:lnTo>
                  <a:pt x="177673" y="9652"/>
                </a:lnTo>
                <a:lnTo>
                  <a:pt x="153670" y="9652"/>
                </a:lnTo>
                <a:lnTo>
                  <a:pt x="124841" y="0"/>
                </a:lnTo>
              </a:path>
            </a:pathLst>
          </a:custGeom>
          <a:ln w="12700">
            <a:solidFill>
              <a:srgbClr val="000000"/>
            </a:solidFill>
          </a:ln>
        </p:spPr>
        <p:txBody>
          <a:bodyPr wrap="square" lIns="0" tIns="0" rIns="0" bIns="0" rtlCol="0">
            <a:noAutofit/>
          </a:bodyPr>
          <a:lstStyle/>
          <a:p>
            <a:endParaRPr/>
          </a:p>
        </p:txBody>
      </p:sp>
      <p:sp>
        <p:nvSpPr>
          <p:cNvPr id="128" name="object 128"/>
          <p:cNvSpPr/>
          <p:nvPr/>
        </p:nvSpPr>
        <p:spPr>
          <a:xfrm>
            <a:off x="9616440" y="1300861"/>
            <a:ext cx="76834" cy="78104"/>
          </a:xfrm>
          <a:custGeom>
            <a:avLst/>
            <a:gdLst/>
            <a:ahLst/>
            <a:cxnLst/>
            <a:rect l="l" t="t" r="r" b="b"/>
            <a:pathLst>
              <a:path w="76834" h="78104">
                <a:moveTo>
                  <a:pt x="76834" y="0"/>
                </a:moveTo>
                <a:lnTo>
                  <a:pt x="72008" y="38988"/>
                </a:lnTo>
                <a:lnTo>
                  <a:pt x="62483" y="68325"/>
                </a:lnTo>
                <a:lnTo>
                  <a:pt x="48005" y="78104"/>
                </a:lnTo>
                <a:lnTo>
                  <a:pt x="33654" y="68325"/>
                </a:lnTo>
                <a:lnTo>
                  <a:pt x="19176" y="58547"/>
                </a:lnTo>
                <a:lnTo>
                  <a:pt x="0" y="29337"/>
                </a:lnTo>
              </a:path>
            </a:pathLst>
          </a:custGeom>
          <a:ln w="12700">
            <a:solidFill>
              <a:srgbClr val="000000"/>
            </a:solidFill>
          </a:ln>
        </p:spPr>
        <p:txBody>
          <a:bodyPr wrap="square" lIns="0" tIns="0" rIns="0" bIns="0" rtlCol="0">
            <a:noAutofit/>
          </a:bodyPr>
          <a:lstStyle/>
          <a:p>
            <a:endParaRPr/>
          </a:p>
        </p:txBody>
      </p:sp>
      <p:sp>
        <p:nvSpPr>
          <p:cNvPr id="129" name="object 129"/>
          <p:cNvSpPr/>
          <p:nvPr/>
        </p:nvSpPr>
        <p:spPr>
          <a:xfrm>
            <a:off x="9698101" y="1300861"/>
            <a:ext cx="76834" cy="78104"/>
          </a:xfrm>
          <a:custGeom>
            <a:avLst/>
            <a:gdLst/>
            <a:ahLst/>
            <a:cxnLst/>
            <a:rect l="l" t="t" r="r" b="b"/>
            <a:pathLst>
              <a:path w="76834" h="78104">
                <a:moveTo>
                  <a:pt x="76834" y="78104"/>
                </a:moveTo>
                <a:lnTo>
                  <a:pt x="0" y="0"/>
                </a:lnTo>
                <a:lnTo>
                  <a:pt x="28828" y="78104"/>
                </a:lnTo>
              </a:path>
            </a:pathLst>
          </a:custGeom>
          <a:ln w="12700">
            <a:solidFill>
              <a:srgbClr val="000000"/>
            </a:solidFill>
          </a:ln>
        </p:spPr>
        <p:txBody>
          <a:bodyPr wrap="square" lIns="0" tIns="0" rIns="0" bIns="0" rtlCol="0">
            <a:noAutofit/>
          </a:bodyPr>
          <a:lstStyle/>
          <a:p>
            <a:endParaRPr/>
          </a:p>
        </p:txBody>
      </p:sp>
      <p:sp>
        <p:nvSpPr>
          <p:cNvPr id="130" name="object 130"/>
          <p:cNvSpPr/>
          <p:nvPr/>
        </p:nvSpPr>
        <p:spPr>
          <a:xfrm>
            <a:off x="9750934" y="1222884"/>
            <a:ext cx="76835" cy="77977"/>
          </a:xfrm>
          <a:custGeom>
            <a:avLst/>
            <a:gdLst/>
            <a:ahLst/>
            <a:cxnLst/>
            <a:rect l="l" t="t" r="r" b="b"/>
            <a:pathLst>
              <a:path w="76835" h="77977">
                <a:moveTo>
                  <a:pt x="67310" y="77977"/>
                </a:moveTo>
                <a:lnTo>
                  <a:pt x="76835" y="43814"/>
                </a:lnTo>
                <a:lnTo>
                  <a:pt x="48006" y="14604"/>
                </a:lnTo>
                <a:lnTo>
                  <a:pt x="19176" y="0"/>
                </a:lnTo>
                <a:lnTo>
                  <a:pt x="0" y="0"/>
                </a:lnTo>
              </a:path>
            </a:pathLst>
          </a:custGeom>
          <a:ln w="12700">
            <a:solidFill>
              <a:srgbClr val="000000"/>
            </a:solidFill>
          </a:ln>
        </p:spPr>
        <p:txBody>
          <a:bodyPr wrap="square" lIns="0" tIns="0" rIns="0" bIns="0" rtlCol="0">
            <a:noAutofit/>
          </a:bodyPr>
          <a:lstStyle/>
          <a:p>
            <a:endParaRPr/>
          </a:p>
        </p:txBody>
      </p:sp>
      <p:sp>
        <p:nvSpPr>
          <p:cNvPr id="131" name="object 131"/>
          <p:cNvSpPr/>
          <p:nvPr/>
        </p:nvSpPr>
        <p:spPr>
          <a:xfrm>
            <a:off x="9789414" y="1447165"/>
            <a:ext cx="76834" cy="78105"/>
          </a:xfrm>
          <a:custGeom>
            <a:avLst/>
            <a:gdLst/>
            <a:ahLst/>
            <a:cxnLst/>
            <a:rect l="l" t="t" r="r" b="b"/>
            <a:pathLst>
              <a:path w="76834" h="78105">
                <a:moveTo>
                  <a:pt x="24002" y="0"/>
                </a:moveTo>
                <a:lnTo>
                  <a:pt x="52831" y="0"/>
                </a:lnTo>
                <a:lnTo>
                  <a:pt x="76834" y="24384"/>
                </a:lnTo>
                <a:lnTo>
                  <a:pt x="72008" y="63373"/>
                </a:lnTo>
                <a:lnTo>
                  <a:pt x="52831" y="78105"/>
                </a:lnTo>
                <a:lnTo>
                  <a:pt x="38353" y="78105"/>
                </a:lnTo>
                <a:lnTo>
                  <a:pt x="14350" y="78105"/>
                </a:lnTo>
                <a:lnTo>
                  <a:pt x="0" y="68325"/>
                </a:lnTo>
                <a:lnTo>
                  <a:pt x="0" y="48768"/>
                </a:lnTo>
                <a:lnTo>
                  <a:pt x="9525" y="34162"/>
                </a:lnTo>
                <a:lnTo>
                  <a:pt x="24002" y="38988"/>
                </a:lnTo>
              </a:path>
            </a:pathLst>
          </a:custGeom>
          <a:ln w="12700">
            <a:solidFill>
              <a:srgbClr val="000000"/>
            </a:solidFill>
          </a:ln>
        </p:spPr>
        <p:txBody>
          <a:bodyPr wrap="square" lIns="0" tIns="0" rIns="0" bIns="0" rtlCol="0">
            <a:noAutofit/>
          </a:bodyPr>
          <a:lstStyle/>
          <a:p>
            <a:endParaRPr/>
          </a:p>
        </p:txBody>
      </p:sp>
      <p:sp>
        <p:nvSpPr>
          <p:cNvPr id="132" name="object 132"/>
          <p:cNvSpPr/>
          <p:nvPr/>
        </p:nvSpPr>
        <p:spPr>
          <a:xfrm>
            <a:off x="9784589" y="1178940"/>
            <a:ext cx="273811" cy="316992"/>
          </a:xfrm>
          <a:custGeom>
            <a:avLst/>
            <a:gdLst/>
            <a:ahLst/>
            <a:cxnLst/>
            <a:rect l="l" t="t" r="r" b="b"/>
            <a:pathLst>
              <a:path w="273811" h="316992">
                <a:moveTo>
                  <a:pt x="83819" y="162560"/>
                </a:moveTo>
                <a:lnTo>
                  <a:pt x="143128" y="316992"/>
                </a:lnTo>
                <a:lnTo>
                  <a:pt x="156515" y="312760"/>
                </a:lnTo>
                <a:lnTo>
                  <a:pt x="170303" y="307328"/>
                </a:lnTo>
                <a:lnTo>
                  <a:pt x="183415" y="301032"/>
                </a:lnTo>
                <a:lnTo>
                  <a:pt x="195810" y="293920"/>
                </a:lnTo>
                <a:lnTo>
                  <a:pt x="207448" y="286040"/>
                </a:lnTo>
                <a:lnTo>
                  <a:pt x="218287" y="277441"/>
                </a:lnTo>
                <a:lnTo>
                  <a:pt x="228287" y="268172"/>
                </a:lnTo>
                <a:lnTo>
                  <a:pt x="237407" y="258280"/>
                </a:lnTo>
                <a:lnTo>
                  <a:pt x="245607" y="247814"/>
                </a:lnTo>
                <a:lnTo>
                  <a:pt x="252845" y="236823"/>
                </a:lnTo>
                <a:lnTo>
                  <a:pt x="259082" y="225356"/>
                </a:lnTo>
                <a:lnTo>
                  <a:pt x="264276" y="213460"/>
                </a:lnTo>
                <a:lnTo>
                  <a:pt x="268387" y="201183"/>
                </a:lnTo>
                <a:lnTo>
                  <a:pt x="271373" y="188576"/>
                </a:lnTo>
                <a:lnTo>
                  <a:pt x="273195" y="175685"/>
                </a:lnTo>
                <a:lnTo>
                  <a:pt x="273811" y="162560"/>
                </a:lnTo>
                <a:lnTo>
                  <a:pt x="273502" y="153203"/>
                </a:lnTo>
                <a:lnTo>
                  <a:pt x="271975" y="139868"/>
                </a:lnTo>
                <a:lnTo>
                  <a:pt x="269218" y="126870"/>
                </a:lnTo>
                <a:lnTo>
                  <a:pt x="265281" y="114253"/>
                </a:lnTo>
                <a:lnTo>
                  <a:pt x="260217" y="102061"/>
                </a:lnTo>
                <a:lnTo>
                  <a:pt x="254076" y="90338"/>
                </a:lnTo>
                <a:lnTo>
                  <a:pt x="246910" y="79128"/>
                </a:lnTo>
                <a:lnTo>
                  <a:pt x="238771" y="68475"/>
                </a:lnTo>
                <a:lnTo>
                  <a:pt x="229709" y="58422"/>
                </a:lnTo>
                <a:lnTo>
                  <a:pt x="219775" y="49013"/>
                </a:lnTo>
                <a:lnTo>
                  <a:pt x="209022" y="40292"/>
                </a:lnTo>
                <a:lnTo>
                  <a:pt x="197501" y="32303"/>
                </a:lnTo>
                <a:lnTo>
                  <a:pt x="185262" y="25090"/>
                </a:lnTo>
                <a:lnTo>
                  <a:pt x="172357" y="18696"/>
                </a:lnTo>
                <a:lnTo>
                  <a:pt x="158838" y="13166"/>
                </a:lnTo>
                <a:lnTo>
                  <a:pt x="144756" y="8543"/>
                </a:lnTo>
                <a:lnTo>
                  <a:pt x="130161" y="4871"/>
                </a:lnTo>
                <a:lnTo>
                  <a:pt x="115106" y="2194"/>
                </a:lnTo>
                <a:lnTo>
                  <a:pt x="99642" y="555"/>
                </a:lnTo>
                <a:lnTo>
                  <a:pt x="83819" y="0"/>
                </a:lnTo>
                <a:lnTo>
                  <a:pt x="74364" y="201"/>
                </a:lnTo>
                <a:lnTo>
                  <a:pt x="61499" y="1127"/>
                </a:lnTo>
                <a:lnTo>
                  <a:pt x="48763" y="2796"/>
                </a:lnTo>
                <a:lnTo>
                  <a:pt x="36199" y="5202"/>
                </a:lnTo>
                <a:lnTo>
                  <a:pt x="23855" y="8337"/>
                </a:lnTo>
                <a:lnTo>
                  <a:pt x="11773" y="12193"/>
                </a:lnTo>
                <a:lnTo>
                  <a:pt x="0" y="16763"/>
                </a:lnTo>
                <a:lnTo>
                  <a:pt x="83819" y="162560"/>
                </a:lnTo>
                <a:close/>
              </a:path>
            </a:pathLst>
          </a:custGeom>
          <a:solidFill>
            <a:srgbClr val="FFFF00"/>
          </a:solidFill>
        </p:spPr>
        <p:txBody>
          <a:bodyPr wrap="square" lIns="0" tIns="0" rIns="0" bIns="0" rtlCol="0">
            <a:noAutofit/>
          </a:bodyPr>
          <a:lstStyle/>
          <a:p>
            <a:endParaRPr/>
          </a:p>
        </p:txBody>
      </p:sp>
      <p:sp>
        <p:nvSpPr>
          <p:cNvPr id="133" name="object 133"/>
          <p:cNvSpPr/>
          <p:nvPr/>
        </p:nvSpPr>
        <p:spPr>
          <a:xfrm>
            <a:off x="9784589" y="1178940"/>
            <a:ext cx="273811" cy="316992"/>
          </a:xfrm>
          <a:custGeom>
            <a:avLst/>
            <a:gdLst/>
            <a:ahLst/>
            <a:cxnLst/>
            <a:rect l="l" t="t" r="r" b="b"/>
            <a:pathLst>
              <a:path w="273811" h="316992">
                <a:moveTo>
                  <a:pt x="0" y="16763"/>
                </a:moveTo>
                <a:lnTo>
                  <a:pt x="11773" y="12193"/>
                </a:lnTo>
                <a:lnTo>
                  <a:pt x="23855" y="8337"/>
                </a:lnTo>
                <a:lnTo>
                  <a:pt x="36199" y="5202"/>
                </a:lnTo>
                <a:lnTo>
                  <a:pt x="48763" y="2796"/>
                </a:lnTo>
                <a:lnTo>
                  <a:pt x="61499" y="1127"/>
                </a:lnTo>
                <a:lnTo>
                  <a:pt x="74364" y="201"/>
                </a:lnTo>
                <a:lnTo>
                  <a:pt x="83819" y="0"/>
                </a:lnTo>
                <a:lnTo>
                  <a:pt x="99642" y="555"/>
                </a:lnTo>
                <a:lnTo>
                  <a:pt x="115106" y="2194"/>
                </a:lnTo>
                <a:lnTo>
                  <a:pt x="130161" y="4871"/>
                </a:lnTo>
                <a:lnTo>
                  <a:pt x="144756" y="8543"/>
                </a:lnTo>
                <a:lnTo>
                  <a:pt x="158838" y="13166"/>
                </a:lnTo>
                <a:lnTo>
                  <a:pt x="172357" y="18696"/>
                </a:lnTo>
                <a:lnTo>
                  <a:pt x="185262" y="25090"/>
                </a:lnTo>
                <a:lnTo>
                  <a:pt x="197501" y="32303"/>
                </a:lnTo>
                <a:lnTo>
                  <a:pt x="209022" y="40292"/>
                </a:lnTo>
                <a:lnTo>
                  <a:pt x="219775" y="49013"/>
                </a:lnTo>
                <a:lnTo>
                  <a:pt x="229709" y="58422"/>
                </a:lnTo>
                <a:lnTo>
                  <a:pt x="238771" y="68475"/>
                </a:lnTo>
                <a:lnTo>
                  <a:pt x="246910" y="79128"/>
                </a:lnTo>
                <a:lnTo>
                  <a:pt x="254076" y="90338"/>
                </a:lnTo>
                <a:lnTo>
                  <a:pt x="260217" y="102061"/>
                </a:lnTo>
                <a:lnTo>
                  <a:pt x="265281" y="114253"/>
                </a:lnTo>
                <a:lnTo>
                  <a:pt x="269218" y="126870"/>
                </a:lnTo>
                <a:lnTo>
                  <a:pt x="271975" y="139868"/>
                </a:lnTo>
                <a:lnTo>
                  <a:pt x="273502" y="153203"/>
                </a:lnTo>
                <a:lnTo>
                  <a:pt x="273811" y="162560"/>
                </a:lnTo>
                <a:lnTo>
                  <a:pt x="273195" y="175685"/>
                </a:lnTo>
                <a:lnTo>
                  <a:pt x="271373" y="188576"/>
                </a:lnTo>
                <a:lnTo>
                  <a:pt x="268387" y="201183"/>
                </a:lnTo>
                <a:lnTo>
                  <a:pt x="264276" y="213460"/>
                </a:lnTo>
                <a:lnTo>
                  <a:pt x="259082" y="225356"/>
                </a:lnTo>
                <a:lnTo>
                  <a:pt x="252845" y="236823"/>
                </a:lnTo>
                <a:lnTo>
                  <a:pt x="245607" y="247814"/>
                </a:lnTo>
                <a:lnTo>
                  <a:pt x="237407" y="258280"/>
                </a:lnTo>
                <a:lnTo>
                  <a:pt x="228287" y="268172"/>
                </a:lnTo>
                <a:lnTo>
                  <a:pt x="218287" y="277441"/>
                </a:lnTo>
                <a:lnTo>
                  <a:pt x="207448" y="286040"/>
                </a:lnTo>
                <a:lnTo>
                  <a:pt x="195810" y="293920"/>
                </a:lnTo>
                <a:lnTo>
                  <a:pt x="183415" y="301032"/>
                </a:lnTo>
                <a:lnTo>
                  <a:pt x="170303" y="307328"/>
                </a:lnTo>
                <a:lnTo>
                  <a:pt x="156515" y="312760"/>
                </a:lnTo>
                <a:lnTo>
                  <a:pt x="143128" y="316992"/>
                </a:lnTo>
              </a:path>
            </a:pathLst>
          </a:custGeom>
          <a:ln w="12700">
            <a:solidFill>
              <a:srgbClr val="000000"/>
            </a:solidFill>
          </a:ln>
        </p:spPr>
        <p:txBody>
          <a:bodyPr wrap="square" lIns="0" tIns="0" rIns="0" bIns="0" rtlCol="0">
            <a:noAutofit/>
          </a:bodyPr>
          <a:lstStyle/>
          <a:p>
            <a:endParaRPr/>
          </a:p>
        </p:txBody>
      </p:sp>
      <p:sp>
        <p:nvSpPr>
          <p:cNvPr id="134" name="object 134"/>
          <p:cNvSpPr/>
          <p:nvPr/>
        </p:nvSpPr>
        <p:spPr>
          <a:xfrm>
            <a:off x="9702928" y="1164337"/>
            <a:ext cx="144145" cy="151129"/>
          </a:xfrm>
          <a:custGeom>
            <a:avLst/>
            <a:gdLst/>
            <a:ahLst/>
            <a:cxnLst/>
            <a:rect l="l" t="t" r="r" b="b"/>
            <a:pathLst>
              <a:path w="144145" h="151129">
                <a:moveTo>
                  <a:pt x="52831" y="73151"/>
                </a:moveTo>
                <a:lnTo>
                  <a:pt x="76834" y="97536"/>
                </a:lnTo>
                <a:lnTo>
                  <a:pt x="96012" y="117093"/>
                </a:lnTo>
                <a:lnTo>
                  <a:pt x="120015" y="131699"/>
                </a:lnTo>
                <a:lnTo>
                  <a:pt x="144145" y="151129"/>
                </a:lnTo>
                <a:lnTo>
                  <a:pt x="120015" y="107314"/>
                </a:lnTo>
                <a:lnTo>
                  <a:pt x="100838" y="63373"/>
                </a:lnTo>
                <a:lnTo>
                  <a:pt x="76834" y="19558"/>
                </a:lnTo>
                <a:lnTo>
                  <a:pt x="0" y="0"/>
                </a:lnTo>
                <a:lnTo>
                  <a:pt x="14350" y="24384"/>
                </a:lnTo>
                <a:lnTo>
                  <a:pt x="28828" y="48767"/>
                </a:lnTo>
                <a:lnTo>
                  <a:pt x="38353" y="58547"/>
                </a:lnTo>
                <a:lnTo>
                  <a:pt x="52831" y="73151"/>
                </a:lnTo>
                <a:close/>
              </a:path>
            </a:pathLst>
          </a:custGeom>
          <a:solidFill>
            <a:srgbClr val="C0C000"/>
          </a:solidFill>
        </p:spPr>
        <p:txBody>
          <a:bodyPr wrap="square" lIns="0" tIns="0" rIns="0" bIns="0" rtlCol="0">
            <a:noAutofit/>
          </a:bodyPr>
          <a:lstStyle/>
          <a:p>
            <a:endParaRPr/>
          </a:p>
        </p:txBody>
      </p:sp>
      <p:sp>
        <p:nvSpPr>
          <p:cNvPr id="135" name="object 135"/>
          <p:cNvSpPr/>
          <p:nvPr/>
        </p:nvSpPr>
        <p:spPr>
          <a:xfrm>
            <a:off x="9702928" y="1164337"/>
            <a:ext cx="144145" cy="151129"/>
          </a:xfrm>
          <a:custGeom>
            <a:avLst/>
            <a:gdLst/>
            <a:ahLst/>
            <a:cxnLst/>
            <a:rect l="l" t="t" r="r" b="b"/>
            <a:pathLst>
              <a:path w="144145" h="151129">
                <a:moveTo>
                  <a:pt x="76834" y="19558"/>
                </a:moveTo>
                <a:lnTo>
                  <a:pt x="0" y="0"/>
                </a:lnTo>
                <a:lnTo>
                  <a:pt x="14350" y="24384"/>
                </a:lnTo>
                <a:lnTo>
                  <a:pt x="28828" y="48767"/>
                </a:lnTo>
                <a:lnTo>
                  <a:pt x="38353" y="58547"/>
                </a:lnTo>
                <a:lnTo>
                  <a:pt x="52831" y="73151"/>
                </a:lnTo>
                <a:lnTo>
                  <a:pt x="76834" y="97536"/>
                </a:lnTo>
                <a:lnTo>
                  <a:pt x="96012" y="117093"/>
                </a:lnTo>
                <a:lnTo>
                  <a:pt x="120015" y="131699"/>
                </a:lnTo>
                <a:lnTo>
                  <a:pt x="144145" y="151129"/>
                </a:lnTo>
                <a:lnTo>
                  <a:pt x="120015" y="107314"/>
                </a:lnTo>
                <a:lnTo>
                  <a:pt x="100838" y="63373"/>
                </a:lnTo>
                <a:lnTo>
                  <a:pt x="76834" y="19558"/>
                </a:lnTo>
              </a:path>
            </a:pathLst>
          </a:custGeom>
          <a:ln w="12700">
            <a:solidFill>
              <a:srgbClr val="000000"/>
            </a:solidFill>
          </a:ln>
        </p:spPr>
        <p:txBody>
          <a:bodyPr wrap="square" lIns="0" tIns="0" rIns="0" bIns="0" rtlCol="0">
            <a:noAutofit/>
          </a:bodyPr>
          <a:lstStyle/>
          <a:p>
            <a:endParaRPr/>
          </a:p>
        </p:txBody>
      </p:sp>
      <p:sp>
        <p:nvSpPr>
          <p:cNvPr id="136" name="object 136"/>
          <p:cNvSpPr/>
          <p:nvPr/>
        </p:nvSpPr>
        <p:spPr>
          <a:xfrm>
            <a:off x="9813418" y="1217930"/>
            <a:ext cx="211327" cy="78105"/>
          </a:xfrm>
          <a:custGeom>
            <a:avLst/>
            <a:gdLst/>
            <a:ahLst/>
            <a:cxnLst/>
            <a:rect l="l" t="t" r="r" b="b"/>
            <a:pathLst>
              <a:path w="211327" h="78105">
                <a:moveTo>
                  <a:pt x="0" y="19558"/>
                </a:moveTo>
                <a:lnTo>
                  <a:pt x="14350" y="9779"/>
                </a:lnTo>
                <a:lnTo>
                  <a:pt x="43179" y="4953"/>
                </a:lnTo>
                <a:lnTo>
                  <a:pt x="81660" y="0"/>
                </a:lnTo>
                <a:lnTo>
                  <a:pt x="110489" y="4953"/>
                </a:lnTo>
                <a:lnTo>
                  <a:pt x="144144" y="19558"/>
                </a:lnTo>
                <a:lnTo>
                  <a:pt x="177673" y="43942"/>
                </a:lnTo>
                <a:lnTo>
                  <a:pt x="211327" y="78105"/>
                </a:lnTo>
              </a:path>
            </a:pathLst>
          </a:custGeom>
          <a:ln w="12699">
            <a:solidFill>
              <a:srgbClr val="000000"/>
            </a:solidFill>
          </a:ln>
        </p:spPr>
        <p:txBody>
          <a:bodyPr wrap="square" lIns="0" tIns="0" rIns="0" bIns="0" rtlCol="0">
            <a:noAutofit/>
          </a:bodyPr>
          <a:lstStyle/>
          <a:p>
            <a:endParaRPr/>
          </a:p>
        </p:txBody>
      </p:sp>
      <p:sp>
        <p:nvSpPr>
          <p:cNvPr id="137" name="object 137"/>
          <p:cNvSpPr/>
          <p:nvPr/>
        </p:nvSpPr>
        <p:spPr>
          <a:xfrm>
            <a:off x="9909429" y="1276478"/>
            <a:ext cx="115316" cy="151257"/>
          </a:xfrm>
          <a:custGeom>
            <a:avLst/>
            <a:gdLst/>
            <a:ahLst/>
            <a:cxnLst/>
            <a:rect l="l" t="t" r="r" b="b"/>
            <a:pathLst>
              <a:path w="115316" h="151257">
                <a:moveTo>
                  <a:pt x="115316" y="0"/>
                </a:moveTo>
                <a:lnTo>
                  <a:pt x="110490" y="14605"/>
                </a:lnTo>
                <a:lnTo>
                  <a:pt x="100965" y="43942"/>
                </a:lnTo>
                <a:lnTo>
                  <a:pt x="91313" y="68325"/>
                </a:lnTo>
                <a:lnTo>
                  <a:pt x="76962" y="92710"/>
                </a:lnTo>
                <a:lnTo>
                  <a:pt x="67310" y="102488"/>
                </a:lnTo>
                <a:lnTo>
                  <a:pt x="57657" y="112140"/>
                </a:lnTo>
                <a:lnTo>
                  <a:pt x="38480" y="131699"/>
                </a:lnTo>
                <a:lnTo>
                  <a:pt x="19303" y="141477"/>
                </a:lnTo>
                <a:lnTo>
                  <a:pt x="0" y="151257"/>
                </a:lnTo>
              </a:path>
            </a:pathLst>
          </a:custGeom>
          <a:ln w="12700">
            <a:solidFill>
              <a:srgbClr val="000000"/>
            </a:solidFill>
          </a:ln>
        </p:spPr>
        <p:txBody>
          <a:bodyPr wrap="square" lIns="0" tIns="0" rIns="0" bIns="0" rtlCol="0">
            <a:noAutofit/>
          </a:bodyPr>
          <a:lstStyle/>
          <a:p>
            <a:endParaRPr/>
          </a:p>
        </p:txBody>
      </p:sp>
      <p:sp>
        <p:nvSpPr>
          <p:cNvPr id="138" name="object 138"/>
          <p:cNvSpPr/>
          <p:nvPr/>
        </p:nvSpPr>
        <p:spPr>
          <a:xfrm>
            <a:off x="8708391" y="788798"/>
            <a:ext cx="331469" cy="570611"/>
          </a:xfrm>
          <a:custGeom>
            <a:avLst/>
            <a:gdLst/>
            <a:ahLst/>
            <a:cxnLst/>
            <a:rect l="l" t="t" r="r" b="b"/>
            <a:pathLst>
              <a:path w="331469" h="570611">
                <a:moveTo>
                  <a:pt x="0" y="68325"/>
                </a:moveTo>
                <a:lnTo>
                  <a:pt x="0" y="570611"/>
                </a:lnTo>
                <a:lnTo>
                  <a:pt x="331469" y="551052"/>
                </a:lnTo>
                <a:lnTo>
                  <a:pt x="331469" y="0"/>
                </a:lnTo>
                <a:lnTo>
                  <a:pt x="0" y="68325"/>
                </a:lnTo>
                <a:close/>
              </a:path>
            </a:pathLst>
          </a:custGeom>
          <a:solidFill>
            <a:srgbClr val="FFC080"/>
          </a:solidFill>
        </p:spPr>
        <p:txBody>
          <a:bodyPr wrap="square" lIns="0" tIns="0" rIns="0" bIns="0" rtlCol="0">
            <a:noAutofit/>
          </a:bodyPr>
          <a:lstStyle/>
          <a:p>
            <a:endParaRPr/>
          </a:p>
        </p:txBody>
      </p:sp>
      <p:sp>
        <p:nvSpPr>
          <p:cNvPr id="139" name="object 139"/>
          <p:cNvSpPr/>
          <p:nvPr/>
        </p:nvSpPr>
        <p:spPr>
          <a:xfrm>
            <a:off x="8708391" y="788798"/>
            <a:ext cx="331469" cy="570611"/>
          </a:xfrm>
          <a:custGeom>
            <a:avLst/>
            <a:gdLst/>
            <a:ahLst/>
            <a:cxnLst/>
            <a:rect l="l" t="t" r="r" b="b"/>
            <a:pathLst>
              <a:path w="331469" h="570611">
                <a:moveTo>
                  <a:pt x="0" y="68325"/>
                </a:moveTo>
                <a:lnTo>
                  <a:pt x="331469" y="0"/>
                </a:lnTo>
                <a:lnTo>
                  <a:pt x="331469" y="551052"/>
                </a:lnTo>
                <a:lnTo>
                  <a:pt x="0" y="570611"/>
                </a:lnTo>
                <a:lnTo>
                  <a:pt x="0" y="68325"/>
                </a:lnTo>
              </a:path>
            </a:pathLst>
          </a:custGeom>
          <a:ln w="12699">
            <a:solidFill>
              <a:srgbClr val="000000"/>
            </a:solidFill>
          </a:ln>
        </p:spPr>
        <p:txBody>
          <a:bodyPr wrap="square" lIns="0" tIns="0" rIns="0" bIns="0" rtlCol="0">
            <a:noAutofit/>
          </a:bodyPr>
          <a:lstStyle/>
          <a:p>
            <a:endParaRPr/>
          </a:p>
        </p:txBody>
      </p:sp>
      <p:sp>
        <p:nvSpPr>
          <p:cNvPr id="140" name="object 140"/>
          <p:cNvSpPr/>
          <p:nvPr/>
        </p:nvSpPr>
        <p:spPr>
          <a:xfrm>
            <a:off x="9039860" y="788798"/>
            <a:ext cx="312293" cy="570611"/>
          </a:xfrm>
          <a:custGeom>
            <a:avLst/>
            <a:gdLst/>
            <a:ahLst/>
            <a:cxnLst/>
            <a:rect l="l" t="t" r="r" b="b"/>
            <a:pathLst>
              <a:path w="312293" h="570611">
                <a:moveTo>
                  <a:pt x="0" y="0"/>
                </a:moveTo>
                <a:lnTo>
                  <a:pt x="0" y="551052"/>
                </a:lnTo>
                <a:lnTo>
                  <a:pt x="312293" y="570611"/>
                </a:lnTo>
                <a:lnTo>
                  <a:pt x="312293" y="34162"/>
                </a:lnTo>
                <a:lnTo>
                  <a:pt x="0" y="0"/>
                </a:lnTo>
                <a:close/>
              </a:path>
            </a:pathLst>
          </a:custGeom>
          <a:solidFill>
            <a:srgbClr val="DF6F00"/>
          </a:solidFill>
        </p:spPr>
        <p:txBody>
          <a:bodyPr wrap="square" lIns="0" tIns="0" rIns="0" bIns="0" rtlCol="0">
            <a:noAutofit/>
          </a:bodyPr>
          <a:lstStyle/>
          <a:p>
            <a:endParaRPr/>
          </a:p>
        </p:txBody>
      </p:sp>
      <p:sp>
        <p:nvSpPr>
          <p:cNvPr id="141" name="object 141"/>
          <p:cNvSpPr/>
          <p:nvPr/>
        </p:nvSpPr>
        <p:spPr>
          <a:xfrm>
            <a:off x="9039860" y="788798"/>
            <a:ext cx="312293" cy="570611"/>
          </a:xfrm>
          <a:custGeom>
            <a:avLst/>
            <a:gdLst/>
            <a:ahLst/>
            <a:cxnLst/>
            <a:rect l="l" t="t" r="r" b="b"/>
            <a:pathLst>
              <a:path w="312293" h="570611">
                <a:moveTo>
                  <a:pt x="0" y="0"/>
                </a:moveTo>
                <a:lnTo>
                  <a:pt x="312293" y="34162"/>
                </a:lnTo>
                <a:lnTo>
                  <a:pt x="312293" y="570611"/>
                </a:lnTo>
                <a:lnTo>
                  <a:pt x="0" y="551052"/>
                </a:lnTo>
                <a:lnTo>
                  <a:pt x="0" y="0"/>
                </a:lnTo>
              </a:path>
            </a:pathLst>
          </a:custGeom>
          <a:ln w="12699">
            <a:solidFill>
              <a:srgbClr val="000000"/>
            </a:solidFill>
          </a:ln>
        </p:spPr>
        <p:txBody>
          <a:bodyPr wrap="square" lIns="0" tIns="0" rIns="0" bIns="0" rtlCol="0">
            <a:noAutofit/>
          </a:bodyPr>
          <a:lstStyle/>
          <a:p>
            <a:endParaRPr/>
          </a:p>
        </p:txBody>
      </p:sp>
      <p:sp>
        <p:nvSpPr>
          <p:cNvPr id="142" name="object 142"/>
          <p:cNvSpPr/>
          <p:nvPr/>
        </p:nvSpPr>
        <p:spPr>
          <a:xfrm>
            <a:off x="9039860" y="788797"/>
            <a:ext cx="422783" cy="268224"/>
          </a:xfrm>
          <a:custGeom>
            <a:avLst/>
            <a:gdLst/>
            <a:ahLst/>
            <a:cxnLst/>
            <a:rect l="l" t="t" r="r" b="b"/>
            <a:pathLst>
              <a:path w="422783" h="268224">
                <a:moveTo>
                  <a:pt x="0" y="0"/>
                </a:moveTo>
                <a:lnTo>
                  <a:pt x="52832" y="229235"/>
                </a:lnTo>
                <a:lnTo>
                  <a:pt x="422783" y="268224"/>
                </a:lnTo>
                <a:lnTo>
                  <a:pt x="317119" y="34162"/>
                </a:lnTo>
                <a:lnTo>
                  <a:pt x="0" y="0"/>
                </a:lnTo>
                <a:close/>
              </a:path>
            </a:pathLst>
          </a:custGeom>
          <a:solidFill>
            <a:srgbClr val="FFC080"/>
          </a:solidFill>
        </p:spPr>
        <p:txBody>
          <a:bodyPr wrap="square" lIns="0" tIns="0" rIns="0" bIns="0" rtlCol="0">
            <a:noAutofit/>
          </a:bodyPr>
          <a:lstStyle/>
          <a:p>
            <a:endParaRPr/>
          </a:p>
        </p:txBody>
      </p:sp>
      <p:sp>
        <p:nvSpPr>
          <p:cNvPr id="143" name="object 143"/>
          <p:cNvSpPr/>
          <p:nvPr/>
        </p:nvSpPr>
        <p:spPr>
          <a:xfrm>
            <a:off x="9039860" y="788797"/>
            <a:ext cx="422783" cy="268224"/>
          </a:xfrm>
          <a:custGeom>
            <a:avLst/>
            <a:gdLst/>
            <a:ahLst/>
            <a:cxnLst/>
            <a:rect l="l" t="t" r="r" b="b"/>
            <a:pathLst>
              <a:path w="422783" h="268224">
                <a:moveTo>
                  <a:pt x="0" y="0"/>
                </a:moveTo>
                <a:lnTo>
                  <a:pt x="317119" y="34162"/>
                </a:lnTo>
                <a:lnTo>
                  <a:pt x="422783" y="268224"/>
                </a:lnTo>
                <a:lnTo>
                  <a:pt x="52832" y="229235"/>
                </a:lnTo>
                <a:lnTo>
                  <a:pt x="0" y="0"/>
                </a:lnTo>
              </a:path>
            </a:pathLst>
          </a:custGeom>
          <a:ln w="12700">
            <a:solidFill>
              <a:srgbClr val="000000"/>
            </a:solidFill>
          </a:ln>
        </p:spPr>
        <p:txBody>
          <a:bodyPr wrap="square" lIns="0" tIns="0" rIns="0" bIns="0" rtlCol="0">
            <a:noAutofit/>
          </a:bodyPr>
          <a:lstStyle/>
          <a:p>
            <a:endParaRPr/>
          </a:p>
        </p:txBody>
      </p:sp>
      <p:sp>
        <p:nvSpPr>
          <p:cNvPr id="144" name="object 144"/>
          <p:cNvSpPr/>
          <p:nvPr/>
        </p:nvSpPr>
        <p:spPr>
          <a:xfrm>
            <a:off x="9039860" y="1057022"/>
            <a:ext cx="422783" cy="302387"/>
          </a:xfrm>
          <a:custGeom>
            <a:avLst/>
            <a:gdLst/>
            <a:ahLst/>
            <a:cxnLst/>
            <a:rect l="l" t="t" r="r" b="b"/>
            <a:pathLst>
              <a:path w="422783" h="302387">
                <a:moveTo>
                  <a:pt x="0" y="282828"/>
                </a:moveTo>
                <a:lnTo>
                  <a:pt x="297942" y="302387"/>
                </a:lnTo>
                <a:lnTo>
                  <a:pt x="422783" y="34162"/>
                </a:lnTo>
                <a:lnTo>
                  <a:pt x="67310" y="0"/>
                </a:lnTo>
                <a:lnTo>
                  <a:pt x="0" y="282828"/>
                </a:lnTo>
                <a:close/>
              </a:path>
            </a:pathLst>
          </a:custGeom>
          <a:solidFill>
            <a:srgbClr val="FF8000"/>
          </a:solidFill>
        </p:spPr>
        <p:txBody>
          <a:bodyPr wrap="square" lIns="0" tIns="0" rIns="0" bIns="0" rtlCol="0">
            <a:noAutofit/>
          </a:bodyPr>
          <a:lstStyle/>
          <a:p>
            <a:endParaRPr/>
          </a:p>
        </p:txBody>
      </p:sp>
      <p:sp>
        <p:nvSpPr>
          <p:cNvPr id="145" name="object 145"/>
          <p:cNvSpPr/>
          <p:nvPr/>
        </p:nvSpPr>
        <p:spPr>
          <a:xfrm>
            <a:off x="9039860" y="1057022"/>
            <a:ext cx="422783" cy="302387"/>
          </a:xfrm>
          <a:custGeom>
            <a:avLst/>
            <a:gdLst/>
            <a:ahLst/>
            <a:cxnLst/>
            <a:rect l="l" t="t" r="r" b="b"/>
            <a:pathLst>
              <a:path w="422783" h="302387">
                <a:moveTo>
                  <a:pt x="0" y="282828"/>
                </a:moveTo>
                <a:lnTo>
                  <a:pt x="67310" y="0"/>
                </a:lnTo>
                <a:lnTo>
                  <a:pt x="422783" y="34162"/>
                </a:lnTo>
                <a:lnTo>
                  <a:pt x="297942" y="302387"/>
                </a:lnTo>
                <a:lnTo>
                  <a:pt x="0" y="282828"/>
                </a:lnTo>
              </a:path>
            </a:pathLst>
          </a:custGeom>
          <a:ln w="12700">
            <a:solidFill>
              <a:srgbClr val="000000"/>
            </a:solidFill>
          </a:ln>
        </p:spPr>
        <p:txBody>
          <a:bodyPr wrap="square" lIns="0" tIns="0" rIns="0" bIns="0" rtlCol="0">
            <a:noAutofit/>
          </a:bodyPr>
          <a:lstStyle/>
          <a:p>
            <a:endParaRPr/>
          </a:p>
        </p:txBody>
      </p:sp>
      <p:sp>
        <p:nvSpPr>
          <p:cNvPr id="146" name="object 146"/>
          <p:cNvSpPr/>
          <p:nvPr/>
        </p:nvSpPr>
        <p:spPr>
          <a:xfrm>
            <a:off x="7939786" y="1681227"/>
            <a:ext cx="220980" cy="404875"/>
          </a:xfrm>
          <a:custGeom>
            <a:avLst/>
            <a:gdLst/>
            <a:ahLst/>
            <a:cxnLst/>
            <a:rect l="l" t="t" r="r" b="b"/>
            <a:pathLst>
              <a:path w="220980" h="404875">
                <a:moveTo>
                  <a:pt x="86487" y="365760"/>
                </a:moveTo>
                <a:lnTo>
                  <a:pt x="120014" y="390144"/>
                </a:lnTo>
                <a:lnTo>
                  <a:pt x="172973" y="404875"/>
                </a:lnTo>
                <a:lnTo>
                  <a:pt x="187324" y="321945"/>
                </a:lnTo>
                <a:lnTo>
                  <a:pt x="196977" y="273176"/>
                </a:lnTo>
                <a:lnTo>
                  <a:pt x="196977" y="185420"/>
                </a:lnTo>
                <a:lnTo>
                  <a:pt x="220980" y="14732"/>
                </a:lnTo>
                <a:lnTo>
                  <a:pt x="163321" y="0"/>
                </a:lnTo>
                <a:lnTo>
                  <a:pt x="0" y="273176"/>
                </a:lnTo>
                <a:lnTo>
                  <a:pt x="43179" y="331724"/>
                </a:lnTo>
                <a:lnTo>
                  <a:pt x="86487" y="365760"/>
                </a:lnTo>
                <a:close/>
              </a:path>
            </a:pathLst>
          </a:custGeom>
          <a:solidFill>
            <a:srgbClr val="0000DF"/>
          </a:solidFill>
        </p:spPr>
        <p:txBody>
          <a:bodyPr wrap="square" lIns="0" tIns="0" rIns="0" bIns="0" rtlCol="0">
            <a:noAutofit/>
          </a:bodyPr>
          <a:lstStyle/>
          <a:p>
            <a:endParaRPr/>
          </a:p>
        </p:txBody>
      </p:sp>
      <p:sp>
        <p:nvSpPr>
          <p:cNvPr id="147" name="object 147"/>
          <p:cNvSpPr/>
          <p:nvPr/>
        </p:nvSpPr>
        <p:spPr>
          <a:xfrm>
            <a:off x="7939786" y="1681227"/>
            <a:ext cx="220980" cy="404875"/>
          </a:xfrm>
          <a:custGeom>
            <a:avLst/>
            <a:gdLst/>
            <a:ahLst/>
            <a:cxnLst/>
            <a:rect l="l" t="t" r="r" b="b"/>
            <a:pathLst>
              <a:path w="220980" h="404875">
                <a:moveTo>
                  <a:pt x="220980" y="14732"/>
                </a:moveTo>
                <a:lnTo>
                  <a:pt x="196977" y="185420"/>
                </a:lnTo>
                <a:lnTo>
                  <a:pt x="196977" y="273176"/>
                </a:lnTo>
                <a:lnTo>
                  <a:pt x="187324" y="321945"/>
                </a:lnTo>
                <a:lnTo>
                  <a:pt x="172973" y="404875"/>
                </a:lnTo>
                <a:lnTo>
                  <a:pt x="120014" y="390144"/>
                </a:lnTo>
                <a:lnTo>
                  <a:pt x="86487" y="365760"/>
                </a:lnTo>
                <a:lnTo>
                  <a:pt x="43179" y="331724"/>
                </a:lnTo>
                <a:lnTo>
                  <a:pt x="0" y="273176"/>
                </a:lnTo>
                <a:lnTo>
                  <a:pt x="163321" y="0"/>
                </a:lnTo>
                <a:lnTo>
                  <a:pt x="220980" y="14732"/>
                </a:lnTo>
              </a:path>
            </a:pathLst>
          </a:custGeom>
          <a:ln w="12700">
            <a:solidFill>
              <a:srgbClr val="000000"/>
            </a:solidFill>
          </a:ln>
        </p:spPr>
        <p:txBody>
          <a:bodyPr wrap="square" lIns="0" tIns="0" rIns="0" bIns="0" rtlCol="0">
            <a:noAutofit/>
          </a:bodyPr>
          <a:lstStyle/>
          <a:p>
            <a:endParaRPr/>
          </a:p>
        </p:txBody>
      </p:sp>
      <p:sp>
        <p:nvSpPr>
          <p:cNvPr id="148" name="object 148"/>
          <p:cNvSpPr/>
          <p:nvPr/>
        </p:nvSpPr>
        <p:spPr>
          <a:xfrm>
            <a:off x="8386572" y="1383791"/>
            <a:ext cx="192150" cy="195072"/>
          </a:xfrm>
          <a:custGeom>
            <a:avLst/>
            <a:gdLst/>
            <a:ahLst/>
            <a:cxnLst/>
            <a:rect l="l" t="t" r="r" b="b"/>
            <a:pathLst>
              <a:path w="192150" h="195072">
                <a:moveTo>
                  <a:pt x="129667" y="151130"/>
                </a:moveTo>
                <a:lnTo>
                  <a:pt x="115316" y="121920"/>
                </a:lnTo>
                <a:lnTo>
                  <a:pt x="115316" y="97536"/>
                </a:lnTo>
                <a:lnTo>
                  <a:pt x="129667" y="87757"/>
                </a:lnTo>
                <a:lnTo>
                  <a:pt x="163322" y="87757"/>
                </a:lnTo>
                <a:lnTo>
                  <a:pt x="182499" y="82931"/>
                </a:lnTo>
                <a:lnTo>
                  <a:pt x="187325" y="77978"/>
                </a:lnTo>
                <a:lnTo>
                  <a:pt x="192150" y="68325"/>
                </a:lnTo>
                <a:lnTo>
                  <a:pt x="187325" y="63373"/>
                </a:lnTo>
                <a:lnTo>
                  <a:pt x="177673" y="58547"/>
                </a:lnTo>
                <a:lnTo>
                  <a:pt x="153670" y="53594"/>
                </a:lnTo>
                <a:lnTo>
                  <a:pt x="168148" y="53594"/>
                </a:lnTo>
                <a:lnTo>
                  <a:pt x="182499" y="43942"/>
                </a:lnTo>
                <a:lnTo>
                  <a:pt x="187325" y="38988"/>
                </a:lnTo>
                <a:lnTo>
                  <a:pt x="192150" y="34162"/>
                </a:lnTo>
                <a:lnTo>
                  <a:pt x="192150" y="29210"/>
                </a:lnTo>
                <a:lnTo>
                  <a:pt x="182499" y="24384"/>
                </a:lnTo>
                <a:lnTo>
                  <a:pt x="168148" y="24384"/>
                </a:lnTo>
                <a:lnTo>
                  <a:pt x="148844" y="29210"/>
                </a:lnTo>
                <a:lnTo>
                  <a:pt x="158496" y="24384"/>
                </a:lnTo>
                <a:lnTo>
                  <a:pt x="168148" y="14605"/>
                </a:lnTo>
                <a:lnTo>
                  <a:pt x="168148" y="4825"/>
                </a:lnTo>
                <a:lnTo>
                  <a:pt x="163322" y="0"/>
                </a:lnTo>
                <a:lnTo>
                  <a:pt x="158496" y="0"/>
                </a:lnTo>
                <a:lnTo>
                  <a:pt x="124841" y="4825"/>
                </a:lnTo>
                <a:lnTo>
                  <a:pt x="67182" y="19558"/>
                </a:lnTo>
                <a:lnTo>
                  <a:pt x="52831" y="24384"/>
                </a:lnTo>
                <a:lnTo>
                  <a:pt x="52831" y="29210"/>
                </a:lnTo>
                <a:lnTo>
                  <a:pt x="57657" y="53594"/>
                </a:lnTo>
                <a:lnTo>
                  <a:pt x="62356" y="82931"/>
                </a:lnTo>
                <a:lnTo>
                  <a:pt x="67182" y="102362"/>
                </a:lnTo>
                <a:lnTo>
                  <a:pt x="62356" y="112141"/>
                </a:lnTo>
                <a:lnTo>
                  <a:pt x="9525" y="126746"/>
                </a:lnTo>
                <a:lnTo>
                  <a:pt x="0" y="126746"/>
                </a:lnTo>
                <a:lnTo>
                  <a:pt x="0" y="180467"/>
                </a:lnTo>
                <a:lnTo>
                  <a:pt x="38353" y="170687"/>
                </a:lnTo>
                <a:lnTo>
                  <a:pt x="72008" y="160909"/>
                </a:lnTo>
                <a:lnTo>
                  <a:pt x="86486" y="156083"/>
                </a:lnTo>
                <a:lnTo>
                  <a:pt x="86486" y="160909"/>
                </a:lnTo>
                <a:lnTo>
                  <a:pt x="96011" y="180467"/>
                </a:lnTo>
                <a:lnTo>
                  <a:pt x="100837" y="190246"/>
                </a:lnTo>
                <a:lnTo>
                  <a:pt x="115316" y="195072"/>
                </a:lnTo>
                <a:lnTo>
                  <a:pt x="139319" y="190246"/>
                </a:lnTo>
                <a:lnTo>
                  <a:pt x="139319" y="175513"/>
                </a:lnTo>
                <a:lnTo>
                  <a:pt x="129667" y="151130"/>
                </a:lnTo>
                <a:close/>
              </a:path>
            </a:pathLst>
          </a:custGeom>
          <a:solidFill>
            <a:srgbClr val="FFDFC0"/>
          </a:solidFill>
        </p:spPr>
        <p:txBody>
          <a:bodyPr wrap="square" lIns="0" tIns="0" rIns="0" bIns="0" rtlCol="0">
            <a:noAutofit/>
          </a:bodyPr>
          <a:lstStyle/>
          <a:p>
            <a:endParaRPr/>
          </a:p>
        </p:txBody>
      </p:sp>
      <p:sp>
        <p:nvSpPr>
          <p:cNvPr id="149" name="object 149"/>
          <p:cNvSpPr/>
          <p:nvPr/>
        </p:nvSpPr>
        <p:spPr>
          <a:xfrm>
            <a:off x="8386572" y="1383791"/>
            <a:ext cx="192150" cy="195072"/>
          </a:xfrm>
          <a:custGeom>
            <a:avLst/>
            <a:gdLst/>
            <a:ahLst/>
            <a:cxnLst/>
            <a:rect l="l" t="t" r="r" b="b"/>
            <a:pathLst>
              <a:path w="192150" h="195072">
                <a:moveTo>
                  <a:pt x="9525" y="126746"/>
                </a:moveTo>
                <a:lnTo>
                  <a:pt x="62356" y="112141"/>
                </a:lnTo>
                <a:lnTo>
                  <a:pt x="67182" y="102362"/>
                </a:lnTo>
                <a:lnTo>
                  <a:pt x="62356" y="82931"/>
                </a:lnTo>
                <a:lnTo>
                  <a:pt x="57657" y="53594"/>
                </a:lnTo>
                <a:lnTo>
                  <a:pt x="52831" y="29210"/>
                </a:lnTo>
                <a:lnTo>
                  <a:pt x="52831" y="24384"/>
                </a:lnTo>
                <a:lnTo>
                  <a:pt x="67182" y="19558"/>
                </a:lnTo>
                <a:lnTo>
                  <a:pt x="124841" y="4825"/>
                </a:lnTo>
                <a:lnTo>
                  <a:pt x="158496" y="0"/>
                </a:lnTo>
                <a:lnTo>
                  <a:pt x="163322" y="0"/>
                </a:lnTo>
                <a:lnTo>
                  <a:pt x="168148" y="4825"/>
                </a:lnTo>
                <a:lnTo>
                  <a:pt x="168148" y="14605"/>
                </a:lnTo>
                <a:lnTo>
                  <a:pt x="158496" y="24384"/>
                </a:lnTo>
                <a:lnTo>
                  <a:pt x="148844" y="29210"/>
                </a:lnTo>
                <a:lnTo>
                  <a:pt x="168148" y="24384"/>
                </a:lnTo>
                <a:lnTo>
                  <a:pt x="182499" y="24384"/>
                </a:lnTo>
                <a:lnTo>
                  <a:pt x="192150" y="29210"/>
                </a:lnTo>
                <a:lnTo>
                  <a:pt x="192150" y="34162"/>
                </a:lnTo>
                <a:lnTo>
                  <a:pt x="187325" y="38988"/>
                </a:lnTo>
                <a:lnTo>
                  <a:pt x="182499" y="43942"/>
                </a:lnTo>
                <a:lnTo>
                  <a:pt x="168148" y="53594"/>
                </a:lnTo>
                <a:lnTo>
                  <a:pt x="153670" y="53594"/>
                </a:lnTo>
                <a:lnTo>
                  <a:pt x="177673" y="58547"/>
                </a:lnTo>
                <a:lnTo>
                  <a:pt x="187325" y="63373"/>
                </a:lnTo>
                <a:lnTo>
                  <a:pt x="192150" y="68325"/>
                </a:lnTo>
                <a:lnTo>
                  <a:pt x="187325" y="77978"/>
                </a:lnTo>
                <a:lnTo>
                  <a:pt x="182499" y="82931"/>
                </a:lnTo>
                <a:lnTo>
                  <a:pt x="163322" y="87757"/>
                </a:lnTo>
                <a:lnTo>
                  <a:pt x="148844" y="87757"/>
                </a:lnTo>
                <a:lnTo>
                  <a:pt x="129667" y="87757"/>
                </a:lnTo>
                <a:lnTo>
                  <a:pt x="115316" y="97536"/>
                </a:lnTo>
                <a:lnTo>
                  <a:pt x="115316" y="102362"/>
                </a:lnTo>
                <a:lnTo>
                  <a:pt x="115316" y="121920"/>
                </a:lnTo>
                <a:lnTo>
                  <a:pt x="129667" y="151130"/>
                </a:lnTo>
                <a:lnTo>
                  <a:pt x="139319" y="175513"/>
                </a:lnTo>
                <a:lnTo>
                  <a:pt x="139319" y="190246"/>
                </a:lnTo>
                <a:lnTo>
                  <a:pt x="115316" y="195072"/>
                </a:lnTo>
                <a:lnTo>
                  <a:pt x="100837" y="190246"/>
                </a:lnTo>
                <a:lnTo>
                  <a:pt x="96011" y="180467"/>
                </a:lnTo>
                <a:lnTo>
                  <a:pt x="86486" y="160909"/>
                </a:lnTo>
                <a:lnTo>
                  <a:pt x="86486" y="156083"/>
                </a:lnTo>
                <a:lnTo>
                  <a:pt x="72008" y="160909"/>
                </a:lnTo>
                <a:lnTo>
                  <a:pt x="38353" y="170687"/>
                </a:lnTo>
                <a:lnTo>
                  <a:pt x="0" y="180467"/>
                </a:lnTo>
                <a:lnTo>
                  <a:pt x="0" y="126746"/>
                </a:lnTo>
                <a:lnTo>
                  <a:pt x="9525" y="126746"/>
                </a:lnTo>
              </a:path>
            </a:pathLst>
          </a:custGeom>
          <a:ln w="12700">
            <a:solidFill>
              <a:srgbClr val="000000"/>
            </a:solidFill>
          </a:ln>
        </p:spPr>
        <p:txBody>
          <a:bodyPr wrap="square" lIns="0" tIns="0" rIns="0" bIns="0" rtlCol="0">
            <a:noAutofit/>
          </a:bodyPr>
          <a:lstStyle/>
          <a:p>
            <a:endParaRPr/>
          </a:p>
        </p:txBody>
      </p:sp>
      <p:sp>
        <p:nvSpPr>
          <p:cNvPr id="150" name="object 150"/>
          <p:cNvSpPr/>
          <p:nvPr/>
        </p:nvSpPr>
        <p:spPr>
          <a:xfrm>
            <a:off x="8492236" y="1413003"/>
            <a:ext cx="76835" cy="78105"/>
          </a:xfrm>
          <a:custGeom>
            <a:avLst/>
            <a:gdLst/>
            <a:ahLst/>
            <a:cxnLst/>
            <a:rect l="l" t="t" r="r" b="b"/>
            <a:pathLst>
              <a:path w="76835" h="78105">
                <a:moveTo>
                  <a:pt x="76835" y="0"/>
                </a:moveTo>
                <a:lnTo>
                  <a:pt x="28829" y="39115"/>
                </a:lnTo>
                <a:lnTo>
                  <a:pt x="0" y="78105"/>
                </a:lnTo>
              </a:path>
            </a:pathLst>
          </a:custGeom>
          <a:ln w="12700">
            <a:solidFill>
              <a:srgbClr val="000000"/>
            </a:solidFill>
          </a:ln>
        </p:spPr>
        <p:txBody>
          <a:bodyPr wrap="square" lIns="0" tIns="0" rIns="0" bIns="0" rtlCol="0">
            <a:noAutofit/>
          </a:bodyPr>
          <a:lstStyle/>
          <a:p>
            <a:endParaRPr/>
          </a:p>
        </p:txBody>
      </p:sp>
      <p:sp>
        <p:nvSpPr>
          <p:cNvPr id="151" name="object 151"/>
          <p:cNvSpPr/>
          <p:nvPr/>
        </p:nvSpPr>
        <p:spPr>
          <a:xfrm>
            <a:off x="8497062" y="1442340"/>
            <a:ext cx="76835" cy="77977"/>
          </a:xfrm>
          <a:custGeom>
            <a:avLst/>
            <a:gdLst/>
            <a:ahLst/>
            <a:cxnLst/>
            <a:rect l="l" t="t" r="r" b="b"/>
            <a:pathLst>
              <a:path w="76835" h="77977">
                <a:moveTo>
                  <a:pt x="76835" y="0"/>
                </a:moveTo>
                <a:lnTo>
                  <a:pt x="48006" y="0"/>
                </a:lnTo>
                <a:lnTo>
                  <a:pt x="28829" y="58547"/>
                </a:lnTo>
                <a:lnTo>
                  <a:pt x="0" y="77977"/>
                </a:lnTo>
              </a:path>
            </a:pathLst>
          </a:custGeom>
          <a:ln w="12700">
            <a:solidFill>
              <a:srgbClr val="000000"/>
            </a:solidFill>
          </a:ln>
        </p:spPr>
        <p:txBody>
          <a:bodyPr wrap="square" lIns="0" tIns="0" rIns="0" bIns="0" rtlCol="0">
            <a:noAutofit/>
          </a:bodyPr>
          <a:lstStyle/>
          <a:p>
            <a:endParaRPr/>
          </a:p>
        </p:txBody>
      </p:sp>
      <p:sp>
        <p:nvSpPr>
          <p:cNvPr id="152" name="object 152"/>
          <p:cNvSpPr/>
          <p:nvPr/>
        </p:nvSpPr>
        <p:spPr>
          <a:xfrm>
            <a:off x="7569835" y="1891029"/>
            <a:ext cx="456438" cy="487680"/>
          </a:xfrm>
          <a:custGeom>
            <a:avLst/>
            <a:gdLst/>
            <a:ahLst/>
            <a:cxnLst/>
            <a:rect l="l" t="t" r="r" b="b"/>
            <a:pathLst>
              <a:path w="456438" h="487680">
                <a:moveTo>
                  <a:pt x="0" y="419354"/>
                </a:moveTo>
                <a:lnTo>
                  <a:pt x="0" y="443738"/>
                </a:lnTo>
                <a:lnTo>
                  <a:pt x="14350" y="477900"/>
                </a:lnTo>
                <a:lnTo>
                  <a:pt x="62484" y="482727"/>
                </a:lnTo>
                <a:lnTo>
                  <a:pt x="91312" y="487680"/>
                </a:lnTo>
                <a:lnTo>
                  <a:pt x="139318" y="472948"/>
                </a:lnTo>
                <a:lnTo>
                  <a:pt x="187325" y="414528"/>
                </a:lnTo>
                <a:lnTo>
                  <a:pt x="254635" y="346202"/>
                </a:lnTo>
                <a:lnTo>
                  <a:pt x="292988" y="331597"/>
                </a:lnTo>
                <a:lnTo>
                  <a:pt x="317118" y="263271"/>
                </a:lnTo>
                <a:lnTo>
                  <a:pt x="355473" y="209677"/>
                </a:lnTo>
                <a:lnTo>
                  <a:pt x="403478" y="160909"/>
                </a:lnTo>
                <a:lnTo>
                  <a:pt x="422782" y="126746"/>
                </a:lnTo>
                <a:lnTo>
                  <a:pt x="456438" y="73152"/>
                </a:lnTo>
                <a:lnTo>
                  <a:pt x="417956" y="48768"/>
                </a:lnTo>
                <a:lnTo>
                  <a:pt x="374776" y="34036"/>
                </a:lnTo>
                <a:lnTo>
                  <a:pt x="341122" y="14605"/>
                </a:lnTo>
                <a:lnTo>
                  <a:pt x="312292" y="0"/>
                </a:lnTo>
                <a:lnTo>
                  <a:pt x="268986" y="34036"/>
                </a:lnTo>
                <a:lnTo>
                  <a:pt x="244982" y="73152"/>
                </a:lnTo>
                <a:lnTo>
                  <a:pt x="225805" y="116967"/>
                </a:lnTo>
                <a:lnTo>
                  <a:pt x="220979" y="151130"/>
                </a:lnTo>
                <a:lnTo>
                  <a:pt x="153669" y="224282"/>
                </a:lnTo>
                <a:lnTo>
                  <a:pt x="81661" y="307213"/>
                </a:lnTo>
                <a:lnTo>
                  <a:pt x="38480" y="375412"/>
                </a:lnTo>
                <a:lnTo>
                  <a:pt x="0" y="419354"/>
                </a:lnTo>
                <a:close/>
              </a:path>
            </a:pathLst>
          </a:custGeom>
          <a:solidFill>
            <a:srgbClr val="9F9F9F"/>
          </a:solidFill>
        </p:spPr>
        <p:txBody>
          <a:bodyPr wrap="square" lIns="0" tIns="0" rIns="0" bIns="0" rtlCol="0">
            <a:noAutofit/>
          </a:bodyPr>
          <a:lstStyle/>
          <a:p>
            <a:endParaRPr/>
          </a:p>
        </p:txBody>
      </p:sp>
      <p:sp>
        <p:nvSpPr>
          <p:cNvPr id="153" name="object 153"/>
          <p:cNvSpPr/>
          <p:nvPr/>
        </p:nvSpPr>
        <p:spPr>
          <a:xfrm>
            <a:off x="7569835" y="1891029"/>
            <a:ext cx="456438" cy="487680"/>
          </a:xfrm>
          <a:custGeom>
            <a:avLst/>
            <a:gdLst/>
            <a:ahLst/>
            <a:cxnLst/>
            <a:rect l="l" t="t" r="r" b="b"/>
            <a:pathLst>
              <a:path w="456438" h="487680">
                <a:moveTo>
                  <a:pt x="268986" y="34036"/>
                </a:moveTo>
                <a:lnTo>
                  <a:pt x="244982" y="73152"/>
                </a:lnTo>
                <a:lnTo>
                  <a:pt x="225805" y="116967"/>
                </a:lnTo>
                <a:lnTo>
                  <a:pt x="220979" y="151130"/>
                </a:lnTo>
                <a:lnTo>
                  <a:pt x="153669" y="224282"/>
                </a:lnTo>
                <a:lnTo>
                  <a:pt x="81661" y="307213"/>
                </a:lnTo>
                <a:lnTo>
                  <a:pt x="38480" y="375412"/>
                </a:lnTo>
                <a:lnTo>
                  <a:pt x="0" y="419354"/>
                </a:lnTo>
                <a:lnTo>
                  <a:pt x="0" y="443738"/>
                </a:lnTo>
                <a:lnTo>
                  <a:pt x="14350" y="477900"/>
                </a:lnTo>
                <a:lnTo>
                  <a:pt x="62484" y="482727"/>
                </a:lnTo>
                <a:lnTo>
                  <a:pt x="91312" y="487680"/>
                </a:lnTo>
                <a:lnTo>
                  <a:pt x="139318" y="472948"/>
                </a:lnTo>
                <a:lnTo>
                  <a:pt x="187325" y="414528"/>
                </a:lnTo>
                <a:lnTo>
                  <a:pt x="254635" y="346202"/>
                </a:lnTo>
                <a:lnTo>
                  <a:pt x="292988" y="331597"/>
                </a:lnTo>
                <a:lnTo>
                  <a:pt x="317118" y="263271"/>
                </a:lnTo>
                <a:lnTo>
                  <a:pt x="355473" y="209677"/>
                </a:lnTo>
                <a:lnTo>
                  <a:pt x="403478" y="160909"/>
                </a:lnTo>
                <a:lnTo>
                  <a:pt x="422782" y="126746"/>
                </a:lnTo>
                <a:lnTo>
                  <a:pt x="456438" y="73152"/>
                </a:lnTo>
                <a:lnTo>
                  <a:pt x="417956" y="48768"/>
                </a:lnTo>
                <a:lnTo>
                  <a:pt x="374776" y="34036"/>
                </a:lnTo>
                <a:lnTo>
                  <a:pt x="341122" y="14605"/>
                </a:lnTo>
                <a:lnTo>
                  <a:pt x="312292" y="0"/>
                </a:lnTo>
                <a:lnTo>
                  <a:pt x="268986" y="34036"/>
                </a:lnTo>
              </a:path>
            </a:pathLst>
          </a:custGeom>
          <a:ln w="12700">
            <a:solidFill>
              <a:srgbClr val="000000"/>
            </a:solidFill>
          </a:ln>
        </p:spPr>
        <p:txBody>
          <a:bodyPr wrap="square" lIns="0" tIns="0" rIns="0" bIns="0" rtlCol="0">
            <a:noAutofit/>
          </a:bodyPr>
          <a:lstStyle/>
          <a:p>
            <a:endParaRPr/>
          </a:p>
        </p:txBody>
      </p:sp>
      <p:sp>
        <p:nvSpPr>
          <p:cNvPr id="154" name="object 154"/>
          <p:cNvSpPr/>
          <p:nvPr/>
        </p:nvSpPr>
        <p:spPr>
          <a:xfrm>
            <a:off x="7560183" y="2305559"/>
            <a:ext cx="384428" cy="136525"/>
          </a:xfrm>
          <a:custGeom>
            <a:avLst/>
            <a:gdLst/>
            <a:ahLst/>
            <a:cxnLst/>
            <a:rect l="l" t="t" r="r" b="b"/>
            <a:pathLst>
              <a:path w="384428" h="136525">
                <a:moveTo>
                  <a:pt x="96138" y="102362"/>
                </a:moveTo>
                <a:lnTo>
                  <a:pt x="110489" y="87756"/>
                </a:lnTo>
                <a:lnTo>
                  <a:pt x="144144" y="107187"/>
                </a:lnTo>
                <a:lnTo>
                  <a:pt x="220979" y="121919"/>
                </a:lnTo>
                <a:lnTo>
                  <a:pt x="293115" y="131571"/>
                </a:lnTo>
                <a:lnTo>
                  <a:pt x="326770" y="136525"/>
                </a:lnTo>
                <a:lnTo>
                  <a:pt x="365125" y="121919"/>
                </a:lnTo>
                <a:lnTo>
                  <a:pt x="379602" y="107187"/>
                </a:lnTo>
                <a:lnTo>
                  <a:pt x="384428" y="77977"/>
                </a:lnTo>
                <a:lnTo>
                  <a:pt x="379602" y="53593"/>
                </a:lnTo>
                <a:lnTo>
                  <a:pt x="365125" y="38988"/>
                </a:lnTo>
                <a:lnTo>
                  <a:pt x="331469" y="24383"/>
                </a:lnTo>
                <a:lnTo>
                  <a:pt x="230631" y="24383"/>
                </a:lnTo>
                <a:lnTo>
                  <a:pt x="192150" y="29209"/>
                </a:lnTo>
                <a:lnTo>
                  <a:pt x="163321" y="29209"/>
                </a:lnTo>
                <a:lnTo>
                  <a:pt x="115315" y="24383"/>
                </a:lnTo>
                <a:lnTo>
                  <a:pt x="38480" y="0"/>
                </a:lnTo>
                <a:lnTo>
                  <a:pt x="14477" y="24383"/>
                </a:lnTo>
                <a:lnTo>
                  <a:pt x="4825" y="53593"/>
                </a:lnTo>
                <a:lnTo>
                  <a:pt x="0" y="92582"/>
                </a:lnTo>
                <a:lnTo>
                  <a:pt x="57657" y="112140"/>
                </a:lnTo>
                <a:lnTo>
                  <a:pt x="96138" y="102362"/>
                </a:lnTo>
                <a:close/>
              </a:path>
            </a:pathLst>
          </a:custGeom>
          <a:solidFill>
            <a:srgbClr val="401F00"/>
          </a:solidFill>
        </p:spPr>
        <p:txBody>
          <a:bodyPr wrap="square" lIns="0" tIns="0" rIns="0" bIns="0" rtlCol="0">
            <a:noAutofit/>
          </a:bodyPr>
          <a:lstStyle/>
          <a:p>
            <a:endParaRPr/>
          </a:p>
        </p:txBody>
      </p:sp>
      <p:sp>
        <p:nvSpPr>
          <p:cNvPr id="155" name="object 155"/>
          <p:cNvSpPr/>
          <p:nvPr/>
        </p:nvSpPr>
        <p:spPr>
          <a:xfrm>
            <a:off x="7560183" y="2305559"/>
            <a:ext cx="384428" cy="136525"/>
          </a:xfrm>
          <a:custGeom>
            <a:avLst/>
            <a:gdLst/>
            <a:ahLst/>
            <a:cxnLst/>
            <a:rect l="l" t="t" r="r" b="b"/>
            <a:pathLst>
              <a:path w="384428" h="136525">
                <a:moveTo>
                  <a:pt x="38480" y="0"/>
                </a:moveTo>
                <a:lnTo>
                  <a:pt x="14477" y="24383"/>
                </a:lnTo>
                <a:lnTo>
                  <a:pt x="4825" y="53593"/>
                </a:lnTo>
                <a:lnTo>
                  <a:pt x="0" y="92582"/>
                </a:lnTo>
                <a:lnTo>
                  <a:pt x="57657" y="112140"/>
                </a:lnTo>
                <a:lnTo>
                  <a:pt x="96138" y="102362"/>
                </a:lnTo>
                <a:lnTo>
                  <a:pt x="110489" y="87756"/>
                </a:lnTo>
                <a:lnTo>
                  <a:pt x="144144" y="107187"/>
                </a:lnTo>
                <a:lnTo>
                  <a:pt x="220979" y="121919"/>
                </a:lnTo>
                <a:lnTo>
                  <a:pt x="293115" y="131571"/>
                </a:lnTo>
                <a:lnTo>
                  <a:pt x="326770" y="136525"/>
                </a:lnTo>
                <a:lnTo>
                  <a:pt x="365125" y="121919"/>
                </a:lnTo>
                <a:lnTo>
                  <a:pt x="379602" y="107187"/>
                </a:lnTo>
                <a:lnTo>
                  <a:pt x="384428" y="77977"/>
                </a:lnTo>
                <a:lnTo>
                  <a:pt x="379602" y="53593"/>
                </a:lnTo>
                <a:lnTo>
                  <a:pt x="365125" y="38988"/>
                </a:lnTo>
                <a:lnTo>
                  <a:pt x="331469" y="24383"/>
                </a:lnTo>
                <a:lnTo>
                  <a:pt x="288289" y="24383"/>
                </a:lnTo>
                <a:lnTo>
                  <a:pt x="230631" y="24383"/>
                </a:lnTo>
                <a:lnTo>
                  <a:pt x="192150" y="29209"/>
                </a:lnTo>
                <a:lnTo>
                  <a:pt x="163321" y="29209"/>
                </a:lnTo>
                <a:lnTo>
                  <a:pt x="115315" y="24383"/>
                </a:lnTo>
                <a:lnTo>
                  <a:pt x="38480" y="0"/>
                </a:lnTo>
              </a:path>
            </a:pathLst>
          </a:custGeom>
          <a:ln w="12699">
            <a:solidFill>
              <a:srgbClr val="000000"/>
            </a:solidFill>
          </a:ln>
        </p:spPr>
        <p:txBody>
          <a:bodyPr wrap="square" lIns="0" tIns="0" rIns="0" bIns="0" rtlCol="0">
            <a:noAutofit/>
          </a:bodyPr>
          <a:lstStyle/>
          <a:p>
            <a:endParaRPr/>
          </a:p>
        </p:txBody>
      </p:sp>
      <p:sp>
        <p:nvSpPr>
          <p:cNvPr id="156" name="object 156"/>
          <p:cNvSpPr/>
          <p:nvPr/>
        </p:nvSpPr>
        <p:spPr>
          <a:xfrm>
            <a:off x="7541007" y="1881252"/>
            <a:ext cx="485267" cy="473075"/>
          </a:xfrm>
          <a:custGeom>
            <a:avLst/>
            <a:gdLst/>
            <a:ahLst/>
            <a:cxnLst/>
            <a:rect l="l" t="t" r="r" b="b"/>
            <a:pathLst>
              <a:path w="485267" h="473075">
                <a:moveTo>
                  <a:pt x="0" y="419353"/>
                </a:moveTo>
                <a:lnTo>
                  <a:pt x="0" y="443738"/>
                </a:lnTo>
                <a:lnTo>
                  <a:pt x="67310" y="463296"/>
                </a:lnTo>
                <a:lnTo>
                  <a:pt x="139319" y="473075"/>
                </a:lnTo>
                <a:lnTo>
                  <a:pt x="192151" y="414527"/>
                </a:lnTo>
                <a:lnTo>
                  <a:pt x="259461" y="341375"/>
                </a:lnTo>
                <a:lnTo>
                  <a:pt x="297815" y="326771"/>
                </a:lnTo>
                <a:lnTo>
                  <a:pt x="321818" y="263271"/>
                </a:lnTo>
                <a:lnTo>
                  <a:pt x="360299" y="209676"/>
                </a:lnTo>
                <a:lnTo>
                  <a:pt x="432308" y="156083"/>
                </a:lnTo>
                <a:lnTo>
                  <a:pt x="485267" y="97536"/>
                </a:lnTo>
                <a:lnTo>
                  <a:pt x="422783" y="73151"/>
                </a:lnTo>
                <a:lnTo>
                  <a:pt x="369951" y="48768"/>
                </a:lnTo>
                <a:lnTo>
                  <a:pt x="345948" y="14604"/>
                </a:lnTo>
                <a:lnTo>
                  <a:pt x="317119" y="0"/>
                </a:lnTo>
                <a:lnTo>
                  <a:pt x="273812" y="34162"/>
                </a:lnTo>
                <a:lnTo>
                  <a:pt x="244983" y="73151"/>
                </a:lnTo>
                <a:lnTo>
                  <a:pt x="230632" y="116966"/>
                </a:lnTo>
                <a:lnTo>
                  <a:pt x="225806" y="151129"/>
                </a:lnTo>
                <a:lnTo>
                  <a:pt x="153670" y="224282"/>
                </a:lnTo>
                <a:lnTo>
                  <a:pt x="81661" y="307213"/>
                </a:lnTo>
                <a:lnTo>
                  <a:pt x="38481" y="375538"/>
                </a:lnTo>
                <a:lnTo>
                  <a:pt x="0" y="419353"/>
                </a:lnTo>
                <a:close/>
              </a:path>
            </a:pathLst>
          </a:custGeom>
          <a:solidFill>
            <a:srgbClr val="9F9F9F"/>
          </a:solidFill>
        </p:spPr>
        <p:txBody>
          <a:bodyPr wrap="square" lIns="0" tIns="0" rIns="0" bIns="0" rtlCol="0">
            <a:noAutofit/>
          </a:bodyPr>
          <a:lstStyle/>
          <a:p>
            <a:endParaRPr/>
          </a:p>
        </p:txBody>
      </p:sp>
      <p:sp>
        <p:nvSpPr>
          <p:cNvPr id="157" name="object 157"/>
          <p:cNvSpPr/>
          <p:nvPr/>
        </p:nvSpPr>
        <p:spPr>
          <a:xfrm>
            <a:off x="7541007" y="1881252"/>
            <a:ext cx="485267" cy="473075"/>
          </a:xfrm>
          <a:custGeom>
            <a:avLst/>
            <a:gdLst/>
            <a:ahLst/>
            <a:cxnLst/>
            <a:rect l="l" t="t" r="r" b="b"/>
            <a:pathLst>
              <a:path w="485267" h="473075">
                <a:moveTo>
                  <a:pt x="273812" y="34162"/>
                </a:moveTo>
                <a:lnTo>
                  <a:pt x="244983" y="73151"/>
                </a:lnTo>
                <a:lnTo>
                  <a:pt x="230632" y="116966"/>
                </a:lnTo>
                <a:lnTo>
                  <a:pt x="225806" y="151129"/>
                </a:lnTo>
                <a:lnTo>
                  <a:pt x="153670" y="224282"/>
                </a:lnTo>
                <a:lnTo>
                  <a:pt x="81661" y="307213"/>
                </a:lnTo>
                <a:lnTo>
                  <a:pt x="38481" y="375538"/>
                </a:lnTo>
                <a:lnTo>
                  <a:pt x="0" y="419353"/>
                </a:lnTo>
                <a:lnTo>
                  <a:pt x="0" y="443738"/>
                </a:lnTo>
                <a:lnTo>
                  <a:pt x="67310" y="463296"/>
                </a:lnTo>
                <a:lnTo>
                  <a:pt x="139319" y="473075"/>
                </a:lnTo>
                <a:lnTo>
                  <a:pt x="192151" y="414527"/>
                </a:lnTo>
                <a:lnTo>
                  <a:pt x="259461" y="341375"/>
                </a:lnTo>
                <a:lnTo>
                  <a:pt x="297815" y="326771"/>
                </a:lnTo>
                <a:lnTo>
                  <a:pt x="321818" y="263271"/>
                </a:lnTo>
                <a:lnTo>
                  <a:pt x="360299" y="209676"/>
                </a:lnTo>
                <a:lnTo>
                  <a:pt x="432308" y="156083"/>
                </a:lnTo>
                <a:lnTo>
                  <a:pt x="485267" y="97536"/>
                </a:lnTo>
                <a:lnTo>
                  <a:pt x="422783" y="73151"/>
                </a:lnTo>
                <a:lnTo>
                  <a:pt x="369951" y="48768"/>
                </a:lnTo>
                <a:lnTo>
                  <a:pt x="345948" y="14604"/>
                </a:lnTo>
                <a:lnTo>
                  <a:pt x="317119" y="0"/>
                </a:lnTo>
                <a:lnTo>
                  <a:pt x="273812" y="34162"/>
                </a:lnTo>
              </a:path>
            </a:pathLst>
          </a:custGeom>
          <a:ln w="12700">
            <a:solidFill>
              <a:srgbClr val="000000"/>
            </a:solidFill>
          </a:ln>
        </p:spPr>
        <p:txBody>
          <a:bodyPr wrap="square" lIns="0" tIns="0" rIns="0" bIns="0" rtlCol="0">
            <a:noAutofit/>
          </a:bodyPr>
          <a:lstStyle/>
          <a:p>
            <a:endParaRPr/>
          </a:p>
        </p:txBody>
      </p:sp>
      <p:sp>
        <p:nvSpPr>
          <p:cNvPr id="158" name="object 158"/>
          <p:cNvSpPr/>
          <p:nvPr/>
        </p:nvSpPr>
        <p:spPr>
          <a:xfrm>
            <a:off x="7507351" y="2320164"/>
            <a:ext cx="408432" cy="136525"/>
          </a:xfrm>
          <a:custGeom>
            <a:avLst/>
            <a:gdLst/>
            <a:ahLst/>
            <a:cxnLst/>
            <a:rect l="l" t="t" r="r" b="b"/>
            <a:pathLst>
              <a:path w="408432" h="136525">
                <a:moveTo>
                  <a:pt x="62484" y="112140"/>
                </a:moveTo>
                <a:lnTo>
                  <a:pt x="100964" y="102362"/>
                </a:lnTo>
                <a:lnTo>
                  <a:pt x="115315" y="87757"/>
                </a:lnTo>
                <a:lnTo>
                  <a:pt x="153797" y="107314"/>
                </a:lnTo>
                <a:lnTo>
                  <a:pt x="235458" y="121920"/>
                </a:lnTo>
                <a:lnTo>
                  <a:pt x="307466" y="131699"/>
                </a:lnTo>
                <a:lnTo>
                  <a:pt x="345948" y="136525"/>
                </a:lnTo>
                <a:lnTo>
                  <a:pt x="384301" y="121920"/>
                </a:lnTo>
                <a:lnTo>
                  <a:pt x="403606" y="107314"/>
                </a:lnTo>
                <a:lnTo>
                  <a:pt x="408432" y="77977"/>
                </a:lnTo>
                <a:lnTo>
                  <a:pt x="398779" y="53594"/>
                </a:lnTo>
                <a:lnTo>
                  <a:pt x="384301" y="38988"/>
                </a:lnTo>
                <a:lnTo>
                  <a:pt x="355473" y="24384"/>
                </a:lnTo>
                <a:lnTo>
                  <a:pt x="307466" y="19431"/>
                </a:lnTo>
                <a:lnTo>
                  <a:pt x="244983" y="19431"/>
                </a:lnTo>
                <a:lnTo>
                  <a:pt x="201802" y="29210"/>
                </a:lnTo>
                <a:lnTo>
                  <a:pt x="172974" y="29210"/>
                </a:lnTo>
                <a:lnTo>
                  <a:pt x="124968" y="19431"/>
                </a:lnTo>
                <a:lnTo>
                  <a:pt x="43307" y="0"/>
                </a:lnTo>
                <a:lnTo>
                  <a:pt x="14477" y="24384"/>
                </a:lnTo>
                <a:lnTo>
                  <a:pt x="4825" y="53594"/>
                </a:lnTo>
                <a:lnTo>
                  <a:pt x="0" y="92583"/>
                </a:lnTo>
                <a:lnTo>
                  <a:pt x="62484" y="112140"/>
                </a:lnTo>
                <a:close/>
              </a:path>
            </a:pathLst>
          </a:custGeom>
          <a:solidFill>
            <a:srgbClr val="5F2F00"/>
          </a:solidFill>
        </p:spPr>
        <p:txBody>
          <a:bodyPr wrap="square" lIns="0" tIns="0" rIns="0" bIns="0" rtlCol="0">
            <a:noAutofit/>
          </a:bodyPr>
          <a:lstStyle/>
          <a:p>
            <a:endParaRPr/>
          </a:p>
        </p:txBody>
      </p:sp>
      <p:sp>
        <p:nvSpPr>
          <p:cNvPr id="159" name="object 159"/>
          <p:cNvSpPr/>
          <p:nvPr/>
        </p:nvSpPr>
        <p:spPr>
          <a:xfrm>
            <a:off x="7507351" y="2320164"/>
            <a:ext cx="408432" cy="136525"/>
          </a:xfrm>
          <a:custGeom>
            <a:avLst/>
            <a:gdLst/>
            <a:ahLst/>
            <a:cxnLst/>
            <a:rect l="l" t="t" r="r" b="b"/>
            <a:pathLst>
              <a:path w="408432" h="136525">
                <a:moveTo>
                  <a:pt x="43307" y="0"/>
                </a:moveTo>
                <a:lnTo>
                  <a:pt x="14477" y="24384"/>
                </a:lnTo>
                <a:lnTo>
                  <a:pt x="4825" y="53594"/>
                </a:lnTo>
                <a:lnTo>
                  <a:pt x="0" y="92583"/>
                </a:lnTo>
                <a:lnTo>
                  <a:pt x="62484" y="112140"/>
                </a:lnTo>
                <a:lnTo>
                  <a:pt x="100964" y="102362"/>
                </a:lnTo>
                <a:lnTo>
                  <a:pt x="115315" y="87757"/>
                </a:lnTo>
                <a:lnTo>
                  <a:pt x="153797" y="107314"/>
                </a:lnTo>
                <a:lnTo>
                  <a:pt x="235458" y="121920"/>
                </a:lnTo>
                <a:lnTo>
                  <a:pt x="307466" y="131699"/>
                </a:lnTo>
                <a:lnTo>
                  <a:pt x="345948" y="136525"/>
                </a:lnTo>
                <a:lnTo>
                  <a:pt x="384301" y="121920"/>
                </a:lnTo>
                <a:lnTo>
                  <a:pt x="403606" y="107314"/>
                </a:lnTo>
                <a:lnTo>
                  <a:pt x="408432" y="77977"/>
                </a:lnTo>
                <a:lnTo>
                  <a:pt x="398779" y="53594"/>
                </a:lnTo>
                <a:lnTo>
                  <a:pt x="384301" y="38988"/>
                </a:lnTo>
                <a:lnTo>
                  <a:pt x="355473" y="24384"/>
                </a:lnTo>
                <a:lnTo>
                  <a:pt x="307466" y="19431"/>
                </a:lnTo>
                <a:lnTo>
                  <a:pt x="244983" y="19431"/>
                </a:lnTo>
                <a:lnTo>
                  <a:pt x="201802" y="29210"/>
                </a:lnTo>
                <a:lnTo>
                  <a:pt x="172974" y="29210"/>
                </a:lnTo>
                <a:lnTo>
                  <a:pt x="124968" y="19431"/>
                </a:lnTo>
                <a:lnTo>
                  <a:pt x="43307" y="0"/>
                </a:lnTo>
              </a:path>
            </a:pathLst>
          </a:custGeom>
          <a:ln w="12700">
            <a:solidFill>
              <a:srgbClr val="000000"/>
            </a:solidFill>
          </a:ln>
        </p:spPr>
        <p:txBody>
          <a:bodyPr wrap="square" lIns="0" tIns="0" rIns="0" bIns="0" rtlCol="0">
            <a:noAutofit/>
          </a:bodyPr>
          <a:lstStyle/>
          <a:p>
            <a:endParaRPr/>
          </a:p>
        </p:txBody>
      </p:sp>
      <p:sp>
        <p:nvSpPr>
          <p:cNvPr id="160" name="object 160"/>
          <p:cNvSpPr/>
          <p:nvPr/>
        </p:nvSpPr>
        <p:spPr>
          <a:xfrm>
            <a:off x="7776465" y="1495933"/>
            <a:ext cx="658113" cy="590168"/>
          </a:xfrm>
          <a:custGeom>
            <a:avLst/>
            <a:gdLst/>
            <a:ahLst/>
            <a:cxnLst/>
            <a:rect l="l" t="t" r="r" b="b"/>
            <a:pathLst>
              <a:path w="658113" h="590168">
                <a:moveTo>
                  <a:pt x="321817" y="355980"/>
                </a:moveTo>
                <a:lnTo>
                  <a:pt x="340994" y="297561"/>
                </a:lnTo>
                <a:lnTo>
                  <a:pt x="350646" y="234061"/>
                </a:lnTo>
                <a:lnTo>
                  <a:pt x="355472" y="160908"/>
                </a:lnTo>
                <a:lnTo>
                  <a:pt x="408305" y="146303"/>
                </a:lnTo>
                <a:lnTo>
                  <a:pt x="542797" y="126872"/>
                </a:lnTo>
                <a:lnTo>
                  <a:pt x="648462" y="97536"/>
                </a:lnTo>
                <a:lnTo>
                  <a:pt x="648462" y="19557"/>
                </a:lnTo>
                <a:lnTo>
                  <a:pt x="658113" y="0"/>
                </a:lnTo>
                <a:lnTo>
                  <a:pt x="614934" y="0"/>
                </a:lnTo>
                <a:lnTo>
                  <a:pt x="571627" y="19557"/>
                </a:lnTo>
                <a:lnTo>
                  <a:pt x="533145" y="24383"/>
                </a:lnTo>
                <a:lnTo>
                  <a:pt x="494791" y="34162"/>
                </a:lnTo>
                <a:lnTo>
                  <a:pt x="451485" y="34162"/>
                </a:lnTo>
                <a:lnTo>
                  <a:pt x="379476" y="53720"/>
                </a:lnTo>
                <a:lnTo>
                  <a:pt x="326643" y="48767"/>
                </a:lnTo>
                <a:lnTo>
                  <a:pt x="268986" y="58546"/>
                </a:lnTo>
                <a:lnTo>
                  <a:pt x="201675" y="78104"/>
                </a:lnTo>
                <a:lnTo>
                  <a:pt x="163322" y="107314"/>
                </a:lnTo>
                <a:lnTo>
                  <a:pt x="153670" y="141477"/>
                </a:lnTo>
                <a:lnTo>
                  <a:pt x="163322" y="185292"/>
                </a:lnTo>
                <a:lnTo>
                  <a:pt x="153670" y="219455"/>
                </a:lnTo>
                <a:lnTo>
                  <a:pt x="139319" y="243839"/>
                </a:lnTo>
                <a:lnTo>
                  <a:pt x="115188" y="278002"/>
                </a:lnTo>
                <a:lnTo>
                  <a:pt x="76835" y="307213"/>
                </a:lnTo>
                <a:lnTo>
                  <a:pt x="52832" y="321944"/>
                </a:lnTo>
                <a:lnTo>
                  <a:pt x="0" y="346328"/>
                </a:lnTo>
                <a:lnTo>
                  <a:pt x="14350" y="390143"/>
                </a:lnTo>
                <a:lnTo>
                  <a:pt x="62357" y="414527"/>
                </a:lnTo>
                <a:lnTo>
                  <a:pt x="100837" y="429132"/>
                </a:lnTo>
                <a:lnTo>
                  <a:pt x="124840" y="463295"/>
                </a:lnTo>
                <a:lnTo>
                  <a:pt x="148844" y="517016"/>
                </a:lnTo>
                <a:lnTo>
                  <a:pt x="163322" y="551052"/>
                </a:lnTo>
                <a:lnTo>
                  <a:pt x="192150" y="570611"/>
                </a:lnTo>
                <a:lnTo>
                  <a:pt x="230505" y="590168"/>
                </a:lnTo>
                <a:lnTo>
                  <a:pt x="235331" y="560831"/>
                </a:lnTo>
                <a:lnTo>
                  <a:pt x="259334" y="482853"/>
                </a:lnTo>
                <a:lnTo>
                  <a:pt x="297814" y="419480"/>
                </a:lnTo>
                <a:lnTo>
                  <a:pt x="321817" y="355980"/>
                </a:lnTo>
                <a:close/>
              </a:path>
            </a:pathLst>
          </a:custGeom>
          <a:solidFill>
            <a:srgbClr val="0000FF"/>
          </a:solidFill>
        </p:spPr>
        <p:txBody>
          <a:bodyPr wrap="square" lIns="0" tIns="0" rIns="0" bIns="0" rtlCol="0">
            <a:noAutofit/>
          </a:bodyPr>
          <a:lstStyle/>
          <a:p>
            <a:endParaRPr/>
          </a:p>
        </p:txBody>
      </p:sp>
      <p:sp>
        <p:nvSpPr>
          <p:cNvPr id="161" name="object 161"/>
          <p:cNvSpPr/>
          <p:nvPr/>
        </p:nvSpPr>
        <p:spPr>
          <a:xfrm>
            <a:off x="7776465" y="1495933"/>
            <a:ext cx="658113" cy="590168"/>
          </a:xfrm>
          <a:custGeom>
            <a:avLst/>
            <a:gdLst/>
            <a:ahLst/>
            <a:cxnLst/>
            <a:rect l="l" t="t" r="r" b="b"/>
            <a:pathLst>
              <a:path w="658113" h="590168">
                <a:moveTo>
                  <a:pt x="163322" y="185292"/>
                </a:moveTo>
                <a:lnTo>
                  <a:pt x="153670" y="219455"/>
                </a:lnTo>
                <a:lnTo>
                  <a:pt x="139319" y="243839"/>
                </a:lnTo>
                <a:lnTo>
                  <a:pt x="115188" y="278002"/>
                </a:lnTo>
                <a:lnTo>
                  <a:pt x="76835" y="307213"/>
                </a:lnTo>
                <a:lnTo>
                  <a:pt x="52832" y="321944"/>
                </a:lnTo>
                <a:lnTo>
                  <a:pt x="0" y="346328"/>
                </a:lnTo>
                <a:lnTo>
                  <a:pt x="14350" y="390143"/>
                </a:lnTo>
                <a:lnTo>
                  <a:pt x="62357" y="414527"/>
                </a:lnTo>
                <a:lnTo>
                  <a:pt x="100837" y="429132"/>
                </a:lnTo>
                <a:lnTo>
                  <a:pt x="124840" y="463295"/>
                </a:lnTo>
                <a:lnTo>
                  <a:pt x="148844" y="517016"/>
                </a:lnTo>
                <a:lnTo>
                  <a:pt x="163322" y="551052"/>
                </a:lnTo>
                <a:lnTo>
                  <a:pt x="192150" y="570611"/>
                </a:lnTo>
                <a:lnTo>
                  <a:pt x="230505" y="590168"/>
                </a:lnTo>
                <a:lnTo>
                  <a:pt x="235331" y="560831"/>
                </a:lnTo>
                <a:lnTo>
                  <a:pt x="259334" y="482853"/>
                </a:lnTo>
                <a:lnTo>
                  <a:pt x="297814" y="419480"/>
                </a:lnTo>
                <a:lnTo>
                  <a:pt x="321817" y="355980"/>
                </a:lnTo>
                <a:lnTo>
                  <a:pt x="340994" y="297561"/>
                </a:lnTo>
                <a:lnTo>
                  <a:pt x="350646" y="234061"/>
                </a:lnTo>
                <a:lnTo>
                  <a:pt x="355472" y="160908"/>
                </a:lnTo>
                <a:lnTo>
                  <a:pt x="408305" y="146303"/>
                </a:lnTo>
                <a:lnTo>
                  <a:pt x="542797" y="126872"/>
                </a:lnTo>
                <a:lnTo>
                  <a:pt x="648462" y="97536"/>
                </a:lnTo>
                <a:lnTo>
                  <a:pt x="648462" y="68325"/>
                </a:lnTo>
                <a:lnTo>
                  <a:pt x="648462" y="19557"/>
                </a:lnTo>
                <a:lnTo>
                  <a:pt x="658113" y="0"/>
                </a:lnTo>
                <a:lnTo>
                  <a:pt x="614934" y="0"/>
                </a:lnTo>
                <a:lnTo>
                  <a:pt x="571627" y="19557"/>
                </a:lnTo>
                <a:lnTo>
                  <a:pt x="533145" y="24383"/>
                </a:lnTo>
                <a:lnTo>
                  <a:pt x="494791" y="34162"/>
                </a:lnTo>
                <a:lnTo>
                  <a:pt x="451485" y="34162"/>
                </a:lnTo>
                <a:lnTo>
                  <a:pt x="379476" y="53720"/>
                </a:lnTo>
                <a:lnTo>
                  <a:pt x="326643" y="48767"/>
                </a:lnTo>
                <a:lnTo>
                  <a:pt x="268986" y="58546"/>
                </a:lnTo>
                <a:lnTo>
                  <a:pt x="201675" y="78104"/>
                </a:lnTo>
                <a:lnTo>
                  <a:pt x="163322" y="107314"/>
                </a:lnTo>
                <a:lnTo>
                  <a:pt x="153670" y="141477"/>
                </a:lnTo>
                <a:lnTo>
                  <a:pt x="163322" y="185292"/>
                </a:lnTo>
              </a:path>
            </a:pathLst>
          </a:custGeom>
          <a:ln w="12699">
            <a:solidFill>
              <a:srgbClr val="000000"/>
            </a:solidFill>
          </a:ln>
        </p:spPr>
        <p:txBody>
          <a:bodyPr wrap="square" lIns="0" tIns="0" rIns="0" bIns="0" rtlCol="0">
            <a:noAutofit/>
          </a:bodyPr>
          <a:lstStyle/>
          <a:p>
            <a:endParaRPr/>
          </a:p>
        </p:txBody>
      </p:sp>
      <p:sp>
        <p:nvSpPr>
          <p:cNvPr id="162" name="object 162"/>
          <p:cNvSpPr/>
          <p:nvPr/>
        </p:nvSpPr>
        <p:spPr>
          <a:xfrm>
            <a:off x="8103109" y="1613028"/>
            <a:ext cx="124841" cy="346201"/>
          </a:xfrm>
          <a:custGeom>
            <a:avLst/>
            <a:gdLst/>
            <a:ahLst/>
            <a:cxnLst/>
            <a:rect l="l" t="t" r="r" b="b"/>
            <a:pathLst>
              <a:path w="124841" h="346201">
                <a:moveTo>
                  <a:pt x="19176" y="43814"/>
                </a:moveTo>
                <a:lnTo>
                  <a:pt x="4825" y="112140"/>
                </a:lnTo>
                <a:lnTo>
                  <a:pt x="0" y="175513"/>
                </a:lnTo>
                <a:lnTo>
                  <a:pt x="0" y="214502"/>
                </a:lnTo>
                <a:lnTo>
                  <a:pt x="19176" y="278002"/>
                </a:lnTo>
                <a:lnTo>
                  <a:pt x="57658" y="316992"/>
                </a:lnTo>
                <a:lnTo>
                  <a:pt x="96012" y="346201"/>
                </a:lnTo>
                <a:lnTo>
                  <a:pt x="124841" y="273050"/>
                </a:lnTo>
                <a:lnTo>
                  <a:pt x="124841" y="224282"/>
                </a:lnTo>
                <a:lnTo>
                  <a:pt x="105664" y="156083"/>
                </a:lnTo>
                <a:lnTo>
                  <a:pt x="72009" y="73151"/>
                </a:lnTo>
                <a:lnTo>
                  <a:pt x="57658" y="34162"/>
                </a:lnTo>
                <a:lnTo>
                  <a:pt x="38353" y="0"/>
                </a:lnTo>
                <a:lnTo>
                  <a:pt x="0" y="9778"/>
                </a:lnTo>
                <a:lnTo>
                  <a:pt x="19176" y="43814"/>
                </a:lnTo>
                <a:close/>
              </a:path>
            </a:pathLst>
          </a:custGeom>
          <a:solidFill>
            <a:srgbClr val="FF0000"/>
          </a:solidFill>
        </p:spPr>
        <p:txBody>
          <a:bodyPr wrap="square" lIns="0" tIns="0" rIns="0" bIns="0" rtlCol="0">
            <a:noAutofit/>
          </a:bodyPr>
          <a:lstStyle/>
          <a:p>
            <a:endParaRPr/>
          </a:p>
        </p:txBody>
      </p:sp>
      <p:sp>
        <p:nvSpPr>
          <p:cNvPr id="163" name="object 163"/>
          <p:cNvSpPr/>
          <p:nvPr/>
        </p:nvSpPr>
        <p:spPr>
          <a:xfrm>
            <a:off x="8103109" y="1613028"/>
            <a:ext cx="124841" cy="346201"/>
          </a:xfrm>
          <a:custGeom>
            <a:avLst/>
            <a:gdLst/>
            <a:ahLst/>
            <a:cxnLst/>
            <a:rect l="l" t="t" r="r" b="b"/>
            <a:pathLst>
              <a:path w="124841" h="346201">
                <a:moveTo>
                  <a:pt x="19176" y="43814"/>
                </a:moveTo>
                <a:lnTo>
                  <a:pt x="4825" y="112140"/>
                </a:lnTo>
                <a:lnTo>
                  <a:pt x="0" y="175513"/>
                </a:lnTo>
                <a:lnTo>
                  <a:pt x="0" y="214502"/>
                </a:lnTo>
                <a:lnTo>
                  <a:pt x="19176" y="278002"/>
                </a:lnTo>
                <a:lnTo>
                  <a:pt x="57658" y="316992"/>
                </a:lnTo>
                <a:lnTo>
                  <a:pt x="96012" y="346201"/>
                </a:lnTo>
                <a:lnTo>
                  <a:pt x="124841" y="273050"/>
                </a:lnTo>
                <a:lnTo>
                  <a:pt x="124841" y="224282"/>
                </a:lnTo>
                <a:lnTo>
                  <a:pt x="105664" y="156083"/>
                </a:lnTo>
                <a:lnTo>
                  <a:pt x="72009" y="73151"/>
                </a:lnTo>
                <a:lnTo>
                  <a:pt x="57658" y="34162"/>
                </a:lnTo>
                <a:lnTo>
                  <a:pt x="38353" y="0"/>
                </a:lnTo>
                <a:lnTo>
                  <a:pt x="0" y="9778"/>
                </a:lnTo>
                <a:lnTo>
                  <a:pt x="19176" y="43814"/>
                </a:lnTo>
              </a:path>
            </a:pathLst>
          </a:custGeom>
          <a:ln w="12700">
            <a:solidFill>
              <a:srgbClr val="000000"/>
            </a:solidFill>
          </a:ln>
        </p:spPr>
        <p:txBody>
          <a:bodyPr wrap="square" lIns="0" tIns="0" rIns="0" bIns="0" rtlCol="0">
            <a:noAutofit/>
          </a:bodyPr>
          <a:lstStyle/>
          <a:p>
            <a:endParaRPr/>
          </a:p>
        </p:txBody>
      </p:sp>
      <p:sp>
        <p:nvSpPr>
          <p:cNvPr id="164" name="object 164"/>
          <p:cNvSpPr/>
          <p:nvPr/>
        </p:nvSpPr>
        <p:spPr>
          <a:xfrm>
            <a:off x="8391399" y="1417955"/>
            <a:ext cx="206501" cy="209677"/>
          </a:xfrm>
          <a:custGeom>
            <a:avLst/>
            <a:gdLst/>
            <a:ahLst/>
            <a:cxnLst/>
            <a:rect l="l" t="t" r="r" b="b"/>
            <a:pathLst>
              <a:path w="206501" h="209677">
                <a:moveTo>
                  <a:pt x="182499" y="53594"/>
                </a:moveTo>
                <a:lnTo>
                  <a:pt x="196976" y="48768"/>
                </a:lnTo>
                <a:lnTo>
                  <a:pt x="201675" y="43815"/>
                </a:lnTo>
                <a:lnTo>
                  <a:pt x="206501" y="38989"/>
                </a:lnTo>
                <a:lnTo>
                  <a:pt x="206501" y="29210"/>
                </a:lnTo>
                <a:lnTo>
                  <a:pt x="158496" y="29210"/>
                </a:lnTo>
                <a:lnTo>
                  <a:pt x="172847" y="24384"/>
                </a:lnTo>
                <a:lnTo>
                  <a:pt x="182499" y="19431"/>
                </a:lnTo>
                <a:lnTo>
                  <a:pt x="182499" y="9779"/>
                </a:lnTo>
                <a:lnTo>
                  <a:pt x="172847" y="0"/>
                </a:lnTo>
                <a:lnTo>
                  <a:pt x="134493" y="4825"/>
                </a:lnTo>
                <a:lnTo>
                  <a:pt x="72008" y="19431"/>
                </a:lnTo>
                <a:lnTo>
                  <a:pt x="57530" y="29210"/>
                </a:lnTo>
                <a:lnTo>
                  <a:pt x="57530" y="34162"/>
                </a:lnTo>
                <a:lnTo>
                  <a:pt x="62356" y="58547"/>
                </a:lnTo>
                <a:lnTo>
                  <a:pt x="72008" y="92583"/>
                </a:lnTo>
                <a:lnTo>
                  <a:pt x="72008" y="112141"/>
                </a:lnTo>
                <a:lnTo>
                  <a:pt x="67182" y="116967"/>
                </a:lnTo>
                <a:lnTo>
                  <a:pt x="9525" y="136525"/>
                </a:lnTo>
                <a:lnTo>
                  <a:pt x="0" y="136525"/>
                </a:lnTo>
                <a:lnTo>
                  <a:pt x="0" y="190119"/>
                </a:lnTo>
                <a:lnTo>
                  <a:pt x="38353" y="180467"/>
                </a:lnTo>
                <a:lnTo>
                  <a:pt x="76834" y="170687"/>
                </a:lnTo>
                <a:lnTo>
                  <a:pt x="91185" y="170687"/>
                </a:lnTo>
                <a:lnTo>
                  <a:pt x="100837" y="190119"/>
                </a:lnTo>
                <a:lnTo>
                  <a:pt x="110490" y="204850"/>
                </a:lnTo>
                <a:lnTo>
                  <a:pt x="124841" y="209677"/>
                </a:lnTo>
                <a:lnTo>
                  <a:pt x="148844" y="204850"/>
                </a:lnTo>
                <a:lnTo>
                  <a:pt x="148844" y="190119"/>
                </a:lnTo>
                <a:lnTo>
                  <a:pt x="139319" y="160909"/>
                </a:lnTo>
                <a:lnTo>
                  <a:pt x="124841" y="131699"/>
                </a:lnTo>
                <a:lnTo>
                  <a:pt x="124841" y="102362"/>
                </a:lnTo>
                <a:lnTo>
                  <a:pt x="139319" y="97536"/>
                </a:lnTo>
                <a:lnTo>
                  <a:pt x="158496" y="92583"/>
                </a:lnTo>
                <a:lnTo>
                  <a:pt x="177673" y="92583"/>
                </a:lnTo>
                <a:lnTo>
                  <a:pt x="196976" y="87757"/>
                </a:lnTo>
                <a:lnTo>
                  <a:pt x="201675" y="82931"/>
                </a:lnTo>
                <a:lnTo>
                  <a:pt x="206501" y="73152"/>
                </a:lnTo>
                <a:lnTo>
                  <a:pt x="201675" y="68199"/>
                </a:lnTo>
                <a:lnTo>
                  <a:pt x="192150" y="63373"/>
                </a:lnTo>
                <a:lnTo>
                  <a:pt x="168148" y="58547"/>
                </a:lnTo>
                <a:lnTo>
                  <a:pt x="182499" y="53594"/>
                </a:lnTo>
                <a:close/>
              </a:path>
            </a:pathLst>
          </a:custGeom>
          <a:solidFill>
            <a:srgbClr val="FFDFC0"/>
          </a:solidFill>
        </p:spPr>
        <p:txBody>
          <a:bodyPr wrap="square" lIns="0" tIns="0" rIns="0" bIns="0" rtlCol="0">
            <a:noAutofit/>
          </a:bodyPr>
          <a:lstStyle/>
          <a:p>
            <a:endParaRPr/>
          </a:p>
        </p:txBody>
      </p:sp>
      <p:sp>
        <p:nvSpPr>
          <p:cNvPr id="165" name="object 165"/>
          <p:cNvSpPr/>
          <p:nvPr/>
        </p:nvSpPr>
        <p:spPr>
          <a:xfrm>
            <a:off x="8391399" y="1417955"/>
            <a:ext cx="206501" cy="209677"/>
          </a:xfrm>
          <a:custGeom>
            <a:avLst/>
            <a:gdLst/>
            <a:ahLst/>
            <a:cxnLst/>
            <a:rect l="l" t="t" r="r" b="b"/>
            <a:pathLst>
              <a:path w="206501" h="209677">
                <a:moveTo>
                  <a:pt x="9525" y="136525"/>
                </a:moveTo>
                <a:lnTo>
                  <a:pt x="67182" y="116967"/>
                </a:lnTo>
                <a:lnTo>
                  <a:pt x="72008" y="112141"/>
                </a:lnTo>
                <a:lnTo>
                  <a:pt x="72008" y="92583"/>
                </a:lnTo>
                <a:lnTo>
                  <a:pt x="62356" y="58547"/>
                </a:lnTo>
                <a:lnTo>
                  <a:pt x="57530" y="34162"/>
                </a:lnTo>
                <a:lnTo>
                  <a:pt x="57530" y="29210"/>
                </a:lnTo>
                <a:lnTo>
                  <a:pt x="72008" y="19431"/>
                </a:lnTo>
                <a:lnTo>
                  <a:pt x="134493" y="4825"/>
                </a:lnTo>
                <a:lnTo>
                  <a:pt x="172847" y="0"/>
                </a:lnTo>
                <a:lnTo>
                  <a:pt x="182499" y="9779"/>
                </a:lnTo>
                <a:lnTo>
                  <a:pt x="182499" y="19431"/>
                </a:lnTo>
                <a:lnTo>
                  <a:pt x="172847" y="24384"/>
                </a:lnTo>
                <a:lnTo>
                  <a:pt x="158496" y="29210"/>
                </a:lnTo>
                <a:lnTo>
                  <a:pt x="177673" y="29210"/>
                </a:lnTo>
                <a:lnTo>
                  <a:pt x="196976" y="29210"/>
                </a:lnTo>
                <a:lnTo>
                  <a:pt x="206501" y="29210"/>
                </a:lnTo>
                <a:lnTo>
                  <a:pt x="206501" y="38989"/>
                </a:lnTo>
                <a:lnTo>
                  <a:pt x="201675" y="43815"/>
                </a:lnTo>
                <a:lnTo>
                  <a:pt x="196976" y="48768"/>
                </a:lnTo>
                <a:lnTo>
                  <a:pt x="182499" y="53594"/>
                </a:lnTo>
                <a:lnTo>
                  <a:pt x="168148" y="58547"/>
                </a:lnTo>
                <a:lnTo>
                  <a:pt x="192150" y="63373"/>
                </a:lnTo>
                <a:lnTo>
                  <a:pt x="201675" y="68199"/>
                </a:lnTo>
                <a:lnTo>
                  <a:pt x="206501" y="73152"/>
                </a:lnTo>
                <a:lnTo>
                  <a:pt x="201675" y="82931"/>
                </a:lnTo>
                <a:lnTo>
                  <a:pt x="196976" y="87757"/>
                </a:lnTo>
                <a:lnTo>
                  <a:pt x="177673" y="92583"/>
                </a:lnTo>
                <a:lnTo>
                  <a:pt x="158496" y="92583"/>
                </a:lnTo>
                <a:lnTo>
                  <a:pt x="139319" y="97536"/>
                </a:lnTo>
                <a:lnTo>
                  <a:pt x="124841" y="102362"/>
                </a:lnTo>
                <a:lnTo>
                  <a:pt x="124841" y="112141"/>
                </a:lnTo>
                <a:lnTo>
                  <a:pt x="124841" y="131699"/>
                </a:lnTo>
                <a:lnTo>
                  <a:pt x="139319" y="160909"/>
                </a:lnTo>
                <a:lnTo>
                  <a:pt x="148844" y="190119"/>
                </a:lnTo>
                <a:lnTo>
                  <a:pt x="148844" y="204850"/>
                </a:lnTo>
                <a:lnTo>
                  <a:pt x="124841" y="209677"/>
                </a:lnTo>
                <a:lnTo>
                  <a:pt x="110490" y="204850"/>
                </a:lnTo>
                <a:lnTo>
                  <a:pt x="100837" y="190119"/>
                </a:lnTo>
                <a:lnTo>
                  <a:pt x="91185" y="170687"/>
                </a:lnTo>
                <a:lnTo>
                  <a:pt x="76834" y="170687"/>
                </a:lnTo>
                <a:lnTo>
                  <a:pt x="38353" y="180467"/>
                </a:lnTo>
                <a:lnTo>
                  <a:pt x="0" y="190119"/>
                </a:lnTo>
                <a:lnTo>
                  <a:pt x="0" y="136525"/>
                </a:lnTo>
                <a:lnTo>
                  <a:pt x="9525" y="136525"/>
                </a:lnTo>
              </a:path>
            </a:pathLst>
          </a:custGeom>
          <a:ln w="12699">
            <a:solidFill>
              <a:srgbClr val="000000"/>
            </a:solidFill>
          </a:ln>
        </p:spPr>
        <p:txBody>
          <a:bodyPr wrap="square" lIns="0" tIns="0" rIns="0" bIns="0" rtlCol="0">
            <a:noAutofit/>
          </a:bodyPr>
          <a:lstStyle/>
          <a:p>
            <a:endParaRPr/>
          </a:p>
        </p:txBody>
      </p:sp>
      <p:sp>
        <p:nvSpPr>
          <p:cNvPr id="166" name="object 166"/>
          <p:cNvSpPr/>
          <p:nvPr/>
        </p:nvSpPr>
        <p:spPr>
          <a:xfrm>
            <a:off x="8501888" y="1447165"/>
            <a:ext cx="76834" cy="78105"/>
          </a:xfrm>
          <a:custGeom>
            <a:avLst/>
            <a:gdLst/>
            <a:ahLst/>
            <a:cxnLst/>
            <a:rect l="l" t="t" r="r" b="b"/>
            <a:pathLst>
              <a:path w="76834" h="78105">
                <a:moveTo>
                  <a:pt x="76834" y="0"/>
                </a:moveTo>
                <a:lnTo>
                  <a:pt x="24002" y="43942"/>
                </a:lnTo>
                <a:lnTo>
                  <a:pt x="0" y="78105"/>
                </a:lnTo>
              </a:path>
            </a:pathLst>
          </a:custGeom>
          <a:ln w="12700">
            <a:solidFill>
              <a:srgbClr val="000000"/>
            </a:solidFill>
          </a:ln>
        </p:spPr>
        <p:txBody>
          <a:bodyPr wrap="square" lIns="0" tIns="0" rIns="0" bIns="0" rtlCol="0">
            <a:noAutofit/>
          </a:bodyPr>
          <a:lstStyle/>
          <a:p>
            <a:endParaRPr/>
          </a:p>
        </p:txBody>
      </p:sp>
      <p:sp>
        <p:nvSpPr>
          <p:cNvPr id="167" name="object 167"/>
          <p:cNvSpPr/>
          <p:nvPr/>
        </p:nvSpPr>
        <p:spPr>
          <a:xfrm>
            <a:off x="8511414" y="1476503"/>
            <a:ext cx="76961" cy="77977"/>
          </a:xfrm>
          <a:custGeom>
            <a:avLst/>
            <a:gdLst/>
            <a:ahLst/>
            <a:cxnLst/>
            <a:rect l="l" t="t" r="r" b="b"/>
            <a:pathLst>
              <a:path w="76961" h="77977">
                <a:moveTo>
                  <a:pt x="76961" y="0"/>
                </a:moveTo>
                <a:lnTo>
                  <a:pt x="48132" y="0"/>
                </a:lnTo>
                <a:lnTo>
                  <a:pt x="28828" y="43814"/>
                </a:lnTo>
                <a:lnTo>
                  <a:pt x="0" y="77977"/>
                </a:lnTo>
              </a:path>
            </a:pathLst>
          </a:custGeom>
          <a:ln w="12700">
            <a:solidFill>
              <a:srgbClr val="000000"/>
            </a:solidFill>
          </a:ln>
        </p:spPr>
        <p:txBody>
          <a:bodyPr wrap="square" lIns="0" tIns="0" rIns="0" bIns="0" rtlCol="0">
            <a:noAutofit/>
          </a:bodyPr>
          <a:lstStyle/>
          <a:p>
            <a:endParaRPr/>
          </a:p>
        </p:txBody>
      </p:sp>
      <p:sp>
        <p:nvSpPr>
          <p:cNvPr id="168" name="object 168"/>
          <p:cNvSpPr/>
          <p:nvPr/>
        </p:nvSpPr>
        <p:spPr>
          <a:xfrm>
            <a:off x="7920483" y="1534923"/>
            <a:ext cx="509269" cy="185419"/>
          </a:xfrm>
          <a:custGeom>
            <a:avLst/>
            <a:gdLst/>
            <a:ahLst/>
            <a:cxnLst/>
            <a:rect l="l" t="t" r="r" b="b"/>
            <a:pathLst>
              <a:path w="509269" h="185419">
                <a:moveTo>
                  <a:pt x="14477" y="165862"/>
                </a:moveTo>
                <a:lnTo>
                  <a:pt x="24129" y="175640"/>
                </a:lnTo>
                <a:lnTo>
                  <a:pt x="72135" y="185419"/>
                </a:lnTo>
                <a:lnTo>
                  <a:pt x="124967" y="185419"/>
                </a:lnTo>
                <a:lnTo>
                  <a:pt x="211454" y="170687"/>
                </a:lnTo>
                <a:lnTo>
                  <a:pt x="297941" y="136651"/>
                </a:lnTo>
                <a:lnTo>
                  <a:pt x="384428" y="117093"/>
                </a:lnTo>
                <a:lnTo>
                  <a:pt x="446786" y="107314"/>
                </a:lnTo>
                <a:lnTo>
                  <a:pt x="509269" y="92710"/>
                </a:lnTo>
                <a:lnTo>
                  <a:pt x="494918" y="58547"/>
                </a:lnTo>
                <a:lnTo>
                  <a:pt x="490092" y="29337"/>
                </a:lnTo>
                <a:lnTo>
                  <a:pt x="499744" y="0"/>
                </a:lnTo>
                <a:lnTo>
                  <a:pt x="422783" y="9778"/>
                </a:lnTo>
                <a:lnTo>
                  <a:pt x="365124" y="24383"/>
                </a:lnTo>
                <a:lnTo>
                  <a:pt x="317118" y="34162"/>
                </a:lnTo>
                <a:lnTo>
                  <a:pt x="278638" y="34162"/>
                </a:lnTo>
                <a:lnTo>
                  <a:pt x="211454" y="43941"/>
                </a:lnTo>
                <a:lnTo>
                  <a:pt x="168147" y="48767"/>
                </a:lnTo>
                <a:lnTo>
                  <a:pt x="76962" y="48767"/>
                </a:lnTo>
                <a:lnTo>
                  <a:pt x="28828" y="58547"/>
                </a:lnTo>
                <a:lnTo>
                  <a:pt x="9651" y="68325"/>
                </a:lnTo>
                <a:lnTo>
                  <a:pt x="0" y="92710"/>
                </a:lnTo>
                <a:lnTo>
                  <a:pt x="0" y="126873"/>
                </a:lnTo>
                <a:lnTo>
                  <a:pt x="14477" y="165862"/>
                </a:lnTo>
                <a:close/>
              </a:path>
            </a:pathLst>
          </a:custGeom>
          <a:solidFill>
            <a:srgbClr val="0000FF"/>
          </a:solidFill>
        </p:spPr>
        <p:txBody>
          <a:bodyPr wrap="square" lIns="0" tIns="0" rIns="0" bIns="0" rtlCol="0">
            <a:noAutofit/>
          </a:bodyPr>
          <a:lstStyle/>
          <a:p>
            <a:endParaRPr/>
          </a:p>
        </p:txBody>
      </p:sp>
      <p:sp>
        <p:nvSpPr>
          <p:cNvPr id="169" name="object 169"/>
          <p:cNvSpPr/>
          <p:nvPr/>
        </p:nvSpPr>
        <p:spPr>
          <a:xfrm>
            <a:off x="7920483" y="1534923"/>
            <a:ext cx="509269" cy="185419"/>
          </a:xfrm>
          <a:custGeom>
            <a:avLst/>
            <a:gdLst/>
            <a:ahLst/>
            <a:cxnLst/>
            <a:rect l="l" t="t" r="r" b="b"/>
            <a:pathLst>
              <a:path w="509269" h="185419">
                <a:moveTo>
                  <a:pt x="499744" y="0"/>
                </a:moveTo>
                <a:lnTo>
                  <a:pt x="422783" y="9778"/>
                </a:lnTo>
                <a:lnTo>
                  <a:pt x="365124" y="24383"/>
                </a:lnTo>
                <a:lnTo>
                  <a:pt x="317118" y="34162"/>
                </a:lnTo>
                <a:lnTo>
                  <a:pt x="278638" y="34162"/>
                </a:lnTo>
                <a:lnTo>
                  <a:pt x="211454" y="43941"/>
                </a:lnTo>
                <a:lnTo>
                  <a:pt x="168147" y="48767"/>
                </a:lnTo>
                <a:lnTo>
                  <a:pt x="129793" y="48767"/>
                </a:lnTo>
                <a:lnTo>
                  <a:pt x="76962" y="48767"/>
                </a:lnTo>
                <a:lnTo>
                  <a:pt x="28828" y="58547"/>
                </a:lnTo>
                <a:lnTo>
                  <a:pt x="9651" y="68325"/>
                </a:lnTo>
                <a:lnTo>
                  <a:pt x="0" y="92710"/>
                </a:lnTo>
                <a:lnTo>
                  <a:pt x="0" y="126873"/>
                </a:lnTo>
                <a:lnTo>
                  <a:pt x="14477" y="165862"/>
                </a:lnTo>
                <a:lnTo>
                  <a:pt x="24129" y="175640"/>
                </a:lnTo>
                <a:lnTo>
                  <a:pt x="72135" y="185419"/>
                </a:lnTo>
                <a:lnTo>
                  <a:pt x="124967" y="185419"/>
                </a:lnTo>
                <a:lnTo>
                  <a:pt x="211454" y="170687"/>
                </a:lnTo>
                <a:lnTo>
                  <a:pt x="297941" y="136651"/>
                </a:lnTo>
                <a:lnTo>
                  <a:pt x="384428" y="117093"/>
                </a:lnTo>
                <a:lnTo>
                  <a:pt x="446786" y="107314"/>
                </a:lnTo>
                <a:lnTo>
                  <a:pt x="509269" y="92710"/>
                </a:lnTo>
                <a:lnTo>
                  <a:pt x="494918" y="58547"/>
                </a:lnTo>
                <a:lnTo>
                  <a:pt x="490092" y="29337"/>
                </a:lnTo>
                <a:lnTo>
                  <a:pt x="499744" y="0"/>
                </a:lnTo>
              </a:path>
            </a:pathLst>
          </a:custGeom>
          <a:ln w="12700">
            <a:solidFill>
              <a:srgbClr val="000000"/>
            </a:solidFill>
          </a:ln>
        </p:spPr>
        <p:txBody>
          <a:bodyPr wrap="square" lIns="0" tIns="0" rIns="0" bIns="0" rtlCol="0">
            <a:noAutofit/>
          </a:bodyPr>
          <a:lstStyle/>
          <a:p>
            <a:endParaRPr/>
          </a:p>
        </p:txBody>
      </p:sp>
      <p:sp>
        <p:nvSpPr>
          <p:cNvPr id="170" name="object 170"/>
          <p:cNvSpPr/>
          <p:nvPr/>
        </p:nvSpPr>
        <p:spPr>
          <a:xfrm>
            <a:off x="7790815" y="1822703"/>
            <a:ext cx="96138" cy="77978"/>
          </a:xfrm>
          <a:custGeom>
            <a:avLst/>
            <a:gdLst/>
            <a:ahLst/>
            <a:cxnLst/>
            <a:rect l="l" t="t" r="r" b="b"/>
            <a:pathLst>
              <a:path w="96138" h="77978">
                <a:moveTo>
                  <a:pt x="0" y="73151"/>
                </a:moveTo>
                <a:lnTo>
                  <a:pt x="96138" y="0"/>
                </a:lnTo>
                <a:lnTo>
                  <a:pt x="14350" y="77978"/>
                </a:lnTo>
              </a:path>
            </a:pathLst>
          </a:custGeom>
          <a:ln w="12700">
            <a:solidFill>
              <a:srgbClr val="000000"/>
            </a:solidFill>
          </a:ln>
        </p:spPr>
        <p:txBody>
          <a:bodyPr wrap="square" lIns="0" tIns="0" rIns="0" bIns="0" rtlCol="0">
            <a:noAutofit/>
          </a:bodyPr>
          <a:lstStyle/>
          <a:p>
            <a:endParaRPr/>
          </a:p>
        </p:txBody>
      </p:sp>
      <p:sp>
        <p:nvSpPr>
          <p:cNvPr id="171" name="object 171"/>
          <p:cNvSpPr/>
          <p:nvPr/>
        </p:nvSpPr>
        <p:spPr>
          <a:xfrm>
            <a:off x="7954138" y="1866647"/>
            <a:ext cx="76835" cy="77977"/>
          </a:xfrm>
          <a:custGeom>
            <a:avLst/>
            <a:gdLst/>
            <a:ahLst/>
            <a:cxnLst/>
            <a:rect l="l" t="t" r="r" b="b"/>
            <a:pathLst>
              <a:path w="76835" h="77977">
                <a:moveTo>
                  <a:pt x="0" y="0"/>
                </a:moveTo>
                <a:lnTo>
                  <a:pt x="33654" y="19430"/>
                </a:lnTo>
                <a:lnTo>
                  <a:pt x="57658" y="38988"/>
                </a:lnTo>
                <a:lnTo>
                  <a:pt x="76835" y="77977"/>
                </a:lnTo>
              </a:path>
            </a:pathLst>
          </a:custGeom>
          <a:ln w="12700">
            <a:solidFill>
              <a:srgbClr val="000000"/>
            </a:solidFill>
          </a:ln>
        </p:spPr>
        <p:txBody>
          <a:bodyPr wrap="square" lIns="0" tIns="0" rIns="0" bIns="0" rtlCol="0">
            <a:noAutofit/>
          </a:bodyPr>
          <a:lstStyle/>
          <a:p>
            <a:endParaRPr/>
          </a:p>
        </p:txBody>
      </p:sp>
      <p:sp>
        <p:nvSpPr>
          <p:cNvPr id="172" name="object 172"/>
          <p:cNvSpPr/>
          <p:nvPr/>
        </p:nvSpPr>
        <p:spPr>
          <a:xfrm>
            <a:off x="7891654" y="1149731"/>
            <a:ext cx="393953" cy="429133"/>
          </a:xfrm>
          <a:custGeom>
            <a:avLst/>
            <a:gdLst/>
            <a:ahLst/>
            <a:cxnLst/>
            <a:rect l="l" t="t" r="r" b="b"/>
            <a:pathLst>
              <a:path w="393953" h="429133">
                <a:moveTo>
                  <a:pt x="240283" y="9779"/>
                </a:moveTo>
                <a:lnTo>
                  <a:pt x="216280" y="0"/>
                </a:lnTo>
                <a:lnTo>
                  <a:pt x="148971" y="0"/>
                </a:lnTo>
                <a:lnTo>
                  <a:pt x="105791" y="19431"/>
                </a:lnTo>
                <a:lnTo>
                  <a:pt x="57658" y="43815"/>
                </a:lnTo>
                <a:lnTo>
                  <a:pt x="24130" y="92583"/>
                </a:lnTo>
                <a:lnTo>
                  <a:pt x="4825" y="141351"/>
                </a:lnTo>
                <a:lnTo>
                  <a:pt x="0" y="195072"/>
                </a:lnTo>
                <a:lnTo>
                  <a:pt x="4825" y="273050"/>
                </a:lnTo>
                <a:lnTo>
                  <a:pt x="14477" y="326771"/>
                </a:lnTo>
                <a:lnTo>
                  <a:pt x="38481" y="365760"/>
                </a:lnTo>
                <a:lnTo>
                  <a:pt x="67310" y="385191"/>
                </a:lnTo>
                <a:lnTo>
                  <a:pt x="86487" y="409575"/>
                </a:lnTo>
                <a:lnTo>
                  <a:pt x="105791" y="429133"/>
                </a:lnTo>
                <a:lnTo>
                  <a:pt x="177800" y="424307"/>
                </a:lnTo>
                <a:lnTo>
                  <a:pt x="182625" y="409575"/>
                </a:lnTo>
                <a:lnTo>
                  <a:pt x="192277" y="390144"/>
                </a:lnTo>
                <a:lnTo>
                  <a:pt x="225805" y="390144"/>
                </a:lnTo>
                <a:lnTo>
                  <a:pt x="269113" y="380365"/>
                </a:lnTo>
                <a:lnTo>
                  <a:pt x="297942" y="375539"/>
                </a:lnTo>
                <a:lnTo>
                  <a:pt x="331597" y="360807"/>
                </a:lnTo>
                <a:lnTo>
                  <a:pt x="341122" y="346202"/>
                </a:lnTo>
                <a:lnTo>
                  <a:pt x="336296" y="331597"/>
                </a:lnTo>
                <a:lnTo>
                  <a:pt x="321945" y="316992"/>
                </a:lnTo>
                <a:lnTo>
                  <a:pt x="336296" y="307213"/>
                </a:lnTo>
                <a:lnTo>
                  <a:pt x="331597" y="302387"/>
                </a:lnTo>
                <a:lnTo>
                  <a:pt x="321945" y="292608"/>
                </a:lnTo>
                <a:lnTo>
                  <a:pt x="312293" y="292608"/>
                </a:lnTo>
                <a:lnTo>
                  <a:pt x="302768" y="302387"/>
                </a:lnTo>
                <a:lnTo>
                  <a:pt x="293116" y="312039"/>
                </a:lnTo>
                <a:lnTo>
                  <a:pt x="283464" y="316992"/>
                </a:lnTo>
                <a:lnTo>
                  <a:pt x="273939" y="321818"/>
                </a:lnTo>
                <a:lnTo>
                  <a:pt x="264287" y="321818"/>
                </a:lnTo>
                <a:lnTo>
                  <a:pt x="249808" y="326771"/>
                </a:lnTo>
                <a:lnTo>
                  <a:pt x="245110" y="321818"/>
                </a:lnTo>
                <a:lnTo>
                  <a:pt x="235457" y="321818"/>
                </a:lnTo>
                <a:lnTo>
                  <a:pt x="225805" y="312039"/>
                </a:lnTo>
                <a:lnTo>
                  <a:pt x="221106" y="307213"/>
                </a:lnTo>
                <a:lnTo>
                  <a:pt x="221106" y="287655"/>
                </a:lnTo>
                <a:lnTo>
                  <a:pt x="225805" y="278003"/>
                </a:lnTo>
                <a:lnTo>
                  <a:pt x="235457" y="263271"/>
                </a:lnTo>
                <a:lnTo>
                  <a:pt x="249808" y="253619"/>
                </a:lnTo>
                <a:lnTo>
                  <a:pt x="259461" y="248666"/>
                </a:lnTo>
                <a:lnTo>
                  <a:pt x="269113" y="243840"/>
                </a:lnTo>
                <a:lnTo>
                  <a:pt x="278638" y="238887"/>
                </a:lnTo>
                <a:lnTo>
                  <a:pt x="307467" y="238887"/>
                </a:lnTo>
                <a:lnTo>
                  <a:pt x="326771" y="248666"/>
                </a:lnTo>
                <a:lnTo>
                  <a:pt x="321945" y="224282"/>
                </a:lnTo>
                <a:lnTo>
                  <a:pt x="312293" y="195072"/>
                </a:lnTo>
                <a:lnTo>
                  <a:pt x="321945" y="199898"/>
                </a:lnTo>
                <a:lnTo>
                  <a:pt x="331597" y="204851"/>
                </a:lnTo>
                <a:lnTo>
                  <a:pt x="345948" y="209677"/>
                </a:lnTo>
                <a:lnTo>
                  <a:pt x="355600" y="209677"/>
                </a:lnTo>
                <a:lnTo>
                  <a:pt x="369950" y="204851"/>
                </a:lnTo>
                <a:lnTo>
                  <a:pt x="379602" y="199898"/>
                </a:lnTo>
                <a:lnTo>
                  <a:pt x="389127" y="185293"/>
                </a:lnTo>
                <a:lnTo>
                  <a:pt x="393953" y="175514"/>
                </a:lnTo>
                <a:lnTo>
                  <a:pt x="389127" y="160909"/>
                </a:lnTo>
                <a:lnTo>
                  <a:pt x="389127" y="146304"/>
                </a:lnTo>
                <a:lnTo>
                  <a:pt x="379602" y="136525"/>
                </a:lnTo>
                <a:lnTo>
                  <a:pt x="369950" y="121920"/>
                </a:lnTo>
                <a:lnTo>
                  <a:pt x="360425" y="116967"/>
                </a:lnTo>
                <a:lnTo>
                  <a:pt x="355600" y="112141"/>
                </a:lnTo>
                <a:lnTo>
                  <a:pt x="341122" y="112141"/>
                </a:lnTo>
                <a:lnTo>
                  <a:pt x="321945" y="116967"/>
                </a:lnTo>
                <a:lnTo>
                  <a:pt x="307467" y="116967"/>
                </a:lnTo>
                <a:lnTo>
                  <a:pt x="297942" y="121920"/>
                </a:lnTo>
                <a:lnTo>
                  <a:pt x="293116" y="126746"/>
                </a:lnTo>
                <a:lnTo>
                  <a:pt x="283464" y="102362"/>
                </a:lnTo>
                <a:lnTo>
                  <a:pt x="269113" y="77978"/>
                </a:lnTo>
                <a:lnTo>
                  <a:pt x="259461" y="53594"/>
                </a:lnTo>
                <a:lnTo>
                  <a:pt x="240283" y="9779"/>
                </a:lnTo>
                <a:close/>
              </a:path>
            </a:pathLst>
          </a:custGeom>
          <a:solidFill>
            <a:srgbClr val="FFDFC0"/>
          </a:solidFill>
        </p:spPr>
        <p:txBody>
          <a:bodyPr wrap="square" lIns="0" tIns="0" rIns="0" bIns="0" rtlCol="0">
            <a:noAutofit/>
          </a:bodyPr>
          <a:lstStyle/>
          <a:p>
            <a:endParaRPr/>
          </a:p>
        </p:txBody>
      </p:sp>
      <p:sp>
        <p:nvSpPr>
          <p:cNvPr id="173" name="object 173"/>
          <p:cNvSpPr/>
          <p:nvPr/>
        </p:nvSpPr>
        <p:spPr>
          <a:xfrm>
            <a:off x="7891654" y="1149731"/>
            <a:ext cx="393953" cy="429133"/>
          </a:xfrm>
          <a:custGeom>
            <a:avLst/>
            <a:gdLst/>
            <a:ahLst/>
            <a:cxnLst/>
            <a:rect l="l" t="t" r="r" b="b"/>
            <a:pathLst>
              <a:path w="393953" h="429133">
                <a:moveTo>
                  <a:pt x="240283" y="9779"/>
                </a:moveTo>
                <a:lnTo>
                  <a:pt x="259461" y="53594"/>
                </a:lnTo>
                <a:lnTo>
                  <a:pt x="269113" y="77978"/>
                </a:lnTo>
                <a:lnTo>
                  <a:pt x="283464" y="102362"/>
                </a:lnTo>
                <a:lnTo>
                  <a:pt x="293116" y="126746"/>
                </a:lnTo>
                <a:lnTo>
                  <a:pt x="297942" y="121920"/>
                </a:lnTo>
                <a:lnTo>
                  <a:pt x="307467" y="116967"/>
                </a:lnTo>
                <a:lnTo>
                  <a:pt x="321945" y="116967"/>
                </a:lnTo>
                <a:lnTo>
                  <a:pt x="341122" y="112141"/>
                </a:lnTo>
                <a:lnTo>
                  <a:pt x="355600" y="112141"/>
                </a:lnTo>
                <a:lnTo>
                  <a:pt x="360425" y="116967"/>
                </a:lnTo>
                <a:lnTo>
                  <a:pt x="369950" y="121920"/>
                </a:lnTo>
                <a:lnTo>
                  <a:pt x="379602" y="136525"/>
                </a:lnTo>
                <a:lnTo>
                  <a:pt x="389127" y="146304"/>
                </a:lnTo>
                <a:lnTo>
                  <a:pt x="389127" y="160909"/>
                </a:lnTo>
                <a:lnTo>
                  <a:pt x="393953" y="175514"/>
                </a:lnTo>
                <a:lnTo>
                  <a:pt x="389127" y="185293"/>
                </a:lnTo>
                <a:lnTo>
                  <a:pt x="379602" y="199898"/>
                </a:lnTo>
                <a:lnTo>
                  <a:pt x="369950" y="204851"/>
                </a:lnTo>
                <a:lnTo>
                  <a:pt x="355600" y="209677"/>
                </a:lnTo>
                <a:lnTo>
                  <a:pt x="345948" y="209677"/>
                </a:lnTo>
                <a:lnTo>
                  <a:pt x="331597" y="204851"/>
                </a:lnTo>
                <a:lnTo>
                  <a:pt x="321945" y="199898"/>
                </a:lnTo>
                <a:lnTo>
                  <a:pt x="312293" y="195072"/>
                </a:lnTo>
                <a:lnTo>
                  <a:pt x="321945" y="224282"/>
                </a:lnTo>
                <a:lnTo>
                  <a:pt x="326771" y="248666"/>
                </a:lnTo>
                <a:lnTo>
                  <a:pt x="307467" y="238887"/>
                </a:lnTo>
                <a:lnTo>
                  <a:pt x="288290" y="238887"/>
                </a:lnTo>
                <a:lnTo>
                  <a:pt x="278638" y="238887"/>
                </a:lnTo>
                <a:lnTo>
                  <a:pt x="269113" y="243840"/>
                </a:lnTo>
                <a:lnTo>
                  <a:pt x="259461" y="248666"/>
                </a:lnTo>
                <a:lnTo>
                  <a:pt x="249808" y="253619"/>
                </a:lnTo>
                <a:lnTo>
                  <a:pt x="235457" y="263271"/>
                </a:lnTo>
                <a:lnTo>
                  <a:pt x="225805" y="278003"/>
                </a:lnTo>
                <a:lnTo>
                  <a:pt x="221106" y="287655"/>
                </a:lnTo>
                <a:lnTo>
                  <a:pt x="221106" y="307213"/>
                </a:lnTo>
                <a:lnTo>
                  <a:pt x="225805" y="312039"/>
                </a:lnTo>
                <a:lnTo>
                  <a:pt x="235457" y="321818"/>
                </a:lnTo>
                <a:lnTo>
                  <a:pt x="245110" y="321818"/>
                </a:lnTo>
                <a:lnTo>
                  <a:pt x="249808" y="326771"/>
                </a:lnTo>
                <a:lnTo>
                  <a:pt x="264287" y="321818"/>
                </a:lnTo>
                <a:lnTo>
                  <a:pt x="273939" y="321818"/>
                </a:lnTo>
                <a:lnTo>
                  <a:pt x="283464" y="316992"/>
                </a:lnTo>
                <a:lnTo>
                  <a:pt x="293116" y="312039"/>
                </a:lnTo>
                <a:lnTo>
                  <a:pt x="302768" y="302387"/>
                </a:lnTo>
                <a:lnTo>
                  <a:pt x="312293" y="292608"/>
                </a:lnTo>
                <a:lnTo>
                  <a:pt x="321945" y="292608"/>
                </a:lnTo>
                <a:lnTo>
                  <a:pt x="331597" y="302387"/>
                </a:lnTo>
                <a:lnTo>
                  <a:pt x="336296" y="307213"/>
                </a:lnTo>
                <a:lnTo>
                  <a:pt x="321945" y="316992"/>
                </a:lnTo>
                <a:lnTo>
                  <a:pt x="336296" y="331597"/>
                </a:lnTo>
                <a:lnTo>
                  <a:pt x="341122" y="346202"/>
                </a:lnTo>
                <a:lnTo>
                  <a:pt x="331597" y="360807"/>
                </a:lnTo>
                <a:lnTo>
                  <a:pt x="297942" y="375539"/>
                </a:lnTo>
                <a:lnTo>
                  <a:pt x="269113" y="380365"/>
                </a:lnTo>
                <a:lnTo>
                  <a:pt x="225805" y="390144"/>
                </a:lnTo>
                <a:lnTo>
                  <a:pt x="201802" y="390144"/>
                </a:lnTo>
                <a:lnTo>
                  <a:pt x="192277" y="390144"/>
                </a:lnTo>
                <a:lnTo>
                  <a:pt x="182625" y="409575"/>
                </a:lnTo>
                <a:lnTo>
                  <a:pt x="177800" y="424307"/>
                </a:lnTo>
                <a:lnTo>
                  <a:pt x="105791" y="429133"/>
                </a:lnTo>
                <a:lnTo>
                  <a:pt x="86487" y="409575"/>
                </a:lnTo>
                <a:lnTo>
                  <a:pt x="67310" y="385191"/>
                </a:lnTo>
                <a:lnTo>
                  <a:pt x="38481" y="365760"/>
                </a:lnTo>
                <a:lnTo>
                  <a:pt x="14477" y="326771"/>
                </a:lnTo>
                <a:lnTo>
                  <a:pt x="4825" y="273050"/>
                </a:lnTo>
                <a:lnTo>
                  <a:pt x="0" y="195072"/>
                </a:lnTo>
                <a:lnTo>
                  <a:pt x="4825" y="141351"/>
                </a:lnTo>
                <a:lnTo>
                  <a:pt x="24130" y="92583"/>
                </a:lnTo>
                <a:lnTo>
                  <a:pt x="57658" y="43815"/>
                </a:lnTo>
                <a:lnTo>
                  <a:pt x="105791" y="19431"/>
                </a:lnTo>
                <a:lnTo>
                  <a:pt x="148971" y="0"/>
                </a:lnTo>
                <a:lnTo>
                  <a:pt x="192277" y="0"/>
                </a:lnTo>
                <a:lnTo>
                  <a:pt x="216280" y="0"/>
                </a:lnTo>
                <a:lnTo>
                  <a:pt x="240283" y="9779"/>
                </a:lnTo>
              </a:path>
            </a:pathLst>
          </a:custGeom>
          <a:ln w="12700">
            <a:solidFill>
              <a:srgbClr val="000000"/>
            </a:solidFill>
          </a:ln>
        </p:spPr>
        <p:txBody>
          <a:bodyPr wrap="square" lIns="0" tIns="0" rIns="0" bIns="0" rtlCol="0">
            <a:noAutofit/>
          </a:bodyPr>
          <a:lstStyle/>
          <a:p>
            <a:endParaRPr/>
          </a:p>
        </p:txBody>
      </p:sp>
      <p:sp>
        <p:nvSpPr>
          <p:cNvPr id="174" name="object 174"/>
          <p:cNvSpPr/>
          <p:nvPr/>
        </p:nvSpPr>
        <p:spPr>
          <a:xfrm>
            <a:off x="7814818" y="1115568"/>
            <a:ext cx="331470" cy="404749"/>
          </a:xfrm>
          <a:custGeom>
            <a:avLst/>
            <a:gdLst/>
            <a:ahLst/>
            <a:cxnLst/>
            <a:rect l="l" t="t" r="r" b="b"/>
            <a:pathLst>
              <a:path w="331470" h="404749">
                <a:moveTo>
                  <a:pt x="14478" y="151130"/>
                </a:moveTo>
                <a:lnTo>
                  <a:pt x="0" y="180467"/>
                </a:lnTo>
                <a:lnTo>
                  <a:pt x="0" y="224282"/>
                </a:lnTo>
                <a:lnTo>
                  <a:pt x="9652" y="268224"/>
                </a:lnTo>
                <a:lnTo>
                  <a:pt x="24003" y="302387"/>
                </a:lnTo>
                <a:lnTo>
                  <a:pt x="48006" y="346202"/>
                </a:lnTo>
                <a:lnTo>
                  <a:pt x="81661" y="380365"/>
                </a:lnTo>
                <a:lnTo>
                  <a:pt x="105664" y="399923"/>
                </a:lnTo>
                <a:lnTo>
                  <a:pt x="134493" y="404749"/>
                </a:lnTo>
                <a:lnTo>
                  <a:pt x="158496" y="394970"/>
                </a:lnTo>
                <a:lnTo>
                  <a:pt x="168148" y="385318"/>
                </a:lnTo>
                <a:lnTo>
                  <a:pt x="153797" y="365760"/>
                </a:lnTo>
                <a:lnTo>
                  <a:pt x="144145" y="355981"/>
                </a:lnTo>
                <a:lnTo>
                  <a:pt x="134493" y="331597"/>
                </a:lnTo>
                <a:lnTo>
                  <a:pt x="129794" y="312166"/>
                </a:lnTo>
                <a:lnTo>
                  <a:pt x="134493" y="292608"/>
                </a:lnTo>
                <a:lnTo>
                  <a:pt x="144145" y="278003"/>
                </a:lnTo>
                <a:lnTo>
                  <a:pt x="153797" y="268224"/>
                </a:lnTo>
                <a:lnTo>
                  <a:pt x="163322" y="263398"/>
                </a:lnTo>
                <a:lnTo>
                  <a:pt x="182626" y="263398"/>
                </a:lnTo>
                <a:lnTo>
                  <a:pt x="196977" y="268224"/>
                </a:lnTo>
                <a:lnTo>
                  <a:pt x="211455" y="273050"/>
                </a:lnTo>
                <a:lnTo>
                  <a:pt x="220980" y="273050"/>
                </a:lnTo>
                <a:lnTo>
                  <a:pt x="244983" y="248666"/>
                </a:lnTo>
                <a:lnTo>
                  <a:pt x="240284" y="224282"/>
                </a:lnTo>
                <a:lnTo>
                  <a:pt x="235458" y="195072"/>
                </a:lnTo>
                <a:lnTo>
                  <a:pt x="225806" y="180467"/>
                </a:lnTo>
                <a:lnTo>
                  <a:pt x="249809" y="160909"/>
                </a:lnTo>
                <a:lnTo>
                  <a:pt x="254635" y="131699"/>
                </a:lnTo>
                <a:lnTo>
                  <a:pt x="269113" y="102362"/>
                </a:lnTo>
                <a:lnTo>
                  <a:pt x="293115" y="87757"/>
                </a:lnTo>
                <a:lnTo>
                  <a:pt x="331470" y="63373"/>
                </a:lnTo>
                <a:lnTo>
                  <a:pt x="317118" y="38989"/>
                </a:lnTo>
                <a:lnTo>
                  <a:pt x="297941" y="19558"/>
                </a:lnTo>
                <a:lnTo>
                  <a:pt x="259461" y="4826"/>
                </a:lnTo>
                <a:lnTo>
                  <a:pt x="235458" y="0"/>
                </a:lnTo>
                <a:lnTo>
                  <a:pt x="201803" y="24384"/>
                </a:lnTo>
                <a:lnTo>
                  <a:pt x="182626" y="9779"/>
                </a:lnTo>
                <a:lnTo>
                  <a:pt x="148971" y="48768"/>
                </a:lnTo>
                <a:lnTo>
                  <a:pt x="105664" y="73152"/>
                </a:lnTo>
                <a:lnTo>
                  <a:pt x="67310" y="97536"/>
                </a:lnTo>
                <a:lnTo>
                  <a:pt x="43307" y="126746"/>
                </a:lnTo>
                <a:lnTo>
                  <a:pt x="14478" y="112141"/>
                </a:lnTo>
                <a:lnTo>
                  <a:pt x="14478" y="151130"/>
                </a:lnTo>
                <a:close/>
              </a:path>
            </a:pathLst>
          </a:custGeom>
          <a:solidFill>
            <a:srgbClr val="9F5000"/>
          </a:solidFill>
        </p:spPr>
        <p:txBody>
          <a:bodyPr wrap="square" lIns="0" tIns="0" rIns="0" bIns="0" rtlCol="0">
            <a:noAutofit/>
          </a:bodyPr>
          <a:lstStyle/>
          <a:p>
            <a:endParaRPr/>
          </a:p>
        </p:txBody>
      </p:sp>
      <p:sp>
        <p:nvSpPr>
          <p:cNvPr id="175" name="object 175"/>
          <p:cNvSpPr/>
          <p:nvPr/>
        </p:nvSpPr>
        <p:spPr>
          <a:xfrm>
            <a:off x="7814818" y="1115568"/>
            <a:ext cx="331470" cy="404749"/>
          </a:xfrm>
          <a:custGeom>
            <a:avLst/>
            <a:gdLst/>
            <a:ahLst/>
            <a:cxnLst/>
            <a:rect l="l" t="t" r="r" b="b"/>
            <a:pathLst>
              <a:path w="331470" h="404749">
                <a:moveTo>
                  <a:pt x="331470" y="63373"/>
                </a:moveTo>
                <a:lnTo>
                  <a:pt x="317118" y="38989"/>
                </a:lnTo>
                <a:lnTo>
                  <a:pt x="297941" y="19558"/>
                </a:lnTo>
                <a:lnTo>
                  <a:pt x="259461" y="4826"/>
                </a:lnTo>
                <a:lnTo>
                  <a:pt x="235458" y="0"/>
                </a:lnTo>
                <a:lnTo>
                  <a:pt x="201803" y="24384"/>
                </a:lnTo>
                <a:lnTo>
                  <a:pt x="182626" y="9779"/>
                </a:lnTo>
                <a:lnTo>
                  <a:pt x="148971" y="48768"/>
                </a:lnTo>
                <a:lnTo>
                  <a:pt x="105664" y="73152"/>
                </a:lnTo>
                <a:lnTo>
                  <a:pt x="67310" y="97536"/>
                </a:lnTo>
                <a:lnTo>
                  <a:pt x="43307" y="126746"/>
                </a:lnTo>
                <a:lnTo>
                  <a:pt x="14478" y="112141"/>
                </a:lnTo>
                <a:lnTo>
                  <a:pt x="14478" y="151130"/>
                </a:lnTo>
                <a:lnTo>
                  <a:pt x="0" y="180467"/>
                </a:lnTo>
                <a:lnTo>
                  <a:pt x="0" y="224282"/>
                </a:lnTo>
                <a:lnTo>
                  <a:pt x="9652" y="268224"/>
                </a:lnTo>
                <a:lnTo>
                  <a:pt x="24003" y="302387"/>
                </a:lnTo>
                <a:lnTo>
                  <a:pt x="48006" y="346202"/>
                </a:lnTo>
                <a:lnTo>
                  <a:pt x="81661" y="380365"/>
                </a:lnTo>
                <a:lnTo>
                  <a:pt x="105664" y="399923"/>
                </a:lnTo>
                <a:lnTo>
                  <a:pt x="134493" y="404749"/>
                </a:lnTo>
                <a:lnTo>
                  <a:pt x="158496" y="394970"/>
                </a:lnTo>
                <a:lnTo>
                  <a:pt x="168148" y="385318"/>
                </a:lnTo>
                <a:lnTo>
                  <a:pt x="153797" y="365760"/>
                </a:lnTo>
                <a:lnTo>
                  <a:pt x="144145" y="355981"/>
                </a:lnTo>
                <a:lnTo>
                  <a:pt x="134493" y="331597"/>
                </a:lnTo>
                <a:lnTo>
                  <a:pt x="129794" y="312166"/>
                </a:lnTo>
                <a:lnTo>
                  <a:pt x="134493" y="292608"/>
                </a:lnTo>
                <a:lnTo>
                  <a:pt x="144145" y="278003"/>
                </a:lnTo>
                <a:lnTo>
                  <a:pt x="153797" y="268224"/>
                </a:lnTo>
                <a:lnTo>
                  <a:pt x="163322" y="263398"/>
                </a:lnTo>
                <a:lnTo>
                  <a:pt x="182626" y="263398"/>
                </a:lnTo>
                <a:lnTo>
                  <a:pt x="196977" y="268224"/>
                </a:lnTo>
                <a:lnTo>
                  <a:pt x="211455" y="273050"/>
                </a:lnTo>
                <a:lnTo>
                  <a:pt x="220980" y="273050"/>
                </a:lnTo>
                <a:lnTo>
                  <a:pt x="244983" y="248666"/>
                </a:lnTo>
                <a:lnTo>
                  <a:pt x="240284" y="224282"/>
                </a:lnTo>
                <a:lnTo>
                  <a:pt x="235458" y="195072"/>
                </a:lnTo>
                <a:lnTo>
                  <a:pt x="225806" y="180467"/>
                </a:lnTo>
                <a:lnTo>
                  <a:pt x="249809" y="160909"/>
                </a:lnTo>
                <a:lnTo>
                  <a:pt x="254635" y="131699"/>
                </a:lnTo>
                <a:lnTo>
                  <a:pt x="269113" y="102362"/>
                </a:lnTo>
                <a:lnTo>
                  <a:pt x="293115" y="87757"/>
                </a:lnTo>
                <a:lnTo>
                  <a:pt x="331470" y="63373"/>
                </a:lnTo>
              </a:path>
            </a:pathLst>
          </a:custGeom>
          <a:ln w="12699">
            <a:solidFill>
              <a:srgbClr val="000000"/>
            </a:solidFill>
          </a:ln>
        </p:spPr>
        <p:txBody>
          <a:bodyPr wrap="square" lIns="0" tIns="0" rIns="0" bIns="0" rtlCol="0">
            <a:noAutofit/>
          </a:bodyPr>
          <a:lstStyle/>
          <a:p>
            <a:endParaRPr/>
          </a:p>
        </p:txBody>
      </p:sp>
      <p:sp>
        <p:nvSpPr>
          <p:cNvPr id="176" name="object 176"/>
          <p:cNvSpPr/>
          <p:nvPr/>
        </p:nvSpPr>
        <p:spPr>
          <a:xfrm>
            <a:off x="8136764" y="1247266"/>
            <a:ext cx="38353" cy="53594"/>
          </a:xfrm>
          <a:custGeom>
            <a:avLst/>
            <a:gdLst/>
            <a:ahLst/>
            <a:cxnLst/>
            <a:rect l="l" t="t" r="r" b="b"/>
            <a:pathLst>
              <a:path w="38353" h="53594">
                <a:moveTo>
                  <a:pt x="0" y="26797"/>
                </a:moveTo>
                <a:lnTo>
                  <a:pt x="1264" y="36444"/>
                </a:lnTo>
                <a:lnTo>
                  <a:pt x="8168" y="48790"/>
                </a:lnTo>
                <a:lnTo>
                  <a:pt x="19176" y="53594"/>
                </a:lnTo>
                <a:lnTo>
                  <a:pt x="26095" y="51821"/>
                </a:lnTo>
                <a:lnTo>
                  <a:pt x="34925" y="42159"/>
                </a:lnTo>
                <a:lnTo>
                  <a:pt x="38353" y="26797"/>
                </a:lnTo>
                <a:lnTo>
                  <a:pt x="37089" y="17149"/>
                </a:lnTo>
                <a:lnTo>
                  <a:pt x="30185" y="4803"/>
                </a:lnTo>
                <a:lnTo>
                  <a:pt x="19176" y="0"/>
                </a:lnTo>
                <a:lnTo>
                  <a:pt x="12258" y="1772"/>
                </a:lnTo>
                <a:lnTo>
                  <a:pt x="3428" y="11434"/>
                </a:lnTo>
                <a:lnTo>
                  <a:pt x="0" y="26797"/>
                </a:lnTo>
                <a:close/>
              </a:path>
            </a:pathLst>
          </a:custGeom>
          <a:solidFill>
            <a:srgbClr val="FFFFFF"/>
          </a:solidFill>
        </p:spPr>
        <p:txBody>
          <a:bodyPr wrap="square" lIns="0" tIns="0" rIns="0" bIns="0" rtlCol="0">
            <a:noAutofit/>
          </a:bodyPr>
          <a:lstStyle/>
          <a:p>
            <a:endParaRPr/>
          </a:p>
        </p:txBody>
      </p:sp>
      <p:sp>
        <p:nvSpPr>
          <p:cNvPr id="177" name="object 177"/>
          <p:cNvSpPr/>
          <p:nvPr/>
        </p:nvSpPr>
        <p:spPr>
          <a:xfrm>
            <a:off x="8136764" y="1247266"/>
            <a:ext cx="38353" cy="53594"/>
          </a:xfrm>
          <a:custGeom>
            <a:avLst/>
            <a:gdLst/>
            <a:ahLst/>
            <a:cxnLst/>
            <a:rect l="l" t="t" r="r" b="b"/>
            <a:pathLst>
              <a:path w="38353" h="53594">
                <a:moveTo>
                  <a:pt x="0" y="26797"/>
                </a:moveTo>
                <a:lnTo>
                  <a:pt x="3428" y="11434"/>
                </a:lnTo>
                <a:lnTo>
                  <a:pt x="12258" y="1772"/>
                </a:lnTo>
                <a:lnTo>
                  <a:pt x="19176" y="0"/>
                </a:lnTo>
                <a:lnTo>
                  <a:pt x="30185" y="4803"/>
                </a:lnTo>
                <a:lnTo>
                  <a:pt x="37089" y="17149"/>
                </a:lnTo>
                <a:lnTo>
                  <a:pt x="38353" y="26797"/>
                </a:lnTo>
                <a:lnTo>
                  <a:pt x="34925" y="42159"/>
                </a:lnTo>
                <a:lnTo>
                  <a:pt x="26095" y="51821"/>
                </a:lnTo>
                <a:lnTo>
                  <a:pt x="19176" y="53594"/>
                </a:lnTo>
                <a:lnTo>
                  <a:pt x="8168" y="48790"/>
                </a:lnTo>
                <a:lnTo>
                  <a:pt x="1264" y="36444"/>
                </a:lnTo>
                <a:lnTo>
                  <a:pt x="0" y="26797"/>
                </a:lnTo>
                <a:close/>
              </a:path>
            </a:pathLst>
          </a:custGeom>
          <a:ln w="12700">
            <a:solidFill>
              <a:srgbClr val="000000"/>
            </a:solidFill>
          </a:ln>
        </p:spPr>
        <p:txBody>
          <a:bodyPr wrap="square" lIns="0" tIns="0" rIns="0" bIns="0" rtlCol="0">
            <a:noAutofit/>
          </a:bodyPr>
          <a:lstStyle/>
          <a:p>
            <a:endParaRPr/>
          </a:p>
        </p:txBody>
      </p:sp>
      <p:sp>
        <p:nvSpPr>
          <p:cNvPr id="178" name="object 178"/>
          <p:cNvSpPr/>
          <p:nvPr/>
        </p:nvSpPr>
        <p:spPr>
          <a:xfrm>
            <a:off x="8165593" y="1261872"/>
            <a:ext cx="38353" cy="38988"/>
          </a:xfrm>
          <a:custGeom>
            <a:avLst/>
            <a:gdLst/>
            <a:ahLst/>
            <a:cxnLst/>
            <a:rect l="l" t="t" r="r" b="b"/>
            <a:pathLst>
              <a:path w="38353" h="38988">
                <a:moveTo>
                  <a:pt x="0" y="19557"/>
                </a:moveTo>
                <a:lnTo>
                  <a:pt x="121" y="21755"/>
                </a:lnTo>
                <a:lnTo>
                  <a:pt x="6329" y="33990"/>
                </a:lnTo>
                <a:lnTo>
                  <a:pt x="19176" y="38988"/>
                </a:lnTo>
                <a:lnTo>
                  <a:pt x="21371" y="38863"/>
                </a:lnTo>
                <a:lnTo>
                  <a:pt x="33469" y="32518"/>
                </a:lnTo>
                <a:lnTo>
                  <a:pt x="38353" y="19557"/>
                </a:lnTo>
                <a:lnTo>
                  <a:pt x="38221" y="17238"/>
                </a:lnTo>
                <a:lnTo>
                  <a:pt x="31990" y="4980"/>
                </a:lnTo>
                <a:lnTo>
                  <a:pt x="19176" y="0"/>
                </a:lnTo>
                <a:lnTo>
                  <a:pt x="16887" y="136"/>
                </a:lnTo>
                <a:lnTo>
                  <a:pt x="4854" y="6523"/>
                </a:lnTo>
                <a:lnTo>
                  <a:pt x="0" y="19557"/>
                </a:lnTo>
                <a:close/>
              </a:path>
            </a:pathLst>
          </a:custGeom>
          <a:solidFill>
            <a:srgbClr val="009F00"/>
          </a:solidFill>
        </p:spPr>
        <p:txBody>
          <a:bodyPr wrap="square" lIns="0" tIns="0" rIns="0" bIns="0" rtlCol="0">
            <a:noAutofit/>
          </a:bodyPr>
          <a:lstStyle/>
          <a:p>
            <a:endParaRPr/>
          </a:p>
        </p:txBody>
      </p:sp>
      <p:sp>
        <p:nvSpPr>
          <p:cNvPr id="179" name="object 179"/>
          <p:cNvSpPr/>
          <p:nvPr/>
        </p:nvSpPr>
        <p:spPr>
          <a:xfrm>
            <a:off x="8165593" y="1261872"/>
            <a:ext cx="38353" cy="38988"/>
          </a:xfrm>
          <a:custGeom>
            <a:avLst/>
            <a:gdLst/>
            <a:ahLst/>
            <a:cxnLst/>
            <a:rect l="l" t="t" r="r" b="b"/>
            <a:pathLst>
              <a:path w="38353" h="38988">
                <a:moveTo>
                  <a:pt x="0" y="19557"/>
                </a:moveTo>
                <a:lnTo>
                  <a:pt x="4854" y="6523"/>
                </a:lnTo>
                <a:lnTo>
                  <a:pt x="16887" y="136"/>
                </a:lnTo>
                <a:lnTo>
                  <a:pt x="19176" y="0"/>
                </a:lnTo>
                <a:lnTo>
                  <a:pt x="31990" y="4980"/>
                </a:lnTo>
                <a:lnTo>
                  <a:pt x="38221" y="17238"/>
                </a:lnTo>
                <a:lnTo>
                  <a:pt x="38353" y="19557"/>
                </a:lnTo>
                <a:lnTo>
                  <a:pt x="33469" y="32518"/>
                </a:lnTo>
                <a:lnTo>
                  <a:pt x="21371" y="38863"/>
                </a:lnTo>
                <a:lnTo>
                  <a:pt x="19176" y="38988"/>
                </a:lnTo>
                <a:lnTo>
                  <a:pt x="6329" y="33990"/>
                </a:lnTo>
                <a:lnTo>
                  <a:pt x="121" y="21755"/>
                </a:lnTo>
                <a:lnTo>
                  <a:pt x="0" y="19557"/>
                </a:lnTo>
                <a:close/>
              </a:path>
            </a:pathLst>
          </a:custGeom>
          <a:ln w="12700">
            <a:solidFill>
              <a:srgbClr val="000000"/>
            </a:solidFill>
          </a:ln>
        </p:spPr>
        <p:txBody>
          <a:bodyPr wrap="square" lIns="0" tIns="0" rIns="0" bIns="0" rtlCol="0">
            <a:noAutofit/>
          </a:bodyPr>
          <a:lstStyle/>
          <a:p>
            <a:endParaRPr/>
          </a:p>
        </p:txBody>
      </p:sp>
      <p:sp>
        <p:nvSpPr>
          <p:cNvPr id="180" name="object 180"/>
          <p:cNvSpPr/>
          <p:nvPr/>
        </p:nvSpPr>
        <p:spPr>
          <a:xfrm>
            <a:off x="8175117" y="1271651"/>
            <a:ext cx="38480" cy="38988"/>
          </a:xfrm>
          <a:custGeom>
            <a:avLst/>
            <a:gdLst/>
            <a:ahLst/>
            <a:cxnLst/>
            <a:rect l="l" t="t" r="r" b="b"/>
            <a:pathLst>
              <a:path w="38480" h="38988">
                <a:moveTo>
                  <a:pt x="0" y="19431"/>
                </a:moveTo>
                <a:lnTo>
                  <a:pt x="145" y="21844"/>
                </a:lnTo>
                <a:lnTo>
                  <a:pt x="6467" y="34038"/>
                </a:lnTo>
                <a:lnTo>
                  <a:pt x="19303" y="38988"/>
                </a:lnTo>
                <a:lnTo>
                  <a:pt x="21569" y="38852"/>
                </a:lnTo>
                <a:lnTo>
                  <a:pt x="33582" y="32465"/>
                </a:lnTo>
                <a:lnTo>
                  <a:pt x="38480" y="19431"/>
                </a:lnTo>
                <a:lnTo>
                  <a:pt x="38357" y="17233"/>
                </a:lnTo>
                <a:lnTo>
                  <a:pt x="32100" y="4998"/>
                </a:lnTo>
                <a:lnTo>
                  <a:pt x="19303" y="0"/>
                </a:lnTo>
                <a:lnTo>
                  <a:pt x="17013" y="136"/>
                </a:lnTo>
                <a:lnTo>
                  <a:pt x="4911" y="6503"/>
                </a:lnTo>
                <a:lnTo>
                  <a:pt x="0" y="19431"/>
                </a:lnTo>
                <a:close/>
              </a:path>
            </a:pathLst>
          </a:custGeom>
          <a:solidFill>
            <a:srgbClr val="C0FFC0"/>
          </a:solidFill>
        </p:spPr>
        <p:txBody>
          <a:bodyPr wrap="square" lIns="0" tIns="0" rIns="0" bIns="0" rtlCol="0">
            <a:noAutofit/>
          </a:bodyPr>
          <a:lstStyle/>
          <a:p>
            <a:endParaRPr/>
          </a:p>
        </p:txBody>
      </p:sp>
      <p:sp>
        <p:nvSpPr>
          <p:cNvPr id="181" name="object 181"/>
          <p:cNvSpPr/>
          <p:nvPr/>
        </p:nvSpPr>
        <p:spPr>
          <a:xfrm>
            <a:off x="8175117" y="1271651"/>
            <a:ext cx="38480" cy="38988"/>
          </a:xfrm>
          <a:custGeom>
            <a:avLst/>
            <a:gdLst/>
            <a:ahLst/>
            <a:cxnLst/>
            <a:rect l="l" t="t" r="r" b="b"/>
            <a:pathLst>
              <a:path w="38480" h="38988">
                <a:moveTo>
                  <a:pt x="0" y="19431"/>
                </a:moveTo>
                <a:lnTo>
                  <a:pt x="4911" y="6503"/>
                </a:lnTo>
                <a:lnTo>
                  <a:pt x="17013" y="136"/>
                </a:lnTo>
                <a:lnTo>
                  <a:pt x="19303" y="0"/>
                </a:lnTo>
                <a:lnTo>
                  <a:pt x="32100" y="4998"/>
                </a:lnTo>
                <a:lnTo>
                  <a:pt x="38357" y="17233"/>
                </a:lnTo>
                <a:lnTo>
                  <a:pt x="38480" y="19431"/>
                </a:lnTo>
                <a:lnTo>
                  <a:pt x="33582" y="32465"/>
                </a:lnTo>
                <a:lnTo>
                  <a:pt x="21569" y="38852"/>
                </a:lnTo>
                <a:lnTo>
                  <a:pt x="19303" y="38988"/>
                </a:lnTo>
                <a:lnTo>
                  <a:pt x="6467" y="34038"/>
                </a:lnTo>
                <a:lnTo>
                  <a:pt x="145" y="21844"/>
                </a:lnTo>
                <a:lnTo>
                  <a:pt x="0" y="19431"/>
                </a:lnTo>
                <a:close/>
              </a:path>
            </a:pathLst>
          </a:custGeom>
          <a:ln w="12700">
            <a:solidFill>
              <a:srgbClr val="000000"/>
            </a:solidFill>
          </a:ln>
        </p:spPr>
        <p:txBody>
          <a:bodyPr wrap="square" lIns="0" tIns="0" rIns="0" bIns="0" rtlCol="0">
            <a:noAutofit/>
          </a:bodyPr>
          <a:lstStyle/>
          <a:p>
            <a:endParaRPr/>
          </a:p>
        </p:txBody>
      </p:sp>
      <p:sp>
        <p:nvSpPr>
          <p:cNvPr id="182" name="object 182"/>
          <p:cNvSpPr/>
          <p:nvPr/>
        </p:nvSpPr>
        <p:spPr>
          <a:xfrm>
            <a:off x="8103109" y="1300861"/>
            <a:ext cx="76835" cy="78104"/>
          </a:xfrm>
          <a:custGeom>
            <a:avLst/>
            <a:gdLst/>
            <a:ahLst/>
            <a:cxnLst/>
            <a:rect l="l" t="t" r="r" b="b"/>
            <a:pathLst>
              <a:path w="76835" h="78104">
                <a:moveTo>
                  <a:pt x="0" y="19558"/>
                </a:moveTo>
                <a:lnTo>
                  <a:pt x="76835" y="0"/>
                </a:lnTo>
                <a:lnTo>
                  <a:pt x="52832" y="78104"/>
                </a:lnTo>
              </a:path>
            </a:pathLst>
          </a:custGeom>
          <a:ln w="12699">
            <a:solidFill>
              <a:srgbClr val="000000"/>
            </a:solidFill>
          </a:ln>
        </p:spPr>
        <p:txBody>
          <a:bodyPr wrap="square" lIns="0" tIns="0" rIns="0" bIns="0" rtlCol="0">
            <a:noAutofit/>
          </a:bodyPr>
          <a:lstStyle/>
          <a:p>
            <a:endParaRPr/>
          </a:p>
        </p:txBody>
      </p:sp>
      <p:sp>
        <p:nvSpPr>
          <p:cNvPr id="183" name="object 183"/>
          <p:cNvSpPr/>
          <p:nvPr/>
        </p:nvSpPr>
        <p:spPr>
          <a:xfrm>
            <a:off x="8088630" y="1208278"/>
            <a:ext cx="76962" cy="77977"/>
          </a:xfrm>
          <a:custGeom>
            <a:avLst/>
            <a:gdLst/>
            <a:ahLst/>
            <a:cxnLst/>
            <a:rect l="l" t="t" r="r" b="b"/>
            <a:pathLst>
              <a:path w="76962" h="77977">
                <a:moveTo>
                  <a:pt x="76962" y="0"/>
                </a:moveTo>
                <a:lnTo>
                  <a:pt x="43306" y="9651"/>
                </a:lnTo>
                <a:lnTo>
                  <a:pt x="19303" y="29210"/>
                </a:lnTo>
                <a:lnTo>
                  <a:pt x="4825" y="48768"/>
                </a:lnTo>
                <a:lnTo>
                  <a:pt x="0" y="77977"/>
                </a:lnTo>
              </a:path>
            </a:pathLst>
          </a:custGeom>
          <a:ln w="12700">
            <a:solidFill>
              <a:srgbClr val="000000"/>
            </a:solidFill>
          </a:ln>
        </p:spPr>
        <p:txBody>
          <a:bodyPr wrap="square" lIns="0" tIns="0" rIns="0" bIns="0" rtlCol="0">
            <a:noAutofit/>
          </a:bodyPr>
          <a:lstStyle/>
          <a:p>
            <a:endParaRPr/>
          </a:p>
        </p:txBody>
      </p:sp>
      <p:sp>
        <p:nvSpPr>
          <p:cNvPr id="184" name="object 184"/>
          <p:cNvSpPr/>
          <p:nvPr/>
        </p:nvSpPr>
        <p:spPr>
          <a:xfrm>
            <a:off x="7963790" y="1413003"/>
            <a:ext cx="76835" cy="78105"/>
          </a:xfrm>
          <a:custGeom>
            <a:avLst/>
            <a:gdLst/>
            <a:ahLst/>
            <a:cxnLst/>
            <a:rect l="l" t="t" r="r" b="b"/>
            <a:pathLst>
              <a:path w="76835" h="78105">
                <a:moveTo>
                  <a:pt x="43180" y="0"/>
                </a:moveTo>
                <a:lnTo>
                  <a:pt x="19176" y="0"/>
                </a:lnTo>
                <a:lnTo>
                  <a:pt x="9525" y="4952"/>
                </a:lnTo>
                <a:lnTo>
                  <a:pt x="0" y="29337"/>
                </a:lnTo>
                <a:lnTo>
                  <a:pt x="4825" y="53721"/>
                </a:lnTo>
                <a:lnTo>
                  <a:pt x="14350" y="68325"/>
                </a:lnTo>
                <a:lnTo>
                  <a:pt x="28828" y="78105"/>
                </a:lnTo>
                <a:lnTo>
                  <a:pt x="48006" y="78105"/>
                </a:lnTo>
                <a:lnTo>
                  <a:pt x="67183" y="73151"/>
                </a:lnTo>
                <a:lnTo>
                  <a:pt x="76835" y="58547"/>
                </a:lnTo>
                <a:lnTo>
                  <a:pt x="76835" y="43942"/>
                </a:lnTo>
                <a:lnTo>
                  <a:pt x="67183" y="39115"/>
                </a:lnTo>
                <a:lnTo>
                  <a:pt x="62484" y="34162"/>
                </a:lnTo>
                <a:lnTo>
                  <a:pt x="43180" y="39115"/>
                </a:lnTo>
                <a:lnTo>
                  <a:pt x="43180" y="53721"/>
                </a:lnTo>
              </a:path>
            </a:pathLst>
          </a:custGeom>
          <a:ln w="12700">
            <a:solidFill>
              <a:srgbClr val="000000"/>
            </a:solidFill>
          </a:ln>
        </p:spPr>
        <p:txBody>
          <a:bodyPr wrap="square" lIns="0" tIns="0" rIns="0" bIns="0" rtlCol="0">
            <a:noAutofit/>
          </a:bodyPr>
          <a:lstStyle/>
          <a:p>
            <a:endParaRPr/>
          </a:p>
        </p:txBody>
      </p:sp>
      <p:sp>
        <p:nvSpPr>
          <p:cNvPr id="185" name="object 185"/>
          <p:cNvSpPr/>
          <p:nvPr/>
        </p:nvSpPr>
        <p:spPr>
          <a:xfrm>
            <a:off x="8497062" y="1881252"/>
            <a:ext cx="201803" cy="87757"/>
          </a:xfrm>
          <a:custGeom>
            <a:avLst/>
            <a:gdLst/>
            <a:ahLst/>
            <a:cxnLst/>
            <a:rect l="l" t="t" r="r" b="b"/>
            <a:pathLst>
              <a:path w="201803" h="87757">
                <a:moveTo>
                  <a:pt x="33655" y="87757"/>
                </a:moveTo>
                <a:lnTo>
                  <a:pt x="139319" y="77977"/>
                </a:lnTo>
                <a:lnTo>
                  <a:pt x="201803" y="0"/>
                </a:lnTo>
                <a:lnTo>
                  <a:pt x="33655" y="4825"/>
                </a:lnTo>
                <a:lnTo>
                  <a:pt x="0" y="53594"/>
                </a:lnTo>
                <a:lnTo>
                  <a:pt x="33655" y="87757"/>
                </a:lnTo>
                <a:close/>
              </a:path>
            </a:pathLst>
          </a:custGeom>
          <a:solidFill>
            <a:srgbClr val="FF9F40"/>
          </a:solidFill>
        </p:spPr>
        <p:txBody>
          <a:bodyPr wrap="square" lIns="0" tIns="0" rIns="0" bIns="0" rtlCol="0">
            <a:noAutofit/>
          </a:bodyPr>
          <a:lstStyle/>
          <a:p>
            <a:endParaRPr/>
          </a:p>
        </p:txBody>
      </p:sp>
      <p:sp>
        <p:nvSpPr>
          <p:cNvPr id="186" name="object 186"/>
          <p:cNvSpPr/>
          <p:nvPr/>
        </p:nvSpPr>
        <p:spPr>
          <a:xfrm>
            <a:off x="8434579" y="1764158"/>
            <a:ext cx="312293" cy="141477"/>
          </a:xfrm>
          <a:custGeom>
            <a:avLst/>
            <a:gdLst/>
            <a:ahLst/>
            <a:cxnLst/>
            <a:rect l="l" t="t" r="r" b="b"/>
            <a:pathLst>
              <a:path w="312293" h="141477">
                <a:moveTo>
                  <a:pt x="57657" y="141477"/>
                </a:moveTo>
                <a:lnTo>
                  <a:pt x="220979" y="121919"/>
                </a:lnTo>
                <a:lnTo>
                  <a:pt x="312293" y="0"/>
                </a:lnTo>
                <a:lnTo>
                  <a:pt x="57657" y="14604"/>
                </a:lnTo>
                <a:lnTo>
                  <a:pt x="0" y="92709"/>
                </a:lnTo>
                <a:lnTo>
                  <a:pt x="57657" y="141477"/>
                </a:lnTo>
                <a:close/>
              </a:path>
            </a:pathLst>
          </a:custGeom>
          <a:solidFill>
            <a:srgbClr val="FFFFFF"/>
          </a:solidFill>
        </p:spPr>
        <p:txBody>
          <a:bodyPr wrap="square" lIns="0" tIns="0" rIns="0" bIns="0" rtlCol="0">
            <a:noAutofit/>
          </a:bodyPr>
          <a:lstStyle/>
          <a:p>
            <a:endParaRPr/>
          </a:p>
        </p:txBody>
      </p:sp>
      <p:sp>
        <p:nvSpPr>
          <p:cNvPr id="187" name="object 187"/>
          <p:cNvSpPr/>
          <p:nvPr/>
        </p:nvSpPr>
        <p:spPr>
          <a:xfrm>
            <a:off x="8434579" y="1764158"/>
            <a:ext cx="312293" cy="141477"/>
          </a:xfrm>
          <a:custGeom>
            <a:avLst/>
            <a:gdLst/>
            <a:ahLst/>
            <a:cxnLst/>
            <a:rect l="l" t="t" r="r" b="b"/>
            <a:pathLst>
              <a:path w="312293" h="141477">
                <a:moveTo>
                  <a:pt x="57657" y="141477"/>
                </a:moveTo>
                <a:lnTo>
                  <a:pt x="0" y="92709"/>
                </a:lnTo>
                <a:lnTo>
                  <a:pt x="57657" y="14604"/>
                </a:lnTo>
                <a:lnTo>
                  <a:pt x="312293" y="0"/>
                </a:lnTo>
                <a:lnTo>
                  <a:pt x="220979" y="121919"/>
                </a:lnTo>
                <a:lnTo>
                  <a:pt x="57657" y="141477"/>
                </a:lnTo>
              </a:path>
            </a:pathLst>
          </a:custGeom>
          <a:ln w="12700">
            <a:solidFill>
              <a:srgbClr val="000000"/>
            </a:solidFill>
          </a:ln>
        </p:spPr>
        <p:txBody>
          <a:bodyPr wrap="square" lIns="0" tIns="0" rIns="0" bIns="0" rtlCol="0">
            <a:noAutofit/>
          </a:bodyPr>
          <a:lstStyle/>
          <a:p>
            <a:endParaRPr/>
          </a:p>
        </p:txBody>
      </p:sp>
      <p:sp>
        <p:nvSpPr>
          <p:cNvPr id="188" name="object 188"/>
          <p:cNvSpPr/>
          <p:nvPr/>
        </p:nvSpPr>
        <p:spPr>
          <a:xfrm>
            <a:off x="8434579" y="1856866"/>
            <a:ext cx="76835" cy="77978"/>
          </a:xfrm>
          <a:custGeom>
            <a:avLst/>
            <a:gdLst/>
            <a:ahLst/>
            <a:cxnLst/>
            <a:rect l="l" t="t" r="r" b="b"/>
            <a:pathLst>
              <a:path w="76835" h="77978">
                <a:moveTo>
                  <a:pt x="19176" y="77978"/>
                </a:moveTo>
                <a:lnTo>
                  <a:pt x="76835" y="43815"/>
                </a:lnTo>
                <a:lnTo>
                  <a:pt x="0" y="0"/>
                </a:lnTo>
                <a:lnTo>
                  <a:pt x="19176" y="77978"/>
                </a:lnTo>
                <a:close/>
              </a:path>
            </a:pathLst>
          </a:custGeom>
          <a:solidFill>
            <a:srgbClr val="DFDFDF"/>
          </a:solidFill>
        </p:spPr>
        <p:txBody>
          <a:bodyPr wrap="square" lIns="0" tIns="0" rIns="0" bIns="0" rtlCol="0">
            <a:noAutofit/>
          </a:bodyPr>
          <a:lstStyle/>
          <a:p>
            <a:endParaRPr/>
          </a:p>
        </p:txBody>
      </p:sp>
      <p:sp>
        <p:nvSpPr>
          <p:cNvPr id="189" name="object 189"/>
          <p:cNvSpPr/>
          <p:nvPr/>
        </p:nvSpPr>
        <p:spPr>
          <a:xfrm>
            <a:off x="8434579" y="1856866"/>
            <a:ext cx="76835" cy="77978"/>
          </a:xfrm>
          <a:custGeom>
            <a:avLst/>
            <a:gdLst/>
            <a:ahLst/>
            <a:cxnLst/>
            <a:rect l="l" t="t" r="r" b="b"/>
            <a:pathLst>
              <a:path w="76835" h="77978">
                <a:moveTo>
                  <a:pt x="19176" y="77978"/>
                </a:moveTo>
                <a:lnTo>
                  <a:pt x="76835" y="43815"/>
                </a:lnTo>
                <a:lnTo>
                  <a:pt x="0" y="0"/>
                </a:lnTo>
                <a:lnTo>
                  <a:pt x="19176" y="77978"/>
                </a:lnTo>
              </a:path>
            </a:pathLst>
          </a:custGeom>
          <a:ln w="12700">
            <a:solidFill>
              <a:srgbClr val="000000"/>
            </a:solidFill>
          </a:ln>
        </p:spPr>
        <p:txBody>
          <a:bodyPr wrap="square" lIns="0" tIns="0" rIns="0" bIns="0" rtlCol="0">
            <a:noAutofit/>
          </a:bodyPr>
          <a:lstStyle/>
          <a:p>
            <a:endParaRPr/>
          </a:p>
        </p:txBody>
      </p:sp>
      <p:sp>
        <p:nvSpPr>
          <p:cNvPr id="190" name="object 190"/>
          <p:cNvSpPr/>
          <p:nvPr/>
        </p:nvSpPr>
        <p:spPr>
          <a:xfrm>
            <a:off x="8626730" y="1778763"/>
            <a:ext cx="76835" cy="112267"/>
          </a:xfrm>
          <a:custGeom>
            <a:avLst/>
            <a:gdLst/>
            <a:ahLst/>
            <a:cxnLst/>
            <a:rect l="l" t="t" r="r" b="b"/>
            <a:pathLst>
              <a:path w="76835" h="112267">
                <a:moveTo>
                  <a:pt x="76835" y="0"/>
                </a:moveTo>
                <a:lnTo>
                  <a:pt x="0" y="112267"/>
                </a:lnTo>
              </a:path>
            </a:pathLst>
          </a:custGeom>
          <a:ln w="12700">
            <a:solidFill>
              <a:srgbClr val="000000"/>
            </a:solidFill>
          </a:ln>
        </p:spPr>
        <p:txBody>
          <a:bodyPr wrap="square" lIns="0" tIns="0" rIns="0" bIns="0" rtlCol="0">
            <a:noAutofit/>
          </a:bodyPr>
          <a:lstStyle/>
          <a:p>
            <a:endParaRPr/>
          </a:p>
        </p:txBody>
      </p:sp>
      <p:sp>
        <p:nvSpPr>
          <p:cNvPr id="191" name="object 191"/>
          <p:cNvSpPr/>
          <p:nvPr/>
        </p:nvSpPr>
        <p:spPr>
          <a:xfrm>
            <a:off x="8569071" y="1778763"/>
            <a:ext cx="76834" cy="112267"/>
          </a:xfrm>
          <a:custGeom>
            <a:avLst/>
            <a:gdLst/>
            <a:ahLst/>
            <a:cxnLst/>
            <a:rect l="l" t="t" r="r" b="b"/>
            <a:pathLst>
              <a:path w="76834" h="112267">
                <a:moveTo>
                  <a:pt x="76834" y="0"/>
                </a:moveTo>
                <a:lnTo>
                  <a:pt x="0" y="112267"/>
                </a:lnTo>
              </a:path>
            </a:pathLst>
          </a:custGeom>
          <a:ln w="12700">
            <a:solidFill>
              <a:srgbClr val="000000"/>
            </a:solidFill>
          </a:ln>
        </p:spPr>
        <p:txBody>
          <a:bodyPr wrap="square" lIns="0" tIns="0" rIns="0" bIns="0" rtlCol="0">
            <a:noAutofit/>
          </a:bodyPr>
          <a:lstStyle/>
          <a:p>
            <a:endParaRPr/>
          </a:p>
        </p:txBody>
      </p:sp>
      <p:sp>
        <p:nvSpPr>
          <p:cNvPr id="192" name="object 192"/>
          <p:cNvSpPr/>
          <p:nvPr/>
        </p:nvSpPr>
        <p:spPr>
          <a:xfrm>
            <a:off x="8535416" y="1793494"/>
            <a:ext cx="48132" cy="63372"/>
          </a:xfrm>
          <a:custGeom>
            <a:avLst/>
            <a:gdLst/>
            <a:ahLst/>
            <a:cxnLst/>
            <a:rect l="l" t="t" r="r" b="b"/>
            <a:pathLst>
              <a:path w="48132" h="63372">
                <a:moveTo>
                  <a:pt x="48132" y="0"/>
                </a:moveTo>
                <a:lnTo>
                  <a:pt x="0" y="63372"/>
                </a:lnTo>
              </a:path>
            </a:pathLst>
          </a:custGeom>
          <a:ln w="12699">
            <a:solidFill>
              <a:srgbClr val="000000"/>
            </a:solidFill>
          </a:ln>
        </p:spPr>
        <p:txBody>
          <a:bodyPr wrap="square" lIns="0" tIns="0" rIns="0" bIns="0" rtlCol="0">
            <a:noAutofit/>
          </a:bodyPr>
          <a:lstStyle/>
          <a:p>
            <a:endParaRPr/>
          </a:p>
        </p:txBody>
      </p:sp>
      <p:sp>
        <p:nvSpPr>
          <p:cNvPr id="193" name="object 193"/>
          <p:cNvSpPr/>
          <p:nvPr/>
        </p:nvSpPr>
        <p:spPr>
          <a:xfrm>
            <a:off x="8477759" y="1793494"/>
            <a:ext cx="43307" cy="63372"/>
          </a:xfrm>
          <a:custGeom>
            <a:avLst/>
            <a:gdLst/>
            <a:ahLst/>
            <a:cxnLst/>
            <a:rect l="l" t="t" r="r" b="b"/>
            <a:pathLst>
              <a:path w="43307" h="63372">
                <a:moveTo>
                  <a:pt x="43307" y="0"/>
                </a:moveTo>
                <a:lnTo>
                  <a:pt x="0" y="63372"/>
                </a:lnTo>
              </a:path>
            </a:pathLst>
          </a:custGeom>
          <a:ln w="12699">
            <a:solidFill>
              <a:srgbClr val="000000"/>
            </a:solidFill>
          </a:ln>
        </p:spPr>
        <p:txBody>
          <a:bodyPr wrap="square" lIns="0" tIns="0" rIns="0" bIns="0" rtlCol="0">
            <a:noAutofit/>
          </a:bodyPr>
          <a:lstStyle/>
          <a:p>
            <a:endParaRPr/>
          </a:p>
        </p:txBody>
      </p:sp>
      <p:sp>
        <p:nvSpPr>
          <p:cNvPr id="194" name="object 194"/>
          <p:cNvSpPr/>
          <p:nvPr/>
        </p:nvSpPr>
        <p:spPr>
          <a:xfrm>
            <a:off x="7872477" y="1603248"/>
            <a:ext cx="76835" cy="87756"/>
          </a:xfrm>
          <a:custGeom>
            <a:avLst/>
            <a:gdLst/>
            <a:ahLst/>
            <a:cxnLst/>
            <a:rect l="l" t="t" r="r" b="b"/>
            <a:pathLst>
              <a:path w="76835" h="87756">
                <a:moveTo>
                  <a:pt x="76835" y="0"/>
                </a:moveTo>
                <a:lnTo>
                  <a:pt x="19176" y="14604"/>
                </a:lnTo>
                <a:lnTo>
                  <a:pt x="0" y="34162"/>
                </a:lnTo>
                <a:lnTo>
                  <a:pt x="9651" y="53593"/>
                </a:lnTo>
                <a:lnTo>
                  <a:pt x="43307" y="73151"/>
                </a:lnTo>
                <a:lnTo>
                  <a:pt x="67310" y="87756"/>
                </a:lnTo>
              </a:path>
            </a:pathLst>
          </a:custGeom>
          <a:ln w="12700">
            <a:solidFill>
              <a:srgbClr val="000000"/>
            </a:solidFill>
          </a:ln>
        </p:spPr>
        <p:txBody>
          <a:bodyPr wrap="square" lIns="0" tIns="0" rIns="0" bIns="0" rtlCol="0">
            <a:noAutofit/>
          </a:bodyPr>
          <a:lstStyle/>
          <a:p>
            <a:endParaRPr/>
          </a:p>
        </p:txBody>
      </p:sp>
      <p:sp>
        <p:nvSpPr>
          <p:cNvPr id="195" name="object 195"/>
          <p:cNvSpPr/>
          <p:nvPr/>
        </p:nvSpPr>
        <p:spPr>
          <a:xfrm>
            <a:off x="7824470" y="1578864"/>
            <a:ext cx="76834" cy="121920"/>
          </a:xfrm>
          <a:custGeom>
            <a:avLst/>
            <a:gdLst/>
            <a:ahLst/>
            <a:cxnLst/>
            <a:rect l="l" t="t" r="r" b="b"/>
            <a:pathLst>
              <a:path w="76834" h="121920">
                <a:moveTo>
                  <a:pt x="76834" y="0"/>
                </a:moveTo>
                <a:lnTo>
                  <a:pt x="33654" y="19558"/>
                </a:lnTo>
                <a:lnTo>
                  <a:pt x="4825" y="43941"/>
                </a:lnTo>
                <a:lnTo>
                  <a:pt x="0" y="58547"/>
                </a:lnTo>
                <a:lnTo>
                  <a:pt x="0" y="77977"/>
                </a:lnTo>
                <a:lnTo>
                  <a:pt x="19176" y="97536"/>
                </a:lnTo>
                <a:lnTo>
                  <a:pt x="62483" y="121920"/>
                </a:lnTo>
              </a:path>
            </a:pathLst>
          </a:custGeom>
          <a:ln w="12700">
            <a:solidFill>
              <a:srgbClr val="000000"/>
            </a:solidFill>
          </a:ln>
        </p:spPr>
        <p:txBody>
          <a:bodyPr wrap="square" lIns="0" tIns="0" rIns="0" bIns="0" rtlCol="0">
            <a:noAutofit/>
          </a:bodyPr>
          <a:lstStyle/>
          <a:p>
            <a:endParaRPr/>
          </a:p>
        </p:txBody>
      </p:sp>
      <p:sp>
        <p:nvSpPr>
          <p:cNvPr id="196" name="object 196"/>
          <p:cNvSpPr/>
          <p:nvPr/>
        </p:nvSpPr>
        <p:spPr>
          <a:xfrm>
            <a:off x="8151114" y="998474"/>
            <a:ext cx="76834" cy="78104"/>
          </a:xfrm>
          <a:custGeom>
            <a:avLst/>
            <a:gdLst/>
            <a:ahLst/>
            <a:cxnLst/>
            <a:rect l="l" t="t" r="r" b="b"/>
            <a:pathLst>
              <a:path w="76834" h="78104">
                <a:moveTo>
                  <a:pt x="0" y="63500"/>
                </a:moveTo>
                <a:lnTo>
                  <a:pt x="0" y="78104"/>
                </a:lnTo>
                <a:lnTo>
                  <a:pt x="4825" y="68325"/>
                </a:lnTo>
                <a:lnTo>
                  <a:pt x="4825" y="63500"/>
                </a:lnTo>
                <a:lnTo>
                  <a:pt x="9651" y="53721"/>
                </a:lnTo>
                <a:lnTo>
                  <a:pt x="19176" y="48767"/>
                </a:lnTo>
                <a:lnTo>
                  <a:pt x="24002" y="48767"/>
                </a:lnTo>
                <a:lnTo>
                  <a:pt x="28828" y="43941"/>
                </a:lnTo>
                <a:lnTo>
                  <a:pt x="33654" y="39115"/>
                </a:lnTo>
                <a:lnTo>
                  <a:pt x="62483" y="39115"/>
                </a:lnTo>
                <a:lnTo>
                  <a:pt x="67309" y="34162"/>
                </a:lnTo>
                <a:lnTo>
                  <a:pt x="72135" y="29337"/>
                </a:lnTo>
                <a:lnTo>
                  <a:pt x="76834" y="24384"/>
                </a:lnTo>
                <a:lnTo>
                  <a:pt x="76834" y="9778"/>
                </a:lnTo>
                <a:lnTo>
                  <a:pt x="72135" y="9778"/>
                </a:lnTo>
                <a:lnTo>
                  <a:pt x="72135" y="4952"/>
                </a:lnTo>
                <a:lnTo>
                  <a:pt x="67309" y="4952"/>
                </a:lnTo>
                <a:lnTo>
                  <a:pt x="67309" y="0"/>
                </a:lnTo>
                <a:lnTo>
                  <a:pt x="38480" y="0"/>
                </a:lnTo>
                <a:lnTo>
                  <a:pt x="28828" y="4952"/>
                </a:lnTo>
                <a:lnTo>
                  <a:pt x="24002" y="9778"/>
                </a:lnTo>
                <a:lnTo>
                  <a:pt x="19176" y="19558"/>
                </a:lnTo>
                <a:lnTo>
                  <a:pt x="14477" y="24384"/>
                </a:lnTo>
                <a:lnTo>
                  <a:pt x="9651" y="39115"/>
                </a:lnTo>
                <a:lnTo>
                  <a:pt x="4825" y="48767"/>
                </a:lnTo>
                <a:lnTo>
                  <a:pt x="0" y="63500"/>
                </a:lnTo>
                <a:close/>
              </a:path>
            </a:pathLst>
          </a:custGeom>
          <a:solidFill>
            <a:srgbClr val="C0FFFF"/>
          </a:solidFill>
        </p:spPr>
        <p:txBody>
          <a:bodyPr wrap="square" lIns="0" tIns="0" rIns="0" bIns="0" rtlCol="0">
            <a:noAutofit/>
          </a:bodyPr>
          <a:lstStyle/>
          <a:p>
            <a:endParaRPr/>
          </a:p>
        </p:txBody>
      </p:sp>
      <p:sp>
        <p:nvSpPr>
          <p:cNvPr id="197" name="object 197"/>
          <p:cNvSpPr/>
          <p:nvPr/>
        </p:nvSpPr>
        <p:spPr>
          <a:xfrm>
            <a:off x="8151114" y="998474"/>
            <a:ext cx="76834" cy="78104"/>
          </a:xfrm>
          <a:custGeom>
            <a:avLst/>
            <a:gdLst/>
            <a:ahLst/>
            <a:cxnLst/>
            <a:rect l="l" t="t" r="r" b="b"/>
            <a:pathLst>
              <a:path w="76834" h="78104">
                <a:moveTo>
                  <a:pt x="0" y="78104"/>
                </a:moveTo>
                <a:lnTo>
                  <a:pt x="0" y="63500"/>
                </a:lnTo>
                <a:lnTo>
                  <a:pt x="4825" y="48767"/>
                </a:lnTo>
                <a:lnTo>
                  <a:pt x="9651" y="39115"/>
                </a:lnTo>
                <a:lnTo>
                  <a:pt x="14477" y="24384"/>
                </a:lnTo>
                <a:lnTo>
                  <a:pt x="19176" y="19558"/>
                </a:lnTo>
                <a:lnTo>
                  <a:pt x="24002" y="9778"/>
                </a:lnTo>
                <a:lnTo>
                  <a:pt x="28828" y="4952"/>
                </a:lnTo>
                <a:lnTo>
                  <a:pt x="38480" y="0"/>
                </a:lnTo>
                <a:lnTo>
                  <a:pt x="43306" y="0"/>
                </a:lnTo>
                <a:lnTo>
                  <a:pt x="52831" y="0"/>
                </a:lnTo>
                <a:lnTo>
                  <a:pt x="57657" y="0"/>
                </a:lnTo>
                <a:lnTo>
                  <a:pt x="67309" y="0"/>
                </a:lnTo>
                <a:lnTo>
                  <a:pt x="67309" y="4952"/>
                </a:lnTo>
                <a:lnTo>
                  <a:pt x="72135" y="4952"/>
                </a:lnTo>
                <a:lnTo>
                  <a:pt x="72135" y="9778"/>
                </a:lnTo>
                <a:lnTo>
                  <a:pt x="76834" y="9778"/>
                </a:lnTo>
                <a:lnTo>
                  <a:pt x="76834" y="19558"/>
                </a:lnTo>
                <a:lnTo>
                  <a:pt x="76834" y="24384"/>
                </a:lnTo>
                <a:lnTo>
                  <a:pt x="72135" y="29337"/>
                </a:lnTo>
                <a:lnTo>
                  <a:pt x="67309" y="34162"/>
                </a:lnTo>
                <a:lnTo>
                  <a:pt x="62483" y="39115"/>
                </a:lnTo>
                <a:lnTo>
                  <a:pt x="57657" y="39115"/>
                </a:lnTo>
                <a:lnTo>
                  <a:pt x="52831" y="39115"/>
                </a:lnTo>
                <a:lnTo>
                  <a:pt x="48005" y="39115"/>
                </a:lnTo>
                <a:lnTo>
                  <a:pt x="38480" y="39115"/>
                </a:lnTo>
                <a:lnTo>
                  <a:pt x="33654" y="39115"/>
                </a:lnTo>
                <a:lnTo>
                  <a:pt x="28828" y="43941"/>
                </a:lnTo>
                <a:lnTo>
                  <a:pt x="24002" y="48767"/>
                </a:lnTo>
                <a:lnTo>
                  <a:pt x="19176" y="48767"/>
                </a:lnTo>
                <a:lnTo>
                  <a:pt x="9651" y="53721"/>
                </a:lnTo>
                <a:lnTo>
                  <a:pt x="4825" y="63500"/>
                </a:lnTo>
                <a:lnTo>
                  <a:pt x="4825" y="68325"/>
                </a:lnTo>
                <a:lnTo>
                  <a:pt x="0" y="78104"/>
                </a:lnTo>
              </a:path>
            </a:pathLst>
          </a:custGeom>
          <a:ln w="12700">
            <a:solidFill>
              <a:srgbClr val="000000"/>
            </a:solidFill>
          </a:ln>
        </p:spPr>
        <p:txBody>
          <a:bodyPr wrap="square" lIns="0" tIns="0" rIns="0" bIns="0" rtlCol="0">
            <a:noAutofit/>
          </a:bodyPr>
          <a:lstStyle/>
          <a:p>
            <a:endParaRPr/>
          </a:p>
        </p:txBody>
      </p:sp>
      <p:sp>
        <p:nvSpPr>
          <p:cNvPr id="198" name="object 198"/>
          <p:cNvSpPr/>
          <p:nvPr/>
        </p:nvSpPr>
        <p:spPr>
          <a:xfrm>
            <a:off x="8261605" y="1076578"/>
            <a:ext cx="76835" cy="77978"/>
          </a:xfrm>
          <a:custGeom>
            <a:avLst/>
            <a:gdLst/>
            <a:ahLst/>
            <a:cxnLst/>
            <a:rect l="l" t="t" r="r" b="b"/>
            <a:pathLst>
              <a:path w="76835" h="77978">
                <a:moveTo>
                  <a:pt x="0" y="63373"/>
                </a:moveTo>
                <a:lnTo>
                  <a:pt x="0" y="77978"/>
                </a:lnTo>
                <a:lnTo>
                  <a:pt x="4825" y="68199"/>
                </a:lnTo>
                <a:lnTo>
                  <a:pt x="4825" y="63373"/>
                </a:lnTo>
                <a:lnTo>
                  <a:pt x="9651" y="53594"/>
                </a:lnTo>
                <a:lnTo>
                  <a:pt x="19176" y="48768"/>
                </a:lnTo>
                <a:lnTo>
                  <a:pt x="24002" y="43815"/>
                </a:lnTo>
                <a:lnTo>
                  <a:pt x="28828" y="43815"/>
                </a:lnTo>
                <a:lnTo>
                  <a:pt x="33654" y="38988"/>
                </a:lnTo>
                <a:lnTo>
                  <a:pt x="62484" y="38988"/>
                </a:lnTo>
                <a:lnTo>
                  <a:pt x="67310" y="34162"/>
                </a:lnTo>
                <a:lnTo>
                  <a:pt x="72136" y="29210"/>
                </a:lnTo>
                <a:lnTo>
                  <a:pt x="76835" y="24384"/>
                </a:lnTo>
                <a:lnTo>
                  <a:pt x="76835" y="9779"/>
                </a:lnTo>
                <a:lnTo>
                  <a:pt x="72136" y="4825"/>
                </a:lnTo>
                <a:lnTo>
                  <a:pt x="67310" y="0"/>
                </a:lnTo>
                <a:lnTo>
                  <a:pt x="38480" y="0"/>
                </a:lnTo>
                <a:lnTo>
                  <a:pt x="28828" y="4825"/>
                </a:lnTo>
                <a:lnTo>
                  <a:pt x="24002" y="9779"/>
                </a:lnTo>
                <a:lnTo>
                  <a:pt x="19176" y="14605"/>
                </a:lnTo>
                <a:lnTo>
                  <a:pt x="14477" y="24384"/>
                </a:lnTo>
                <a:lnTo>
                  <a:pt x="9651" y="34162"/>
                </a:lnTo>
                <a:lnTo>
                  <a:pt x="4825" y="48768"/>
                </a:lnTo>
                <a:lnTo>
                  <a:pt x="0" y="63373"/>
                </a:lnTo>
                <a:close/>
              </a:path>
            </a:pathLst>
          </a:custGeom>
          <a:solidFill>
            <a:srgbClr val="C0FFFF"/>
          </a:solidFill>
        </p:spPr>
        <p:txBody>
          <a:bodyPr wrap="square" lIns="0" tIns="0" rIns="0" bIns="0" rtlCol="0">
            <a:noAutofit/>
          </a:bodyPr>
          <a:lstStyle/>
          <a:p>
            <a:endParaRPr/>
          </a:p>
        </p:txBody>
      </p:sp>
      <p:sp>
        <p:nvSpPr>
          <p:cNvPr id="199" name="object 199"/>
          <p:cNvSpPr/>
          <p:nvPr/>
        </p:nvSpPr>
        <p:spPr>
          <a:xfrm>
            <a:off x="8261605" y="1076578"/>
            <a:ext cx="76835" cy="77978"/>
          </a:xfrm>
          <a:custGeom>
            <a:avLst/>
            <a:gdLst/>
            <a:ahLst/>
            <a:cxnLst/>
            <a:rect l="l" t="t" r="r" b="b"/>
            <a:pathLst>
              <a:path w="76835" h="77978">
                <a:moveTo>
                  <a:pt x="0" y="77978"/>
                </a:moveTo>
                <a:lnTo>
                  <a:pt x="0" y="63373"/>
                </a:lnTo>
                <a:lnTo>
                  <a:pt x="4825" y="48768"/>
                </a:lnTo>
                <a:lnTo>
                  <a:pt x="9651" y="34162"/>
                </a:lnTo>
                <a:lnTo>
                  <a:pt x="14477" y="24384"/>
                </a:lnTo>
                <a:lnTo>
                  <a:pt x="19176" y="14605"/>
                </a:lnTo>
                <a:lnTo>
                  <a:pt x="24002" y="9779"/>
                </a:lnTo>
                <a:lnTo>
                  <a:pt x="28828" y="4825"/>
                </a:lnTo>
                <a:lnTo>
                  <a:pt x="38480" y="0"/>
                </a:lnTo>
                <a:lnTo>
                  <a:pt x="43306" y="0"/>
                </a:lnTo>
                <a:lnTo>
                  <a:pt x="52831" y="0"/>
                </a:lnTo>
                <a:lnTo>
                  <a:pt x="57657" y="0"/>
                </a:lnTo>
                <a:lnTo>
                  <a:pt x="67310" y="0"/>
                </a:lnTo>
                <a:lnTo>
                  <a:pt x="72136" y="4825"/>
                </a:lnTo>
                <a:lnTo>
                  <a:pt x="76835" y="9779"/>
                </a:lnTo>
                <a:lnTo>
                  <a:pt x="76835" y="14605"/>
                </a:lnTo>
                <a:lnTo>
                  <a:pt x="76835" y="24384"/>
                </a:lnTo>
                <a:lnTo>
                  <a:pt x="72136" y="29210"/>
                </a:lnTo>
                <a:lnTo>
                  <a:pt x="67310" y="34162"/>
                </a:lnTo>
                <a:lnTo>
                  <a:pt x="62484" y="38988"/>
                </a:lnTo>
                <a:lnTo>
                  <a:pt x="57657" y="38988"/>
                </a:lnTo>
                <a:lnTo>
                  <a:pt x="52831" y="38988"/>
                </a:lnTo>
                <a:lnTo>
                  <a:pt x="48005" y="38988"/>
                </a:lnTo>
                <a:lnTo>
                  <a:pt x="43306" y="38988"/>
                </a:lnTo>
                <a:lnTo>
                  <a:pt x="33654" y="38988"/>
                </a:lnTo>
                <a:lnTo>
                  <a:pt x="28828" y="43815"/>
                </a:lnTo>
                <a:lnTo>
                  <a:pt x="24002" y="43815"/>
                </a:lnTo>
                <a:lnTo>
                  <a:pt x="19176" y="48768"/>
                </a:lnTo>
                <a:lnTo>
                  <a:pt x="9651" y="53594"/>
                </a:lnTo>
                <a:lnTo>
                  <a:pt x="4825" y="63373"/>
                </a:lnTo>
                <a:lnTo>
                  <a:pt x="4825" y="68199"/>
                </a:lnTo>
                <a:lnTo>
                  <a:pt x="0" y="77978"/>
                </a:lnTo>
              </a:path>
            </a:pathLst>
          </a:custGeom>
          <a:ln w="12700">
            <a:solidFill>
              <a:srgbClr val="000000"/>
            </a:solidFill>
          </a:ln>
        </p:spPr>
        <p:txBody>
          <a:bodyPr wrap="square" lIns="0" tIns="0" rIns="0" bIns="0" rtlCol="0">
            <a:noAutofit/>
          </a:bodyPr>
          <a:lstStyle/>
          <a:p>
            <a:endParaRPr/>
          </a:p>
        </p:txBody>
      </p:sp>
      <p:sp>
        <p:nvSpPr>
          <p:cNvPr id="200" name="object 200"/>
          <p:cNvSpPr/>
          <p:nvPr/>
        </p:nvSpPr>
        <p:spPr>
          <a:xfrm>
            <a:off x="8343266" y="1178941"/>
            <a:ext cx="76961" cy="78105"/>
          </a:xfrm>
          <a:custGeom>
            <a:avLst/>
            <a:gdLst/>
            <a:ahLst/>
            <a:cxnLst/>
            <a:rect l="l" t="t" r="r" b="b"/>
            <a:pathLst>
              <a:path w="76961" h="78105">
                <a:moveTo>
                  <a:pt x="48132" y="68325"/>
                </a:moveTo>
                <a:lnTo>
                  <a:pt x="52831" y="78105"/>
                </a:lnTo>
                <a:lnTo>
                  <a:pt x="57657" y="78105"/>
                </a:lnTo>
                <a:lnTo>
                  <a:pt x="67309" y="73151"/>
                </a:lnTo>
                <a:lnTo>
                  <a:pt x="72135" y="63373"/>
                </a:lnTo>
                <a:lnTo>
                  <a:pt x="72135" y="58547"/>
                </a:lnTo>
                <a:lnTo>
                  <a:pt x="76961" y="48768"/>
                </a:lnTo>
                <a:lnTo>
                  <a:pt x="76961" y="24384"/>
                </a:lnTo>
                <a:lnTo>
                  <a:pt x="72135" y="19558"/>
                </a:lnTo>
                <a:lnTo>
                  <a:pt x="72135" y="9779"/>
                </a:lnTo>
                <a:lnTo>
                  <a:pt x="67309" y="4953"/>
                </a:lnTo>
                <a:lnTo>
                  <a:pt x="67309" y="0"/>
                </a:lnTo>
                <a:lnTo>
                  <a:pt x="43306" y="0"/>
                </a:lnTo>
                <a:lnTo>
                  <a:pt x="38480" y="4953"/>
                </a:lnTo>
                <a:lnTo>
                  <a:pt x="33654" y="4953"/>
                </a:lnTo>
                <a:lnTo>
                  <a:pt x="28828" y="14605"/>
                </a:lnTo>
                <a:lnTo>
                  <a:pt x="24002" y="19558"/>
                </a:lnTo>
                <a:lnTo>
                  <a:pt x="24002" y="24384"/>
                </a:lnTo>
                <a:lnTo>
                  <a:pt x="14477" y="29337"/>
                </a:lnTo>
                <a:lnTo>
                  <a:pt x="0" y="78105"/>
                </a:lnTo>
                <a:lnTo>
                  <a:pt x="14477" y="63373"/>
                </a:lnTo>
                <a:lnTo>
                  <a:pt x="38480" y="63373"/>
                </a:lnTo>
                <a:lnTo>
                  <a:pt x="48132" y="68325"/>
                </a:lnTo>
                <a:close/>
              </a:path>
            </a:pathLst>
          </a:custGeom>
          <a:solidFill>
            <a:srgbClr val="C0FFFF"/>
          </a:solidFill>
        </p:spPr>
        <p:txBody>
          <a:bodyPr wrap="square" lIns="0" tIns="0" rIns="0" bIns="0" rtlCol="0">
            <a:noAutofit/>
          </a:bodyPr>
          <a:lstStyle/>
          <a:p>
            <a:endParaRPr/>
          </a:p>
        </p:txBody>
      </p:sp>
      <p:sp>
        <p:nvSpPr>
          <p:cNvPr id="201" name="object 201"/>
          <p:cNvSpPr/>
          <p:nvPr/>
        </p:nvSpPr>
        <p:spPr>
          <a:xfrm>
            <a:off x="8343266" y="1178941"/>
            <a:ext cx="76961" cy="78105"/>
          </a:xfrm>
          <a:custGeom>
            <a:avLst/>
            <a:gdLst/>
            <a:ahLst/>
            <a:cxnLst/>
            <a:rect l="l" t="t" r="r" b="b"/>
            <a:pathLst>
              <a:path w="76961" h="78105">
                <a:moveTo>
                  <a:pt x="0" y="78105"/>
                </a:moveTo>
                <a:lnTo>
                  <a:pt x="14477" y="29337"/>
                </a:lnTo>
                <a:lnTo>
                  <a:pt x="24002" y="24384"/>
                </a:lnTo>
                <a:lnTo>
                  <a:pt x="24002" y="19558"/>
                </a:lnTo>
                <a:lnTo>
                  <a:pt x="28828" y="14605"/>
                </a:lnTo>
                <a:lnTo>
                  <a:pt x="33654" y="4953"/>
                </a:lnTo>
                <a:lnTo>
                  <a:pt x="38480" y="4953"/>
                </a:lnTo>
                <a:lnTo>
                  <a:pt x="43306" y="0"/>
                </a:lnTo>
                <a:lnTo>
                  <a:pt x="48132" y="0"/>
                </a:lnTo>
                <a:lnTo>
                  <a:pt x="52831" y="0"/>
                </a:lnTo>
                <a:lnTo>
                  <a:pt x="57657" y="0"/>
                </a:lnTo>
                <a:lnTo>
                  <a:pt x="67309" y="0"/>
                </a:lnTo>
                <a:lnTo>
                  <a:pt x="67309" y="4953"/>
                </a:lnTo>
                <a:lnTo>
                  <a:pt x="72135" y="9779"/>
                </a:lnTo>
                <a:lnTo>
                  <a:pt x="72135" y="19558"/>
                </a:lnTo>
                <a:lnTo>
                  <a:pt x="76961" y="24384"/>
                </a:lnTo>
                <a:lnTo>
                  <a:pt x="76961" y="38988"/>
                </a:lnTo>
                <a:lnTo>
                  <a:pt x="76961" y="48768"/>
                </a:lnTo>
                <a:lnTo>
                  <a:pt x="72135" y="58547"/>
                </a:lnTo>
                <a:lnTo>
                  <a:pt x="72135" y="63373"/>
                </a:lnTo>
                <a:lnTo>
                  <a:pt x="67309" y="73151"/>
                </a:lnTo>
                <a:lnTo>
                  <a:pt x="57657" y="78105"/>
                </a:lnTo>
                <a:lnTo>
                  <a:pt x="52831" y="78105"/>
                </a:lnTo>
                <a:lnTo>
                  <a:pt x="48132" y="68325"/>
                </a:lnTo>
                <a:lnTo>
                  <a:pt x="38480" y="63373"/>
                </a:lnTo>
                <a:lnTo>
                  <a:pt x="33654" y="63373"/>
                </a:lnTo>
                <a:lnTo>
                  <a:pt x="24002" y="63373"/>
                </a:lnTo>
                <a:lnTo>
                  <a:pt x="14477" y="63373"/>
                </a:lnTo>
                <a:lnTo>
                  <a:pt x="0" y="78105"/>
                </a:lnTo>
              </a:path>
            </a:pathLst>
          </a:custGeom>
          <a:ln w="12700">
            <a:solidFill>
              <a:srgbClr val="000000"/>
            </a:solidFill>
          </a:ln>
        </p:spPr>
        <p:txBody>
          <a:bodyPr wrap="square" lIns="0" tIns="0" rIns="0" bIns="0" rtlCol="0">
            <a:noAutofit/>
          </a:bodyPr>
          <a:lstStyle/>
          <a:p>
            <a:endParaRPr/>
          </a:p>
        </p:txBody>
      </p:sp>
      <p:sp>
        <p:nvSpPr>
          <p:cNvPr id="202" name="object 202"/>
          <p:cNvSpPr/>
          <p:nvPr/>
        </p:nvSpPr>
        <p:spPr>
          <a:xfrm>
            <a:off x="7814819" y="1027812"/>
            <a:ext cx="76835" cy="77977"/>
          </a:xfrm>
          <a:custGeom>
            <a:avLst/>
            <a:gdLst/>
            <a:ahLst/>
            <a:cxnLst/>
            <a:rect l="l" t="t" r="r" b="b"/>
            <a:pathLst>
              <a:path w="76835" h="77977">
                <a:moveTo>
                  <a:pt x="4826" y="34162"/>
                </a:moveTo>
                <a:lnTo>
                  <a:pt x="9652" y="38988"/>
                </a:lnTo>
                <a:lnTo>
                  <a:pt x="38481" y="38988"/>
                </a:lnTo>
                <a:lnTo>
                  <a:pt x="43307" y="43814"/>
                </a:lnTo>
                <a:lnTo>
                  <a:pt x="48006" y="43814"/>
                </a:lnTo>
                <a:lnTo>
                  <a:pt x="52832" y="48767"/>
                </a:lnTo>
                <a:lnTo>
                  <a:pt x="62484" y="53593"/>
                </a:lnTo>
                <a:lnTo>
                  <a:pt x="67310" y="58547"/>
                </a:lnTo>
                <a:lnTo>
                  <a:pt x="67310" y="68199"/>
                </a:lnTo>
                <a:lnTo>
                  <a:pt x="76835" y="77977"/>
                </a:lnTo>
                <a:lnTo>
                  <a:pt x="72136" y="63373"/>
                </a:lnTo>
                <a:lnTo>
                  <a:pt x="67310" y="48767"/>
                </a:lnTo>
                <a:lnTo>
                  <a:pt x="62484" y="34162"/>
                </a:lnTo>
                <a:lnTo>
                  <a:pt x="57658" y="24384"/>
                </a:lnTo>
                <a:lnTo>
                  <a:pt x="52832" y="14604"/>
                </a:lnTo>
                <a:lnTo>
                  <a:pt x="48006" y="9778"/>
                </a:lnTo>
                <a:lnTo>
                  <a:pt x="43307" y="4825"/>
                </a:lnTo>
                <a:lnTo>
                  <a:pt x="33655" y="0"/>
                </a:lnTo>
                <a:lnTo>
                  <a:pt x="4826" y="0"/>
                </a:lnTo>
                <a:lnTo>
                  <a:pt x="0" y="4825"/>
                </a:lnTo>
                <a:lnTo>
                  <a:pt x="0" y="29210"/>
                </a:lnTo>
                <a:lnTo>
                  <a:pt x="4826" y="34162"/>
                </a:lnTo>
                <a:close/>
              </a:path>
            </a:pathLst>
          </a:custGeom>
          <a:solidFill>
            <a:srgbClr val="C0FFFF"/>
          </a:solidFill>
        </p:spPr>
        <p:txBody>
          <a:bodyPr wrap="square" lIns="0" tIns="0" rIns="0" bIns="0" rtlCol="0">
            <a:noAutofit/>
          </a:bodyPr>
          <a:lstStyle/>
          <a:p>
            <a:endParaRPr/>
          </a:p>
        </p:txBody>
      </p:sp>
      <p:sp>
        <p:nvSpPr>
          <p:cNvPr id="203" name="object 203"/>
          <p:cNvSpPr/>
          <p:nvPr/>
        </p:nvSpPr>
        <p:spPr>
          <a:xfrm>
            <a:off x="7814819" y="1027812"/>
            <a:ext cx="76835" cy="77977"/>
          </a:xfrm>
          <a:custGeom>
            <a:avLst/>
            <a:gdLst/>
            <a:ahLst/>
            <a:cxnLst/>
            <a:rect l="l" t="t" r="r" b="b"/>
            <a:pathLst>
              <a:path w="76835" h="77977">
                <a:moveTo>
                  <a:pt x="76835" y="77977"/>
                </a:moveTo>
                <a:lnTo>
                  <a:pt x="72136" y="63373"/>
                </a:lnTo>
                <a:lnTo>
                  <a:pt x="67310" y="48767"/>
                </a:lnTo>
                <a:lnTo>
                  <a:pt x="62484" y="34162"/>
                </a:lnTo>
                <a:lnTo>
                  <a:pt x="57658" y="24384"/>
                </a:lnTo>
                <a:lnTo>
                  <a:pt x="52832" y="14604"/>
                </a:lnTo>
                <a:lnTo>
                  <a:pt x="48006" y="9778"/>
                </a:lnTo>
                <a:lnTo>
                  <a:pt x="43307" y="4825"/>
                </a:lnTo>
                <a:lnTo>
                  <a:pt x="33655" y="0"/>
                </a:lnTo>
                <a:lnTo>
                  <a:pt x="28829" y="0"/>
                </a:lnTo>
                <a:lnTo>
                  <a:pt x="19177" y="0"/>
                </a:lnTo>
                <a:lnTo>
                  <a:pt x="9652" y="0"/>
                </a:lnTo>
                <a:lnTo>
                  <a:pt x="4826" y="0"/>
                </a:lnTo>
                <a:lnTo>
                  <a:pt x="0" y="4825"/>
                </a:lnTo>
                <a:lnTo>
                  <a:pt x="0" y="9778"/>
                </a:lnTo>
                <a:lnTo>
                  <a:pt x="0" y="14604"/>
                </a:lnTo>
                <a:lnTo>
                  <a:pt x="0" y="24384"/>
                </a:lnTo>
                <a:lnTo>
                  <a:pt x="0" y="29210"/>
                </a:lnTo>
                <a:lnTo>
                  <a:pt x="4826" y="34162"/>
                </a:lnTo>
                <a:lnTo>
                  <a:pt x="9652" y="38988"/>
                </a:lnTo>
                <a:lnTo>
                  <a:pt x="14478" y="38988"/>
                </a:lnTo>
                <a:lnTo>
                  <a:pt x="19177" y="38988"/>
                </a:lnTo>
                <a:lnTo>
                  <a:pt x="24003" y="38988"/>
                </a:lnTo>
                <a:lnTo>
                  <a:pt x="33655" y="38988"/>
                </a:lnTo>
                <a:lnTo>
                  <a:pt x="38481" y="38988"/>
                </a:lnTo>
                <a:lnTo>
                  <a:pt x="43307" y="43814"/>
                </a:lnTo>
                <a:lnTo>
                  <a:pt x="48006" y="43814"/>
                </a:lnTo>
                <a:lnTo>
                  <a:pt x="52832" y="48767"/>
                </a:lnTo>
                <a:lnTo>
                  <a:pt x="62484" y="53593"/>
                </a:lnTo>
                <a:lnTo>
                  <a:pt x="67310" y="58547"/>
                </a:lnTo>
                <a:lnTo>
                  <a:pt x="67310" y="68199"/>
                </a:lnTo>
                <a:lnTo>
                  <a:pt x="76835" y="77977"/>
                </a:lnTo>
              </a:path>
            </a:pathLst>
          </a:custGeom>
          <a:ln w="12700">
            <a:solidFill>
              <a:srgbClr val="000000"/>
            </a:solidFill>
          </a:ln>
        </p:spPr>
        <p:txBody>
          <a:bodyPr wrap="square" lIns="0" tIns="0" rIns="0" bIns="0" rtlCol="0">
            <a:noAutofit/>
          </a:bodyPr>
          <a:lstStyle/>
          <a:p>
            <a:endParaRPr/>
          </a:p>
        </p:txBody>
      </p:sp>
      <p:sp>
        <p:nvSpPr>
          <p:cNvPr id="43" name="object 43"/>
          <p:cNvSpPr/>
          <p:nvPr/>
        </p:nvSpPr>
        <p:spPr>
          <a:xfrm>
            <a:off x="9529954" y="1013205"/>
            <a:ext cx="76835" cy="77978"/>
          </a:xfrm>
          <a:custGeom>
            <a:avLst/>
            <a:gdLst/>
            <a:ahLst/>
            <a:cxnLst/>
            <a:rect l="l" t="t" r="r" b="b"/>
            <a:pathLst>
              <a:path w="76835" h="77978">
                <a:moveTo>
                  <a:pt x="4825" y="34036"/>
                </a:moveTo>
                <a:lnTo>
                  <a:pt x="4825" y="38989"/>
                </a:lnTo>
                <a:lnTo>
                  <a:pt x="38480" y="38989"/>
                </a:lnTo>
                <a:lnTo>
                  <a:pt x="43179" y="43815"/>
                </a:lnTo>
                <a:lnTo>
                  <a:pt x="48005" y="43815"/>
                </a:lnTo>
                <a:lnTo>
                  <a:pt x="52831" y="48768"/>
                </a:lnTo>
                <a:lnTo>
                  <a:pt x="57657" y="58420"/>
                </a:lnTo>
                <a:lnTo>
                  <a:pt x="62483" y="63373"/>
                </a:lnTo>
                <a:lnTo>
                  <a:pt x="67182" y="68199"/>
                </a:lnTo>
                <a:lnTo>
                  <a:pt x="76835" y="77978"/>
                </a:lnTo>
                <a:lnTo>
                  <a:pt x="72008" y="68199"/>
                </a:lnTo>
                <a:lnTo>
                  <a:pt x="67182" y="48768"/>
                </a:lnTo>
                <a:lnTo>
                  <a:pt x="62483" y="38989"/>
                </a:lnTo>
                <a:lnTo>
                  <a:pt x="57657" y="29210"/>
                </a:lnTo>
                <a:lnTo>
                  <a:pt x="52831" y="14605"/>
                </a:lnTo>
                <a:lnTo>
                  <a:pt x="48005" y="9652"/>
                </a:lnTo>
                <a:lnTo>
                  <a:pt x="43179" y="4826"/>
                </a:lnTo>
                <a:lnTo>
                  <a:pt x="33654" y="0"/>
                </a:lnTo>
                <a:lnTo>
                  <a:pt x="4825" y="0"/>
                </a:lnTo>
                <a:lnTo>
                  <a:pt x="0" y="4826"/>
                </a:lnTo>
                <a:lnTo>
                  <a:pt x="0" y="29210"/>
                </a:lnTo>
                <a:lnTo>
                  <a:pt x="4825" y="34036"/>
                </a:lnTo>
                <a:close/>
              </a:path>
            </a:pathLst>
          </a:custGeom>
          <a:solidFill>
            <a:srgbClr val="C0FFFF"/>
          </a:solidFill>
        </p:spPr>
        <p:txBody>
          <a:bodyPr wrap="square" lIns="0" tIns="0" rIns="0" bIns="0" rtlCol="0">
            <a:noAutofit/>
          </a:bodyPr>
          <a:lstStyle/>
          <a:p>
            <a:endParaRPr/>
          </a:p>
        </p:txBody>
      </p:sp>
      <p:sp>
        <p:nvSpPr>
          <p:cNvPr id="44" name="object 44"/>
          <p:cNvSpPr/>
          <p:nvPr/>
        </p:nvSpPr>
        <p:spPr>
          <a:xfrm>
            <a:off x="9529954" y="1013205"/>
            <a:ext cx="76835" cy="77978"/>
          </a:xfrm>
          <a:custGeom>
            <a:avLst/>
            <a:gdLst/>
            <a:ahLst/>
            <a:cxnLst/>
            <a:rect l="l" t="t" r="r" b="b"/>
            <a:pathLst>
              <a:path w="76835" h="77978">
                <a:moveTo>
                  <a:pt x="76835" y="77978"/>
                </a:moveTo>
                <a:lnTo>
                  <a:pt x="72008" y="68199"/>
                </a:lnTo>
                <a:lnTo>
                  <a:pt x="67182" y="48768"/>
                </a:lnTo>
                <a:lnTo>
                  <a:pt x="62483" y="38989"/>
                </a:lnTo>
                <a:lnTo>
                  <a:pt x="57657" y="29210"/>
                </a:lnTo>
                <a:lnTo>
                  <a:pt x="52831" y="14605"/>
                </a:lnTo>
                <a:lnTo>
                  <a:pt x="48005" y="9652"/>
                </a:lnTo>
                <a:lnTo>
                  <a:pt x="43179" y="4826"/>
                </a:lnTo>
                <a:lnTo>
                  <a:pt x="33654" y="0"/>
                </a:lnTo>
                <a:lnTo>
                  <a:pt x="28828" y="0"/>
                </a:lnTo>
                <a:lnTo>
                  <a:pt x="19176" y="0"/>
                </a:lnTo>
                <a:lnTo>
                  <a:pt x="14350" y="0"/>
                </a:lnTo>
                <a:lnTo>
                  <a:pt x="4825" y="0"/>
                </a:lnTo>
                <a:lnTo>
                  <a:pt x="0" y="4826"/>
                </a:lnTo>
                <a:lnTo>
                  <a:pt x="0" y="9652"/>
                </a:lnTo>
                <a:lnTo>
                  <a:pt x="0" y="14605"/>
                </a:lnTo>
                <a:lnTo>
                  <a:pt x="0" y="24384"/>
                </a:lnTo>
                <a:lnTo>
                  <a:pt x="0" y="29210"/>
                </a:lnTo>
                <a:lnTo>
                  <a:pt x="4825" y="34036"/>
                </a:lnTo>
                <a:lnTo>
                  <a:pt x="4825" y="38989"/>
                </a:lnTo>
                <a:lnTo>
                  <a:pt x="9651" y="38989"/>
                </a:lnTo>
                <a:lnTo>
                  <a:pt x="14350" y="38989"/>
                </a:lnTo>
                <a:lnTo>
                  <a:pt x="38480" y="38989"/>
                </a:lnTo>
                <a:lnTo>
                  <a:pt x="43179" y="43815"/>
                </a:lnTo>
                <a:lnTo>
                  <a:pt x="48005" y="43815"/>
                </a:lnTo>
                <a:lnTo>
                  <a:pt x="52831" y="48768"/>
                </a:lnTo>
                <a:lnTo>
                  <a:pt x="57657" y="58420"/>
                </a:lnTo>
                <a:lnTo>
                  <a:pt x="62483" y="63373"/>
                </a:lnTo>
                <a:lnTo>
                  <a:pt x="67182" y="68199"/>
                </a:lnTo>
                <a:lnTo>
                  <a:pt x="76835" y="77978"/>
                </a:lnTo>
              </a:path>
            </a:pathLst>
          </a:custGeom>
          <a:ln w="12700">
            <a:solidFill>
              <a:srgbClr val="000000"/>
            </a:solidFill>
          </a:ln>
        </p:spPr>
        <p:txBody>
          <a:bodyPr wrap="square" lIns="0" tIns="0" rIns="0" bIns="0" rtlCol="0">
            <a:noAutofit/>
          </a:bodyPr>
          <a:lstStyle/>
          <a:p>
            <a:endParaRPr/>
          </a:p>
        </p:txBody>
      </p:sp>
      <p:sp>
        <p:nvSpPr>
          <p:cNvPr id="40" name="object 40"/>
          <p:cNvSpPr txBox="1"/>
          <p:nvPr/>
        </p:nvSpPr>
        <p:spPr>
          <a:xfrm>
            <a:off x="2136141" y="3122311"/>
            <a:ext cx="7835773" cy="2514711"/>
          </a:xfrm>
          <a:prstGeom prst="rect">
            <a:avLst/>
          </a:prstGeom>
        </p:spPr>
        <p:txBody>
          <a:bodyPr wrap="square" lIns="0" tIns="0" rIns="0" bIns="0" rtlCol="0">
            <a:noAutofit/>
          </a:bodyPr>
          <a:lstStyle/>
          <a:p>
            <a:pPr marL="355600" indent="-342900">
              <a:lnSpc>
                <a:spcPts val="2150"/>
              </a:lnSpc>
              <a:spcBef>
                <a:spcPts val="107"/>
              </a:spcBef>
              <a:buClr>
                <a:srgbClr val="00B0F0"/>
              </a:buClr>
              <a:buFont typeface="Wingdings" panose="05000000000000000000" pitchFamily="2" charset="2"/>
              <a:buChar char="§"/>
            </a:pPr>
            <a:r>
              <a:rPr spc="-144" dirty="0">
                <a:cs typeface="Arial"/>
              </a:rPr>
              <a:t>T</a:t>
            </a:r>
            <a:r>
              <a:rPr dirty="0">
                <a:cs typeface="Arial"/>
              </a:rPr>
              <a:t>o</a:t>
            </a:r>
            <a:r>
              <a:rPr spc="-14" dirty="0">
                <a:cs typeface="Arial"/>
              </a:rPr>
              <a:t> </a:t>
            </a:r>
            <a:r>
              <a:rPr dirty="0">
                <a:cs typeface="Arial"/>
              </a:rPr>
              <a:t>ensure</a:t>
            </a:r>
            <a:r>
              <a:rPr spc="-19" dirty="0">
                <a:cs typeface="Arial"/>
              </a:rPr>
              <a:t> </a:t>
            </a:r>
            <a:r>
              <a:rPr dirty="0">
                <a:cs typeface="Arial"/>
              </a:rPr>
              <a:t>material</a:t>
            </a:r>
            <a:r>
              <a:rPr spc="-29" dirty="0">
                <a:cs typeface="Arial"/>
              </a:rPr>
              <a:t> </a:t>
            </a:r>
            <a:r>
              <a:rPr dirty="0">
                <a:cs typeface="Arial"/>
              </a:rPr>
              <a:t>a</a:t>
            </a:r>
            <a:r>
              <a:rPr spc="-19" dirty="0">
                <a:cs typeface="Arial"/>
              </a:rPr>
              <a:t>v</a:t>
            </a:r>
            <a:r>
              <a:rPr dirty="0">
                <a:cs typeface="Arial"/>
              </a:rPr>
              <a:t>ai</a:t>
            </a:r>
            <a:r>
              <a:rPr spc="-9" dirty="0">
                <a:cs typeface="Arial"/>
              </a:rPr>
              <a:t>l</a:t>
            </a:r>
            <a:r>
              <a:rPr dirty="0">
                <a:cs typeface="Arial"/>
              </a:rPr>
              <a:t>abi</a:t>
            </a:r>
            <a:r>
              <a:rPr spc="-9" dirty="0">
                <a:cs typeface="Arial"/>
              </a:rPr>
              <a:t>l</a:t>
            </a:r>
            <a:r>
              <a:rPr dirty="0">
                <a:cs typeface="Arial"/>
              </a:rPr>
              <a:t>it</a:t>
            </a:r>
            <a:r>
              <a:rPr spc="-179" dirty="0">
                <a:cs typeface="Arial"/>
              </a:rPr>
              <a:t>y</a:t>
            </a:r>
            <a:r>
              <a:rPr sz="2200" dirty="0">
                <a:latin typeface="Arial"/>
                <a:cs typeface="Arial"/>
              </a:rPr>
              <a:t>,</a:t>
            </a:r>
          </a:p>
        </p:txBody>
      </p:sp>
      <p:sp>
        <p:nvSpPr>
          <p:cNvPr id="39" name="object 39"/>
          <p:cNvSpPr txBox="1"/>
          <p:nvPr/>
        </p:nvSpPr>
        <p:spPr>
          <a:xfrm>
            <a:off x="6196919" y="3120241"/>
            <a:ext cx="3453113" cy="279908"/>
          </a:xfrm>
          <a:prstGeom prst="rect">
            <a:avLst/>
          </a:prstGeom>
        </p:spPr>
        <p:txBody>
          <a:bodyPr wrap="square" lIns="0" tIns="0" rIns="0" bIns="0" rtlCol="0">
            <a:noAutofit/>
          </a:bodyPr>
          <a:lstStyle/>
          <a:p>
            <a:pPr marL="12700">
              <a:lnSpc>
                <a:spcPts val="2150"/>
              </a:lnSpc>
              <a:spcBef>
                <a:spcPts val="107"/>
              </a:spcBef>
            </a:pPr>
            <a:r>
              <a:rPr dirty="0">
                <a:cs typeface="Arial"/>
              </a:rPr>
              <a:t>cus</a:t>
            </a:r>
            <a:r>
              <a:rPr spc="9" dirty="0">
                <a:cs typeface="Arial"/>
              </a:rPr>
              <a:t>t</a:t>
            </a:r>
            <a:r>
              <a:rPr dirty="0">
                <a:cs typeface="Arial"/>
              </a:rPr>
              <a:t>omer</a:t>
            </a:r>
            <a:r>
              <a:rPr spc="-29" dirty="0">
                <a:cs typeface="Arial"/>
              </a:rPr>
              <a:t> </a:t>
            </a:r>
            <a:r>
              <a:rPr dirty="0">
                <a:cs typeface="Arial"/>
              </a:rPr>
              <a:t>credit</a:t>
            </a:r>
            <a:r>
              <a:rPr spc="-25" dirty="0">
                <a:cs typeface="Arial"/>
              </a:rPr>
              <a:t> </a:t>
            </a:r>
            <a:r>
              <a:rPr spc="34" dirty="0">
                <a:cs typeface="Arial"/>
              </a:rPr>
              <a:t>w</a:t>
            </a:r>
            <a:r>
              <a:rPr dirty="0">
                <a:cs typeface="Arial"/>
              </a:rPr>
              <a:t>or</a:t>
            </a:r>
            <a:r>
              <a:rPr spc="-9" dirty="0">
                <a:cs typeface="Arial"/>
              </a:rPr>
              <a:t>t</a:t>
            </a:r>
            <a:r>
              <a:rPr dirty="0">
                <a:cs typeface="Arial"/>
              </a:rPr>
              <a:t>hine</a:t>
            </a:r>
            <a:r>
              <a:rPr spc="-14" dirty="0">
                <a:cs typeface="Arial"/>
              </a:rPr>
              <a:t>s</a:t>
            </a:r>
            <a:r>
              <a:rPr dirty="0">
                <a:cs typeface="Arial"/>
              </a:rPr>
              <a:t>s,</a:t>
            </a:r>
          </a:p>
        </p:txBody>
      </p:sp>
      <p:sp>
        <p:nvSpPr>
          <p:cNvPr id="38" name="object 38"/>
          <p:cNvSpPr txBox="1"/>
          <p:nvPr/>
        </p:nvSpPr>
        <p:spPr>
          <a:xfrm>
            <a:off x="2514600" y="3439617"/>
            <a:ext cx="4605016" cy="279908"/>
          </a:xfrm>
          <a:prstGeom prst="rect">
            <a:avLst/>
          </a:prstGeom>
        </p:spPr>
        <p:txBody>
          <a:bodyPr wrap="square" lIns="0" tIns="0" rIns="0" bIns="0" rtlCol="0">
            <a:noAutofit/>
          </a:bodyPr>
          <a:lstStyle/>
          <a:p>
            <a:pPr marL="12700">
              <a:lnSpc>
                <a:spcPts val="2150"/>
              </a:lnSpc>
              <a:spcBef>
                <a:spcPts val="107"/>
              </a:spcBef>
            </a:pPr>
            <a:r>
              <a:rPr dirty="0">
                <a:cs typeface="Arial"/>
              </a:rPr>
              <a:t>opti</a:t>
            </a:r>
            <a:r>
              <a:rPr spc="-4" dirty="0">
                <a:cs typeface="Arial"/>
              </a:rPr>
              <a:t>m</a:t>
            </a:r>
            <a:r>
              <a:rPr dirty="0">
                <a:cs typeface="Arial"/>
              </a:rPr>
              <a:t>um</a:t>
            </a:r>
            <a:r>
              <a:rPr spc="-34" dirty="0">
                <a:cs typeface="Arial"/>
              </a:rPr>
              <a:t> </a:t>
            </a:r>
            <a:r>
              <a:rPr dirty="0">
                <a:cs typeface="Arial"/>
              </a:rPr>
              <a:t>tr</a:t>
            </a:r>
            <a:r>
              <a:rPr spc="4" dirty="0">
                <a:cs typeface="Arial"/>
              </a:rPr>
              <a:t>a</a:t>
            </a:r>
            <a:r>
              <a:rPr dirty="0">
                <a:cs typeface="Arial"/>
              </a:rPr>
              <a:t>nsport</a:t>
            </a:r>
            <a:r>
              <a:rPr spc="4" dirty="0">
                <a:cs typeface="Arial"/>
              </a:rPr>
              <a:t>a</a:t>
            </a:r>
            <a:r>
              <a:rPr dirty="0">
                <a:cs typeface="Arial"/>
              </a:rPr>
              <a:t>tion</a:t>
            </a:r>
            <a:r>
              <a:rPr spc="-50" dirty="0">
                <a:cs typeface="Arial"/>
              </a:rPr>
              <a:t> </a:t>
            </a:r>
            <a:r>
              <a:rPr dirty="0">
                <a:cs typeface="Arial"/>
              </a:rPr>
              <a:t>require</a:t>
            </a:r>
            <a:r>
              <a:rPr spc="-9" dirty="0">
                <a:cs typeface="Arial"/>
              </a:rPr>
              <a:t>m</a:t>
            </a:r>
            <a:r>
              <a:rPr dirty="0">
                <a:cs typeface="Arial"/>
              </a:rPr>
              <a:t>ents</a:t>
            </a:r>
          </a:p>
        </p:txBody>
      </p:sp>
      <p:sp>
        <p:nvSpPr>
          <p:cNvPr id="37" name="object 37"/>
          <p:cNvSpPr txBox="1"/>
          <p:nvPr/>
        </p:nvSpPr>
        <p:spPr>
          <a:xfrm>
            <a:off x="2136140" y="4036965"/>
            <a:ext cx="6250432" cy="304800"/>
          </a:xfrm>
          <a:prstGeom prst="rect">
            <a:avLst/>
          </a:prstGeom>
        </p:spPr>
        <p:txBody>
          <a:bodyPr wrap="square" lIns="0" tIns="0" rIns="0" bIns="0" rtlCol="0">
            <a:noAutofit/>
          </a:bodyPr>
          <a:lstStyle/>
          <a:p>
            <a:pPr marL="355600" indent="-342900">
              <a:lnSpc>
                <a:spcPts val="2150"/>
              </a:lnSpc>
              <a:spcBef>
                <a:spcPts val="107"/>
              </a:spcBef>
              <a:buClr>
                <a:srgbClr val="00B0F0"/>
              </a:buClr>
              <a:buFont typeface="Wingdings" panose="05000000000000000000" pitchFamily="2" charset="2"/>
              <a:buChar char="§"/>
            </a:pPr>
            <a:r>
              <a:rPr dirty="0">
                <a:cs typeface="Arial"/>
              </a:rPr>
              <a:t>P</a:t>
            </a:r>
            <a:r>
              <a:rPr spc="-9" dirty="0">
                <a:cs typeface="Arial"/>
              </a:rPr>
              <a:t>i</a:t>
            </a:r>
            <a:r>
              <a:rPr dirty="0">
                <a:cs typeface="Arial"/>
              </a:rPr>
              <a:t>cking</a:t>
            </a:r>
            <a:r>
              <a:rPr spc="-14" dirty="0">
                <a:cs typeface="Arial"/>
              </a:rPr>
              <a:t> </a:t>
            </a:r>
            <a:r>
              <a:rPr dirty="0">
                <a:cs typeface="Arial"/>
              </a:rPr>
              <a:t>the</a:t>
            </a:r>
            <a:r>
              <a:rPr spc="-19" dirty="0">
                <a:cs typeface="Arial"/>
              </a:rPr>
              <a:t> </a:t>
            </a:r>
            <a:r>
              <a:rPr dirty="0">
                <a:cs typeface="Arial"/>
              </a:rPr>
              <a:t>right</a:t>
            </a:r>
            <a:r>
              <a:rPr spc="-14" dirty="0">
                <a:cs typeface="Arial"/>
              </a:rPr>
              <a:t> </a:t>
            </a:r>
            <a:r>
              <a:rPr dirty="0">
                <a:cs typeface="Arial"/>
              </a:rPr>
              <a:t>quantity</a:t>
            </a:r>
            <a:r>
              <a:rPr spc="-25" dirty="0">
                <a:cs typeface="Arial"/>
              </a:rPr>
              <a:t> </a:t>
            </a:r>
            <a:r>
              <a:rPr dirty="0">
                <a:cs typeface="Arial"/>
              </a:rPr>
              <a:t>of</a:t>
            </a:r>
            <a:r>
              <a:rPr spc="-9" dirty="0">
                <a:cs typeface="Arial"/>
              </a:rPr>
              <a:t> </a:t>
            </a:r>
            <a:r>
              <a:rPr dirty="0">
                <a:cs typeface="Arial"/>
              </a:rPr>
              <a:t>materials</a:t>
            </a:r>
          </a:p>
        </p:txBody>
      </p:sp>
      <p:sp>
        <p:nvSpPr>
          <p:cNvPr id="36" name="object 36"/>
          <p:cNvSpPr txBox="1"/>
          <p:nvPr/>
        </p:nvSpPr>
        <p:spPr>
          <a:xfrm>
            <a:off x="2136140" y="4646565"/>
            <a:ext cx="6149466" cy="329946"/>
          </a:xfrm>
          <a:prstGeom prst="rect">
            <a:avLst/>
          </a:prstGeom>
        </p:spPr>
        <p:txBody>
          <a:bodyPr wrap="square" lIns="0" tIns="0" rIns="0" bIns="0" rtlCol="0">
            <a:noAutofit/>
          </a:bodyPr>
          <a:lstStyle/>
          <a:p>
            <a:pPr marL="355600" indent="-342900">
              <a:lnSpc>
                <a:spcPts val="2150"/>
              </a:lnSpc>
              <a:spcBef>
                <a:spcPts val="107"/>
              </a:spcBef>
              <a:buClr>
                <a:srgbClr val="00B0F0"/>
              </a:buClr>
              <a:buFont typeface="Wingdings" panose="05000000000000000000" pitchFamily="2" charset="2"/>
              <a:buChar char="§"/>
            </a:pPr>
            <a:r>
              <a:rPr dirty="0">
                <a:cs typeface="Arial"/>
              </a:rPr>
              <a:t>Mee</a:t>
            </a:r>
            <a:r>
              <a:rPr spc="4" dirty="0">
                <a:cs typeface="Arial"/>
              </a:rPr>
              <a:t>t</a:t>
            </a:r>
            <a:r>
              <a:rPr dirty="0">
                <a:cs typeface="Arial"/>
              </a:rPr>
              <a:t>ing</a:t>
            </a:r>
            <a:r>
              <a:rPr spc="-44" dirty="0">
                <a:cs typeface="Arial"/>
              </a:rPr>
              <a:t> </a:t>
            </a:r>
            <a:r>
              <a:rPr dirty="0">
                <a:cs typeface="Arial"/>
              </a:rPr>
              <a:t>comp</a:t>
            </a:r>
            <a:r>
              <a:rPr spc="-9" dirty="0">
                <a:cs typeface="Arial"/>
              </a:rPr>
              <a:t>l</a:t>
            </a:r>
            <a:r>
              <a:rPr dirty="0">
                <a:cs typeface="Arial"/>
              </a:rPr>
              <a:t>ex</a:t>
            </a:r>
            <a:r>
              <a:rPr spc="-9" dirty="0">
                <a:cs typeface="Arial"/>
              </a:rPr>
              <a:t> </a:t>
            </a:r>
            <a:r>
              <a:rPr dirty="0">
                <a:cs typeface="Arial"/>
              </a:rPr>
              <a:t>packing</a:t>
            </a:r>
            <a:r>
              <a:rPr spc="-14" dirty="0">
                <a:cs typeface="Arial"/>
              </a:rPr>
              <a:t> </a:t>
            </a:r>
            <a:r>
              <a:rPr dirty="0">
                <a:cs typeface="Arial"/>
              </a:rPr>
              <a:t>require</a:t>
            </a:r>
            <a:r>
              <a:rPr spc="-9" dirty="0">
                <a:cs typeface="Arial"/>
              </a:rPr>
              <a:t>m</a:t>
            </a:r>
            <a:r>
              <a:rPr dirty="0">
                <a:cs typeface="Arial"/>
              </a:rPr>
              <a:t>ents</a:t>
            </a:r>
          </a:p>
        </p:txBody>
      </p:sp>
      <p:sp>
        <p:nvSpPr>
          <p:cNvPr id="35" name="object 35"/>
          <p:cNvSpPr txBox="1"/>
          <p:nvPr/>
        </p:nvSpPr>
        <p:spPr>
          <a:xfrm>
            <a:off x="2136140" y="5256299"/>
            <a:ext cx="7174783" cy="685522"/>
          </a:xfrm>
          <a:prstGeom prst="rect">
            <a:avLst/>
          </a:prstGeom>
        </p:spPr>
        <p:txBody>
          <a:bodyPr wrap="square" lIns="0" tIns="0" rIns="0" bIns="0" rtlCol="0">
            <a:noAutofit/>
          </a:bodyPr>
          <a:lstStyle/>
          <a:p>
            <a:pPr marL="355600" indent="-342900">
              <a:lnSpc>
                <a:spcPts val="2150"/>
              </a:lnSpc>
              <a:spcBef>
                <a:spcPts val="107"/>
              </a:spcBef>
              <a:buClr>
                <a:srgbClr val="00B0F0"/>
              </a:buClr>
              <a:buFont typeface="Wingdings" panose="05000000000000000000" pitchFamily="2" charset="2"/>
              <a:buChar char="§"/>
            </a:pPr>
            <a:r>
              <a:rPr dirty="0">
                <a:cs typeface="Arial"/>
              </a:rPr>
              <a:t>Updating</a:t>
            </a:r>
            <a:r>
              <a:rPr spc="-29" dirty="0">
                <a:cs typeface="Arial"/>
              </a:rPr>
              <a:t> </a:t>
            </a:r>
            <a:r>
              <a:rPr dirty="0">
                <a:cs typeface="Arial"/>
              </a:rPr>
              <a:t>appro</a:t>
            </a:r>
            <a:r>
              <a:rPr spc="-9" dirty="0">
                <a:cs typeface="Arial"/>
              </a:rPr>
              <a:t>p</a:t>
            </a:r>
            <a:r>
              <a:rPr dirty="0">
                <a:cs typeface="Arial"/>
              </a:rPr>
              <a:t>r</a:t>
            </a:r>
            <a:r>
              <a:rPr spc="-4" dirty="0">
                <a:cs typeface="Arial"/>
              </a:rPr>
              <a:t>i</a:t>
            </a:r>
            <a:r>
              <a:rPr dirty="0">
                <a:cs typeface="Arial"/>
              </a:rPr>
              <a:t>ate</a:t>
            </a:r>
            <a:r>
              <a:rPr spc="-29" dirty="0">
                <a:cs typeface="Arial"/>
              </a:rPr>
              <a:t> </a:t>
            </a:r>
            <a:r>
              <a:rPr dirty="0">
                <a:cs typeface="Arial"/>
              </a:rPr>
              <a:t>i</a:t>
            </a:r>
            <a:r>
              <a:rPr spc="-9" dirty="0">
                <a:cs typeface="Arial"/>
              </a:rPr>
              <a:t>n</a:t>
            </a:r>
            <a:r>
              <a:rPr spc="-25" dirty="0">
                <a:cs typeface="Arial"/>
              </a:rPr>
              <a:t>v</a:t>
            </a:r>
            <a:r>
              <a:rPr dirty="0">
                <a:cs typeface="Arial"/>
              </a:rPr>
              <a:t>entory &amp;</a:t>
            </a:r>
            <a:r>
              <a:rPr lang="en-US" dirty="0">
                <a:cs typeface="Arial"/>
              </a:rPr>
              <a:t> </a:t>
            </a:r>
            <a:r>
              <a:rPr dirty="0">
                <a:cs typeface="Arial"/>
              </a:rPr>
              <a:t>fi</a:t>
            </a:r>
            <a:r>
              <a:rPr spc="-4" dirty="0">
                <a:cs typeface="Arial"/>
              </a:rPr>
              <a:t>n</a:t>
            </a:r>
            <a:r>
              <a:rPr dirty="0">
                <a:cs typeface="Arial"/>
              </a:rPr>
              <a:t>ance</a:t>
            </a:r>
            <a:r>
              <a:rPr lang="en-US" dirty="0">
                <a:cs typeface="Arial"/>
              </a:rPr>
              <a:t> accounts</a:t>
            </a:r>
            <a:endParaRPr dirty="0">
              <a:cs typeface="Arial"/>
            </a:endParaRPr>
          </a:p>
        </p:txBody>
      </p:sp>
      <p:sp>
        <p:nvSpPr>
          <p:cNvPr id="32" name="object 32"/>
          <p:cNvSpPr txBox="1"/>
          <p:nvPr/>
        </p:nvSpPr>
        <p:spPr>
          <a:xfrm>
            <a:off x="7473696" y="457201"/>
            <a:ext cx="1422146" cy="212153"/>
          </a:xfrm>
          <a:prstGeom prst="rect">
            <a:avLst/>
          </a:prstGeom>
        </p:spPr>
        <p:txBody>
          <a:bodyPr wrap="square" lIns="0" tIns="0" rIns="0" bIns="0" rtlCol="0">
            <a:noAutofit/>
          </a:bodyPr>
          <a:lstStyle/>
          <a:p>
            <a:pPr marL="25400">
              <a:lnSpc>
                <a:spcPts val="1000"/>
              </a:lnSpc>
            </a:pPr>
            <a:endParaRPr sz="1000"/>
          </a:p>
        </p:txBody>
      </p:sp>
      <p:sp>
        <p:nvSpPr>
          <p:cNvPr id="31" name="object 31"/>
          <p:cNvSpPr txBox="1"/>
          <p:nvPr/>
        </p:nvSpPr>
        <p:spPr>
          <a:xfrm>
            <a:off x="8895842" y="457201"/>
            <a:ext cx="475614" cy="212153"/>
          </a:xfrm>
          <a:prstGeom prst="rect">
            <a:avLst/>
          </a:prstGeom>
        </p:spPr>
        <p:txBody>
          <a:bodyPr wrap="square" lIns="0" tIns="0" rIns="0" bIns="0" rtlCol="0">
            <a:noAutofit/>
          </a:bodyPr>
          <a:lstStyle/>
          <a:p>
            <a:pPr marL="25400">
              <a:lnSpc>
                <a:spcPts val="1000"/>
              </a:lnSpc>
            </a:pPr>
            <a:endParaRPr sz="1000"/>
          </a:p>
        </p:txBody>
      </p:sp>
      <p:sp>
        <p:nvSpPr>
          <p:cNvPr id="30" name="object 30"/>
          <p:cNvSpPr txBox="1"/>
          <p:nvPr/>
        </p:nvSpPr>
        <p:spPr>
          <a:xfrm>
            <a:off x="7473697" y="669354"/>
            <a:ext cx="283463" cy="582739"/>
          </a:xfrm>
          <a:prstGeom prst="rect">
            <a:avLst/>
          </a:prstGeom>
        </p:spPr>
        <p:txBody>
          <a:bodyPr wrap="square" lIns="0" tIns="0" rIns="0" bIns="0" rtlCol="0">
            <a:noAutofit/>
          </a:bodyPr>
          <a:lstStyle/>
          <a:p>
            <a:pPr marL="25400">
              <a:lnSpc>
                <a:spcPts val="1000"/>
              </a:lnSpc>
            </a:pPr>
            <a:endParaRPr sz="1000"/>
          </a:p>
        </p:txBody>
      </p:sp>
      <p:sp>
        <p:nvSpPr>
          <p:cNvPr id="29" name="object 29"/>
          <p:cNvSpPr txBox="1"/>
          <p:nvPr/>
        </p:nvSpPr>
        <p:spPr>
          <a:xfrm>
            <a:off x="7757161" y="669354"/>
            <a:ext cx="595757" cy="582739"/>
          </a:xfrm>
          <a:prstGeom prst="rect">
            <a:avLst/>
          </a:prstGeom>
        </p:spPr>
        <p:txBody>
          <a:bodyPr wrap="square" lIns="0" tIns="0" rIns="0" bIns="0" rtlCol="0">
            <a:noAutofit/>
          </a:bodyPr>
          <a:lstStyle/>
          <a:p>
            <a:pPr marL="25400">
              <a:lnSpc>
                <a:spcPts val="1000"/>
              </a:lnSpc>
            </a:pPr>
            <a:endParaRPr sz="1000"/>
          </a:p>
        </p:txBody>
      </p:sp>
      <p:sp>
        <p:nvSpPr>
          <p:cNvPr id="28" name="object 28"/>
          <p:cNvSpPr txBox="1"/>
          <p:nvPr/>
        </p:nvSpPr>
        <p:spPr>
          <a:xfrm>
            <a:off x="8352917" y="669353"/>
            <a:ext cx="422782" cy="197548"/>
          </a:xfrm>
          <a:prstGeom prst="rect">
            <a:avLst/>
          </a:prstGeom>
        </p:spPr>
        <p:txBody>
          <a:bodyPr wrap="square" lIns="0" tIns="0" rIns="0" bIns="0" rtlCol="0">
            <a:noAutofit/>
          </a:bodyPr>
          <a:lstStyle/>
          <a:p>
            <a:pPr marL="25400">
              <a:lnSpc>
                <a:spcPts val="1000"/>
              </a:lnSpc>
            </a:pPr>
            <a:endParaRPr sz="1000"/>
          </a:p>
        </p:txBody>
      </p:sp>
      <p:sp>
        <p:nvSpPr>
          <p:cNvPr id="27" name="object 27"/>
          <p:cNvSpPr txBox="1"/>
          <p:nvPr/>
        </p:nvSpPr>
        <p:spPr>
          <a:xfrm>
            <a:off x="8775700" y="669353"/>
            <a:ext cx="595756" cy="197548"/>
          </a:xfrm>
          <a:prstGeom prst="rect">
            <a:avLst/>
          </a:prstGeom>
        </p:spPr>
        <p:txBody>
          <a:bodyPr wrap="square" lIns="0" tIns="0" rIns="0" bIns="0" rtlCol="0">
            <a:noAutofit/>
          </a:bodyPr>
          <a:lstStyle/>
          <a:p>
            <a:pPr marL="25400">
              <a:lnSpc>
                <a:spcPts val="1000"/>
              </a:lnSpc>
            </a:pPr>
            <a:endParaRPr sz="1000"/>
          </a:p>
        </p:txBody>
      </p:sp>
      <p:sp>
        <p:nvSpPr>
          <p:cNvPr id="26" name="object 26"/>
          <p:cNvSpPr txBox="1"/>
          <p:nvPr/>
        </p:nvSpPr>
        <p:spPr>
          <a:xfrm>
            <a:off x="8352918" y="866901"/>
            <a:ext cx="182499" cy="385190"/>
          </a:xfrm>
          <a:prstGeom prst="rect">
            <a:avLst/>
          </a:prstGeom>
        </p:spPr>
        <p:txBody>
          <a:bodyPr wrap="square" lIns="0" tIns="0" rIns="0" bIns="0" rtlCol="0">
            <a:noAutofit/>
          </a:bodyPr>
          <a:lstStyle/>
          <a:p>
            <a:pPr marL="25400">
              <a:lnSpc>
                <a:spcPts val="1000"/>
              </a:lnSpc>
            </a:pPr>
            <a:endParaRPr sz="1000"/>
          </a:p>
        </p:txBody>
      </p:sp>
      <p:sp>
        <p:nvSpPr>
          <p:cNvPr id="25" name="object 25"/>
          <p:cNvSpPr txBox="1"/>
          <p:nvPr/>
        </p:nvSpPr>
        <p:spPr>
          <a:xfrm>
            <a:off x="8535417" y="866901"/>
            <a:ext cx="240283" cy="385190"/>
          </a:xfrm>
          <a:prstGeom prst="rect">
            <a:avLst/>
          </a:prstGeom>
        </p:spPr>
        <p:txBody>
          <a:bodyPr wrap="square" lIns="0" tIns="0" rIns="0" bIns="0" rtlCol="0">
            <a:noAutofit/>
          </a:bodyPr>
          <a:lstStyle/>
          <a:p>
            <a:pPr marL="25400">
              <a:lnSpc>
                <a:spcPts val="1000"/>
              </a:lnSpc>
            </a:pPr>
            <a:endParaRPr sz="1000"/>
          </a:p>
        </p:txBody>
      </p:sp>
      <p:sp>
        <p:nvSpPr>
          <p:cNvPr id="24" name="object 24"/>
          <p:cNvSpPr txBox="1"/>
          <p:nvPr/>
        </p:nvSpPr>
        <p:spPr>
          <a:xfrm>
            <a:off x="8775701" y="866901"/>
            <a:ext cx="312293" cy="1204468"/>
          </a:xfrm>
          <a:prstGeom prst="rect">
            <a:avLst/>
          </a:prstGeom>
        </p:spPr>
        <p:txBody>
          <a:bodyPr wrap="square" lIns="0" tIns="0" rIns="0" bIns="0" rtlCol="0">
            <a:noAutofit/>
          </a:bodyPr>
          <a:lstStyle/>
          <a:p>
            <a:pPr marL="25400">
              <a:lnSpc>
                <a:spcPts val="1000"/>
              </a:lnSpc>
            </a:pPr>
            <a:endParaRPr sz="1000"/>
          </a:p>
        </p:txBody>
      </p:sp>
      <p:sp>
        <p:nvSpPr>
          <p:cNvPr id="23" name="object 23"/>
          <p:cNvSpPr txBox="1"/>
          <p:nvPr/>
        </p:nvSpPr>
        <p:spPr>
          <a:xfrm>
            <a:off x="9087994" y="866901"/>
            <a:ext cx="283463" cy="1204468"/>
          </a:xfrm>
          <a:prstGeom prst="rect">
            <a:avLst/>
          </a:prstGeom>
        </p:spPr>
        <p:txBody>
          <a:bodyPr wrap="square" lIns="0" tIns="0" rIns="0" bIns="0" rtlCol="0">
            <a:noAutofit/>
          </a:bodyPr>
          <a:lstStyle/>
          <a:p>
            <a:pPr marL="25400">
              <a:lnSpc>
                <a:spcPts val="1000"/>
              </a:lnSpc>
            </a:pPr>
            <a:endParaRPr sz="1000"/>
          </a:p>
        </p:txBody>
      </p:sp>
      <p:sp>
        <p:nvSpPr>
          <p:cNvPr id="22" name="object 22"/>
          <p:cNvSpPr txBox="1"/>
          <p:nvPr/>
        </p:nvSpPr>
        <p:spPr>
          <a:xfrm>
            <a:off x="7473697" y="1252093"/>
            <a:ext cx="283463" cy="1033907"/>
          </a:xfrm>
          <a:prstGeom prst="rect">
            <a:avLst/>
          </a:prstGeom>
        </p:spPr>
        <p:txBody>
          <a:bodyPr wrap="square" lIns="0" tIns="0" rIns="0" bIns="0" rtlCol="0">
            <a:noAutofit/>
          </a:bodyPr>
          <a:lstStyle/>
          <a:p>
            <a:pPr marL="25400">
              <a:lnSpc>
                <a:spcPts val="1000"/>
              </a:lnSpc>
            </a:pPr>
            <a:endParaRPr sz="1000"/>
          </a:p>
        </p:txBody>
      </p:sp>
      <p:sp>
        <p:nvSpPr>
          <p:cNvPr id="21" name="object 21"/>
          <p:cNvSpPr txBox="1"/>
          <p:nvPr/>
        </p:nvSpPr>
        <p:spPr>
          <a:xfrm>
            <a:off x="7757161" y="1252093"/>
            <a:ext cx="269113" cy="1033907"/>
          </a:xfrm>
          <a:prstGeom prst="rect">
            <a:avLst/>
          </a:prstGeom>
        </p:spPr>
        <p:txBody>
          <a:bodyPr wrap="square" lIns="0" tIns="0" rIns="0" bIns="0" rtlCol="0">
            <a:noAutofit/>
          </a:bodyPr>
          <a:lstStyle/>
          <a:p>
            <a:pPr marL="25400">
              <a:lnSpc>
                <a:spcPts val="1000"/>
              </a:lnSpc>
            </a:pPr>
            <a:endParaRPr sz="1000"/>
          </a:p>
        </p:txBody>
      </p:sp>
      <p:sp>
        <p:nvSpPr>
          <p:cNvPr id="20" name="object 20"/>
          <p:cNvSpPr txBox="1"/>
          <p:nvPr/>
        </p:nvSpPr>
        <p:spPr>
          <a:xfrm>
            <a:off x="8026273" y="1252093"/>
            <a:ext cx="158496" cy="1033907"/>
          </a:xfrm>
          <a:prstGeom prst="rect">
            <a:avLst/>
          </a:prstGeom>
        </p:spPr>
        <p:txBody>
          <a:bodyPr wrap="square" lIns="0" tIns="0" rIns="0" bIns="0" rtlCol="0">
            <a:noAutofit/>
          </a:bodyPr>
          <a:lstStyle/>
          <a:p>
            <a:pPr marL="25400">
              <a:lnSpc>
                <a:spcPts val="1000"/>
              </a:lnSpc>
            </a:pPr>
            <a:endParaRPr sz="1000"/>
          </a:p>
        </p:txBody>
      </p:sp>
      <p:sp>
        <p:nvSpPr>
          <p:cNvPr id="19" name="object 19"/>
          <p:cNvSpPr txBox="1"/>
          <p:nvPr/>
        </p:nvSpPr>
        <p:spPr>
          <a:xfrm>
            <a:off x="8184769" y="1252093"/>
            <a:ext cx="168148" cy="721741"/>
          </a:xfrm>
          <a:prstGeom prst="rect">
            <a:avLst/>
          </a:prstGeom>
        </p:spPr>
        <p:txBody>
          <a:bodyPr wrap="square" lIns="0" tIns="0" rIns="0" bIns="0" rtlCol="0">
            <a:noAutofit/>
          </a:bodyPr>
          <a:lstStyle/>
          <a:p>
            <a:pPr marL="25400">
              <a:lnSpc>
                <a:spcPts val="1000"/>
              </a:lnSpc>
            </a:pPr>
            <a:endParaRPr sz="1000"/>
          </a:p>
        </p:txBody>
      </p:sp>
      <p:sp>
        <p:nvSpPr>
          <p:cNvPr id="18" name="object 18"/>
          <p:cNvSpPr txBox="1"/>
          <p:nvPr/>
        </p:nvSpPr>
        <p:spPr>
          <a:xfrm>
            <a:off x="8352918" y="1252093"/>
            <a:ext cx="182499" cy="721741"/>
          </a:xfrm>
          <a:prstGeom prst="rect">
            <a:avLst/>
          </a:prstGeom>
        </p:spPr>
        <p:txBody>
          <a:bodyPr wrap="square" lIns="0" tIns="0" rIns="0" bIns="0" rtlCol="0">
            <a:noAutofit/>
          </a:bodyPr>
          <a:lstStyle/>
          <a:p>
            <a:pPr marL="25400">
              <a:lnSpc>
                <a:spcPts val="1000"/>
              </a:lnSpc>
            </a:pPr>
            <a:endParaRPr sz="1000"/>
          </a:p>
        </p:txBody>
      </p:sp>
      <p:sp>
        <p:nvSpPr>
          <p:cNvPr id="17" name="object 17"/>
          <p:cNvSpPr txBox="1"/>
          <p:nvPr/>
        </p:nvSpPr>
        <p:spPr>
          <a:xfrm>
            <a:off x="8535416" y="1252093"/>
            <a:ext cx="196976" cy="721741"/>
          </a:xfrm>
          <a:prstGeom prst="rect">
            <a:avLst/>
          </a:prstGeom>
        </p:spPr>
        <p:txBody>
          <a:bodyPr wrap="square" lIns="0" tIns="0" rIns="0" bIns="0" rtlCol="0">
            <a:noAutofit/>
          </a:bodyPr>
          <a:lstStyle/>
          <a:p>
            <a:pPr marL="25400">
              <a:lnSpc>
                <a:spcPts val="1000"/>
              </a:lnSpc>
            </a:pPr>
            <a:endParaRPr sz="1000"/>
          </a:p>
        </p:txBody>
      </p:sp>
      <p:sp>
        <p:nvSpPr>
          <p:cNvPr id="16" name="object 16"/>
          <p:cNvSpPr txBox="1"/>
          <p:nvPr/>
        </p:nvSpPr>
        <p:spPr>
          <a:xfrm>
            <a:off x="8732393" y="1252093"/>
            <a:ext cx="43306" cy="819277"/>
          </a:xfrm>
          <a:prstGeom prst="rect">
            <a:avLst/>
          </a:prstGeom>
        </p:spPr>
        <p:txBody>
          <a:bodyPr wrap="square" lIns="0" tIns="0" rIns="0" bIns="0" rtlCol="0">
            <a:noAutofit/>
          </a:bodyPr>
          <a:lstStyle/>
          <a:p>
            <a:pPr marL="25400">
              <a:lnSpc>
                <a:spcPts val="1000"/>
              </a:lnSpc>
            </a:pPr>
            <a:endParaRPr sz="1000"/>
          </a:p>
        </p:txBody>
      </p:sp>
      <p:sp>
        <p:nvSpPr>
          <p:cNvPr id="15" name="object 15"/>
          <p:cNvSpPr txBox="1"/>
          <p:nvPr/>
        </p:nvSpPr>
        <p:spPr>
          <a:xfrm>
            <a:off x="8184770" y="1973835"/>
            <a:ext cx="110489" cy="312165"/>
          </a:xfrm>
          <a:prstGeom prst="rect">
            <a:avLst/>
          </a:prstGeom>
        </p:spPr>
        <p:txBody>
          <a:bodyPr wrap="square" lIns="0" tIns="0" rIns="0" bIns="0" rtlCol="0">
            <a:noAutofit/>
          </a:bodyPr>
          <a:lstStyle/>
          <a:p>
            <a:pPr marL="25400">
              <a:lnSpc>
                <a:spcPts val="1000"/>
              </a:lnSpc>
            </a:pPr>
            <a:endParaRPr sz="1000"/>
          </a:p>
        </p:txBody>
      </p:sp>
      <p:sp>
        <p:nvSpPr>
          <p:cNvPr id="14" name="object 14"/>
          <p:cNvSpPr txBox="1"/>
          <p:nvPr/>
        </p:nvSpPr>
        <p:spPr>
          <a:xfrm>
            <a:off x="8295258" y="1973835"/>
            <a:ext cx="57658" cy="312165"/>
          </a:xfrm>
          <a:prstGeom prst="rect">
            <a:avLst/>
          </a:prstGeom>
        </p:spPr>
        <p:txBody>
          <a:bodyPr wrap="square" lIns="0" tIns="0" rIns="0" bIns="0" rtlCol="0">
            <a:noAutofit/>
          </a:bodyPr>
          <a:lstStyle/>
          <a:p>
            <a:pPr marL="25400">
              <a:lnSpc>
                <a:spcPts val="1000"/>
              </a:lnSpc>
            </a:pPr>
            <a:endParaRPr sz="1000"/>
          </a:p>
        </p:txBody>
      </p:sp>
      <p:sp>
        <p:nvSpPr>
          <p:cNvPr id="13" name="object 13"/>
          <p:cNvSpPr txBox="1"/>
          <p:nvPr/>
        </p:nvSpPr>
        <p:spPr>
          <a:xfrm>
            <a:off x="8352918" y="1973834"/>
            <a:ext cx="182499" cy="97536"/>
          </a:xfrm>
          <a:prstGeom prst="rect">
            <a:avLst/>
          </a:prstGeom>
        </p:spPr>
        <p:txBody>
          <a:bodyPr wrap="square" lIns="0" tIns="0" rIns="0" bIns="0" rtlCol="0">
            <a:noAutofit/>
          </a:bodyPr>
          <a:lstStyle/>
          <a:p>
            <a:pPr marL="25400">
              <a:lnSpc>
                <a:spcPts val="750"/>
              </a:lnSpc>
              <a:spcBef>
                <a:spcPts val="18"/>
              </a:spcBef>
            </a:pPr>
            <a:endParaRPr sz="750"/>
          </a:p>
        </p:txBody>
      </p:sp>
      <p:sp>
        <p:nvSpPr>
          <p:cNvPr id="12" name="object 12"/>
          <p:cNvSpPr txBox="1"/>
          <p:nvPr/>
        </p:nvSpPr>
        <p:spPr>
          <a:xfrm>
            <a:off x="8535416" y="1973834"/>
            <a:ext cx="196976" cy="97536"/>
          </a:xfrm>
          <a:prstGeom prst="rect">
            <a:avLst/>
          </a:prstGeom>
        </p:spPr>
        <p:txBody>
          <a:bodyPr wrap="square" lIns="0" tIns="0" rIns="0" bIns="0" rtlCol="0">
            <a:noAutofit/>
          </a:bodyPr>
          <a:lstStyle/>
          <a:p>
            <a:pPr marL="25400">
              <a:lnSpc>
                <a:spcPts val="750"/>
              </a:lnSpc>
              <a:spcBef>
                <a:spcPts val="18"/>
              </a:spcBef>
            </a:pPr>
            <a:endParaRPr sz="750"/>
          </a:p>
        </p:txBody>
      </p:sp>
      <p:sp>
        <p:nvSpPr>
          <p:cNvPr id="11" name="object 11"/>
          <p:cNvSpPr txBox="1"/>
          <p:nvPr/>
        </p:nvSpPr>
        <p:spPr>
          <a:xfrm>
            <a:off x="8352918" y="2071371"/>
            <a:ext cx="379475" cy="214629"/>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8732394" y="2071371"/>
            <a:ext cx="639063" cy="214629"/>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8775700" y="2071371"/>
            <a:ext cx="595756" cy="180467"/>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7473696" y="2286000"/>
            <a:ext cx="552576" cy="180466"/>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8026273" y="2286000"/>
            <a:ext cx="158496" cy="180466"/>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8184770" y="2286000"/>
            <a:ext cx="110489" cy="180466"/>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8295258" y="2286000"/>
            <a:ext cx="437134" cy="180466"/>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8732394" y="2286001"/>
            <a:ext cx="639063" cy="312165"/>
          </a:xfrm>
          <a:prstGeom prst="rect">
            <a:avLst/>
          </a:prstGeom>
        </p:spPr>
        <p:txBody>
          <a:bodyPr wrap="square" lIns="0" tIns="0" rIns="0" bIns="0" rtlCol="0">
            <a:noAutofit/>
          </a:bodyPr>
          <a:lstStyle/>
          <a:p>
            <a:pPr marL="25400">
              <a:lnSpc>
                <a:spcPts val="1000"/>
              </a:lnSpc>
            </a:pPr>
            <a:endParaRPr sz="1000"/>
          </a:p>
        </p:txBody>
      </p:sp>
      <p:sp>
        <p:nvSpPr>
          <p:cNvPr id="3" name="object 3"/>
          <p:cNvSpPr txBox="1"/>
          <p:nvPr/>
        </p:nvSpPr>
        <p:spPr>
          <a:xfrm>
            <a:off x="7473696" y="2466467"/>
            <a:ext cx="821562" cy="131699"/>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8295258" y="2466467"/>
            <a:ext cx="437134" cy="131699"/>
          </a:xfrm>
          <a:prstGeom prst="rect">
            <a:avLst/>
          </a:prstGeom>
        </p:spPr>
        <p:txBody>
          <a:bodyPr wrap="square" lIns="0" tIns="0" rIns="0" bIns="0" rtlCol="0">
            <a:noAutofit/>
          </a:bodyPr>
          <a:lstStyle/>
          <a:p>
            <a:pPr marL="25400">
              <a:lnSpc>
                <a:spcPts val="1000"/>
              </a:lnSpc>
            </a:pPr>
            <a:endParaRPr sz="1000"/>
          </a:p>
        </p:txBody>
      </p:sp>
      <p:sp>
        <p:nvSpPr>
          <p:cNvPr id="33" name="Title 32"/>
          <p:cNvSpPr>
            <a:spLocks noGrp="1"/>
          </p:cNvSpPr>
          <p:nvPr>
            <p:ph type="title"/>
          </p:nvPr>
        </p:nvSpPr>
        <p:spPr/>
        <p:txBody>
          <a:bodyPr/>
          <a:lstStyle/>
          <a:p>
            <a:r>
              <a:rPr lang="en-US" sz="2400" dirty="0">
                <a:latin typeface="+mn-lt"/>
                <a:cs typeface="Arial"/>
              </a:rPr>
              <a:t>Challenges</a:t>
            </a:r>
            <a:br>
              <a:rPr lang="en-US" sz="2800" dirty="0">
                <a:latin typeface="Arial"/>
                <a:cs typeface="Arial"/>
              </a:rPr>
            </a:b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object 212"/>
          <p:cNvSpPr/>
          <p:nvPr/>
        </p:nvSpPr>
        <p:spPr>
          <a:xfrm>
            <a:off x="2870200" y="1863598"/>
            <a:ext cx="6756400" cy="3889502"/>
          </a:xfrm>
          <a:custGeom>
            <a:avLst/>
            <a:gdLst/>
            <a:ahLst/>
            <a:cxnLst/>
            <a:rect l="l" t="t" r="r" b="b"/>
            <a:pathLst>
              <a:path w="6756400" h="3889502">
                <a:moveTo>
                  <a:pt x="98352" y="1366833"/>
                </a:moveTo>
                <a:lnTo>
                  <a:pt x="72468" y="1435055"/>
                </a:lnTo>
                <a:lnTo>
                  <a:pt x="50470" y="1503848"/>
                </a:lnTo>
                <a:lnTo>
                  <a:pt x="32394" y="1573155"/>
                </a:lnTo>
                <a:lnTo>
                  <a:pt x="18273" y="1642915"/>
                </a:lnTo>
                <a:lnTo>
                  <a:pt x="8145" y="1713070"/>
                </a:lnTo>
                <a:lnTo>
                  <a:pt x="2042" y="1783560"/>
                </a:lnTo>
                <a:lnTo>
                  <a:pt x="0" y="1854327"/>
                </a:lnTo>
                <a:lnTo>
                  <a:pt x="11197" y="2021253"/>
                </a:lnTo>
                <a:lnTo>
                  <a:pt x="44210" y="2184462"/>
                </a:lnTo>
                <a:lnTo>
                  <a:pt x="98170" y="2343429"/>
                </a:lnTo>
                <a:lnTo>
                  <a:pt x="172207" y="2497630"/>
                </a:lnTo>
                <a:lnTo>
                  <a:pt x="265453" y="2646543"/>
                </a:lnTo>
                <a:lnTo>
                  <a:pt x="377039" y="2789642"/>
                </a:lnTo>
                <a:lnTo>
                  <a:pt x="506094" y="2926406"/>
                </a:lnTo>
                <a:lnTo>
                  <a:pt x="651751" y="3056309"/>
                </a:lnTo>
                <a:lnTo>
                  <a:pt x="813141" y="3178830"/>
                </a:lnTo>
                <a:lnTo>
                  <a:pt x="989393" y="3293443"/>
                </a:lnTo>
                <a:lnTo>
                  <a:pt x="1179640" y="3399626"/>
                </a:lnTo>
                <a:lnTo>
                  <a:pt x="1383011" y="3496854"/>
                </a:lnTo>
                <a:lnTo>
                  <a:pt x="1598639" y="3584605"/>
                </a:lnTo>
                <a:lnTo>
                  <a:pt x="1825653" y="3662354"/>
                </a:lnTo>
                <a:lnTo>
                  <a:pt x="2063186" y="3729579"/>
                </a:lnTo>
                <a:lnTo>
                  <a:pt x="2310367" y="3785755"/>
                </a:lnTo>
                <a:lnTo>
                  <a:pt x="2566328" y="3830359"/>
                </a:lnTo>
                <a:lnTo>
                  <a:pt x="2830200" y="3862867"/>
                </a:lnTo>
                <a:lnTo>
                  <a:pt x="3101114" y="3882756"/>
                </a:lnTo>
                <a:lnTo>
                  <a:pt x="3378200" y="3889502"/>
                </a:lnTo>
                <a:lnTo>
                  <a:pt x="3655234" y="3882756"/>
                </a:lnTo>
                <a:lnTo>
                  <a:pt x="3926106" y="3862867"/>
                </a:lnTo>
                <a:lnTo>
                  <a:pt x="4189947" y="3830359"/>
                </a:lnTo>
                <a:lnTo>
                  <a:pt x="4445885" y="3785755"/>
                </a:lnTo>
                <a:lnTo>
                  <a:pt x="4693052" y="3729579"/>
                </a:lnTo>
                <a:lnTo>
                  <a:pt x="4930578" y="3662354"/>
                </a:lnTo>
                <a:lnTo>
                  <a:pt x="5157591" y="3584605"/>
                </a:lnTo>
                <a:lnTo>
                  <a:pt x="5373223" y="3496854"/>
                </a:lnTo>
                <a:lnTo>
                  <a:pt x="5576604" y="3399626"/>
                </a:lnTo>
                <a:lnTo>
                  <a:pt x="5766863" y="3293443"/>
                </a:lnTo>
                <a:lnTo>
                  <a:pt x="5943131" y="3178830"/>
                </a:lnTo>
                <a:lnTo>
                  <a:pt x="6104538" y="3056309"/>
                </a:lnTo>
                <a:lnTo>
                  <a:pt x="6250214" y="2926406"/>
                </a:lnTo>
                <a:lnTo>
                  <a:pt x="6379288" y="2789642"/>
                </a:lnTo>
                <a:lnTo>
                  <a:pt x="6490892" y="2646543"/>
                </a:lnTo>
                <a:lnTo>
                  <a:pt x="6584155" y="2497630"/>
                </a:lnTo>
                <a:lnTo>
                  <a:pt x="6658207" y="2343429"/>
                </a:lnTo>
                <a:lnTo>
                  <a:pt x="6712178" y="2184462"/>
                </a:lnTo>
                <a:lnTo>
                  <a:pt x="6745199" y="2021253"/>
                </a:lnTo>
                <a:lnTo>
                  <a:pt x="6756400" y="1854327"/>
                </a:lnTo>
                <a:lnTo>
                  <a:pt x="6753518" y="1770235"/>
                </a:lnTo>
                <a:lnTo>
                  <a:pt x="6744920" y="1686616"/>
                </a:lnTo>
                <a:lnTo>
                  <a:pt x="6730673" y="1603564"/>
                </a:lnTo>
                <a:lnTo>
                  <a:pt x="6710847" y="1521176"/>
                </a:lnTo>
                <a:lnTo>
                  <a:pt x="6685510" y="1439546"/>
                </a:lnTo>
                <a:lnTo>
                  <a:pt x="6654730" y="1358771"/>
                </a:lnTo>
                <a:lnTo>
                  <a:pt x="6618576" y="1278944"/>
                </a:lnTo>
                <a:lnTo>
                  <a:pt x="6577116" y="1200163"/>
                </a:lnTo>
                <a:lnTo>
                  <a:pt x="6530420" y="1122521"/>
                </a:lnTo>
                <a:lnTo>
                  <a:pt x="6478555" y="1046114"/>
                </a:lnTo>
                <a:lnTo>
                  <a:pt x="6421591" y="971038"/>
                </a:lnTo>
                <a:lnTo>
                  <a:pt x="6359596" y="897389"/>
                </a:lnTo>
                <a:lnTo>
                  <a:pt x="6292638" y="825260"/>
                </a:lnTo>
                <a:lnTo>
                  <a:pt x="6220786" y="754748"/>
                </a:lnTo>
                <a:lnTo>
                  <a:pt x="6144109" y="685948"/>
                </a:lnTo>
                <a:lnTo>
                  <a:pt x="6062675" y="618956"/>
                </a:lnTo>
                <a:lnTo>
                  <a:pt x="5976553" y="553866"/>
                </a:lnTo>
                <a:lnTo>
                  <a:pt x="5885811" y="490774"/>
                </a:lnTo>
                <a:lnTo>
                  <a:pt x="5790518" y="429776"/>
                </a:lnTo>
                <a:lnTo>
                  <a:pt x="5690743" y="370966"/>
                </a:lnTo>
                <a:lnTo>
                  <a:pt x="6268720" y="0"/>
                </a:lnTo>
                <a:lnTo>
                  <a:pt x="4783582" y="27939"/>
                </a:lnTo>
                <a:lnTo>
                  <a:pt x="4830191" y="922909"/>
                </a:lnTo>
                <a:lnTo>
                  <a:pt x="5408295" y="551941"/>
                </a:lnTo>
                <a:lnTo>
                  <a:pt x="5495902" y="603584"/>
                </a:lnTo>
                <a:lnTo>
                  <a:pt x="5579576" y="657146"/>
                </a:lnTo>
                <a:lnTo>
                  <a:pt x="5659257" y="712545"/>
                </a:lnTo>
                <a:lnTo>
                  <a:pt x="5734883" y="769698"/>
                </a:lnTo>
                <a:lnTo>
                  <a:pt x="5806394" y="828520"/>
                </a:lnTo>
                <a:lnTo>
                  <a:pt x="5873730" y="888928"/>
                </a:lnTo>
                <a:lnTo>
                  <a:pt x="5936830" y="950838"/>
                </a:lnTo>
                <a:lnTo>
                  <a:pt x="5995634" y="1014167"/>
                </a:lnTo>
                <a:lnTo>
                  <a:pt x="6050081" y="1078830"/>
                </a:lnTo>
                <a:lnTo>
                  <a:pt x="6100111" y="1144746"/>
                </a:lnTo>
                <a:lnTo>
                  <a:pt x="6145663" y="1211829"/>
                </a:lnTo>
                <a:lnTo>
                  <a:pt x="6186678" y="1279996"/>
                </a:lnTo>
                <a:lnTo>
                  <a:pt x="6223093" y="1349164"/>
                </a:lnTo>
                <a:lnTo>
                  <a:pt x="6254849" y="1419248"/>
                </a:lnTo>
                <a:lnTo>
                  <a:pt x="6281886" y="1490166"/>
                </a:lnTo>
                <a:lnTo>
                  <a:pt x="6304142" y="1561833"/>
                </a:lnTo>
                <a:lnTo>
                  <a:pt x="6321558" y="1634167"/>
                </a:lnTo>
                <a:lnTo>
                  <a:pt x="6334073" y="1707082"/>
                </a:lnTo>
                <a:lnTo>
                  <a:pt x="6341626" y="1780497"/>
                </a:lnTo>
                <a:lnTo>
                  <a:pt x="6344158" y="1854327"/>
                </a:lnTo>
                <a:lnTo>
                  <a:pt x="6334324" y="2000884"/>
                </a:lnTo>
                <a:lnTo>
                  <a:pt x="6305331" y="2144177"/>
                </a:lnTo>
                <a:lnTo>
                  <a:pt x="6257944" y="2283744"/>
                </a:lnTo>
                <a:lnTo>
                  <a:pt x="6192926" y="2419126"/>
                </a:lnTo>
                <a:lnTo>
                  <a:pt x="6111041" y="2549864"/>
                </a:lnTo>
                <a:lnTo>
                  <a:pt x="6013053" y="2675498"/>
                </a:lnTo>
                <a:lnTo>
                  <a:pt x="5899726" y="2795568"/>
                </a:lnTo>
                <a:lnTo>
                  <a:pt x="5771824" y="2909615"/>
                </a:lnTo>
                <a:lnTo>
                  <a:pt x="5630111" y="3017180"/>
                </a:lnTo>
                <a:lnTo>
                  <a:pt x="5475350" y="3117802"/>
                </a:lnTo>
                <a:lnTo>
                  <a:pt x="5308306" y="3211022"/>
                </a:lnTo>
                <a:lnTo>
                  <a:pt x="5129743" y="3296381"/>
                </a:lnTo>
                <a:lnTo>
                  <a:pt x="4940424" y="3373419"/>
                </a:lnTo>
                <a:lnTo>
                  <a:pt x="4741113" y="3441676"/>
                </a:lnTo>
                <a:lnTo>
                  <a:pt x="4532574" y="3500693"/>
                </a:lnTo>
                <a:lnTo>
                  <a:pt x="4315571" y="3550010"/>
                </a:lnTo>
                <a:lnTo>
                  <a:pt x="4090869" y="3589168"/>
                </a:lnTo>
                <a:lnTo>
                  <a:pt x="3859230" y="3617707"/>
                </a:lnTo>
                <a:lnTo>
                  <a:pt x="3621419" y="3635167"/>
                </a:lnTo>
                <a:lnTo>
                  <a:pt x="3378200" y="3641090"/>
                </a:lnTo>
                <a:lnTo>
                  <a:pt x="3134929" y="3635167"/>
                </a:lnTo>
                <a:lnTo>
                  <a:pt x="2897077" y="3617707"/>
                </a:lnTo>
                <a:lnTo>
                  <a:pt x="2665407" y="3589168"/>
                </a:lnTo>
                <a:lnTo>
                  <a:pt x="2440681" y="3550010"/>
                </a:lnTo>
                <a:lnTo>
                  <a:pt x="2223664" y="3500693"/>
                </a:lnTo>
                <a:lnTo>
                  <a:pt x="2015118" y="3441676"/>
                </a:lnTo>
                <a:lnTo>
                  <a:pt x="1815806" y="3373419"/>
                </a:lnTo>
                <a:lnTo>
                  <a:pt x="1626492" y="3296381"/>
                </a:lnTo>
                <a:lnTo>
                  <a:pt x="1447937" y="3211022"/>
                </a:lnTo>
                <a:lnTo>
                  <a:pt x="1280906" y="3117802"/>
                </a:lnTo>
                <a:lnTo>
                  <a:pt x="1126161" y="3017180"/>
                </a:lnTo>
                <a:lnTo>
                  <a:pt x="984465" y="2909615"/>
                </a:lnTo>
                <a:lnTo>
                  <a:pt x="856582" y="2795568"/>
                </a:lnTo>
                <a:lnTo>
                  <a:pt x="743274" y="2675498"/>
                </a:lnTo>
                <a:lnTo>
                  <a:pt x="645304" y="2549864"/>
                </a:lnTo>
                <a:lnTo>
                  <a:pt x="563437" y="2419126"/>
                </a:lnTo>
                <a:lnTo>
                  <a:pt x="498433" y="2283744"/>
                </a:lnTo>
                <a:lnTo>
                  <a:pt x="451058" y="2144177"/>
                </a:lnTo>
                <a:lnTo>
                  <a:pt x="422073" y="2000884"/>
                </a:lnTo>
                <a:lnTo>
                  <a:pt x="412242" y="1854327"/>
                </a:lnTo>
                <a:lnTo>
                  <a:pt x="413999" y="1792194"/>
                </a:lnTo>
                <a:lnTo>
                  <a:pt x="419328" y="1730304"/>
                </a:lnTo>
                <a:lnTo>
                  <a:pt x="428198" y="1668709"/>
                </a:lnTo>
                <a:lnTo>
                  <a:pt x="440576" y="1607460"/>
                </a:lnTo>
                <a:lnTo>
                  <a:pt x="456432" y="1546609"/>
                </a:lnTo>
                <a:lnTo>
                  <a:pt x="475734" y="1486210"/>
                </a:lnTo>
                <a:lnTo>
                  <a:pt x="498452" y="1426312"/>
                </a:lnTo>
                <a:lnTo>
                  <a:pt x="524554" y="1366970"/>
                </a:lnTo>
                <a:lnTo>
                  <a:pt x="554010" y="1308233"/>
                </a:lnTo>
                <a:lnTo>
                  <a:pt x="586787" y="1250156"/>
                </a:lnTo>
                <a:lnTo>
                  <a:pt x="622855" y="1192789"/>
                </a:lnTo>
                <a:lnTo>
                  <a:pt x="662184" y="1136184"/>
                </a:lnTo>
                <a:lnTo>
                  <a:pt x="704740" y="1080394"/>
                </a:lnTo>
                <a:lnTo>
                  <a:pt x="750494" y="1025471"/>
                </a:lnTo>
                <a:lnTo>
                  <a:pt x="799415" y="971466"/>
                </a:lnTo>
                <a:lnTo>
                  <a:pt x="851470" y="918432"/>
                </a:lnTo>
                <a:lnTo>
                  <a:pt x="906630" y="866420"/>
                </a:lnTo>
                <a:lnTo>
                  <a:pt x="964863" y="815484"/>
                </a:lnTo>
                <a:lnTo>
                  <a:pt x="1026137" y="765673"/>
                </a:lnTo>
                <a:lnTo>
                  <a:pt x="1090422" y="717041"/>
                </a:lnTo>
                <a:lnTo>
                  <a:pt x="772668" y="558926"/>
                </a:lnTo>
                <a:lnTo>
                  <a:pt x="699430" y="614328"/>
                </a:lnTo>
                <a:lnTo>
                  <a:pt x="629626" y="671071"/>
                </a:lnTo>
                <a:lnTo>
                  <a:pt x="563290" y="729096"/>
                </a:lnTo>
                <a:lnTo>
                  <a:pt x="500457" y="788343"/>
                </a:lnTo>
                <a:lnTo>
                  <a:pt x="441162" y="848754"/>
                </a:lnTo>
                <a:lnTo>
                  <a:pt x="385440" y="910270"/>
                </a:lnTo>
                <a:lnTo>
                  <a:pt x="333325" y="972831"/>
                </a:lnTo>
                <a:lnTo>
                  <a:pt x="284853" y="1036377"/>
                </a:lnTo>
                <a:lnTo>
                  <a:pt x="240059" y="1100851"/>
                </a:lnTo>
                <a:lnTo>
                  <a:pt x="198977" y="1166193"/>
                </a:lnTo>
                <a:lnTo>
                  <a:pt x="161642" y="1232343"/>
                </a:lnTo>
                <a:lnTo>
                  <a:pt x="128089" y="1299243"/>
                </a:lnTo>
                <a:lnTo>
                  <a:pt x="98352" y="1366833"/>
                </a:lnTo>
                <a:close/>
              </a:path>
            </a:pathLst>
          </a:custGeom>
          <a:solidFill>
            <a:srgbClr val="CCEBFF"/>
          </a:solidFill>
        </p:spPr>
        <p:txBody>
          <a:bodyPr wrap="square" lIns="0" tIns="0" rIns="0" bIns="0" rtlCol="0">
            <a:noAutofit/>
          </a:bodyPr>
          <a:lstStyle/>
          <a:p>
            <a:endParaRPr/>
          </a:p>
        </p:txBody>
      </p:sp>
      <p:sp>
        <p:nvSpPr>
          <p:cNvPr id="213" name="object 213"/>
          <p:cNvSpPr/>
          <p:nvPr/>
        </p:nvSpPr>
        <p:spPr>
          <a:xfrm>
            <a:off x="2870200" y="1863598"/>
            <a:ext cx="6756400" cy="3889502"/>
          </a:xfrm>
          <a:custGeom>
            <a:avLst/>
            <a:gdLst/>
            <a:ahLst/>
            <a:cxnLst/>
            <a:rect l="l" t="t" r="r" b="b"/>
            <a:pathLst>
              <a:path w="6756400" h="3889502">
                <a:moveTo>
                  <a:pt x="5408295" y="551941"/>
                </a:moveTo>
                <a:lnTo>
                  <a:pt x="5495902" y="603584"/>
                </a:lnTo>
                <a:lnTo>
                  <a:pt x="5579576" y="657146"/>
                </a:lnTo>
                <a:lnTo>
                  <a:pt x="5659257" y="712545"/>
                </a:lnTo>
                <a:lnTo>
                  <a:pt x="5734883" y="769698"/>
                </a:lnTo>
                <a:lnTo>
                  <a:pt x="5806394" y="828520"/>
                </a:lnTo>
                <a:lnTo>
                  <a:pt x="5873730" y="888928"/>
                </a:lnTo>
                <a:lnTo>
                  <a:pt x="5936830" y="950838"/>
                </a:lnTo>
                <a:lnTo>
                  <a:pt x="5995634" y="1014167"/>
                </a:lnTo>
                <a:lnTo>
                  <a:pt x="6050081" y="1078830"/>
                </a:lnTo>
                <a:lnTo>
                  <a:pt x="6100111" y="1144746"/>
                </a:lnTo>
                <a:lnTo>
                  <a:pt x="6145663" y="1211829"/>
                </a:lnTo>
                <a:lnTo>
                  <a:pt x="6186678" y="1279996"/>
                </a:lnTo>
                <a:lnTo>
                  <a:pt x="6223093" y="1349164"/>
                </a:lnTo>
                <a:lnTo>
                  <a:pt x="6254849" y="1419248"/>
                </a:lnTo>
                <a:lnTo>
                  <a:pt x="6281886" y="1490166"/>
                </a:lnTo>
                <a:lnTo>
                  <a:pt x="6304142" y="1561833"/>
                </a:lnTo>
                <a:lnTo>
                  <a:pt x="6321558" y="1634167"/>
                </a:lnTo>
                <a:lnTo>
                  <a:pt x="6334073" y="1707082"/>
                </a:lnTo>
                <a:lnTo>
                  <a:pt x="6341626" y="1780497"/>
                </a:lnTo>
                <a:lnTo>
                  <a:pt x="6344158" y="1854327"/>
                </a:lnTo>
                <a:lnTo>
                  <a:pt x="6334324" y="2000884"/>
                </a:lnTo>
                <a:lnTo>
                  <a:pt x="6305331" y="2144177"/>
                </a:lnTo>
                <a:lnTo>
                  <a:pt x="6257944" y="2283744"/>
                </a:lnTo>
                <a:lnTo>
                  <a:pt x="6192926" y="2419126"/>
                </a:lnTo>
                <a:lnTo>
                  <a:pt x="6111041" y="2549864"/>
                </a:lnTo>
                <a:lnTo>
                  <a:pt x="6013053" y="2675498"/>
                </a:lnTo>
                <a:lnTo>
                  <a:pt x="5899726" y="2795568"/>
                </a:lnTo>
                <a:lnTo>
                  <a:pt x="5771824" y="2909615"/>
                </a:lnTo>
                <a:lnTo>
                  <a:pt x="5630111" y="3017180"/>
                </a:lnTo>
                <a:lnTo>
                  <a:pt x="5475350" y="3117802"/>
                </a:lnTo>
                <a:lnTo>
                  <a:pt x="5308306" y="3211022"/>
                </a:lnTo>
                <a:lnTo>
                  <a:pt x="5129743" y="3296381"/>
                </a:lnTo>
                <a:lnTo>
                  <a:pt x="4940424" y="3373419"/>
                </a:lnTo>
                <a:lnTo>
                  <a:pt x="4741113" y="3441676"/>
                </a:lnTo>
                <a:lnTo>
                  <a:pt x="4532574" y="3500693"/>
                </a:lnTo>
                <a:lnTo>
                  <a:pt x="4315571" y="3550010"/>
                </a:lnTo>
                <a:lnTo>
                  <a:pt x="4090869" y="3589168"/>
                </a:lnTo>
                <a:lnTo>
                  <a:pt x="3859230" y="3617707"/>
                </a:lnTo>
                <a:lnTo>
                  <a:pt x="3621419" y="3635167"/>
                </a:lnTo>
                <a:lnTo>
                  <a:pt x="3378200" y="3641090"/>
                </a:lnTo>
                <a:lnTo>
                  <a:pt x="3134929" y="3635167"/>
                </a:lnTo>
                <a:lnTo>
                  <a:pt x="2897077" y="3617707"/>
                </a:lnTo>
                <a:lnTo>
                  <a:pt x="2665407" y="3589168"/>
                </a:lnTo>
                <a:lnTo>
                  <a:pt x="2440681" y="3550010"/>
                </a:lnTo>
                <a:lnTo>
                  <a:pt x="2223664" y="3500693"/>
                </a:lnTo>
                <a:lnTo>
                  <a:pt x="2015118" y="3441676"/>
                </a:lnTo>
                <a:lnTo>
                  <a:pt x="1815806" y="3373419"/>
                </a:lnTo>
                <a:lnTo>
                  <a:pt x="1626492" y="3296381"/>
                </a:lnTo>
                <a:lnTo>
                  <a:pt x="1447937" y="3211022"/>
                </a:lnTo>
                <a:lnTo>
                  <a:pt x="1280906" y="3117802"/>
                </a:lnTo>
                <a:lnTo>
                  <a:pt x="1126161" y="3017180"/>
                </a:lnTo>
                <a:lnTo>
                  <a:pt x="984465" y="2909615"/>
                </a:lnTo>
                <a:lnTo>
                  <a:pt x="856582" y="2795568"/>
                </a:lnTo>
                <a:lnTo>
                  <a:pt x="743274" y="2675498"/>
                </a:lnTo>
                <a:lnTo>
                  <a:pt x="645304" y="2549864"/>
                </a:lnTo>
                <a:lnTo>
                  <a:pt x="563437" y="2419126"/>
                </a:lnTo>
                <a:lnTo>
                  <a:pt x="498433" y="2283744"/>
                </a:lnTo>
                <a:lnTo>
                  <a:pt x="451058" y="2144177"/>
                </a:lnTo>
                <a:lnTo>
                  <a:pt x="422073" y="2000884"/>
                </a:lnTo>
                <a:lnTo>
                  <a:pt x="412242" y="1854327"/>
                </a:lnTo>
                <a:lnTo>
                  <a:pt x="413999" y="1792194"/>
                </a:lnTo>
                <a:lnTo>
                  <a:pt x="419328" y="1730304"/>
                </a:lnTo>
                <a:lnTo>
                  <a:pt x="428198" y="1668709"/>
                </a:lnTo>
                <a:lnTo>
                  <a:pt x="440576" y="1607460"/>
                </a:lnTo>
                <a:lnTo>
                  <a:pt x="456432" y="1546609"/>
                </a:lnTo>
                <a:lnTo>
                  <a:pt x="475734" y="1486210"/>
                </a:lnTo>
                <a:lnTo>
                  <a:pt x="498452" y="1426312"/>
                </a:lnTo>
                <a:lnTo>
                  <a:pt x="524554" y="1366970"/>
                </a:lnTo>
                <a:lnTo>
                  <a:pt x="554010" y="1308233"/>
                </a:lnTo>
                <a:lnTo>
                  <a:pt x="586787" y="1250156"/>
                </a:lnTo>
                <a:lnTo>
                  <a:pt x="622855" y="1192789"/>
                </a:lnTo>
                <a:lnTo>
                  <a:pt x="662184" y="1136184"/>
                </a:lnTo>
                <a:lnTo>
                  <a:pt x="704740" y="1080394"/>
                </a:lnTo>
                <a:lnTo>
                  <a:pt x="750494" y="1025471"/>
                </a:lnTo>
                <a:lnTo>
                  <a:pt x="799415" y="971466"/>
                </a:lnTo>
                <a:lnTo>
                  <a:pt x="851470" y="918432"/>
                </a:lnTo>
                <a:lnTo>
                  <a:pt x="906630" y="866420"/>
                </a:lnTo>
                <a:lnTo>
                  <a:pt x="964863" y="815484"/>
                </a:lnTo>
                <a:lnTo>
                  <a:pt x="1026137" y="765673"/>
                </a:lnTo>
                <a:lnTo>
                  <a:pt x="1090422" y="717041"/>
                </a:lnTo>
                <a:lnTo>
                  <a:pt x="772668" y="558926"/>
                </a:lnTo>
                <a:lnTo>
                  <a:pt x="699430" y="614328"/>
                </a:lnTo>
                <a:lnTo>
                  <a:pt x="629626" y="671071"/>
                </a:lnTo>
                <a:lnTo>
                  <a:pt x="563290" y="729096"/>
                </a:lnTo>
                <a:lnTo>
                  <a:pt x="500457" y="788343"/>
                </a:lnTo>
                <a:lnTo>
                  <a:pt x="441162" y="848754"/>
                </a:lnTo>
                <a:lnTo>
                  <a:pt x="385440" y="910270"/>
                </a:lnTo>
                <a:lnTo>
                  <a:pt x="333325" y="972831"/>
                </a:lnTo>
                <a:lnTo>
                  <a:pt x="284853" y="1036377"/>
                </a:lnTo>
                <a:lnTo>
                  <a:pt x="240059" y="1100851"/>
                </a:lnTo>
                <a:lnTo>
                  <a:pt x="198977" y="1166193"/>
                </a:lnTo>
                <a:lnTo>
                  <a:pt x="161642" y="1232343"/>
                </a:lnTo>
                <a:lnTo>
                  <a:pt x="128089" y="1299243"/>
                </a:lnTo>
                <a:lnTo>
                  <a:pt x="98352" y="1366833"/>
                </a:lnTo>
                <a:lnTo>
                  <a:pt x="72468" y="1435055"/>
                </a:lnTo>
                <a:lnTo>
                  <a:pt x="50470" y="1503848"/>
                </a:lnTo>
                <a:lnTo>
                  <a:pt x="32394" y="1573155"/>
                </a:lnTo>
                <a:lnTo>
                  <a:pt x="18273" y="1642915"/>
                </a:lnTo>
                <a:lnTo>
                  <a:pt x="8145" y="1713070"/>
                </a:lnTo>
                <a:lnTo>
                  <a:pt x="2042" y="1783560"/>
                </a:lnTo>
                <a:lnTo>
                  <a:pt x="0" y="1854327"/>
                </a:lnTo>
                <a:lnTo>
                  <a:pt x="11197" y="2021253"/>
                </a:lnTo>
                <a:lnTo>
                  <a:pt x="44210" y="2184462"/>
                </a:lnTo>
                <a:lnTo>
                  <a:pt x="98170" y="2343429"/>
                </a:lnTo>
                <a:lnTo>
                  <a:pt x="172207" y="2497630"/>
                </a:lnTo>
                <a:lnTo>
                  <a:pt x="265453" y="2646543"/>
                </a:lnTo>
                <a:lnTo>
                  <a:pt x="377039" y="2789642"/>
                </a:lnTo>
                <a:lnTo>
                  <a:pt x="506094" y="2926406"/>
                </a:lnTo>
                <a:lnTo>
                  <a:pt x="651751" y="3056309"/>
                </a:lnTo>
                <a:lnTo>
                  <a:pt x="813141" y="3178830"/>
                </a:lnTo>
                <a:lnTo>
                  <a:pt x="989393" y="3293443"/>
                </a:lnTo>
                <a:lnTo>
                  <a:pt x="1179640" y="3399626"/>
                </a:lnTo>
                <a:lnTo>
                  <a:pt x="1383011" y="3496854"/>
                </a:lnTo>
                <a:lnTo>
                  <a:pt x="1598639" y="3584605"/>
                </a:lnTo>
                <a:lnTo>
                  <a:pt x="1825653" y="3662354"/>
                </a:lnTo>
                <a:lnTo>
                  <a:pt x="2063186" y="3729579"/>
                </a:lnTo>
                <a:lnTo>
                  <a:pt x="2310367" y="3785755"/>
                </a:lnTo>
                <a:lnTo>
                  <a:pt x="2566328" y="3830359"/>
                </a:lnTo>
                <a:lnTo>
                  <a:pt x="2830200" y="3862867"/>
                </a:lnTo>
                <a:lnTo>
                  <a:pt x="3101114" y="3882756"/>
                </a:lnTo>
                <a:lnTo>
                  <a:pt x="3378200" y="3889502"/>
                </a:lnTo>
                <a:lnTo>
                  <a:pt x="3655234" y="3882756"/>
                </a:lnTo>
                <a:lnTo>
                  <a:pt x="3926106" y="3862867"/>
                </a:lnTo>
                <a:lnTo>
                  <a:pt x="4189947" y="3830359"/>
                </a:lnTo>
                <a:lnTo>
                  <a:pt x="4445885" y="3785755"/>
                </a:lnTo>
                <a:lnTo>
                  <a:pt x="4693052" y="3729579"/>
                </a:lnTo>
                <a:lnTo>
                  <a:pt x="4930578" y="3662354"/>
                </a:lnTo>
                <a:lnTo>
                  <a:pt x="5157591" y="3584605"/>
                </a:lnTo>
                <a:lnTo>
                  <a:pt x="5373223" y="3496854"/>
                </a:lnTo>
                <a:lnTo>
                  <a:pt x="5576604" y="3399626"/>
                </a:lnTo>
                <a:lnTo>
                  <a:pt x="5766863" y="3293443"/>
                </a:lnTo>
                <a:lnTo>
                  <a:pt x="5943131" y="3178830"/>
                </a:lnTo>
                <a:lnTo>
                  <a:pt x="6104538" y="3056309"/>
                </a:lnTo>
                <a:lnTo>
                  <a:pt x="6250214" y="2926406"/>
                </a:lnTo>
                <a:lnTo>
                  <a:pt x="6379288" y="2789642"/>
                </a:lnTo>
                <a:lnTo>
                  <a:pt x="6490892" y="2646543"/>
                </a:lnTo>
                <a:lnTo>
                  <a:pt x="6584155" y="2497630"/>
                </a:lnTo>
                <a:lnTo>
                  <a:pt x="6658207" y="2343429"/>
                </a:lnTo>
                <a:lnTo>
                  <a:pt x="6712178" y="2184462"/>
                </a:lnTo>
                <a:lnTo>
                  <a:pt x="6745199" y="2021253"/>
                </a:lnTo>
                <a:lnTo>
                  <a:pt x="6756400" y="1854327"/>
                </a:lnTo>
                <a:lnTo>
                  <a:pt x="6753518" y="1770235"/>
                </a:lnTo>
                <a:lnTo>
                  <a:pt x="6744920" y="1686616"/>
                </a:lnTo>
                <a:lnTo>
                  <a:pt x="6730673" y="1603564"/>
                </a:lnTo>
                <a:lnTo>
                  <a:pt x="6710847" y="1521176"/>
                </a:lnTo>
                <a:lnTo>
                  <a:pt x="6685510" y="1439546"/>
                </a:lnTo>
                <a:lnTo>
                  <a:pt x="6654730" y="1358771"/>
                </a:lnTo>
                <a:lnTo>
                  <a:pt x="6618576" y="1278944"/>
                </a:lnTo>
                <a:lnTo>
                  <a:pt x="6577116" y="1200163"/>
                </a:lnTo>
                <a:lnTo>
                  <a:pt x="6530420" y="1122521"/>
                </a:lnTo>
                <a:lnTo>
                  <a:pt x="6478555" y="1046114"/>
                </a:lnTo>
                <a:lnTo>
                  <a:pt x="6421591" y="971038"/>
                </a:lnTo>
                <a:lnTo>
                  <a:pt x="6359596" y="897389"/>
                </a:lnTo>
                <a:lnTo>
                  <a:pt x="6292638" y="825260"/>
                </a:lnTo>
                <a:lnTo>
                  <a:pt x="6220786" y="754748"/>
                </a:lnTo>
                <a:lnTo>
                  <a:pt x="6144109" y="685948"/>
                </a:lnTo>
                <a:lnTo>
                  <a:pt x="6062675" y="618956"/>
                </a:lnTo>
                <a:lnTo>
                  <a:pt x="5976553" y="553866"/>
                </a:lnTo>
                <a:lnTo>
                  <a:pt x="5885811" y="490774"/>
                </a:lnTo>
                <a:lnTo>
                  <a:pt x="5790518" y="429776"/>
                </a:lnTo>
                <a:lnTo>
                  <a:pt x="5690743" y="370966"/>
                </a:lnTo>
                <a:lnTo>
                  <a:pt x="6268720" y="0"/>
                </a:lnTo>
                <a:lnTo>
                  <a:pt x="4783582" y="27939"/>
                </a:lnTo>
                <a:lnTo>
                  <a:pt x="4830191" y="922909"/>
                </a:lnTo>
                <a:lnTo>
                  <a:pt x="5408295" y="551941"/>
                </a:lnTo>
                <a:close/>
              </a:path>
            </a:pathLst>
          </a:custGeom>
          <a:ln w="12700">
            <a:solidFill>
              <a:srgbClr val="000000"/>
            </a:solidFill>
          </a:ln>
        </p:spPr>
        <p:txBody>
          <a:bodyPr wrap="square" lIns="0" tIns="0" rIns="0" bIns="0" rtlCol="0">
            <a:noAutofit/>
          </a:bodyPr>
          <a:lstStyle/>
          <a:p>
            <a:endParaRPr/>
          </a:p>
        </p:txBody>
      </p:sp>
      <p:sp>
        <p:nvSpPr>
          <p:cNvPr id="214" name="object 214"/>
          <p:cNvSpPr/>
          <p:nvPr/>
        </p:nvSpPr>
        <p:spPr>
          <a:xfrm>
            <a:off x="2647189" y="3389376"/>
            <a:ext cx="1117091" cy="1284732"/>
          </a:xfrm>
          <a:prstGeom prst="rect">
            <a:avLst/>
          </a:prstGeom>
          <a:blipFill>
            <a:blip r:embed="rId2" cstate="print"/>
            <a:stretch>
              <a:fillRect/>
            </a:stretch>
          </a:blipFill>
        </p:spPr>
        <p:txBody>
          <a:bodyPr wrap="square" lIns="0" tIns="0" rIns="0" bIns="0" rtlCol="0">
            <a:noAutofit/>
          </a:bodyPr>
          <a:lstStyle/>
          <a:p>
            <a:endParaRPr/>
          </a:p>
        </p:txBody>
      </p:sp>
      <p:sp>
        <p:nvSpPr>
          <p:cNvPr id="215" name="object 215"/>
          <p:cNvSpPr/>
          <p:nvPr/>
        </p:nvSpPr>
        <p:spPr>
          <a:xfrm>
            <a:off x="2628901" y="3371786"/>
            <a:ext cx="1101725" cy="1268412"/>
          </a:xfrm>
          <a:custGeom>
            <a:avLst/>
            <a:gdLst/>
            <a:ahLst/>
            <a:cxnLst/>
            <a:rect l="l" t="t" r="r" b="b"/>
            <a:pathLst>
              <a:path w="1101725" h="1268412">
                <a:moveTo>
                  <a:pt x="0" y="1268412"/>
                </a:moveTo>
                <a:lnTo>
                  <a:pt x="1101725" y="1268412"/>
                </a:lnTo>
                <a:lnTo>
                  <a:pt x="1101725" y="0"/>
                </a:lnTo>
                <a:lnTo>
                  <a:pt x="0" y="0"/>
                </a:lnTo>
                <a:lnTo>
                  <a:pt x="0" y="1268412"/>
                </a:lnTo>
                <a:close/>
              </a:path>
            </a:pathLst>
          </a:custGeom>
          <a:solidFill>
            <a:srgbClr val="00B7A4"/>
          </a:solidFill>
        </p:spPr>
        <p:txBody>
          <a:bodyPr wrap="square" lIns="0" tIns="0" rIns="0" bIns="0" rtlCol="0">
            <a:noAutofit/>
          </a:bodyPr>
          <a:lstStyle/>
          <a:p>
            <a:endParaRPr/>
          </a:p>
        </p:txBody>
      </p:sp>
      <p:sp>
        <p:nvSpPr>
          <p:cNvPr id="216" name="object 216"/>
          <p:cNvSpPr/>
          <p:nvPr/>
        </p:nvSpPr>
        <p:spPr>
          <a:xfrm>
            <a:off x="2628901" y="3371786"/>
            <a:ext cx="1101725" cy="1268412"/>
          </a:xfrm>
          <a:custGeom>
            <a:avLst/>
            <a:gdLst/>
            <a:ahLst/>
            <a:cxnLst/>
            <a:rect l="l" t="t" r="r" b="b"/>
            <a:pathLst>
              <a:path w="1101725" h="1268412">
                <a:moveTo>
                  <a:pt x="0" y="1268412"/>
                </a:moveTo>
                <a:lnTo>
                  <a:pt x="1101725" y="1268412"/>
                </a:lnTo>
                <a:lnTo>
                  <a:pt x="1101725" y="0"/>
                </a:lnTo>
                <a:lnTo>
                  <a:pt x="0" y="0"/>
                </a:lnTo>
                <a:lnTo>
                  <a:pt x="0" y="1268412"/>
                </a:lnTo>
                <a:close/>
              </a:path>
            </a:pathLst>
          </a:custGeom>
          <a:ln w="12700">
            <a:solidFill>
              <a:srgbClr val="FFFFFF"/>
            </a:solidFill>
          </a:ln>
        </p:spPr>
        <p:txBody>
          <a:bodyPr wrap="square" lIns="0" tIns="0" rIns="0" bIns="0" rtlCol="0">
            <a:noAutofit/>
          </a:bodyPr>
          <a:lstStyle/>
          <a:p>
            <a:endParaRPr/>
          </a:p>
        </p:txBody>
      </p:sp>
      <p:sp>
        <p:nvSpPr>
          <p:cNvPr id="217" name="object 217"/>
          <p:cNvSpPr/>
          <p:nvPr/>
        </p:nvSpPr>
        <p:spPr>
          <a:xfrm>
            <a:off x="2752726" y="3465512"/>
            <a:ext cx="865187" cy="1090612"/>
          </a:xfrm>
          <a:custGeom>
            <a:avLst/>
            <a:gdLst/>
            <a:ahLst/>
            <a:cxnLst/>
            <a:rect l="l" t="t" r="r" b="b"/>
            <a:pathLst>
              <a:path w="865187" h="1090612">
                <a:moveTo>
                  <a:pt x="0" y="1090612"/>
                </a:moveTo>
                <a:lnTo>
                  <a:pt x="865187" y="1090612"/>
                </a:lnTo>
                <a:lnTo>
                  <a:pt x="865187" y="0"/>
                </a:lnTo>
                <a:lnTo>
                  <a:pt x="0" y="0"/>
                </a:lnTo>
                <a:lnTo>
                  <a:pt x="0" y="1090612"/>
                </a:lnTo>
                <a:close/>
              </a:path>
            </a:pathLst>
          </a:custGeom>
          <a:solidFill>
            <a:srgbClr val="608FFC"/>
          </a:solidFill>
        </p:spPr>
        <p:txBody>
          <a:bodyPr wrap="square" lIns="0" tIns="0" rIns="0" bIns="0" rtlCol="0">
            <a:noAutofit/>
          </a:bodyPr>
          <a:lstStyle/>
          <a:p>
            <a:endParaRPr/>
          </a:p>
        </p:txBody>
      </p:sp>
      <p:sp>
        <p:nvSpPr>
          <p:cNvPr id="218" name="object 218"/>
          <p:cNvSpPr/>
          <p:nvPr/>
        </p:nvSpPr>
        <p:spPr>
          <a:xfrm>
            <a:off x="2752726" y="3465512"/>
            <a:ext cx="865187" cy="1090612"/>
          </a:xfrm>
          <a:custGeom>
            <a:avLst/>
            <a:gdLst/>
            <a:ahLst/>
            <a:cxnLst/>
            <a:rect l="l" t="t" r="r" b="b"/>
            <a:pathLst>
              <a:path w="865187" h="1090612">
                <a:moveTo>
                  <a:pt x="0" y="1090612"/>
                </a:moveTo>
                <a:lnTo>
                  <a:pt x="865187" y="1090612"/>
                </a:lnTo>
                <a:lnTo>
                  <a:pt x="865187" y="0"/>
                </a:lnTo>
                <a:lnTo>
                  <a:pt x="0" y="0"/>
                </a:lnTo>
                <a:lnTo>
                  <a:pt x="0" y="1090612"/>
                </a:lnTo>
                <a:close/>
              </a:path>
            </a:pathLst>
          </a:custGeom>
          <a:ln w="12700">
            <a:solidFill>
              <a:srgbClr val="000000"/>
            </a:solidFill>
          </a:ln>
        </p:spPr>
        <p:txBody>
          <a:bodyPr wrap="square" lIns="0" tIns="0" rIns="0" bIns="0" rtlCol="0">
            <a:noAutofit/>
          </a:bodyPr>
          <a:lstStyle/>
          <a:p>
            <a:endParaRPr/>
          </a:p>
        </p:txBody>
      </p:sp>
      <p:sp>
        <p:nvSpPr>
          <p:cNvPr id="219" name="object 219"/>
          <p:cNvSpPr/>
          <p:nvPr/>
        </p:nvSpPr>
        <p:spPr>
          <a:xfrm>
            <a:off x="2752726" y="3838575"/>
            <a:ext cx="860425" cy="0"/>
          </a:xfrm>
          <a:custGeom>
            <a:avLst/>
            <a:gdLst/>
            <a:ahLst/>
            <a:cxnLst/>
            <a:rect l="l" t="t" r="r" b="b"/>
            <a:pathLst>
              <a:path w="860425">
                <a:moveTo>
                  <a:pt x="0" y="0"/>
                </a:moveTo>
                <a:lnTo>
                  <a:pt x="860425" y="0"/>
                </a:lnTo>
              </a:path>
            </a:pathLst>
          </a:custGeom>
          <a:ln w="12700">
            <a:solidFill>
              <a:srgbClr val="FFFFFF"/>
            </a:solidFill>
          </a:ln>
        </p:spPr>
        <p:txBody>
          <a:bodyPr wrap="square" lIns="0" tIns="0" rIns="0" bIns="0" rtlCol="0">
            <a:noAutofit/>
          </a:bodyPr>
          <a:lstStyle/>
          <a:p>
            <a:endParaRPr/>
          </a:p>
        </p:txBody>
      </p:sp>
      <p:sp>
        <p:nvSpPr>
          <p:cNvPr id="220" name="object 220"/>
          <p:cNvSpPr/>
          <p:nvPr/>
        </p:nvSpPr>
        <p:spPr>
          <a:xfrm>
            <a:off x="2750820" y="3843529"/>
            <a:ext cx="867156" cy="56387"/>
          </a:xfrm>
          <a:prstGeom prst="rect">
            <a:avLst/>
          </a:prstGeom>
          <a:blipFill>
            <a:blip r:embed="rId3" cstate="print"/>
            <a:stretch>
              <a:fillRect/>
            </a:stretch>
          </a:blipFill>
        </p:spPr>
        <p:txBody>
          <a:bodyPr wrap="square" lIns="0" tIns="0" rIns="0" bIns="0" rtlCol="0">
            <a:noAutofit/>
          </a:bodyPr>
          <a:lstStyle/>
          <a:p>
            <a:endParaRPr/>
          </a:p>
        </p:txBody>
      </p:sp>
      <p:sp>
        <p:nvSpPr>
          <p:cNvPr id="221" name="object 221"/>
          <p:cNvSpPr/>
          <p:nvPr/>
        </p:nvSpPr>
        <p:spPr>
          <a:xfrm>
            <a:off x="2754312" y="3879850"/>
            <a:ext cx="862012" cy="0"/>
          </a:xfrm>
          <a:custGeom>
            <a:avLst/>
            <a:gdLst/>
            <a:ahLst/>
            <a:cxnLst/>
            <a:rect l="l" t="t" r="r" b="b"/>
            <a:pathLst>
              <a:path w="862012">
                <a:moveTo>
                  <a:pt x="0" y="0"/>
                </a:moveTo>
                <a:lnTo>
                  <a:pt x="862012" y="0"/>
                </a:lnTo>
              </a:path>
            </a:pathLst>
          </a:custGeom>
          <a:ln w="12700">
            <a:solidFill>
              <a:srgbClr val="FFFFFF"/>
            </a:solidFill>
          </a:ln>
        </p:spPr>
        <p:txBody>
          <a:bodyPr wrap="square" lIns="0" tIns="0" rIns="0" bIns="0" rtlCol="0">
            <a:noAutofit/>
          </a:bodyPr>
          <a:lstStyle/>
          <a:p>
            <a:endParaRPr/>
          </a:p>
        </p:txBody>
      </p:sp>
      <p:sp>
        <p:nvSpPr>
          <p:cNvPr id="222" name="object 222"/>
          <p:cNvSpPr/>
          <p:nvPr/>
        </p:nvSpPr>
        <p:spPr>
          <a:xfrm>
            <a:off x="2771775" y="3932175"/>
            <a:ext cx="825500" cy="587375"/>
          </a:xfrm>
          <a:custGeom>
            <a:avLst/>
            <a:gdLst/>
            <a:ahLst/>
            <a:cxnLst/>
            <a:rect l="l" t="t" r="r" b="b"/>
            <a:pathLst>
              <a:path w="825500" h="587375">
                <a:moveTo>
                  <a:pt x="0" y="587375"/>
                </a:moveTo>
                <a:lnTo>
                  <a:pt x="825500" y="587375"/>
                </a:lnTo>
                <a:lnTo>
                  <a:pt x="825500" y="0"/>
                </a:lnTo>
                <a:lnTo>
                  <a:pt x="0" y="0"/>
                </a:lnTo>
                <a:lnTo>
                  <a:pt x="0" y="587375"/>
                </a:lnTo>
                <a:close/>
              </a:path>
            </a:pathLst>
          </a:custGeom>
          <a:solidFill>
            <a:srgbClr val="608FFC"/>
          </a:solidFill>
        </p:spPr>
        <p:txBody>
          <a:bodyPr wrap="square" lIns="0" tIns="0" rIns="0" bIns="0" rtlCol="0">
            <a:noAutofit/>
          </a:bodyPr>
          <a:lstStyle/>
          <a:p>
            <a:endParaRPr/>
          </a:p>
        </p:txBody>
      </p:sp>
      <p:sp>
        <p:nvSpPr>
          <p:cNvPr id="223" name="object 223"/>
          <p:cNvSpPr/>
          <p:nvPr/>
        </p:nvSpPr>
        <p:spPr>
          <a:xfrm>
            <a:off x="2818144" y="4511365"/>
            <a:ext cx="777131" cy="6434"/>
          </a:xfrm>
          <a:custGeom>
            <a:avLst/>
            <a:gdLst/>
            <a:ahLst/>
            <a:cxnLst/>
            <a:rect l="l" t="t" r="r" b="b"/>
            <a:pathLst>
              <a:path w="777131" h="6434">
                <a:moveTo>
                  <a:pt x="0" y="6434"/>
                </a:moveTo>
                <a:lnTo>
                  <a:pt x="777131" y="6434"/>
                </a:lnTo>
                <a:lnTo>
                  <a:pt x="777131" y="0"/>
                </a:lnTo>
                <a:lnTo>
                  <a:pt x="0" y="0"/>
                </a:lnTo>
                <a:lnTo>
                  <a:pt x="0" y="6434"/>
                </a:lnTo>
                <a:close/>
              </a:path>
            </a:pathLst>
          </a:custGeom>
          <a:solidFill>
            <a:srgbClr val="80809F"/>
          </a:solidFill>
        </p:spPr>
        <p:txBody>
          <a:bodyPr wrap="square" lIns="0" tIns="0" rIns="0" bIns="0" rtlCol="0">
            <a:noAutofit/>
          </a:bodyPr>
          <a:lstStyle/>
          <a:p>
            <a:endParaRPr/>
          </a:p>
        </p:txBody>
      </p:sp>
      <p:sp>
        <p:nvSpPr>
          <p:cNvPr id="224" name="object 224"/>
          <p:cNvSpPr/>
          <p:nvPr/>
        </p:nvSpPr>
        <p:spPr>
          <a:xfrm>
            <a:off x="2818144" y="3975705"/>
            <a:ext cx="777131" cy="542094"/>
          </a:xfrm>
          <a:custGeom>
            <a:avLst/>
            <a:gdLst/>
            <a:ahLst/>
            <a:cxnLst/>
            <a:rect l="l" t="t" r="r" b="b"/>
            <a:pathLst>
              <a:path w="777131" h="542094">
                <a:moveTo>
                  <a:pt x="777131" y="0"/>
                </a:moveTo>
                <a:lnTo>
                  <a:pt x="0" y="0"/>
                </a:lnTo>
                <a:lnTo>
                  <a:pt x="0" y="542094"/>
                </a:lnTo>
                <a:lnTo>
                  <a:pt x="777131" y="542094"/>
                </a:lnTo>
                <a:lnTo>
                  <a:pt x="777131" y="0"/>
                </a:lnTo>
              </a:path>
            </a:pathLst>
          </a:custGeom>
          <a:ln w="2737">
            <a:solidFill>
              <a:srgbClr val="000000"/>
            </a:solidFill>
          </a:ln>
        </p:spPr>
        <p:txBody>
          <a:bodyPr wrap="square" lIns="0" tIns="0" rIns="0" bIns="0" rtlCol="0">
            <a:noAutofit/>
          </a:bodyPr>
          <a:lstStyle/>
          <a:p>
            <a:endParaRPr/>
          </a:p>
        </p:txBody>
      </p:sp>
      <p:sp>
        <p:nvSpPr>
          <p:cNvPr id="225" name="object 225"/>
          <p:cNvSpPr/>
          <p:nvPr/>
        </p:nvSpPr>
        <p:spPr>
          <a:xfrm>
            <a:off x="3587833" y="4295122"/>
            <a:ext cx="6870" cy="0"/>
          </a:xfrm>
          <a:custGeom>
            <a:avLst/>
            <a:gdLst/>
            <a:ahLst/>
            <a:cxnLst/>
            <a:rect l="l" t="t" r="r" b="b"/>
            <a:pathLst>
              <a:path w="6870">
                <a:moveTo>
                  <a:pt x="0" y="0"/>
                </a:moveTo>
                <a:lnTo>
                  <a:pt x="6870" y="0"/>
                </a:lnTo>
              </a:path>
            </a:pathLst>
          </a:custGeom>
          <a:ln w="1338">
            <a:solidFill>
              <a:srgbClr val="000000"/>
            </a:solidFill>
          </a:ln>
        </p:spPr>
        <p:txBody>
          <a:bodyPr wrap="square" lIns="0" tIns="0" rIns="0" bIns="0" rtlCol="0">
            <a:noAutofit/>
          </a:bodyPr>
          <a:lstStyle/>
          <a:p>
            <a:endParaRPr/>
          </a:p>
        </p:txBody>
      </p:sp>
      <p:sp>
        <p:nvSpPr>
          <p:cNvPr id="226" name="object 226"/>
          <p:cNvSpPr/>
          <p:nvPr/>
        </p:nvSpPr>
        <p:spPr>
          <a:xfrm>
            <a:off x="3587833" y="4368010"/>
            <a:ext cx="6870" cy="0"/>
          </a:xfrm>
          <a:custGeom>
            <a:avLst/>
            <a:gdLst/>
            <a:ahLst/>
            <a:cxnLst/>
            <a:rect l="l" t="t" r="r" b="b"/>
            <a:pathLst>
              <a:path w="6870">
                <a:moveTo>
                  <a:pt x="0" y="0"/>
                </a:moveTo>
                <a:lnTo>
                  <a:pt x="6870" y="0"/>
                </a:lnTo>
              </a:path>
            </a:pathLst>
          </a:custGeom>
          <a:ln w="1338">
            <a:solidFill>
              <a:srgbClr val="000000"/>
            </a:solidFill>
          </a:ln>
        </p:spPr>
        <p:txBody>
          <a:bodyPr wrap="square" lIns="0" tIns="0" rIns="0" bIns="0" rtlCol="0">
            <a:noAutofit/>
          </a:bodyPr>
          <a:lstStyle/>
          <a:p>
            <a:endParaRPr/>
          </a:p>
        </p:txBody>
      </p:sp>
      <p:sp>
        <p:nvSpPr>
          <p:cNvPr id="227" name="object 227"/>
          <p:cNvSpPr/>
          <p:nvPr/>
        </p:nvSpPr>
        <p:spPr>
          <a:xfrm>
            <a:off x="3587833" y="4221701"/>
            <a:ext cx="7440" cy="0"/>
          </a:xfrm>
          <a:custGeom>
            <a:avLst/>
            <a:gdLst/>
            <a:ahLst/>
            <a:cxnLst/>
            <a:rect l="l" t="t" r="r" b="b"/>
            <a:pathLst>
              <a:path w="7440">
                <a:moveTo>
                  <a:pt x="0" y="0"/>
                </a:moveTo>
                <a:lnTo>
                  <a:pt x="7440" y="0"/>
                </a:lnTo>
              </a:path>
            </a:pathLst>
          </a:custGeom>
          <a:ln w="1338">
            <a:solidFill>
              <a:srgbClr val="000000"/>
            </a:solidFill>
          </a:ln>
        </p:spPr>
        <p:txBody>
          <a:bodyPr wrap="square" lIns="0" tIns="0" rIns="0" bIns="0" rtlCol="0">
            <a:noAutofit/>
          </a:bodyPr>
          <a:lstStyle/>
          <a:p>
            <a:endParaRPr/>
          </a:p>
        </p:txBody>
      </p:sp>
      <p:sp>
        <p:nvSpPr>
          <p:cNvPr id="228" name="object 228"/>
          <p:cNvSpPr/>
          <p:nvPr/>
        </p:nvSpPr>
        <p:spPr>
          <a:xfrm>
            <a:off x="3587833" y="4441163"/>
            <a:ext cx="7440" cy="0"/>
          </a:xfrm>
          <a:custGeom>
            <a:avLst/>
            <a:gdLst/>
            <a:ahLst/>
            <a:cxnLst/>
            <a:rect l="l" t="t" r="r" b="b"/>
            <a:pathLst>
              <a:path w="7440">
                <a:moveTo>
                  <a:pt x="0" y="0"/>
                </a:moveTo>
                <a:lnTo>
                  <a:pt x="7440" y="0"/>
                </a:lnTo>
              </a:path>
            </a:pathLst>
          </a:custGeom>
          <a:ln w="1338">
            <a:solidFill>
              <a:srgbClr val="000000"/>
            </a:solidFill>
          </a:ln>
        </p:spPr>
        <p:txBody>
          <a:bodyPr wrap="square" lIns="0" tIns="0" rIns="0" bIns="0" rtlCol="0">
            <a:noAutofit/>
          </a:bodyPr>
          <a:lstStyle/>
          <a:p>
            <a:endParaRPr/>
          </a:p>
        </p:txBody>
      </p:sp>
      <p:sp>
        <p:nvSpPr>
          <p:cNvPr id="229" name="object 229"/>
          <p:cNvSpPr/>
          <p:nvPr/>
        </p:nvSpPr>
        <p:spPr>
          <a:xfrm>
            <a:off x="3587833" y="4145599"/>
            <a:ext cx="6870" cy="0"/>
          </a:xfrm>
          <a:custGeom>
            <a:avLst/>
            <a:gdLst/>
            <a:ahLst/>
            <a:cxnLst/>
            <a:rect l="l" t="t" r="r" b="b"/>
            <a:pathLst>
              <a:path w="6870">
                <a:moveTo>
                  <a:pt x="0" y="0"/>
                </a:moveTo>
                <a:lnTo>
                  <a:pt x="6870" y="0"/>
                </a:lnTo>
              </a:path>
            </a:pathLst>
          </a:custGeom>
          <a:ln w="1338">
            <a:solidFill>
              <a:srgbClr val="000000"/>
            </a:solidFill>
          </a:ln>
        </p:spPr>
        <p:txBody>
          <a:bodyPr wrap="square" lIns="0" tIns="0" rIns="0" bIns="0" rtlCol="0">
            <a:noAutofit/>
          </a:bodyPr>
          <a:lstStyle/>
          <a:p>
            <a:endParaRPr/>
          </a:p>
        </p:txBody>
      </p:sp>
      <p:sp>
        <p:nvSpPr>
          <p:cNvPr id="230" name="object 230"/>
          <p:cNvSpPr/>
          <p:nvPr/>
        </p:nvSpPr>
        <p:spPr>
          <a:xfrm>
            <a:off x="3587833" y="4068420"/>
            <a:ext cx="6870" cy="0"/>
          </a:xfrm>
          <a:custGeom>
            <a:avLst/>
            <a:gdLst/>
            <a:ahLst/>
            <a:cxnLst/>
            <a:rect l="l" t="t" r="r" b="b"/>
            <a:pathLst>
              <a:path w="6870">
                <a:moveTo>
                  <a:pt x="0" y="0"/>
                </a:moveTo>
                <a:lnTo>
                  <a:pt x="6870" y="0"/>
                </a:lnTo>
              </a:path>
            </a:pathLst>
          </a:custGeom>
          <a:ln w="1338">
            <a:solidFill>
              <a:srgbClr val="000000"/>
            </a:solidFill>
          </a:ln>
        </p:spPr>
        <p:txBody>
          <a:bodyPr wrap="square" lIns="0" tIns="0" rIns="0" bIns="0" rtlCol="0">
            <a:noAutofit/>
          </a:bodyPr>
          <a:lstStyle/>
          <a:p>
            <a:endParaRPr/>
          </a:p>
        </p:txBody>
      </p:sp>
      <p:sp>
        <p:nvSpPr>
          <p:cNvPr id="231" name="object 231"/>
          <p:cNvSpPr/>
          <p:nvPr/>
        </p:nvSpPr>
        <p:spPr>
          <a:xfrm>
            <a:off x="3587833" y="4062795"/>
            <a:ext cx="7440" cy="0"/>
          </a:xfrm>
          <a:custGeom>
            <a:avLst/>
            <a:gdLst/>
            <a:ahLst/>
            <a:cxnLst/>
            <a:rect l="l" t="t" r="r" b="b"/>
            <a:pathLst>
              <a:path w="7440">
                <a:moveTo>
                  <a:pt x="0" y="0"/>
                </a:moveTo>
                <a:lnTo>
                  <a:pt x="7440" y="0"/>
                </a:lnTo>
              </a:path>
            </a:pathLst>
          </a:custGeom>
          <a:ln w="1338">
            <a:solidFill>
              <a:srgbClr val="000000"/>
            </a:solidFill>
          </a:ln>
        </p:spPr>
        <p:txBody>
          <a:bodyPr wrap="square" lIns="0" tIns="0" rIns="0" bIns="0" rtlCol="0">
            <a:noAutofit/>
          </a:bodyPr>
          <a:lstStyle/>
          <a:p>
            <a:endParaRPr/>
          </a:p>
        </p:txBody>
      </p:sp>
      <p:sp>
        <p:nvSpPr>
          <p:cNvPr id="232" name="object 232"/>
          <p:cNvSpPr/>
          <p:nvPr/>
        </p:nvSpPr>
        <p:spPr>
          <a:xfrm>
            <a:off x="2928348" y="4511366"/>
            <a:ext cx="0" cy="5631"/>
          </a:xfrm>
          <a:custGeom>
            <a:avLst/>
            <a:gdLst/>
            <a:ahLst/>
            <a:cxnLst/>
            <a:rect l="l" t="t" r="r" b="b"/>
            <a:pathLst>
              <a:path h="5631">
                <a:moveTo>
                  <a:pt x="0" y="0"/>
                </a:moveTo>
                <a:lnTo>
                  <a:pt x="0" y="5631"/>
                </a:lnTo>
              </a:path>
            </a:pathLst>
          </a:custGeom>
          <a:ln w="1430">
            <a:solidFill>
              <a:srgbClr val="000000"/>
            </a:solidFill>
          </a:ln>
        </p:spPr>
        <p:txBody>
          <a:bodyPr wrap="square" lIns="0" tIns="0" rIns="0" bIns="0" rtlCol="0">
            <a:noAutofit/>
          </a:bodyPr>
          <a:lstStyle/>
          <a:p>
            <a:endParaRPr/>
          </a:p>
        </p:txBody>
      </p:sp>
      <p:sp>
        <p:nvSpPr>
          <p:cNvPr id="233" name="object 233"/>
          <p:cNvSpPr/>
          <p:nvPr/>
        </p:nvSpPr>
        <p:spPr>
          <a:xfrm>
            <a:off x="3151035" y="4511366"/>
            <a:ext cx="0" cy="5363"/>
          </a:xfrm>
          <a:custGeom>
            <a:avLst/>
            <a:gdLst/>
            <a:ahLst/>
            <a:cxnLst/>
            <a:rect l="l" t="t" r="r" b="b"/>
            <a:pathLst>
              <a:path h="5363">
                <a:moveTo>
                  <a:pt x="0" y="0"/>
                </a:moveTo>
                <a:lnTo>
                  <a:pt x="0" y="5363"/>
                </a:lnTo>
              </a:path>
            </a:pathLst>
          </a:custGeom>
          <a:ln w="1430">
            <a:solidFill>
              <a:srgbClr val="000000"/>
            </a:solidFill>
          </a:ln>
        </p:spPr>
        <p:txBody>
          <a:bodyPr wrap="square" lIns="0" tIns="0" rIns="0" bIns="0" rtlCol="0">
            <a:noAutofit/>
          </a:bodyPr>
          <a:lstStyle/>
          <a:p>
            <a:endParaRPr/>
          </a:p>
        </p:txBody>
      </p:sp>
      <p:sp>
        <p:nvSpPr>
          <p:cNvPr id="234" name="object 234"/>
          <p:cNvSpPr/>
          <p:nvPr/>
        </p:nvSpPr>
        <p:spPr>
          <a:xfrm>
            <a:off x="3040549" y="4511366"/>
            <a:ext cx="0" cy="5899"/>
          </a:xfrm>
          <a:custGeom>
            <a:avLst/>
            <a:gdLst/>
            <a:ahLst/>
            <a:cxnLst/>
            <a:rect l="l" t="t" r="r" b="b"/>
            <a:pathLst>
              <a:path h="5899">
                <a:moveTo>
                  <a:pt x="0" y="0"/>
                </a:moveTo>
                <a:lnTo>
                  <a:pt x="0" y="5899"/>
                </a:lnTo>
              </a:path>
            </a:pathLst>
          </a:custGeom>
          <a:ln w="1430">
            <a:solidFill>
              <a:srgbClr val="000000"/>
            </a:solidFill>
          </a:ln>
        </p:spPr>
        <p:txBody>
          <a:bodyPr wrap="square" lIns="0" tIns="0" rIns="0" bIns="0" rtlCol="0">
            <a:noAutofit/>
          </a:bodyPr>
          <a:lstStyle/>
          <a:p>
            <a:endParaRPr/>
          </a:p>
        </p:txBody>
      </p:sp>
      <p:sp>
        <p:nvSpPr>
          <p:cNvPr id="235" name="object 235"/>
          <p:cNvSpPr/>
          <p:nvPr/>
        </p:nvSpPr>
        <p:spPr>
          <a:xfrm>
            <a:off x="3262385" y="4511366"/>
            <a:ext cx="0" cy="5363"/>
          </a:xfrm>
          <a:custGeom>
            <a:avLst/>
            <a:gdLst/>
            <a:ahLst/>
            <a:cxnLst/>
            <a:rect l="l" t="t" r="r" b="b"/>
            <a:pathLst>
              <a:path h="5363">
                <a:moveTo>
                  <a:pt x="0" y="0"/>
                </a:moveTo>
                <a:lnTo>
                  <a:pt x="0" y="5363"/>
                </a:lnTo>
              </a:path>
            </a:pathLst>
          </a:custGeom>
          <a:ln w="1430">
            <a:solidFill>
              <a:srgbClr val="000000"/>
            </a:solidFill>
          </a:ln>
        </p:spPr>
        <p:txBody>
          <a:bodyPr wrap="square" lIns="0" tIns="0" rIns="0" bIns="0" rtlCol="0">
            <a:noAutofit/>
          </a:bodyPr>
          <a:lstStyle/>
          <a:p>
            <a:endParaRPr/>
          </a:p>
        </p:txBody>
      </p:sp>
      <p:sp>
        <p:nvSpPr>
          <p:cNvPr id="236" name="object 236"/>
          <p:cNvSpPr/>
          <p:nvPr/>
        </p:nvSpPr>
        <p:spPr>
          <a:xfrm>
            <a:off x="3483932" y="4511366"/>
            <a:ext cx="0" cy="5899"/>
          </a:xfrm>
          <a:custGeom>
            <a:avLst/>
            <a:gdLst/>
            <a:ahLst/>
            <a:cxnLst/>
            <a:rect l="l" t="t" r="r" b="b"/>
            <a:pathLst>
              <a:path h="5899">
                <a:moveTo>
                  <a:pt x="0" y="0"/>
                </a:moveTo>
                <a:lnTo>
                  <a:pt x="0" y="5899"/>
                </a:lnTo>
              </a:path>
            </a:pathLst>
          </a:custGeom>
          <a:ln w="1430">
            <a:solidFill>
              <a:srgbClr val="000000"/>
            </a:solidFill>
          </a:ln>
        </p:spPr>
        <p:txBody>
          <a:bodyPr wrap="square" lIns="0" tIns="0" rIns="0" bIns="0" rtlCol="0">
            <a:noAutofit/>
          </a:bodyPr>
          <a:lstStyle/>
          <a:p>
            <a:endParaRPr/>
          </a:p>
        </p:txBody>
      </p:sp>
      <p:sp>
        <p:nvSpPr>
          <p:cNvPr id="237" name="object 237"/>
          <p:cNvSpPr/>
          <p:nvPr/>
        </p:nvSpPr>
        <p:spPr>
          <a:xfrm>
            <a:off x="3373440" y="4511366"/>
            <a:ext cx="0" cy="5095"/>
          </a:xfrm>
          <a:custGeom>
            <a:avLst/>
            <a:gdLst/>
            <a:ahLst/>
            <a:cxnLst/>
            <a:rect l="l" t="t" r="r" b="b"/>
            <a:pathLst>
              <a:path h="5095">
                <a:moveTo>
                  <a:pt x="0" y="0"/>
                </a:moveTo>
                <a:lnTo>
                  <a:pt x="0" y="5095"/>
                </a:lnTo>
              </a:path>
            </a:pathLst>
          </a:custGeom>
          <a:ln w="1430">
            <a:solidFill>
              <a:srgbClr val="000000"/>
            </a:solidFill>
          </a:ln>
        </p:spPr>
        <p:txBody>
          <a:bodyPr wrap="square" lIns="0" tIns="0" rIns="0" bIns="0" rtlCol="0">
            <a:noAutofit/>
          </a:bodyPr>
          <a:lstStyle/>
          <a:p>
            <a:endParaRPr/>
          </a:p>
        </p:txBody>
      </p:sp>
      <p:sp>
        <p:nvSpPr>
          <p:cNvPr id="238" name="object 238"/>
          <p:cNvSpPr/>
          <p:nvPr/>
        </p:nvSpPr>
        <p:spPr>
          <a:xfrm>
            <a:off x="2810703" y="4504402"/>
            <a:ext cx="777131" cy="6963"/>
          </a:xfrm>
          <a:custGeom>
            <a:avLst/>
            <a:gdLst/>
            <a:ahLst/>
            <a:cxnLst/>
            <a:rect l="l" t="t" r="r" b="b"/>
            <a:pathLst>
              <a:path w="777131" h="6963">
                <a:moveTo>
                  <a:pt x="777131" y="0"/>
                </a:moveTo>
                <a:lnTo>
                  <a:pt x="0" y="0"/>
                </a:lnTo>
                <a:lnTo>
                  <a:pt x="0" y="6963"/>
                </a:lnTo>
                <a:lnTo>
                  <a:pt x="777131" y="6963"/>
                </a:lnTo>
                <a:lnTo>
                  <a:pt x="777131" y="0"/>
                </a:lnTo>
                <a:close/>
              </a:path>
            </a:pathLst>
          </a:custGeom>
          <a:solidFill>
            <a:srgbClr val="9F9FC0"/>
          </a:solidFill>
        </p:spPr>
        <p:txBody>
          <a:bodyPr wrap="square" lIns="0" tIns="0" rIns="0" bIns="0" rtlCol="0">
            <a:noAutofit/>
          </a:bodyPr>
          <a:lstStyle/>
          <a:p>
            <a:endParaRPr/>
          </a:p>
        </p:txBody>
      </p:sp>
      <p:sp>
        <p:nvSpPr>
          <p:cNvPr id="239" name="object 239"/>
          <p:cNvSpPr/>
          <p:nvPr/>
        </p:nvSpPr>
        <p:spPr>
          <a:xfrm>
            <a:off x="2810703" y="3968743"/>
            <a:ext cx="777131" cy="542622"/>
          </a:xfrm>
          <a:custGeom>
            <a:avLst/>
            <a:gdLst/>
            <a:ahLst/>
            <a:cxnLst/>
            <a:rect l="l" t="t" r="r" b="b"/>
            <a:pathLst>
              <a:path w="777131" h="542622">
                <a:moveTo>
                  <a:pt x="777131" y="0"/>
                </a:moveTo>
                <a:lnTo>
                  <a:pt x="0" y="0"/>
                </a:lnTo>
                <a:lnTo>
                  <a:pt x="0" y="542622"/>
                </a:lnTo>
                <a:lnTo>
                  <a:pt x="777131" y="542622"/>
                </a:lnTo>
                <a:lnTo>
                  <a:pt x="777131" y="0"/>
                </a:lnTo>
              </a:path>
            </a:pathLst>
          </a:custGeom>
          <a:ln w="2737">
            <a:solidFill>
              <a:srgbClr val="000000"/>
            </a:solidFill>
          </a:ln>
        </p:spPr>
        <p:txBody>
          <a:bodyPr wrap="square" lIns="0" tIns="0" rIns="0" bIns="0" rtlCol="0">
            <a:noAutofit/>
          </a:bodyPr>
          <a:lstStyle/>
          <a:p>
            <a:endParaRPr/>
          </a:p>
        </p:txBody>
      </p:sp>
      <p:sp>
        <p:nvSpPr>
          <p:cNvPr id="240" name="object 240"/>
          <p:cNvSpPr/>
          <p:nvPr/>
        </p:nvSpPr>
        <p:spPr>
          <a:xfrm>
            <a:off x="3581249" y="4288152"/>
            <a:ext cx="5728" cy="0"/>
          </a:xfrm>
          <a:custGeom>
            <a:avLst/>
            <a:gdLst/>
            <a:ahLst/>
            <a:cxnLst/>
            <a:rect l="l" t="t" r="r" b="b"/>
            <a:pathLst>
              <a:path w="5728">
                <a:moveTo>
                  <a:pt x="0" y="0"/>
                </a:moveTo>
                <a:lnTo>
                  <a:pt x="5728" y="0"/>
                </a:lnTo>
              </a:path>
            </a:pathLst>
          </a:custGeom>
          <a:ln w="1338">
            <a:solidFill>
              <a:srgbClr val="000000"/>
            </a:solidFill>
          </a:ln>
        </p:spPr>
        <p:txBody>
          <a:bodyPr wrap="square" lIns="0" tIns="0" rIns="0" bIns="0" rtlCol="0">
            <a:noAutofit/>
          </a:bodyPr>
          <a:lstStyle/>
          <a:p>
            <a:endParaRPr/>
          </a:p>
        </p:txBody>
      </p:sp>
      <p:sp>
        <p:nvSpPr>
          <p:cNvPr id="241" name="object 241"/>
          <p:cNvSpPr/>
          <p:nvPr/>
        </p:nvSpPr>
        <p:spPr>
          <a:xfrm>
            <a:off x="3581250" y="4361306"/>
            <a:ext cx="6587" cy="0"/>
          </a:xfrm>
          <a:custGeom>
            <a:avLst/>
            <a:gdLst/>
            <a:ahLst/>
            <a:cxnLst/>
            <a:rect l="l" t="t" r="r" b="b"/>
            <a:pathLst>
              <a:path w="6587">
                <a:moveTo>
                  <a:pt x="0" y="0"/>
                </a:moveTo>
                <a:lnTo>
                  <a:pt x="6587" y="0"/>
                </a:lnTo>
              </a:path>
            </a:pathLst>
          </a:custGeom>
          <a:ln w="1338">
            <a:solidFill>
              <a:srgbClr val="000000"/>
            </a:solidFill>
          </a:ln>
        </p:spPr>
        <p:txBody>
          <a:bodyPr wrap="square" lIns="0" tIns="0" rIns="0" bIns="0" rtlCol="0">
            <a:noAutofit/>
          </a:bodyPr>
          <a:lstStyle/>
          <a:p>
            <a:endParaRPr/>
          </a:p>
        </p:txBody>
      </p:sp>
      <p:sp>
        <p:nvSpPr>
          <p:cNvPr id="242" name="object 242"/>
          <p:cNvSpPr/>
          <p:nvPr/>
        </p:nvSpPr>
        <p:spPr>
          <a:xfrm>
            <a:off x="3581249" y="4214461"/>
            <a:ext cx="5728" cy="0"/>
          </a:xfrm>
          <a:custGeom>
            <a:avLst/>
            <a:gdLst/>
            <a:ahLst/>
            <a:cxnLst/>
            <a:rect l="l" t="t" r="r" b="b"/>
            <a:pathLst>
              <a:path w="5728">
                <a:moveTo>
                  <a:pt x="0" y="0"/>
                </a:moveTo>
                <a:lnTo>
                  <a:pt x="5728" y="0"/>
                </a:lnTo>
              </a:path>
            </a:pathLst>
          </a:custGeom>
          <a:ln w="1338">
            <a:solidFill>
              <a:srgbClr val="000000"/>
            </a:solidFill>
          </a:ln>
        </p:spPr>
        <p:txBody>
          <a:bodyPr wrap="square" lIns="0" tIns="0" rIns="0" bIns="0" rtlCol="0">
            <a:noAutofit/>
          </a:bodyPr>
          <a:lstStyle/>
          <a:p>
            <a:endParaRPr/>
          </a:p>
        </p:txBody>
      </p:sp>
      <p:sp>
        <p:nvSpPr>
          <p:cNvPr id="243" name="object 243"/>
          <p:cNvSpPr/>
          <p:nvPr/>
        </p:nvSpPr>
        <p:spPr>
          <a:xfrm>
            <a:off x="3581250" y="4433926"/>
            <a:ext cx="6587" cy="0"/>
          </a:xfrm>
          <a:custGeom>
            <a:avLst/>
            <a:gdLst/>
            <a:ahLst/>
            <a:cxnLst/>
            <a:rect l="l" t="t" r="r" b="b"/>
            <a:pathLst>
              <a:path w="6587">
                <a:moveTo>
                  <a:pt x="0" y="0"/>
                </a:moveTo>
                <a:lnTo>
                  <a:pt x="6587" y="0"/>
                </a:lnTo>
              </a:path>
            </a:pathLst>
          </a:custGeom>
          <a:ln w="1338">
            <a:solidFill>
              <a:srgbClr val="000000"/>
            </a:solidFill>
          </a:ln>
        </p:spPr>
        <p:txBody>
          <a:bodyPr wrap="square" lIns="0" tIns="0" rIns="0" bIns="0" rtlCol="0">
            <a:noAutofit/>
          </a:bodyPr>
          <a:lstStyle/>
          <a:p>
            <a:endParaRPr/>
          </a:p>
        </p:txBody>
      </p:sp>
      <p:sp>
        <p:nvSpPr>
          <p:cNvPr id="244" name="object 244"/>
          <p:cNvSpPr/>
          <p:nvPr/>
        </p:nvSpPr>
        <p:spPr>
          <a:xfrm>
            <a:off x="3581249" y="4138361"/>
            <a:ext cx="6300" cy="0"/>
          </a:xfrm>
          <a:custGeom>
            <a:avLst/>
            <a:gdLst/>
            <a:ahLst/>
            <a:cxnLst/>
            <a:rect l="l" t="t" r="r" b="b"/>
            <a:pathLst>
              <a:path w="6300">
                <a:moveTo>
                  <a:pt x="0" y="0"/>
                </a:moveTo>
                <a:lnTo>
                  <a:pt x="6300" y="0"/>
                </a:lnTo>
              </a:path>
            </a:pathLst>
          </a:custGeom>
          <a:ln w="1338">
            <a:solidFill>
              <a:srgbClr val="000000"/>
            </a:solidFill>
          </a:ln>
        </p:spPr>
        <p:txBody>
          <a:bodyPr wrap="square" lIns="0" tIns="0" rIns="0" bIns="0" rtlCol="0">
            <a:noAutofit/>
          </a:bodyPr>
          <a:lstStyle/>
          <a:p>
            <a:endParaRPr/>
          </a:p>
        </p:txBody>
      </p:sp>
      <p:sp>
        <p:nvSpPr>
          <p:cNvPr id="245" name="object 245"/>
          <p:cNvSpPr/>
          <p:nvPr/>
        </p:nvSpPr>
        <p:spPr>
          <a:xfrm>
            <a:off x="3581249" y="4061456"/>
            <a:ext cx="6300" cy="0"/>
          </a:xfrm>
          <a:custGeom>
            <a:avLst/>
            <a:gdLst/>
            <a:ahLst/>
            <a:cxnLst/>
            <a:rect l="l" t="t" r="r" b="b"/>
            <a:pathLst>
              <a:path w="6300">
                <a:moveTo>
                  <a:pt x="0" y="0"/>
                </a:moveTo>
                <a:lnTo>
                  <a:pt x="6300" y="0"/>
                </a:lnTo>
              </a:path>
            </a:pathLst>
          </a:custGeom>
          <a:ln w="1338">
            <a:solidFill>
              <a:srgbClr val="000000"/>
            </a:solidFill>
          </a:ln>
        </p:spPr>
        <p:txBody>
          <a:bodyPr wrap="square" lIns="0" tIns="0" rIns="0" bIns="0" rtlCol="0">
            <a:noAutofit/>
          </a:bodyPr>
          <a:lstStyle/>
          <a:p>
            <a:endParaRPr/>
          </a:p>
        </p:txBody>
      </p:sp>
      <p:sp>
        <p:nvSpPr>
          <p:cNvPr id="246" name="object 246"/>
          <p:cNvSpPr/>
          <p:nvPr/>
        </p:nvSpPr>
        <p:spPr>
          <a:xfrm>
            <a:off x="3581249" y="4056099"/>
            <a:ext cx="5442" cy="0"/>
          </a:xfrm>
          <a:custGeom>
            <a:avLst/>
            <a:gdLst/>
            <a:ahLst/>
            <a:cxnLst/>
            <a:rect l="l" t="t" r="r" b="b"/>
            <a:pathLst>
              <a:path w="5442">
                <a:moveTo>
                  <a:pt x="0" y="0"/>
                </a:moveTo>
                <a:lnTo>
                  <a:pt x="5442" y="0"/>
                </a:lnTo>
              </a:path>
            </a:pathLst>
          </a:custGeom>
          <a:ln w="1338">
            <a:solidFill>
              <a:srgbClr val="000000"/>
            </a:solidFill>
          </a:ln>
        </p:spPr>
        <p:txBody>
          <a:bodyPr wrap="square" lIns="0" tIns="0" rIns="0" bIns="0" rtlCol="0">
            <a:noAutofit/>
          </a:bodyPr>
          <a:lstStyle/>
          <a:p>
            <a:endParaRPr/>
          </a:p>
        </p:txBody>
      </p:sp>
      <p:sp>
        <p:nvSpPr>
          <p:cNvPr id="247" name="object 247"/>
          <p:cNvSpPr/>
          <p:nvPr/>
        </p:nvSpPr>
        <p:spPr>
          <a:xfrm>
            <a:off x="2921188" y="4504401"/>
            <a:ext cx="0" cy="5624"/>
          </a:xfrm>
          <a:custGeom>
            <a:avLst/>
            <a:gdLst/>
            <a:ahLst/>
            <a:cxnLst/>
            <a:rect l="l" t="t" r="r" b="b"/>
            <a:pathLst>
              <a:path h="5624">
                <a:moveTo>
                  <a:pt x="0" y="0"/>
                </a:moveTo>
                <a:lnTo>
                  <a:pt x="0" y="5624"/>
                </a:lnTo>
              </a:path>
            </a:pathLst>
          </a:custGeom>
          <a:ln w="1430">
            <a:solidFill>
              <a:srgbClr val="000000"/>
            </a:solidFill>
          </a:ln>
        </p:spPr>
        <p:txBody>
          <a:bodyPr wrap="square" lIns="0" tIns="0" rIns="0" bIns="0" rtlCol="0">
            <a:noAutofit/>
          </a:bodyPr>
          <a:lstStyle/>
          <a:p>
            <a:endParaRPr/>
          </a:p>
        </p:txBody>
      </p:sp>
      <p:sp>
        <p:nvSpPr>
          <p:cNvPr id="248" name="object 248"/>
          <p:cNvSpPr/>
          <p:nvPr/>
        </p:nvSpPr>
        <p:spPr>
          <a:xfrm>
            <a:off x="3143308" y="4504401"/>
            <a:ext cx="0" cy="5624"/>
          </a:xfrm>
          <a:custGeom>
            <a:avLst/>
            <a:gdLst/>
            <a:ahLst/>
            <a:cxnLst/>
            <a:rect l="l" t="t" r="r" b="b"/>
            <a:pathLst>
              <a:path h="5624">
                <a:moveTo>
                  <a:pt x="0" y="0"/>
                </a:moveTo>
                <a:lnTo>
                  <a:pt x="0" y="5624"/>
                </a:lnTo>
              </a:path>
            </a:pathLst>
          </a:custGeom>
          <a:ln w="1430">
            <a:solidFill>
              <a:srgbClr val="000000"/>
            </a:solidFill>
          </a:ln>
        </p:spPr>
        <p:txBody>
          <a:bodyPr wrap="square" lIns="0" tIns="0" rIns="0" bIns="0" rtlCol="0">
            <a:noAutofit/>
          </a:bodyPr>
          <a:lstStyle/>
          <a:p>
            <a:endParaRPr/>
          </a:p>
        </p:txBody>
      </p:sp>
      <p:sp>
        <p:nvSpPr>
          <p:cNvPr id="249" name="object 249"/>
          <p:cNvSpPr/>
          <p:nvPr/>
        </p:nvSpPr>
        <p:spPr>
          <a:xfrm>
            <a:off x="3033111" y="4504401"/>
            <a:ext cx="0" cy="5624"/>
          </a:xfrm>
          <a:custGeom>
            <a:avLst/>
            <a:gdLst/>
            <a:ahLst/>
            <a:cxnLst/>
            <a:rect l="l" t="t" r="r" b="b"/>
            <a:pathLst>
              <a:path h="5624">
                <a:moveTo>
                  <a:pt x="0" y="0"/>
                </a:moveTo>
                <a:lnTo>
                  <a:pt x="0" y="5624"/>
                </a:lnTo>
              </a:path>
            </a:pathLst>
          </a:custGeom>
          <a:ln w="1430">
            <a:solidFill>
              <a:srgbClr val="000000"/>
            </a:solidFill>
          </a:ln>
        </p:spPr>
        <p:txBody>
          <a:bodyPr wrap="square" lIns="0" tIns="0" rIns="0" bIns="0" rtlCol="0">
            <a:noAutofit/>
          </a:bodyPr>
          <a:lstStyle/>
          <a:p>
            <a:endParaRPr/>
          </a:p>
        </p:txBody>
      </p:sp>
      <p:sp>
        <p:nvSpPr>
          <p:cNvPr id="250" name="object 250"/>
          <p:cNvSpPr/>
          <p:nvPr/>
        </p:nvSpPr>
        <p:spPr>
          <a:xfrm>
            <a:off x="3255222" y="4504401"/>
            <a:ext cx="0" cy="6428"/>
          </a:xfrm>
          <a:custGeom>
            <a:avLst/>
            <a:gdLst/>
            <a:ahLst/>
            <a:cxnLst/>
            <a:rect l="l" t="t" r="r" b="b"/>
            <a:pathLst>
              <a:path h="6428">
                <a:moveTo>
                  <a:pt x="0" y="0"/>
                </a:moveTo>
                <a:lnTo>
                  <a:pt x="0" y="6428"/>
                </a:lnTo>
              </a:path>
            </a:pathLst>
          </a:custGeom>
          <a:ln w="1430">
            <a:solidFill>
              <a:srgbClr val="000000"/>
            </a:solidFill>
          </a:ln>
        </p:spPr>
        <p:txBody>
          <a:bodyPr wrap="square" lIns="0" tIns="0" rIns="0" bIns="0" rtlCol="0">
            <a:noAutofit/>
          </a:bodyPr>
          <a:lstStyle/>
          <a:p>
            <a:endParaRPr/>
          </a:p>
        </p:txBody>
      </p:sp>
      <p:sp>
        <p:nvSpPr>
          <p:cNvPr id="251" name="object 251"/>
          <p:cNvSpPr/>
          <p:nvPr/>
        </p:nvSpPr>
        <p:spPr>
          <a:xfrm>
            <a:off x="3476772" y="4504401"/>
            <a:ext cx="0" cy="6160"/>
          </a:xfrm>
          <a:custGeom>
            <a:avLst/>
            <a:gdLst/>
            <a:ahLst/>
            <a:cxnLst/>
            <a:rect l="l" t="t" r="r" b="b"/>
            <a:pathLst>
              <a:path h="6160">
                <a:moveTo>
                  <a:pt x="0" y="0"/>
                </a:moveTo>
                <a:lnTo>
                  <a:pt x="0" y="6160"/>
                </a:lnTo>
              </a:path>
            </a:pathLst>
          </a:custGeom>
          <a:ln w="1430">
            <a:solidFill>
              <a:srgbClr val="000000"/>
            </a:solidFill>
          </a:ln>
        </p:spPr>
        <p:txBody>
          <a:bodyPr wrap="square" lIns="0" tIns="0" rIns="0" bIns="0" rtlCol="0">
            <a:noAutofit/>
          </a:bodyPr>
          <a:lstStyle/>
          <a:p>
            <a:endParaRPr/>
          </a:p>
        </p:txBody>
      </p:sp>
      <p:sp>
        <p:nvSpPr>
          <p:cNvPr id="252" name="object 252"/>
          <p:cNvSpPr/>
          <p:nvPr/>
        </p:nvSpPr>
        <p:spPr>
          <a:xfrm>
            <a:off x="3365714" y="4504401"/>
            <a:ext cx="0" cy="5624"/>
          </a:xfrm>
          <a:custGeom>
            <a:avLst/>
            <a:gdLst/>
            <a:ahLst/>
            <a:cxnLst/>
            <a:rect l="l" t="t" r="r" b="b"/>
            <a:pathLst>
              <a:path h="5624">
                <a:moveTo>
                  <a:pt x="0" y="0"/>
                </a:moveTo>
                <a:lnTo>
                  <a:pt x="0" y="5624"/>
                </a:lnTo>
              </a:path>
            </a:pathLst>
          </a:custGeom>
          <a:ln w="1430">
            <a:solidFill>
              <a:srgbClr val="000000"/>
            </a:solidFill>
          </a:ln>
        </p:spPr>
        <p:txBody>
          <a:bodyPr wrap="square" lIns="0" tIns="0" rIns="0" bIns="0" rtlCol="0">
            <a:noAutofit/>
          </a:bodyPr>
          <a:lstStyle/>
          <a:p>
            <a:endParaRPr/>
          </a:p>
        </p:txBody>
      </p:sp>
      <p:sp>
        <p:nvSpPr>
          <p:cNvPr id="253" name="object 253"/>
          <p:cNvSpPr/>
          <p:nvPr/>
        </p:nvSpPr>
        <p:spPr>
          <a:xfrm>
            <a:off x="2803265" y="4497438"/>
            <a:ext cx="777984" cy="6963"/>
          </a:xfrm>
          <a:custGeom>
            <a:avLst/>
            <a:gdLst/>
            <a:ahLst/>
            <a:cxnLst/>
            <a:rect l="l" t="t" r="r" b="b"/>
            <a:pathLst>
              <a:path w="777984" h="6963">
                <a:moveTo>
                  <a:pt x="777984" y="0"/>
                </a:moveTo>
                <a:lnTo>
                  <a:pt x="0" y="0"/>
                </a:lnTo>
                <a:lnTo>
                  <a:pt x="0" y="6963"/>
                </a:lnTo>
                <a:lnTo>
                  <a:pt x="777984" y="6963"/>
                </a:lnTo>
                <a:lnTo>
                  <a:pt x="777984" y="0"/>
                </a:lnTo>
                <a:close/>
              </a:path>
            </a:pathLst>
          </a:custGeom>
          <a:solidFill>
            <a:srgbClr val="C0C0DF"/>
          </a:solidFill>
        </p:spPr>
        <p:txBody>
          <a:bodyPr wrap="square" lIns="0" tIns="0" rIns="0" bIns="0" rtlCol="0">
            <a:noAutofit/>
          </a:bodyPr>
          <a:lstStyle/>
          <a:p>
            <a:endParaRPr/>
          </a:p>
        </p:txBody>
      </p:sp>
      <p:sp>
        <p:nvSpPr>
          <p:cNvPr id="254" name="object 254"/>
          <p:cNvSpPr/>
          <p:nvPr/>
        </p:nvSpPr>
        <p:spPr>
          <a:xfrm>
            <a:off x="2803265" y="3961771"/>
            <a:ext cx="777984" cy="542630"/>
          </a:xfrm>
          <a:custGeom>
            <a:avLst/>
            <a:gdLst/>
            <a:ahLst/>
            <a:cxnLst/>
            <a:rect l="l" t="t" r="r" b="b"/>
            <a:pathLst>
              <a:path w="777984" h="542630">
                <a:moveTo>
                  <a:pt x="777984" y="0"/>
                </a:moveTo>
                <a:lnTo>
                  <a:pt x="0" y="0"/>
                </a:lnTo>
                <a:lnTo>
                  <a:pt x="0" y="542630"/>
                </a:lnTo>
                <a:lnTo>
                  <a:pt x="777984" y="542630"/>
                </a:lnTo>
                <a:lnTo>
                  <a:pt x="777984" y="0"/>
                </a:lnTo>
              </a:path>
            </a:pathLst>
          </a:custGeom>
          <a:ln w="2737">
            <a:solidFill>
              <a:srgbClr val="000000"/>
            </a:solidFill>
          </a:ln>
        </p:spPr>
        <p:txBody>
          <a:bodyPr wrap="square" lIns="0" tIns="0" rIns="0" bIns="0" rtlCol="0">
            <a:noAutofit/>
          </a:bodyPr>
          <a:lstStyle/>
          <a:p>
            <a:endParaRPr/>
          </a:p>
        </p:txBody>
      </p:sp>
      <p:sp>
        <p:nvSpPr>
          <p:cNvPr id="255" name="object 255"/>
          <p:cNvSpPr/>
          <p:nvPr/>
        </p:nvSpPr>
        <p:spPr>
          <a:xfrm>
            <a:off x="3573807" y="4281456"/>
            <a:ext cx="6010" cy="0"/>
          </a:xfrm>
          <a:custGeom>
            <a:avLst/>
            <a:gdLst/>
            <a:ahLst/>
            <a:cxnLst/>
            <a:rect l="l" t="t" r="r" b="b"/>
            <a:pathLst>
              <a:path w="6010">
                <a:moveTo>
                  <a:pt x="0" y="0"/>
                </a:moveTo>
                <a:lnTo>
                  <a:pt x="6010" y="0"/>
                </a:lnTo>
              </a:path>
            </a:pathLst>
          </a:custGeom>
          <a:ln w="1338">
            <a:solidFill>
              <a:srgbClr val="000000"/>
            </a:solidFill>
          </a:ln>
        </p:spPr>
        <p:txBody>
          <a:bodyPr wrap="square" lIns="0" tIns="0" rIns="0" bIns="0" rtlCol="0">
            <a:noAutofit/>
          </a:bodyPr>
          <a:lstStyle/>
          <a:p>
            <a:endParaRPr/>
          </a:p>
        </p:txBody>
      </p:sp>
      <p:sp>
        <p:nvSpPr>
          <p:cNvPr id="256" name="object 256"/>
          <p:cNvSpPr/>
          <p:nvPr/>
        </p:nvSpPr>
        <p:spPr>
          <a:xfrm>
            <a:off x="3573807" y="4354074"/>
            <a:ext cx="7152" cy="0"/>
          </a:xfrm>
          <a:custGeom>
            <a:avLst/>
            <a:gdLst/>
            <a:ahLst/>
            <a:cxnLst/>
            <a:rect l="l" t="t" r="r" b="b"/>
            <a:pathLst>
              <a:path w="7152">
                <a:moveTo>
                  <a:pt x="0" y="0"/>
                </a:moveTo>
                <a:lnTo>
                  <a:pt x="7152" y="0"/>
                </a:lnTo>
              </a:path>
            </a:pathLst>
          </a:custGeom>
          <a:ln w="1338">
            <a:solidFill>
              <a:srgbClr val="000000"/>
            </a:solidFill>
          </a:ln>
        </p:spPr>
        <p:txBody>
          <a:bodyPr wrap="square" lIns="0" tIns="0" rIns="0" bIns="0" rtlCol="0">
            <a:noAutofit/>
          </a:bodyPr>
          <a:lstStyle/>
          <a:p>
            <a:endParaRPr/>
          </a:p>
        </p:txBody>
      </p:sp>
      <p:sp>
        <p:nvSpPr>
          <p:cNvPr id="257" name="object 257"/>
          <p:cNvSpPr/>
          <p:nvPr/>
        </p:nvSpPr>
        <p:spPr>
          <a:xfrm>
            <a:off x="3573807" y="4207497"/>
            <a:ext cx="7152" cy="0"/>
          </a:xfrm>
          <a:custGeom>
            <a:avLst/>
            <a:gdLst/>
            <a:ahLst/>
            <a:cxnLst/>
            <a:rect l="l" t="t" r="r" b="b"/>
            <a:pathLst>
              <a:path w="7152">
                <a:moveTo>
                  <a:pt x="0" y="0"/>
                </a:moveTo>
                <a:lnTo>
                  <a:pt x="7152" y="0"/>
                </a:lnTo>
              </a:path>
            </a:pathLst>
          </a:custGeom>
          <a:ln w="1338">
            <a:solidFill>
              <a:srgbClr val="000000"/>
            </a:solidFill>
          </a:ln>
        </p:spPr>
        <p:txBody>
          <a:bodyPr wrap="square" lIns="0" tIns="0" rIns="0" bIns="0" rtlCol="0">
            <a:noAutofit/>
          </a:bodyPr>
          <a:lstStyle/>
          <a:p>
            <a:endParaRPr/>
          </a:p>
        </p:txBody>
      </p:sp>
      <p:sp>
        <p:nvSpPr>
          <p:cNvPr id="258" name="object 258"/>
          <p:cNvSpPr/>
          <p:nvPr/>
        </p:nvSpPr>
        <p:spPr>
          <a:xfrm>
            <a:off x="3573807" y="4426962"/>
            <a:ext cx="6866" cy="0"/>
          </a:xfrm>
          <a:custGeom>
            <a:avLst/>
            <a:gdLst/>
            <a:ahLst/>
            <a:cxnLst/>
            <a:rect l="l" t="t" r="r" b="b"/>
            <a:pathLst>
              <a:path w="6866">
                <a:moveTo>
                  <a:pt x="0" y="0"/>
                </a:moveTo>
                <a:lnTo>
                  <a:pt x="6866" y="0"/>
                </a:lnTo>
              </a:path>
            </a:pathLst>
          </a:custGeom>
          <a:ln w="1338">
            <a:solidFill>
              <a:srgbClr val="000000"/>
            </a:solidFill>
          </a:ln>
        </p:spPr>
        <p:txBody>
          <a:bodyPr wrap="square" lIns="0" tIns="0" rIns="0" bIns="0" rtlCol="0">
            <a:noAutofit/>
          </a:bodyPr>
          <a:lstStyle/>
          <a:p>
            <a:endParaRPr/>
          </a:p>
        </p:txBody>
      </p:sp>
      <p:sp>
        <p:nvSpPr>
          <p:cNvPr id="259" name="object 259"/>
          <p:cNvSpPr/>
          <p:nvPr/>
        </p:nvSpPr>
        <p:spPr>
          <a:xfrm>
            <a:off x="3573807" y="4131665"/>
            <a:ext cx="6866" cy="0"/>
          </a:xfrm>
          <a:custGeom>
            <a:avLst/>
            <a:gdLst/>
            <a:ahLst/>
            <a:cxnLst/>
            <a:rect l="l" t="t" r="r" b="b"/>
            <a:pathLst>
              <a:path w="6866">
                <a:moveTo>
                  <a:pt x="0" y="0"/>
                </a:moveTo>
                <a:lnTo>
                  <a:pt x="6866" y="0"/>
                </a:lnTo>
              </a:path>
            </a:pathLst>
          </a:custGeom>
          <a:ln w="1338">
            <a:solidFill>
              <a:srgbClr val="000000"/>
            </a:solidFill>
          </a:ln>
        </p:spPr>
        <p:txBody>
          <a:bodyPr wrap="square" lIns="0" tIns="0" rIns="0" bIns="0" rtlCol="0">
            <a:noAutofit/>
          </a:bodyPr>
          <a:lstStyle/>
          <a:p>
            <a:endParaRPr/>
          </a:p>
        </p:txBody>
      </p:sp>
      <p:sp>
        <p:nvSpPr>
          <p:cNvPr id="260" name="object 260"/>
          <p:cNvSpPr/>
          <p:nvPr/>
        </p:nvSpPr>
        <p:spPr>
          <a:xfrm>
            <a:off x="3573808" y="4054492"/>
            <a:ext cx="7439" cy="0"/>
          </a:xfrm>
          <a:custGeom>
            <a:avLst/>
            <a:gdLst/>
            <a:ahLst/>
            <a:cxnLst/>
            <a:rect l="l" t="t" r="r" b="b"/>
            <a:pathLst>
              <a:path w="7439">
                <a:moveTo>
                  <a:pt x="0" y="0"/>
                </a:moveTo>
                <a:lnTo>
                  <a:pt x="7439" y="0"/>
                </a:lnTo>
              </a:path>
            </a:pathLst>
          </a:custGeom>
          <a:ln w="1338">
            <a:solidFill>
              <a:srgbClr val="000000"/>
            </a:solidFill>
          </a:ln>
        </p:spPr>
        <p:txBody>
          <a:bodyPr wrap="square" lIns="0" tIns="0" rIns="0" bIns="0" rtlCol="0">
            <a:noAutofit/>
          </a:bodyPr>
          <a:lstStyle/>
          <a:p>
            <a:endParaRPr/>
          </a:p>
        </p:txBody>
      </p:sp>
      <p:sp>
        <p:nvSpPr>
          <p:cNvPr id="261" name="object 261"/>
          <p:cNvSpPr/>
          <p:nvPr/>
        </p:nvSpPr>
        <p:spPr>
          <a:xfrm>
            <a:off x="3573808" y="4048862"/>
            <a:ext cx="7439" cy="0"/>
          </a:xfrm>
          <a:custGeom>
            <a:avLst/>
            <a:gdLst/>
            <a:ahLst/>
            <a:cxnLst/>
            <a:rect l="l" t="t" r="r" b="b"/>
            <a:pathLst>
              <a:path w="7439">
                <a:moveTo>
                  <a:pt x="0" y="0"/>
                </a:moveTo>
                <a:lnTo>
                  <a:pt x="7439" y="0"/>
                </a:lnTo>
              </a:path>
            </a:pathLst>
          </a:custGeom>
          <a:ln w="1338">
            <a:solidFill>
              <a:srgbClr val="000000"/>
            </a:solidFill>
          </a:ln>
        </p:spPr>
        <p:txBody>
          <a:bodyPr wrap="square" lIns="0" tIns="0" rIns="0" bIns="0" rtlCol="0">
            <a:noAutofit/>
          </a:bodyPr>
          <a:lstStyle/>
          <a:p>
            <a:endParaRPr/>
          </a:p>
        </p:txBody>
      </p:sp>
      <p:sp>
        <p:nvSpPr>
          <p:cNvPr id="262" name="object 262"/>
          <p:cNvSpPr/>
          <p:nvPr/>
        </p:nvSpPr>
        <p:spPr>
          <a:xfrm>
            <a:off x="2913748" y="4497437"/>
            <a:ext cx="0" cy="5892"/>
          </a:xfrm>
          <a:custGeom>
            <a:avLst/>
            <a:gdLst/>
            <a:ahLst/>
            <a:cxnLst/>
            <a:rect l="l" t="t" r="r" b="b"/>
            <a:pathLst>
              <a:path h="5892">
                <a:moveTo>
                  <a:pt x="0" y="0"/>
                </a:moveTo>
                <a:lnTo>
                  <a:pt x="0" y="5892"/>
                </a:lnTo>
              </a:path>
            </a:pathLst>
          </a:custGeom>
          <a:ln w="1430">
            <a:solidFill>
              <a:srgbClr val="000000"/>
            </a:solidFill>
          </a:ln>
        </p:spPr>
        <p:txBody>
          <a:bodyPr wrap="square" lIns="0" tIns="0" rIns="0" bIns="0" rtlCol="0">
            <a:noAutofit/>
          </a:bodyPr>
          <a:lstStyle/>
          <a:p>
            <a:endParaRPr/>
          </a:p>
        </p:txBody>
      </p:sp>
      <p:sp>
        <p:nvSpPr>
          <p:cNvPr id="263" name="object 263"/>
          <p:cNvSpPr/>
          <p:nvPr/>
        </p:nvSpPr>
        <p:spPr>
          <a:xfrm>
            <a:off x="3136154" y="4497437"/>
            <a:ext cx="0" cy="6696"/>
          </a:xfrm>
          <a:custGeom>
            <a:avLst/>
            <a:gdLst/>
            <a:ahLst/>
            <a:cxnLst/>
            <a:rect l="l" t="t" r="r" b="b"/>
            <a:pathLst>
              <a:path h="6696">
                <a:moveTo>
                  <a:pt x="0" y="0"/>
                </a:moveTo>
                <a:lnTo>
                  <a:pt x="0" y="6696"/>
                </a:lnTo>
              </a:path>
            </a:pathLst>
          </a:custGeom>
          <a:ln w="1430">
            <a:solidFill>
              <a:srgbClr val="000000"/>
            </a:solidFill>
          </a:ln>
        </p:spPr>
        <p:txBody>
          <a:bodyPr wrap="square" lIns="0" tIns="0" rIns="0" bIns="0" rtlCol="0">
            <a:noAutofit/>
          </a:bodyPr>
          <a:lstStyle/>
          <a:p>
            <a:endParaRPr/>
          </a:p>
        </p:txBody>
      </p:sp>
      <p:sp>
        <p:nvSpPr>
          <p:cNvPr id="264" name="object 264"/>
          <p:cNvSpPr/>
          <p:nvPr/>
        </p:nvSpPr>
        <p:spPr>
          <a:xfrm>
            <a:off x="3025376" y="4497437"/>
            <a:ext cx="0" cy="6160"/>
          </a:xfrm>
          <a:custGeom>
            <a:avLst/>
            <a:gdLst/>
            <a:ahLst/>
            <a:cxnLst/>
            <a:rect l="l" t="t" r="r" b="b"/>
            <a:pathLst>
              <a:path h="6160">
                <a:moveTo>
                  <a:pt x="0" y="0"/>
                </a:moveTo>
                <a:lnTo>
                  <a:pt x="0" y="6160"/>
                </a:lnTo>
              </a:path>
            </a:pathLst>
          </a:custGeom>
          <a:ln w="1430">
            <a:solidFill>
              <a:srgbClr val="000000"/>
            </a:solidFill>
          </a:ln>
        </p:spPr>
        <p:txBody>
          <a:bodyPr wrap="square" lIns="0" tIns="0" rIns="0" bIns="0" rtlCol="0">
            <a:noAutofit/>
          </a:bodyPr>
          <a:lstStyle/>
          <a:p>
            <a:endParaRPr/>
          </a:p>
        </p:txBody>
      </p:sp>
      <p:sp>
        <p:nvSpPr>
          <p:cNvPr id="265" name="object 265"/>
          <p:cNvSpPr/>
          <p:nvPr/>
        </p:nvSpPr>
        <p:spPr>
          <a:xfrm>
            <a:off x="3247785" y="4497438"/>
            <a:ext cx="0" cy="6963"/>
          </a:xfrm>
          <a:custGeom>
            <a:avLst/>
            <a:gdLst/>
            <a:ahLst/>
            <a:cxnLst/>
            <a:rect l="l" t="t" r="r" b="b"/>
            <a:pathLst>
              <a:path h="6963">
                <a:moveTo>
                  <a:pt x="0" y="0"/>
                </a:moveTo>
                <a:lnTo>
                  <a:pt x="0" y="6963"/>
                </a:lnTo>
              </a:path>
            </a:pathLst>
          </a:custGeom>
          <a:ln w="1430">
            <a:solidFill>
              <a:srgbClr val="000000"/>
            </a:solidFill>
          </a:ln>
        </p:spPr>
        <p:txBody>
          <a:bodyPr wrap="square" lIns="0" tIns="0" rIns="0" bIns="0" rtlCol="0">
            <a:noAutofit/>
          </a:bodyPr>
          <a:lstStyle/>
          <a:p>
            <a:endParaRPr/>
          </a:p>
        </p:txBody>
      </p:sp>
      <p:sp>
        <p:nvSpPr>
          <p:cNvPr id="266" name="object 266"/>
          <p:cNvSpPr/>
          <p:nvPr/>
        </p:nvSpPr>
        <p:spPr>
          <a:xfrm>
            <a:off x="3469332" y="4497438"/>
            <a:ext cx="0" cy="6963"/>
          </a:xfrm>
          <a:custGeom>
            <a:avLst/>
            <a:gdLst/>
            <a:ahLst/>
            <a:cxnLst/>
            <a:rect l="l" t="t" r="r" b="b"/>
            <a:pathLst>
              <a:path h="6963">
                <a:moveTo>
                  <a:pt x="0" y="0"/>
                </a:moveTo>
                <a:lnTo>
                  <a:pt x="0" y="6963"/>
                </a:lnTo>
              </a:path>
            </a:pathLst>
          </a:custGeom>
          <a:ln w="1430">
            <a:solidFill>
              <a:srgbClr val="000000"/>
            </a:solidFill>
          </a:ln>
        </p:spPr>
        <p:txBody>
          <a:bodyPr wrap="square" lIns="0" tIns="0" rIns="0" bIns="0" rtlCol="0">
            <a:noAutofit/>
          </a:bodyPr>
          <a:lstStyle/>
          <a:p>
            <a:endParaRPr/>
          </a:p>
        </p:txBody>
      </p:sp>
      <p:sp>
        <p:nvSpPr>
          <p:cNvPr id="267" name="object 267"/>
          <p:cNvSpPr/>
          <p:nvPr/>
        </p:nvSpPr>
        <p:spPr>
          <a:xfrm>
            <a:off x="3358554" y="4497438"/>
            <a:ext cx="0" cy="6963"/>
          </a:xfrm>
          <a:custGeom>
            <a:avLst/>
            <a:gdLst/>
            <a:ahLst/>
            <a:cxnLst/>
            <a:rect l="l" t="t" r="r" b="b"/>
            <a:pathLst>
              <a:path h="6963">
                <a:moveTo>
                  <a:pt x="0" y="0"/>
                </a:moveTo>
                <a:lnTo>
                  <a:pt x="0" y="6963"/>
                </a:lnTo>
              </a:path>
            </a:pathLst>
          </a:custGeom>
          <a:ln w="1430">
            <a:solidFill>
              <a:srgbClr val="000000"/>
            </a:solidFill>
          </a:ln>
        </p:spPr>
        <p:txBody>
          <a:bodyPr wrap="square" lIns="0" tIns="0" rIns="0" bIns="0" rtlCol="0">
            <a:noAutofit/>
          </a:bodyPr>
          <a:lstStyle/>
          <a:p>
            <a:endParaRPr/>
          </a:p>
        </p:txBody>
      </p:sp>
      <p:sp>
        <p:nvSpPr>
          <p:cNvPr id="268" name="object 268"/>
          <p:cNvSpPr/>
          <p:nvPr/>
        </p:nvSpPr>
        <p:spPr>
          <a:xfrm>
            <a:off x="2795818" y="4490468"/>
            <a:ext cx="777989" cy="6969"/>
          </a:xfrm>
          <a:custGeom>
            <a:avLst/>
            <a:gdLst/>
            <a:ahLst/>
            <a:cxnLst/>
            <a:rect l="l" t="t" r="r" b="b"/>
            <a:pathLst>
              <a:path w="777989" h="6969">
                <a:moveTo>
                  <a:pt x="777989" y="0"/>
                </a:moveTo>
                <a:lnTo>
                  <a:pt x="0" y="0"/>
                </a:lnTo>
                <a:lnTo>
                  <a:pt x="0" y="6969"/>
                </a:lnTo>
                <a:lnTo>
                  <a:pt x="777989" y="6969"/>
                </a:lnTo>
                <a:lnTo>
                  <a:pt x="777989" y="0"/>
                </a:lnTo>
                <a:close/>
              </a:path>
            </a:pathLst>
          </a:custGeom>
          <a:solidFill>
            <a:srgbClr val="C0C0DF"/>
          </a:solidFill>
        </p:spPr>
        <p:txBody>
          <a:bodyPr wrap="square" lIns="0" tIns="0" rIns="0" bIns="0" rtlCol="0">
            <a:noAutofit/>
          </a:bodyPr>
          <a:lstStyle/>
          <a:p>
            <a:endParaRPr/>
          </a:p>
        </p:txBody>
      </p:sp>
      <p:sp>
        <p:nvSpPr>
          <p:cNvPr id="269" name="object 269"/>
          <p:cNvSpPr/>
          <p:nvPr/>
        </p:nvSpPr>
        <p:spPr>
          <a:xfrm>
            <a:off x="2795818" y="3954807"/>
            <a:ext cx="777989" cy="542630"/>
          </a:xfrm>
          <a:custGeom>
            <a:avLst/>
            <a:gdLst/>
            <a:ahLst/>
            <a:cxnLst/>
            <a:rect l="l" t="t" r="r" b="b"/>
            <a:pathLst>
              <a:path w="777989" h="542630">
                <a:moveTo>
                  <a:pt x="777989" y="0"/>
                </a:moveTo>
                <a:lnTo>
                  <a:pt x="0" y="0"/>
                </a:lnTo>
                <a:lnTo>
                  <a:pt x="0" y="542630"/>
                </a:lnTo>
                <a:lnTo>
                  <a:pt x="777989" y="542630"/>
                </a:lnTo>
                <a:lnTo>
                  <a:pt x="777989" y="0"/>
                </a:lnTo>
              </a:path>
            </a:pathLst>
          </a:custGeom>
          <a:ln w="2737">
            <a:solidFill>
              <a:srgbClr val="000000"/>
            </a:solidFill>
          </a:ln>
        </p:spPr>
        <p:txBody>
          <a:bodyPr wrap="square" lIns="0" tIns="0" rIns="0" bIns="0" rtlCol="0">
            <a:noAutofit/>
          </a:bodyPr>
          <a:lstStyle/>
          <a:p>
            <a:endParaRPr/>
          </a:p>
        </p:txBody>
      </p:sp>
      <p:sp>
        <p:nvSpPr>
          <p:cNvPr id="270" name="object 270"/>
          <p:cNvSpPr/>
          <p:nvPr/>
        </p:nvSpPr>
        <p:spPr>
          <a:xfrm>
            <a:off x="3566367" y="4274217"/>
            <a:ext cx="6582" cy="0"/>
          </a:xfrm>
          <a:custGeom>
            <a:avLst/>
            <a:gdLst/>
            <a:ahLst/>
            <a:cxnLst/>
            <a:rect l="l" t="t" r="r" b="b"/>
            <a:pathLst>
              <a:path w="6582">
                <a:moveTo>
                  <a:pt x="0" y="0"/>
                </a:moveTo>
                <a:lnTo>
                  <a:pt x="6582" y="0"/>
                </a:lnTo>
              </a:path>
            </a:pathLst>
          </a:custGeom>
          <a:ln w="1338">
            <a:solidFill>
              <a:srgbClr val="000000"/>
            </a:solidFill>
          </a:ln>
        </p:spPr>
        <p:txBody>
          <a:bodyPr wrap="square" lIns="0" tIns="0" rIns="0" bIns="0" rtlCol="0">
            <a:noAutofit/>
          </a:bodyPr>
          <a:lstStyle/>
          <a:p>
            <a:endParaRPr/>
          </a:p>
        </p:txBody>
      </p:sp>
      <p:sp>
        <p:nvSpPr>
          <p:cNvPr id="271" name="object 271"/>
          <p:cNvSpPr/>
          <p:nvPr/>
        </p:nvSpPr>
        <p:spPr>
          <a:xfrm>
            <a:off x="3566368" y="4347105"/>
            <a:ext cx="7155" cy="0"/>
          </a:xfrm>
          <a:custGeom>
            <a:avLst/>
            <a:gdLst/>
            <a:ahLst/>
            <a:cxnLst/>
            <a:rect l="l" t="t" r="r" b="b"/>
            <a:pathLst>
              <a:path w="7155">
                <a:moveTo>
                  <a:pt x="0" y="0"/>
                </a:moveTo>
                <a:lnTo>
                  <a:pt x="7155" y="0"/>
                </a:lnTo>
              </a:path>
            </a:pathLst>
          </a:custGeom>
          <a:ln w="1338">
            <a:solidFill>
              <a:srgbClr val="000000"/>
            </a:solidFill>
          </a:ln>
        </p:spPr>
        <p:txBody>
          <a:bodyPr wrap="square" lIns="0" tIns="0" rIns="0" bIns="0" rtlCol="0">
            <a:noAutofit/>
          </a:bodyPr>
          <a:lstStyle/>
          <a:p>
            <a:endParaRPr/>
          </a:p>
        </p:txBody>
      </p:sp>
      <p:sp>
        <p:nvSpPr>
          <p:cNvPr id="272" name="object 272"/>
          <p:cNvSpPr/>
          <p:nvPr/>
        </p:nvSpPr>
        <p:spPr>
          <a:xfrm>
            <a:off x="3566368" y="4200528"/>
            <a:ext cx="7155" cy="0"/>
          </a:xfrm>
          <a:custGeom>
            <a:avLst/>
            <a:gdLst/>
            <a:ahLst/>
            <a:cxnLst/>
            <a:rect l="l" t="t" r="r" b="b"/>
            <a:pathLst>
              <a:path w="7155">
                <a:moveTo>
                  <a:pt x="0" y="0"/>
                </a:moveTo>
                <a:lnTo>
                  <a:pt x="7155" y="0"/>
                </a:lnTo>
              </a:path>
            </a:pathLst>
          </a:custGeom>
          <a:ln w="1338">
            <a:solidFill>
              <a:srgbClr val="000000"/>
            </a:solidFill>
          </a:ln>
        </p:spPr>
        <p:txBody>
          <a:bodyPr wrap="square" lIns="0" tIns="0" rIns="0" bIns="0" rtlCol="0">
            <a:noAutofit/>
          </a:bodyPr>
          <a:lstStyle/>
          <a:p>
            <a:endParaRPr/>
          </a:p>
        </p:txBody>
      </p:sp>
      <p:sp>
        <p:nvSpPr>
          <p:cNvPr id="273" name="object 273"/>
          <p:cNvSpPr/>
          <p:nvPr/>
        </p:nvSpPr>
        <p:spPr>
          <a:xfrm>
            <a:off x="3566368" y="4421329"/>
            <a:ext cx="7155" cy="0"/>
          </a:xfrm>
          <a:custGeom>
            <a:avLst/>
            <a:gdLst/>
            <a:ahLst/>
            <a:cxnLst/>
            <a:rect l="l" t="t" r="r" b="b"/>
            <a:pathLst>
              <a:path w="7155">
                <a:moveTo>
                  <a:pt x="0" y="0"/>
                </a:moveTo>
                <a:lnTo>
                  <a:pt x="7155" y="0"/>
                </a:lnTo>
              </a:path>
            </a:pathLst>
          </a:custGeom>
          <a:ln w="1338">
            <a:solidFill>
              <a:srgbClr val="000000"/>
            </a:solidFill>
          </a:ln>
        </p:spPr>
        <p:txBody>
          <a:bodyPr wrap="square" lIns="0" tIns="0" rIns="0" bIns="0" rtlCol="0">
            <a:noAutofit/>
          </a:bodyPr>
          <a:lstStyle/>
          <a:p>
            <a:endParaRPr/>
          </a:p>
        </p:txBody>
      </p:sp>
      <p:sp>
        <p:nvSpPr>
          <p:cNvPr id="274" name="object 274"/>
          <p:cNvSpPr/>
          <p:nvPr/>
        </p:nvSpPr>
        <p:spPr>
          <a:xfrm>
            <a:off x="3566368" y="4125765"/>
            <a:ext cx="7155" cy="0"/>
          </a:xfrm>
          <a:custGeom>
            <a:avLst/>
            <a:gdLst/>
            <a:ahLst/>
            <a:cxnLst/>
            <a:rect l="l" t="t" r="r" b="b"/>
            <a:pathLst>
              <a:path w="7155">
                <a:moveTo>
                  <a:pt x="0" y="0"/>
                </a:moveTo>
                <a:lnTo>
                  <a:pt x="7155" y="0"/>
                </a:lnTo>
              </a:path>
            </a:pathLst>
          </a:custGeom>
          <a:ln w="1338">
            <a:solidFill>
              <a:srgbClr val="000000"/>
            </a:solidFill>
          </a:ln>
        </p:spPr>
        <p:txBody>
          <a:bodyPr wrap="square" lIns="0" tIns="0" rIns="0" bIns="0" rtlCol="0">
            <a:noAutofit/>
          </a:bodyPr>
          <a:lstStyle/>
          <a:p>
            <a:endParaRPr/>
          </a:p>
        </p:txBody>
      </p:sp>
      <p:sp>
        <p:nvSpPr>
          <p:cNvPr id="275" name="object 275"/>
          <p:cNvSpPr/>
          <p:nvPr/>
        </p:nvSpPr>
        <p:spPr>
          <a:xfrm>
            <a:off x="3566367" y="4047791"/>
            <a:ext cx="6296" cy="0"/>
          </a:xfrm>
          <a:custGeom>
            <a:avLst/>
            <a:gdLst/>
            <a:ahLst/>
            <a:cxnLst/>
            <a:rect l="l" t="t" r="r" b="b"/>
            <a:pathLst>
              <a:path w="6296">
                <a:moveTo>
                  <a:pt x="0" y="0"/>
                </a:moveTo>
                <a:lnTo>
                  <a:pt x="6296" y="0"/>
                </a:lnTo>
              </a:path>
            </a:pathLst>
          </a:custGeom>
          <a:ln w="1338">
            <a:solidFill>
              <a:srgbClr val="000000"/>
            </a:solidFill>
          </a:ln>
        </p:spPr>
        <p:txBody>
          <a:bodyPr wrap="square" lIns="0" tIns="0" rIns="0" bIns="0" rtlCol="0">
            <a:noAutofit/>
          </a:bodyPr>
          <a:lstStyle/>
          <a:p>
            <a:endParaRPr/>
          </a:p>
        </p:txBody>
      </p:sp>
      <p:sp>
        <p:nvSpPr>
          <p:cNvPr id="276" name="object 276"/>
          <p:cNvSpPr/>
          <p:nvPr/>
        </p:nvSpPr>
        <p:spPr>
          <a:xfrm>
            <a:off x="3566367" y="4041898"/>
            <a:ext cx="6296" cy="0"/>
          </a:xfrm>
          <a:custGeom>
            <a:avLst/>
            <a:gdLst/>
            <a:ahLst/>
            <a:cxnLst/>
            <a:rect l="l" t="t" r="r" b="b"/>
            <a:pathLst>
              <a:path w="6296">
                <a:moveTo>
                  <a:pt x="0" y="0"/>
                </a:moveTo>
                <a:lnTo>
                  <a:pt x="6296" y="0"/>
                </a:lnTo>
              </a:path>
            </a:pathLst>
          </a:custGeom>
          <a:ln w="1338">
            <a:solidFill>
              <a:srgbClr val="000000"/>
            </a:solidFill>
          </a:ln>
        </p:spPr>
        <p:txBody>
          <a:bodyPr wrap="square" lIns="0" tIns="0" rIns="0" bIns="0" rtlCol="0">
            <a:noAutofit/>
          </a:bodyPr>
          <a:lstStyle/>
          <a:p>
            <a:endParaRPr/>
          </a:p>
        </p:txBody>
      </p:sp>
      <p:sp>
        <p:nvSpPr>
          <p:cNvPr id="277" name="object 277"/>
          <p:cNvSpPr/>
          <p:nvPr/>
        </p:nvSpPr>
        <p:spPr>
          <a:xfrm>
            <a:off x="2907166" y="4490468"/>
            <a:ext cx="0" cy="6159"/>
          </a:xfrm>
          <a:custGeom>
            <a:avLst/>
            <a:gdLst/>
            <a:ahLst/>
            <a:cxnLst/>
            <a:rect l="l" t="t" r="r" b="b"/>
            <a:pathLst>
              <a:path h="6159">
                <a:moveTo>
                  <a:pt x="0" y="0"/>
                </a:moveTo>
                <a:lnTo>
                  <a:pt x="0" y="6159"/>
                </a:lnTo>
              </a:path>
            </a:pathLst>
          </a:custGeom>
          <a:ln w="1430">
            <a:solidFill>
              <a:srgbClr val="000000"/>
            </a:solidFill>
          </a:ln>
        </p:spPr>
        <p:txBody>
          <a:bodyPr wrap="square" lIns="0" tIns="0" rIns="0" bIns="0" rtlCol="0">
            <a:noAutofit/>
          </a:bodyPr>
          <a:lstStyle/>
          <a:p>
            <a:endParaRPr/>
          </a:p>
        </p:txBody>
      </p:sp>
      <p:sp>
        <p:nvSpPr>
          <p:cNvPr id="278" name="object 278"/>
          <p:cNvSpPr/>
          <p:nvPr/>
        </p:nvSpPr>
        <p:spPr>
          <a:xfrm>
            <a:off x="3128708" y="4490468"/>
            <a:ext cx="0" cy="6159"/>
          </a:xfrm>
          <a:custGeom>
            <a:avLst/>
            <a:gdLst/>
            <a:ahLst/>
            <a:cxnLst/>
            <a:rect l="l" t="t" r="r" b="b"/>
            <a:pathLst>
              <a:path h="6159">
                <a:moveTo>
                  <a:pt x="0" y="0"/>
                </a:moveTo>
                <a:lnTo>
                  <a:pt x="0" y="6159"/>
                </a:lnTo>
              </a:path>
            </a:pathLst>
          </a:custGeom>
          <a:ln w="1430">
            <a:solidFill>
              <a:srgbClr val="000000"/>
            </a:solidFill>
          </a:ln>
        </p:spPr>
        <p:txBody>
          <a:bodyPr wrap="square" lIns="0" tIns="0" rIns="0" bIns="0" rtlCol="0">
            <a:noAutofit/>
          </a:bodyPr>
          <a:lstStyle/>
          <a:p>
            <a:endParaRPr/>
          </a:p>
        </p:txBody>
      </p:sp>
      <p:sp>
        <p:nvSpPr>
          <p:cNvPr id="279" name="object 279"/>
          <p:cNvSpPr/>
          <p:nvPr/>
        </p:nvSpPr>
        <p:spPr>
          <a:xfrm>
            <a:off x="3017939" y="4490468"/>
            <a:ext cx="0" cy="6701"/>
          </a:xfrm>
          <a:custGeom>
            <a:avLst/>
            <a:gdLst/>
            <a:ahLst/>
            <a:cxnLst/>
            <a:rect l="l" t="t" r="r" b="b"/>
            <a:pathLst>
              <a:path h="6701">
                <a:moveTo>
                  <a:pt x="0" y="0"/>
                </a:moveTo>
                <a:lnTo>
                  <a:pt x="0" y="6701"/>
                </a:lnTo>
              </a:path>
            </a:pathLst>
          </a:custGeom>
          <a:ln w="1430">
            <a:solidFill>
              <a:srgbClr val="000000"/>
            </a:solidFill>
          </a:ln>
        </p:spPr>
        <p:txBody>
          <a:bodyPr wrap="square" lIns="0" tIns="0" rIns="0" bIns="0" rtlCol="0">
            <a:noAutofit/>
          </a:bodyPr>
          <a:lstStyle/>
          <a:p>
            <a:endParaRPr/>
          </a:p>
        </p:txBody>
      </p:sp>
      <p:sp>
        <p:nvSpPr>
          <p:cNvPr id="280" name="object 280"/>
          <p:cNvSpPr/>
          <p:nvPr/>
        </p:nvSpPr>
        <p:spPr>
          <a:xfrm>
            <a:off x="3240631" y="4490468"/>
            <a:ext cx="0" cy="6159"/>
          </a:xfrm>
          <a:custGeom>
            <a:avLst/>
            <a:gdLst/>
            <a:ahLst/>
            <a:cxnLst/>
            <a:rect l="l" t="t" r="r" b="b"/>
            <a:pathLst>
              <a:path h="6159">
                <a:moveTo>
                  <a:pt x="0" y="0"/>
                </a:moveTo>
                <a:lnTo>
                  <a:pt x="0" y="6159"/>
                </a:lnTo>
              </a:path>
            </a:pathLst>
          </a:custGeom>
          <a:ln w="1430">
            <a:solidFill>
              <a:srgbClr val="000000"/>
            </a:solidFill>
          </a:ln>
        </p:spPr>
        <p:txBody>
          <a:bodyPr wrap="square" lIns="0" tIns="0" rIns="0" bIns="0" rtlCol="0">
            <a:noAutofit/>
          </a:bodyPr>
          <a:lstStyle/>
          <a:p>
            <a:endParaRPr/>
          </a:p>
        </p:txBody>
      </p:sp>
      <p:sp>
        <p:nvSpPr>
          <p:cNvPr id="281" name="object 281"/>
          <p:cNvSpPr/>
          <p:nvPr/>
        </p:nvSpPr>
        <p:spPr>
          <a:xfrm>
            <a:off x="3462464" y="4490468"/>
            <a:ext cx="0" cy="6427"/>
          </a:xfrm>
          <a:custGeom>
            <a:avLst/>
            <a:gdLst/>
            <a:ahLst/>
            <a:cxnLst/>
            <a:rect l="l" t="t" r="r" b="b"/>
            <a:pathLst>
              <a:path h="6427">
                <a:moveTo>
                  <a:pt x="0" y="0"/>
                </a:moveTo>
                <a:lnTo>
                  <a:pt x="0" y="6427"/>
                </a:lnTo>
              </a:path>
            </a:pathLst>
          </a:custGeom>
          <a:ln w="1430">
            <a:solidFill>
              <a:srgbClr val="000000"/>
            </a:solidFill>
          </a:ln>
        </p:spPr>
        <p:txBody>
          <a:bodyPr wrap="square" lIns="0" tIns="0" rIns="0" bIns="0" rtlCol="0">
            <a:noAutofit/>
          </a:bodyPr>
          <a:lstStyle/>
          <a:p>
            <a:endParaRPr/>
          </a:p>
        </p:txBody>
      </p:sp>
      <p:sp>
        <p:nvSpPr>
          <p:cNvPr id="282" name="object 282"/>
          <p:cNvSpPr/>
          <p:nvPr/>
        </p:nvSpPr>
        <p:spPr>
          <a:xfrm>
            <a:off x="3351114" y="4490468"/>
            <a:ext cx="0" cy="6159"/>
          </a:xfrm>
          <a:custGeom>
            <a:avLst/>
            <a:gdLst/>
            <a:ahLst/>
            <a:cxnLst/>
            <a:rect l="l" t="t" r="r" b="b"/>
            <a:pathLst>
              <a:path h="6159">
                <a:moveTo>
                  <a:pt x="0" y="0"/>
                </a:moveTo>
                <a:lnTo>
                  <a:pt x="0" y="6159"/>
                </a:lnTo>
              </a:path>
            </a:pathLst>
          </a:custGeom>
          <a:ln w="1430">
            <a:solidFill>
              <a:srgbClr val="000000"/>
            </a:solidFill>
          </a:ln>
        </p:spPr>
        <p:txBody>
          <a:bodyPr wrap="square" lIns="0" tIns="0" rIns="0" bIns="0" rtlCol="0">
            <a:noAutofit/>
          </a:bodyPr>
          <a:lstStyle/>
          <a:p>
            <a:endParaRPr/>
          </a:p>
        </p:txBody>
      </p:sp>
      <p:sp>
        <p:nvSpPr>
          <p:cNvPr id="283" name="object 283"/>
          <p:cNvSpPr/>
          <p:nvPr/>
        </p:nvSpPr>
        <p:spPr>
          <a:xfrm>
            <a:off x="2788378" y="4483504"/>
            <a:ext cx="777989" cy="6963"/>
          </a:xfrm>
          <a:custGeom>
            <a:avLst/>
            <a:gdLst/>
            <a:ahLst/>
            <a:cxnLst/>
            <a:rect l="l" t="t" r="r" b="b"/>
            <a:pathLst>
              <a:path w="777989" h="6963">
                <a:moveTo>
                  <a:pt x="777989" y="0"/>
                </a:moveTo>
                <a:lnTo>
                  <a:pt x="0" y="0"/>
                </a:lnTo>
                <a:lnTo>
                  <a:pt x="0" y="6963"/>
                </a:lnTo>
                <a:lnTo>
                  <a:pt x="777989" y="6963"/>
                </a:lnTo>
                <a:lnTo>
                  <a:pt x="777989" y="0"/>
                </a:lnTo>
                <a:close/>
              </a:path>
            </a:pathLst>
          </a:custGeom>
          <a:solidFill>
            <a:srgbClr val="DFDFFF"/>
          </a:solidFill>
        </p:spPr>
        <p:txBody>
          <a:bodyPr wrap="square" lIns="0" tIns="0" rIns="0" bIns="0" rtlCol="0">
            <a:noAutofit/>
          </a:bodyPr>
          <a:lstStyle/>
          <a:p>
            <a:endParaRPr/>
          </a:p>
        </p:txBody>
      </p:sp>
      <p:sp>
        <p:nvSpPr>
          <p:cNvPr id="284" name="object 284"/>
          <p:cNvSpPr/>
          <p:nvPr/>
        </p:nvSpPr>
        <p:spPr>
          <a:xfrm>
            <a:off x="2788378" y="3947837"/>
            <a:ext cx="777989" cy="542630"/>
          </a:xfrm>
          <a:custGeom>
            <a:avLst/>
            <a:gdLst/>
            <a:ahLst/>
            <a:cxnLst/>
            <a:rect l="l" t="t" r="r" b="b"/>
            <a:pathLst>
              <a:path w="777989" h="542630">
                <a:moveTo>
                  <a:pt x="777989" y="0"/>
                </a:moveTo>
                <a:lnTo>
                  <a:pt x="0" y="0"/>
                </a:lnTo>
                <a:lnTo>
                  <a:pt x="0" y="542630"/>
                </a:lnTo>
                <a:lnTo>
                  <a:pt x="777989" y="542630"/>
                </a:lnTo>
                <a:lnTo>
                  <a:pt x="777989" y="0"/>
                </a:lnTo>
              </a:path>
            </a:pathLst>
          </a:custGeom>
          <a:ln w="2737">
            <a:solidFill>
              <a:srgbClr val="000000"/>
            </a:solidFill>
          </a:ln>
        </p:spPr>
        <p:txBody>
          <a:bodyPr wrap="square" lIns="0" tIns="0" rIns="0" bIns="0" rtlCol="0">
            <a:noAutofit/>
          </a:bodyPr>
          <a:lstStyle/>
          <a:p>
            <a:endParaRPr/>
          </a:p>
        </p:txBody>
      </p:sp>
      <p:sp>
        <p:nvSpPr>
          <p:cNvPr id="285" name="object 285"/>
          <p:cNvSpPr/>
          <p:nvPr/>
        </p:nvSpPr>
        <p:spPr>
          <a:xfrm>
            <a:off x="3558923" y="4267521"/>
            <a:ext cx="6295" cy="0"/>
          </a:xfrm>
          <a:custGeom>
            <a:avLst/>
            <a:gdLst/>
            <a:ahLst/>
            <a:cxnLst/>
            <a:rect l="l" t="t" r="r" b="b"/>
            <a:pathLst>
              <a:path w="6295">
                <a:moveTo>
                  <a:pt x="0" y="0"/>
                </a:moveTo>
                <a:lnTo>
                  <a:pt x="6295" y="0"/>
                </a:lnTo>
              </a:path>
            </a:pathLst>
          </a:custGeom>
          <a:ln w="1338">
            <a:solidFill>
              <a:srgbClr val="000000"/>
            </a:solidFill>
          </a:ln>
        </p:spPr>
        <p:txBody>
          <a:bodyPr wrap="square" lIns="0" tIns="0" rIns="0" bIns="0" rtlCol="0">
            <a:noAutofit/>
          </a:bodyPr>
          <a:lstStyle/>
          <a:p>
            <a:endParaRPr/>
          </a:p>
        </p:txBody>
      </p:sp>
      <p:sp>
        <p:nvSpPr>
          <p:cNvPr id="286" name="object 286"/>
          <p:cNvSpPr/>
          <p:nvPr/>
        </p:nvSpPr>
        <p:spPr>
          <a:xfrm>
            <a:off x="3558923" y="4340141"/>
            <a:ext cx="6295" cy="0"/>
          </a:xfrm>
          <a:custGeom>
            <a:avLst/>
            <a:gdLst/>
            <a:ahLst/>
            <a:cxnLst/>
            <a:rect l="l" t="t" r="r" b="b"/>
            <a:pathLst>
              <a:path w="6295">
                <a:moveTo>
                  <a:pt x="0" y="0"/>
                </a:moveTo>
                <a:lnTo>
                  <a:pt x="6295" y="0"/>
                </a:lnTo>
              </a:path>
            </a:pathLst>
          </a:custGeom>
          <a:ln w="1338">
            <a:solidFill>
              <a:srgbClr val="000000"/>
            </a:solidFill>
          </a:ln>
        </p:spPr>
        <p:txBody>
          <a:bodyPr wrap="square" lIns="0" tIns="0" rIns="0" bIns="0" rtlCol="0">
            <a:noAutofit/>
          </a:bodyPr>
          <a:lstStyle/>
          <a:p>
            <a:endParaRPr/>
          </a:p>
        </p:txBody>
      </p:sp>
      <p:sp>
        <p:nvSpPr>
          <p:cNvPr id="287" name="object 287"/>
          <p:cNvSpPr/>
          <p:nvPr/>
        </p:nvSpPr>
        <p:spPr>
          <a:xfrm>
            <a:off x="3558922" y="4193296"/>
            <a:ext cx="7160" cy="0"/>
          </a:xfrm>
          <a:custGeom>
            <a:avLst/>
            <a:gdLst/>
            <a:ahLst/>
            <a:cxnLst/>
            <a:rect l="l" t="t" r="r" b="b"/>
            <a:pathLst>
              <a:path w="7160">
                <a:moveTo>
                  <a:pt x="0" y="0"/>
                </a:moveTo>
                <a:lnTo>
                  <a:pt x="7160" y="0"/>
                </a:lnTo>
              </a:path>
            </a:pathLst>
          </a:custGeom>
          <a:ln w="1338">
            <a:solidFill>
              <a:srgbClr val="000000"/>
            </a:solidFill>
          </a:ln>
        </p:spPr>
        <p:txBody>
          <a:bodyPr wrap="square" lIns="0" tIns="0" rIns="0" bIns="0" rtlCol="0">
            <a:noAutofit/>
          </a:bodyPr>
          <a:lstStyle/>
          <a:p>
            <a:endParaRPr/>
          </a:p>
        </p:txBody>
      </p:sp>
      <p:sp>
        <p:nvSpPr>
          <p:cNvPr id="288" name="object 288"/>
          <p:cNvSpPr/>
          <p:nvPr/>
        </p:nvSpPr>
        <p:spPr>
          <a:xfrm>
            <a:off x="3558922" y="4414097"/>
            <a:ext cx="7160" cy="0"/>
          </a:xfrm>
          <a:custGeom>
            <a:avLst/>
            <a:gdLst/>
            <a:ahLst/>
            <a:cxnLst/>
            <a:rect l="l" t="t" r="r" b="b"/>
            <a:pathLst>
              <a:path w="7160">
                <a:moveTo>
                  <a:pt x="0" y="0"/>
                </a:moveTo>
                <a:lnTo>
                  <a:pt x="7160" y="0"/>
                </a:lnTo>
              </a:path>
            </a:pathLst>
          </a:custGeom>
          <a:ln w="1338">
            <a:solidFill>
              <a:srgbClr val="000000"/>
            </a:solidFill>
          </a:ln>
        </p:spPr>
        <p:txBody>
          <a:bodyPr wrap="square" lIns="0" tIns="0" rIns="0" bIns="0" rtlCol="0">
            <a:noAutofit/>
          </a:bodyPr>
          <a:lstStyle/>
          <a:p>
            <a:endParaRPr/>
          </a:p>
        </p:txBody>
      </p:sp>
      <p:sp>
        <p:nvSpPr>
          <p:cNvPr id="289" name="object 289"/>
          <p:cNvSpPr/>
          <p:nvPr/>
        </p:nvSpPr>
        <p:spPr>
          <a:xfrm>
            <a:off x="3558923" y="4118533"/>
            <a:ext cx="6873" cy="0"/>
          </a:xfrm>
          <a:custGeom>
            <a:avLst/>
            <a:gdLst/>
            <a:ahLst/>
            <a:cxnLst/>
            <a:rect l="l" t="t" r="r" b="b"/>
            <a:pathLst>
              <a:path w="6873">
                <a:moveTo>
                  <a:pt x="0" y="0"/>
                </a:moveTo>
                <a:lnTo>
                  <a:pt x="6873" y="0"/>
                </a:lnTo>
              </a:path>
            </a:pathLst>
          </a:custGeom>
          <a:ln w="1338">
            <a:solidFill>
              <a:srgbClr val="000000"/>
            </a:solidFill>
          </a:ln>
        </p:spPr>
        <p:txBody>
          <a:bodyPr wrap="square" lIns="0" tIns="0" rIns="0" bIns="0" rtlCol="0">
            <a:noAutofit/>
          </a:bodyPr>
          <a:lstStyle/>
          <a:p>
            <a:endParaRPr/>
          </a:p>
        </p:txBody>
      </p:sp>
      <p:sp>
        <p:nvSpPr>
          <p:cNvPr id="290" name="object 290"/>
          <p:cNvSpPr/>
          <p:nvPr/>
        </p:nvSpPr>
        <p:spPr>
          <a:xfrm>
            <a:off x="3558923" y="4040559"/>
            <a:ext cx="6873" cy="0"/>
          </a:xfrm>
          <a:custGeom>
            <a:avLst/>
            <a:gdLst/>
            <a:ahLst/>
            <a:cxnLst/>
            <a:rect l="l" t="t" r="r" b="b"/>
            <a:pathLst>
              <a:path w="6873">
                <a:moveTo>
                  <a:pt x="0" y="0"/>
                </a:moveTo>
                <a:lnTo>
                  <a:pt x="6873" y="0"/>
                </a:lnTo>
              </a:path>
            </a:pathLst>
          </a:custGeom>
          <a:ln w="1338">
            <a:solidFill>
              <a:srgbClr val="000000"/>
            </a:solidFill>
          </a:ln>
        </p:spPr>
        <p:txBody>
          <a:bodyPr wrap="square" lIns="0" tIns="0" rIns="0" bIns="0" rtlCol="0">
            <a:noAutofit/>
          </a:bodyPr>
          <a:lstStyle/>
          <a:p>
            <a:endParaRPr/>
          </a:p>
        </p:txBody>
      </p:sp>
      <p:sp>
        <p:nvSpPr>
          <p:cNvPr id="291" name="object 291"/>
          <p:cNvSpPr/>
          <p:nvPr/>
        </p:nvSpPr>
        <p:spPr>
          <a:xfrm>
            <a:off x="3558923" y="4034926"/>
            <a:ext cx="6873" cy="0"/>
          </a:xfrm>
          <a:custGeom>
            <a:avLst/>
            <a:gdLst/>
            <a:ahLst/>
            <a:cxnLst/>
            <a:rect l="l" t="t" r="r" b="b"/>
            <a:pathLst>
              <a:path w="6873">
                <a:moveTo>
                  <a:pt x="0" y="0"/>
                </a:moveTo>
                <a:lnTo>
                  <a:pt x="6873" y="0"/>
                </a:lnTo>
              </a:path>
            </a:pathLst>
          </a:custGeom>
          <a:ln w="1338">
            <a:solidFill>
              <a:srgbClr val="000000"/>
            </a:solidFill>
          </a:ln>
        </p:spPr>
        <p:txBody>
          <a:bodyPr wrap="square" lIns="0" tIns="0" rIns="0" bIns="0" rtlCol="0">
            <a:noAutofit/>
          </a:bodyPr>
          <a:lstStyle/>
          <a:p>
            <a:endParaRPr/>
          </a:p>
        </p:txBody>
      </p:sp>
      <p:sp>
        <p:nvSpPr>
          <p:cNvPr id="292" name="object 292"/>
          <p:cNvSpPr/>
          <p:nvPr/>
        </p:nvSpPr>
        <p:spPr>
          <a:xfrm>
            <a:off x="2899720" y="4483503"/>
            <a:ext cx="0" cy="6696"/>
          </a:xfrm>
          <a:custGeom>
            <a:avLst/>
            <a:gdLst/>
            <a:ahLst/>
            <a:cxnLst/>
            <a:rect l="l" t="t" r="r" b="b"/>
            <a:pathLst>
              <a:path h="6696">
                <a:moveTo>
                  <a:pt x="0" y="0"/>
                </a:moveTo>
                <a:lnTo>
                  <a:pt x="0" y="6696"/>
                </a:lnTo>
              </a:path>
            </a:pathLst>
          </a:custGeom>
          <a:ln w="1430">
            <a:solidFill>
              <a:srgbClr val="000000"/>
            </a:solidFill>
          </a:ln>
        </p:spPr>
        <p:txBody>
          <a:bodyPr wrap="square" lIns="0" tIns="0" rIns="0" bIns="0" rtlCol="0">
            <a:noAutofit/>
          </a:bodyPr>
          <a:lstStyle/>
          <a:p>
            <a:endParaRPr/>
          </a:p>
        </p:txBody>
      </p:sp>
      <p:sp>
        <p:nvSpPr>
          <p:cNvPr id="293" name="object 293"/>
          <p:cNvSpPr/>
          <p:nvPr/>
        </p:nvSpPr>
        <p:spPr>
          <a:xfrm>
            <a:off x="3121267" y="4483503"/>
            <a:ext cx="0" cy="6160"/>
          </a:xfrm>
          <a:custGeom>
            <a:avLst/>
            <a:gdLst/>
            <a:ahLst/>
            <a:cxnLst/>
            <a:rect l="l" t="t" r="r" b="b"/>
            <a:pathLst>
              <a:path h="6160">
                <a:moveTo>
                  <a:pt x="0" y="0"/>
                </a:moveTo>
                <a:lnTo>
                  <a:pt x="0" y="6160"/>
                </a:lnTo>
              </a:path>
            </a:pathLst>
          </a:custGeom>
          <a:ln w="1430">
            <a:solidFill>
              <a:srgbClr val="000000"/>
            </a:solidFill>
          </a:ln>
        </p:spPr>
        <p:txBody>
          <a:bodyPr wrap="square" lIns="0" tIns="0" rIns="0" bIns="0" rtlCol="0">
            <a:noAutofit/>
          </a:bodyPr>
          <a:lstStyle/>
          <a:p>
            <a:endParaRPr/>
          </a:p>
        </p:txBody>
      </p:sp>
      <p:sp>
        <p:nvSpPr>
          <p:cNvPr id="294" name="object 294"/>
          <p:cNvSpPr/>
          <p:nvPr/>
        </p:nvSpPr>
        <p:spPr>
          <a:xfrm>
            <a:off x="3010784" y="4483503"/>
            <a:ext cx="0" cy="6160"/>
          </a:xfrm>
          <a:custGeom>
            <a:avLst/>
            <a:gdLst/>
            <a:ahLst/>
            <a:cxnLst/>
            <a:rect l="l" t="t" r="r" b="b"/>
            <a:pathLst>
              <a:path h="6160">
                <a:moveTo>
                  <a:pt x="0" y="0"/>
                </a:moveTo>
                <a:lnTo>
                  <a:pt x="0" y="6160"/>
                </a:lnTo>
              </a:path>
            </a:pathLst>
          </a:custGeom>
          <a:ln w="1430">
            <a:solidFill>
              <a:srgbClr val="000000"/>
            </a:solidFill>
          </a:ln>
        </p:spPr>
        <p:txBody>
          <a:bodyPr wrap="square" lIns="0" tIns="0" rIns="0" bIns="0" rtlCol="0">
            <a:noAutofit/>
          </a:bodyPr>
          <a:lstStyle/>
          <a:p>
            <a:endParaRPr/>
          </a:p>
        </p:txBody>
      </p:sp>
      <p:sp>
        <p:nvSpPr>
          <p:cNvPr id="295" name="object 295"/>
          <p:cNvSpPr/>
          <p:nvPr/>
        </p:nvSpPr>
        <p:spPr>
          <a:xfrm>
            <a:off x="3232612" y="4483503"/>
            <a:ext cx="0" cy="6160"/>
          </a:xfrm>
          <a:custGeom>
            <a:avLst/>
            <a:gdLst/>
            <a:ahLst/>
            <a:cxnLst/>
            <a:rect l="l" t="t" r="r" b="b"/>
            <a:pathLst>
              <a:path h="6160">
                <a:moveTo>
                  <a:pt x="0" y="0"/>
                </a:moveTo>
                <a:lnTo>
                  <a:pt x="0" y="6160"/>
                </a:lnTo>
              </a:path>
            </a:pathLst>
          </a:custGeom>
          <a:ln w="1430">
            <a:solidFill>
              <a:srgbClr val="000000"/>
            </a:solidFill>
          </a:ln>
        </p:spPr>
        <p:txBody>
          <a:bodyPr wrap="square" lIns="0" tIns="0" rIns="0" bIns="0" rtlCol="0">
            <a:noAutofit/>
          </a:bodyPr>
          <a:lstStyle/>
          <a:p>
            <a:endParaRPr/>
          </a:p>
        </p:txBody>
      </p:sp>
      <p:sp>
        <p:nvSpPr>
          <p:cNvPr id="296" name="object 296"/>
          <p:cNvSpPr/>
          <p:nvPr/>
        </p:nvSpPr>
        <p:spPr>
          <a:xfrm>
            <a:off x="3455304" y="4483503"/>
            <a:ext cx="0" cy="6696"/>
          </a:xfrm>
          <a:custGeom>
            <a:avLst/>
            <a:gdLst/>
            <a:ahLst/>
            <a:cxnLst/>
            <a:rect l="l" t="t" r="r" b="b"/>
            <a:pathLst>
              <a:path h="6696">
                <a:moveTo>
                  <a:pt x="0" y="0"/>
                </a:moveTo>
                <a:lnTo>
                  <a:pt x="0" y="6696"/>
                </a:lnTo>
              </a:path>
            </a:pathLst>
          </a:custGeom>
          <a:ln w="1430">
            <a:solidFill>
              <a:srgbClr val="000000"/>
            </a:solidFill>
          </a:ln>
        </p:spPr>
        <p:txBody>
          <a:bodyPr wrap="square" lIns="0" tIns="0" rIns="0" bIns="0" rtlCol="0">
            <a:noAutofit/>
          </a:bodyPr>
          <a:lstStyle/>
          <a:p>
            <a:endParaRPr/>
          </a:p>
        </p:txBody>
      </p:sp>
      <p:sp>
        <p:nvSpPr>
          <p:cNvPr id="297" name="object 297"/>
          <p:cNvSpPr/>
          <p:nvPr/>
        </p:nvSpPr>
        <p:spPr>
          <a:xfrm>
            <a:off x="3343390" y="4483503"/>
            <a:ext cx="0" cy="6160"/>
          </a:xfrm>
          <a:custGeom>
            <a:avLst/>
            <a:gdLst/>
            <a:ahLst/>
            <a:cxnLst/>
            <a:rect l="l" t="t" r="r" b="b"/>
            <a:pathLst>
              <a:path h="6160">
                <a:moveTo>
                  <a:pt x="0" y="0"/>
                </a:moveTo>
                <a:lnTo>
                  <a:pt x="0" y="6160"/>
                </a:lnTo>
              </a:path>
            </a:pathLst>
          </a:custGeom>
          <a:ln w="1430">
            <a:solidFill>
              <a:srgbClr val="000000"/>
            </a:solidFill>
          </a:ln>
        </p:spPr>
        <p:txBody>
          <a:bodyPr wrap="square" lIns="0" tIns="0" rIns="0" bIns="0" rtlCol="0">
            <a:noAutofit/>
          </a:bodyPr>
          <a:lstStyle/>
          <a:p>
            <a:endParaRPr/>
          </a:p>
        </p:txBody>
      </p:sp>
      <p:sp>
        <p:nvSpPr>
          <p:cNvPr id="298" name="object 298"/>
          <p:cNvSpPr/>
          <p:nvPr/>
        </p:nvSpPr>
        <p:spPr>
          <a:xfrm>
            <a:off x="2780938" y="4476799"/>
            <a:ext cx="777984" cy="6704"/>
          </a:xfrm>
          <a:custGeom>
            <a:avLst/>
            <a:gdLst/>
            <a:ahLst/>
            <a:cxnLst/>
            <a:rect l="l" t="t" r="r" b="b"/>
            <a:pathLst>
              <a:path w="777984" h="6704">
                <a:moveTo>
                  <a:pt x="777984" y="0"/>
                </a:moveTo>
                <a:lnTo>
                  <a:pt x="0" y="0"/>
                </a:lnTo>
                <a:lnTo>
                  <a:pt x="0" y="6704"/>
                </a:lnTo>
                <a:lnTo>
                  <a:pt x="777984" y="6704"/>
                </a:lnTo>
                <a:lnTo>
                  <a:pt x="777984" y="0"/>
                </a:lnTo>
                <a:close/>
              </a:path>
            </a:pathLst>
          </a:custGeom>
          <a:solidFill>
            <a:srgbClr val="DFDFFF"/>
          </a:solidFill>
        </p:spPr>
        <p:txBody>
          <a:bodyPr wrap="square" lIns="0" tIns="0" rIns="0" bIns="0" rtlCol="0">
            <a:noAutofit/>
          </a:bodyPr>
          <a:lstStyle/>
          <a:p>
            <a:endParaRPr/>
          </a:p>
        </p:txBody>
      </p:sp>
      <p:sp>
        <p:nvSpPr>
          <p:cNvPr id="299" name="object 299"/>
          <p:cNvSpPr/>
          <p:nvPr/>
        </p:nvSpPr>
        <p:spPr>
          <a:xfrm>
            <a:off x="2780938" y="3940873"/>
            <a:ext cx="777984" cy="542630"/>
          </a:xfrm>
          <a:custGeom>
            <a:avLst/>
            <a:gdLst/>
            <a:ahLst/>
            <a:cxnLst/>
            <a:rect l="l" t="t" r="r" b="b"/>
            <a:pathLst>
              <a:path w="777984" h="542630">
                <a:moveTo>
                  <a:pt x="777984" y="0"/>
                </a:moveTo>
                <a:lnTo>
                  <a:pt x="0" y="0"/>
                </a:lnTo>
                <a:lnTo>
                  <a:pt x="0" y="542630"/>
                </a:lnTo>
                <a:lnTo>
                  <a:pt x="777984" y="542630"/>
                </a:lnTo>
                <a:lnTo>
                  <a:pt x="777984" y="0"/>
                </a:lnTo>
              </a:path>
            </a:pathLst>
          </a:custGeom>
          <a:ln w="2737">
            <a:solidFill>
              <a:srgbClr val="000000"/>
            </a:solidFill>
          </a:ln>
        </p:spPr>
        <p:txBody>
          <a:bodyPr wrap="square" lIns="0" tIns="0" rIns="0" bIns="0" rtlCol="0">
            <a:noAutofit/>
          </a:bodyPr>
          <a:lstStyle/>
          <a:p>
            <a:endParaRPr/>
          </a:p>
        </p:txBody>
      </p:sp>
      <p:sp>
        <p:nvSpPr>
          <p:cNvPr id="300" name="object 300"/>
          <p:cNvSpPr/>
          <p:nvPr/>
        </p:nvSpPr>
        <p:spPr>
          <a:xfrm>
            <a:off x="3551481" y="4260551"/>
            <a:ext cx="6296" cy="0"/>
          </a:xfrm>
          <a:custGeom>
            <a:avLst/>
            <a:gdLst/>
            <a:ahLst/>
            <a:cxnLst/>
            <a:rect l="l" t="t" r="r" b="b"/>
            <a:pathLst>
              <a:path w="6296">
                <a:moveTo>
                  <a:pt x="0" y="0"/>
                </a:moveTo>
                <a:lnTo>
                  <a:pt x="6296" y="0"/>
                </a:lnTo>
              </a:path>
            </a:pathLst>
          </a:custGeom>
          <a:ln w="1338">
            <a:solidFill>
              <a:srgbClr val="000000"/>
            </a:solidFill>
          </a:ln>
        </p:spPr>
        <p:txBody>
          <a:bodyPr wrap="square" lIns="0" tIns="0" rIns="0" bIns="0" rtlCol="0">
            <a:noAutofit/>
          </a:bodyPr>
          <a:lstStyle/>
          <a:p>
            <a:endParaRPr/>
          </a:p>
        </p:txBody>
      </p:sp>
      <p:sp>
        <p:nvSpPr>
          <p:cNvPr id="301" name="object 301"/>
          <p:cNvSpPr/>
          <p:nvPr/>
        </p:nvSpPr>
        <p:spPr>
          <a:xfrm>
            <a:off x="3551481" y="4333169"/>
            <a:ext cx="7154" cy="0"/>
          </a:xfrm>
          <a:custGeom>
            <a:avLst/>
            <a:gdLst/>
            <a:ahLst/>
            <a:cxnLst/>
            <a:rect l="l" t="t" r="r" b="b"/>
            <a:pathLst>
              <a:path w="7154">
                <a:moveTo>
                  <a:pt x="0" y="0"/>
                </a:moveTo>
                <a:lnTo>
                  <a:pt x="7154" y="0"/>
                </a:lnTo>
              </a:path>
            </a:pathLst>
          </a:custGeom>
          <a:ln w="1338">
            <a:solidFill>
              <a:srgbClr val="000000"/>
            </a:solidFill>
          </a:ln>
        </p:spPr>
        <p:txBody>
          <a:bodyPr wrap="square" lIns="0" tIns="0" rIns="0" bIns="0" rtlCol="0">
            <a:noAutofit/>
          </a:bodyPr>
          <a:lstStyle/>
          <a:p>
            <a:endParaRPr/>
          </a:p>
        </p:txBody>
      </p:sp>
      <p:sp>
        <p:nvSpPr>
          <p:cNvPr id="302" name="object 302"/>
          <p:cNvSpPr/>
          <p:nvPr/>
        </p:nvSpPr>
        <p:spPr>
          <a:xfrm>
            <a:off x="3551481" y="4186592"/>
            <a:ext cx="6296" cy="0"/>
          </a:xfrm>
          <a:custGeom>
            <a:avLst/>
            <a:gdLst/>
            <a:ahLst/>
            <a:cxnLst/>
            <a:rect l="l" t="t" r="r" b="b"/>
            <a:pathLst>
              <a:path w="6296">
                <a:moveTo>
                  <a:pt x="0" y="0"/>
                </a:moveTo>
                <a:lnTo>
                  <a:pt x="6296" y="0"/>
                </a:lnTo>
              </a:path>
            </a:pathLst>
          </a:custGeom>
          <a:ln w="1338">
            <a:solidFill>
              <a:srgbClr val="000000"/>
            </a:solidFill>
          </a:ln>
        </p:spPr>
        <p:txBody>
          <a:bodyPr wrap="square" lIns="0" tIns="0" rIns="0" bIns="0" rtlCol="0">
            <a:noAutofit/>
          </a:bodyPr>
          <a:lstStyle/>
          <a:p>
            <a:endParaRPr/>
          </a:p>
        </p:txBody>
      </p:sp>
      <p:sp>
        <p:nvSpPr>
          <p:cNvPr id="303" name="object 303"/>
          <p:cNvSpPr/>
          <p:nvPr/>
        </p:nvSpPr>
        <p:spPr>
          <a:xfrm>
            <a:off x="3551481" y="4407128"/>
            <a:ext cx="6296" cy="0"/>
          </a:xfrm>
          <a:custGeom>
            <a:avLst/>
            <a:gdLst/>
            <a:ahLst/>
            <a:cxnLst/>
            <a:rect l="l" t="t" r="r" b="b"/>
            <a:pathLst>
              <a:path w="6296">
                <a:moveTo>
                  <a:pt x="0" y="0"/>
                </a:moveTo>
                <a:lnTo>
                  <a:pt x="6296" y="0"/>
                </a:lnTo>
              </a:path>
            </a:pathLst>
          </a:custGeom>
          <a:ln w="1338">
            <a:solidFill>
              <a:srgbClr val="000000"/>
            </a:solidFill>
          </a:ln>
        </p:spPr>
        <p:txBody>
          <a:bodyPr wrap="square" lIns="0" tIns="0" rIns="0" bIns="0" rtlCol="0">
            <a:noAutofit/>
          </a:bodyPr>
          <a:lstStyle/>
          <a:p>
            <a:endParaRPr/>
          </a:p>
        </p:txBody>
      </p:sp>
      <p:sp>
        <p:nvSpPr>
          <p:cNvPr id="304" name="object 304"/>
          <p:cNvSpPr/>
          <p:nvPr/>
        </p:nvSpPr>
        <p:spPr>
          <a:xfrm>
            <a:off x="3551481" y="4111832"/>
            <a:ext cx="6582" cy="0"/>
          </a:xfrm>
          <a:custGeom>
            <a:avLst/>
            <a:gdLst/>
            <a:ahLst/>
            <a:cxnLst/>
            <a:rect l="l" t="t" r="r" b="b"/>
            <a:pathLst>
              <a:path w="6582">
                <a:moveTo>
                  <a:pt x="0" y="0"/>
                </a:moveTo>
                <a:lnTo>
                  <a:pt x="6582" y="0"/>
                </a:lnTo>
              </a:path>
            </a:pathLst>
          </a:custGeom>
          <a:ln w="1338">
            <a:solidFill>
              <a:srgbClr val="000000"/>
            </a:solidFill>
          </a:ln>
        </p:spPr>
        <p:txBody>
          <a:bodyPr wrap="square" lIns="0" tIns="0" rIns="0" bIns="0" rtlCol="0">
            <a:noAutofit/>
          </a:bodyPr>
          <a:lstStyle/>
          <a:p>
            <a:endParaRPr/>
          </a:p>
        </p:txBody>
      </p:sp>
      <p:sp>
        <p:nvSpPr>
          <p:cNvPr id="305" name="object 305"/>
          <p:cNvSpPr/>
          <p:nvPr/>
        </p:nvSpPr>
        <p:spPr>
          <a:xfrm>
            <a:off x="3551481" y="4034390"/>
            <a:ext cx="6582" cy="0"/>
          </a:xfrm>
          <a:custGeom>
            <a:avLst/>
            <a:gdLst/>
            <a:ahLst/>
            <a:cxnLst/>
            <a:rect l="l" t="t" r="r" b="b"/>
            <a:pathLst>
              <a:path w="6582">
                <a:moveTo>
                  <a:pt x="0" y="0"/>
                </a:moveTo>
                <a:lnTo>
                  <a:pt x="6582" y="0"/>
                </a:lnTo>
              </a:path>
            </a:pathLst>
          </a:custGeom>
          <a:ln w="1338">
            <a:solidFill>
              <a:srgbClr val="000000"/>
            </a:solidFill>
          </a:ln>
        </p:spPr>
        <p:txBody>
          <a:bodyPr wrap="square" lIns="0" tIns="0" rIns="0" bIns="0" rtlCol="0">
            <a:noAutofit/>
          </a:bodyPr>
          <a:lstStyle/>
          <a:p>
            <a:endParaRPr/>
          </a:p>
        </p:txBody>
      </p:sp>
      <p:sp>
        <p:nvSpPr>
          <p:cNvPr id="306" name="object 306"/>
          <p:cNvSpPr/>
          <p:nvPr/>
        </p:nvSpPr>
        <p:spPr>
          <a:xfrm>
            <a:off x="3551481" y="4029301"/>
            <a:ext cx="6582" cy="0"/>
          </a:xfrm>
          <a:custGeom>
            <a:avLst/>
            <a:gdLst/>
            <a:ahLst/>
            <a:cxnLst/>
            <a:rect l="l" t="t" r="r" b="b"/>
            <a:pathLst>
              <a:path w="6582">
                <a:moveTo>
                  <a:pt x="0" y="0"/>
                </a:moveTo>
                <a:lnTo>
                  <a:pt x="6582" y="0"/>
                </a:lnTo>
              </a:path>
            </a:pathLst>
          </a:custGeom>
          <a:ln w="1338">
            <a:solidFill>
              <a:srgbClr val="000000"/>
            </a:solidFill>
          </a:ln>
        </p:spPr>
        <p:txBody>
          <a:bodyPr wrap="square" lIns="0" tIns="0" rIns="0" bIns="0" rtlCol="0">
            <a:noAutofit/>
          </a:bodyPr>
          <a:lstStyle/>
          <a:p>
            <a:endParaRPr/>
          </a:p>
        </p:txBody>
      </p:sp>
      <p:sp>
        <p:nvSpPr>
          <p:cNvPr id="307" name="object 307"/>
          <p:cNvSpPr/>
          <p:nvPr/>
        </p:nvSpPr>
        <p:spPr>
          <a:xfrm>
            <a:off x="2892566" y="4476799"/>
            <a:ext cx="0" cy="5900"/>
          </a:xfrm>
          <a:custGeom>
            <a:avLst/>
            <a:gdLst/>
            <a:ahLst/>
            <a:cxnLst/>
            <a:rect l="l" t="t" r="r" b="b"/>
            <a:pathLst>
              <a:path h="5900">
                <a:moveTo>
                  <a:pt x="0" y="0"/>
                </a:moveTo>
                <a:lnTo>
                  <a:pt x="0" y="5900"/>
                </a:lnTo>
              </a:path>
            </a:pathLst>
          </a:custGeom>
          <a:ln w="1430">
            <a:solidFill>
              <a:srgbClr val="000000"/>
            </a:solidFill>
          </a:ln>
        </p:spPr>
        <p:txBody>
          <a:bodyPr wrap="square" lIns="0" tIns="0" rIns="0" bIns="0" rtlCol="0">
            <a:noAutofit/>
          </a:bodyPr>
          <a:lstStyle/>
          <a:p>
            <a:endParaRPr/>
          </a:p>
        </p:txBody>
      </p:sp>
      <p:sp>
        <p:nvSpPr>
          <p:cNvPr id="308" name="object 308"/>
          <p:cNvSpPr/>
          <p:nvPr/>
        </p:nvSpPr>
        <p:spPr>
          <a:xfrm>
            <a:off x="3113830" y="4476799"/>
            <a:ext cx="0" cy="6704"/>
          </a:xfrm>
          <a:custGeom>
            <a:avLst/>
            <a:gdLst/>
            <a:ahLst/>
            <a:cxnLst/>
            <a:rect l="l" t="t" r="r" b="b"/>
            <a:pathLst>
              <a:path h="6704">
                <a:moveTo>
                  <a:pt x="0" y="0"/>
                </a:moveTo>
                <a:lnTo>
                  <a:pt x="0" y="6704"/>
                </a:lnTo>
              </a:path>
            </a:pathLst>
          </a:custGeom>
          <a:ln w="1430">
            <a:solidFill>
              <a:srgbClr val="000000"/>
            </a:solidFill>
          </a:ln>
        </p:spPr>
        <p:txBody>
          <a:bodyPr wrap="square" lIns="0" tIns="0" rIns="0" bIns="0" rtlCol="0">
            <a:noAutofit/>
          </a:bodyPr>
          <a:lstStyle/>
          <a:p>
            <a:endParaRPr/>
          </a:p>
        </p:txBody>
      </p:sp>
      <p:sp>
        <p:nvSpPr>
          <p:cNvPr id="309" name="object 309"/>
          <p:cNvSpPr/>
          <p:nvPr/>
        </p:nvSpPr>
        <p:spPr>
          <a:xfrm>
            <a:off x="3003052" y="4476799"/>
            <a:ext cx="0" cy="5900"/>
          </a:xfrm>
          <a:custGeom>
            <a:avLst/>
            <a:gdLst/>
            <a:ahLst/>
            <a:cxnLst/>
            <a:rect l="l" t="t" r="r" b="b"/>
            <a:pathLst>
              <a:path h="5900">
                <a:moveTo>
                  <a:pt x="0" y="0"/>
                </a:moveTo>
                <a:lnTo>
                  <a:pt x="0" y="5900"/>
                </a:lnTo>
              </a:path>
            </a:pathLst>
          </a:custGeom>
          <a:ln w="1430">
            <a:solidFill>
              <a:srgbClr val="000000"/>
            </a:solidFill>
          </a:ln>
        </p:spPr>
        <p:txBody>
          <a:bodyPr wrap="square" lIns="0" tIns="0" rIns="0" bIns="0" rtlCol="0">
            <a:noAutofit/>
          </a:bodyPr>
          <a:lstStyle/>
          <a:p>
            <a:endParaRPr/>
          </a:p>
        </p:txBody>
      </p:sp>
      <p:sp>
        <p:nvSpPr>
          <p:cNvPr id="310" name="object 310"/>
          <p:cNvSpPr/>
          <p:nvPr/>
        </p:nvSpPr>
        <p:spPr>
          <a:xfrm>
            <a:off x="3225458" y="4476799"/>
            <a:ext cx="0" cy="5356"/>
          </a:xfrm>
          <a:custGeom>
            <a:avLst/>
            <a:gdLst/>
            <a:ahLst/>
            <a:cxnLst/>
            <a:rect l="l" t="t" r="r" b="b"/>
            <a:pathLst>
              <a:path h="5356">
                <a:moveTo>
                  <a:pt x="0" y="0"/>
                </a:moveTo>
                <a:lnTo>
                  <a:pt x="0" y="5356"/>
                </a:lnTo>
              </a:path>
            </a:pathLst>
          </a:custGeom>
          <a:ln w="1430">
            <a:solidFill>
              <a:srgbClr val="000000"/>
            </a:solidFill>
          </a:ln>
        </p:spPr>
        <p:txBody>
          <a:bodyPr wrap="square" lIns="0" tIns="0" rIns="0" bIns="0" rtlCol="0">
            <a:noAutofit/>
          </a:bodyPr>
          <a:lstStyle/>
          <a:p>
            <a:endParaRPr/>
          </a:p>
        </p:txBody>
      </p:sp>
      <p:sp>
        <p:nvSpPr>
          <p:cNvPr id="311" name="object 311"/>
          <p:cNvSpPr/>
          <p:nvPr/>
        </p:nvSpPr>
        <p:spPr>
          <a:xfrm>
            <a:off x="3448150" y="4476799"/>
            <a:ext cx="0" cy="6704"/>
          </a:xfrm>
          <a:custGeom>
            <a:avLst/>
            <a:gdLst/>
            <a:ahLst/>
            <a:cxnLst/>
            <a:rect l="l" t="t" r="r" b="b"/>
            <a:pathLst>
              <a:path h="6704">
                <a:moveTo>
                  <a:pt x="0" y="0"/>
                </a:moveTo>
                <a:lnTo>
                  <a:pt x="0" y="6704"/>
                </a:lnTo>
              </a:path>
            </a:pathLst>
          </a:custGeom>
          <a:ln w="1430">
            <a:solidFill>
              <a:srgbClr val="000000"/>
            </a:solidFill>
          </a:ln>
        </p:spPr>
        <p:txBody>
          <a:bodyPr wrap="square" lIns="0" tIns="0" rIns="0" bIns="0" rtlCol="0">
            <a:noAutofit/>
          </a:bodyPr>
          <a:lstStyle/>
          <a:p>
            <a:endParaRPr/>
          </a:p>
        </p:txBody>
      </p:sp>
      <p:sp>
        <p:nvSpPr>
          <p:cNvPr id="312" name="object 312"/>
          <p:cNvSpPr/>
          <p:nvPr/>
        </p:nvSpPr>
        <p:spPr>
          <a:xfrm>
            <a:off x="3335944" y="4476799"/>
            <a:ext cx="0" cy="5900"/>
          </a:xfrm>
          <a:custGeom>
            <a:avLst/>
            <a:gdLst/>
            <a:ahLst/>
            <a:cxnLst/>
            <a:rect l="l" t="t" r="r" b="b"/>
            <a:pathLst>
              <a:path h="5900">
                <a:moveTo>
                  <a:pt x="0" y="0"/>
                </a:moveTo>
                <a:lnTo>
                  <a:pt x="0" y="5900"/>
                </a:lnTo>
              </a:path>
            </a:pathLst>
          </a:custGeom>
          <a:ln w="1430">
            <a:solidFill>
              <a:srgbClr val="000000"/>
            </a:solidFill>
          </a:ln>
        </p:spPr>
        <p:txBody>
          <a:bodyPr wrap="square" lIns="0" tIns="0" rIns="0" bIns="0" rtlCol="0">
            <a:noAutofit/>
          </a:bodyPr>
          <a:lstStyle/>
          <a:p>
            <a:endParaRPr/>
          </a:p>
        </p:txBody>
      </p:sp>
      <p:sp>
        <p:nvSpPr>
          <p:cNvPr id="313" name="object 313"/>
          <p:cNvSpPr/>
          <p:nvPr/>
        </p:nvSpPr>
        <p:spPr>
          <a:xfrm>
            <a:off x="3551196" y="4027695"/>
            <a:ext cx="0" cy="448301"/>
          </a:xfrm>
          <a:custGeom>
            <a:avLst/>
            <a:gdLst/>
            <a:ahLst/>
            <a:cxnLst/>
            <a:rect l="l" t="t" r="r" b="b"/>
            <a:pathLst>
              <a:path h="448301">
                <a:moveTo>
                  <a:pt x="0" y="448301"/>
                </a:moveTo>
                <a:lnTo>
                  <a:pt x="0" y="0"/>
                </a:lnTo>
              </a:path>
            </a:pathLst>
          </a:custGeom>
          <a:ln w="1430">
            <a:solidFill>
              <a:srgbClr val="000000"/>
            </a:solidFill>
          </a:ln>
        </p:spPr>
        <p:txBody>
          <a:bodyPr wrap="square" lIns="0" tIns="0" rIns="0" bIns="0" rtlCol="0">
            <a:noAutofit/>
          </a:bodyPr>
          <a:lstStyle/>
          <a:p>
            <a:endParaRPr/>
          </a:p>
        </p:txBody>
      </p:sp>
      <p:sp>
        <p:nvSpPr>
          <p:cNvPr id="314" name="object 314"/>
          <p:cNvSpPr/>
          <p:nvPr/>
        </p:nvSpPr>
        <p:spPr>
          <a:xfrm>
            <a:off x="2773492" y="3933902"/>
            <a:ext cx="777989" cy="93793"/>
          </a:xfrm>
          <a:custGeom>
            <a:avLst/>
            <a:gdLst/>
            <a:ahLst/>
            <a:cxnLst/>
            <a:rect l="l" t="t" r="r" b="b"/>
            <a:pathLst>
              <a:path w="777989" h="93793">
                <a:moveTo>
                  <a:pt x="0" y="93793"/>
                </a:moveTo>
                <a:lnTo>
                  <a:pt x="777989" y="93793"/>
                </a:lnTo>
                <a:lnTo>
                  <a:pt x="777989" y="0"/>
                </a:lnTo>
                <a:lnTo>
                  <a:pt x="0" y="0"/>
                </a:lnTo>
                <a:lnTo>
                  <a:pt x="0" y="93793"/>
                </a:lnTo>
                <a:close/>
              </a:path>
            </a:pathLst>
          </a:custGeom>
          <a:solidFill>
            <a:srgbClr val="FFFFFF"/>
          </a:solidFill>
        </p:spPr>
        <p:txBody>
          <a:bodyPr wrap="square" lIns="0" tIns="0" rIns="0" bIns="0" rtlCol="0">
            <a:noAutofit/>
          </a:bodyPr>
          <a:lstStyle/>
          <a:p>
            <a:endParaRPr/>
          </a:p>
        </p:txBody>
      </p:sp>
      <p:sp>
        <p:nvSpPr>
          <p:cNvPr id="315" name="object 315"/>
          <p:cNvSpPr/>
          <p:nvPr/>
        </p:nvSpPr>
        <p:spPr>
          <a:xfrm>
            <a:off x="2773492" y="4103529"/>
            <a:ext cx="777989" cy="373270"/>
          </a:xfrm>
          <a:custGeom>
            <a:avLst/>
            <a:gdLst/>
            <a:ahLst/>
            <a:cxnLst/>
            <a:rect l="l" t="t" r="r" b="b"/>
            <a:pathLst>
              <a:path w="777989" h="373270">
                <a:moveTo>
                  <a:pt x="777989" y="0"/>
                </a:moveTo>
                <a:lnTo>
                  <a:pt x="0" y="0"/>
                </a:lnTo>
                <a:lnTo>
                  <a:pt x="0" y="373270"/>
                </a:lnTo>
                <a:lnTo>
                  <a:pt x="777989" y="373270"/>
                </a:lnTo>
                <a:lnTo>
                  <a:pt x="777989" y="0"/>
                </a:lnTo>
                <a:close/>
              </a:path>
            </a:pathLst>
          </a:custGeom>
          <a:solidFill>
            <a:srgbClr val="FFFFFF"/>
          </a:solidFill>
        </p:spPr>
        <p:txBody>
          <a:bodyPr wrap="square" lIns="0" tIns="0" rIns="0" bIns="0" rtlCol="0">
            <a:noAutofit/>
          </a:bodyPr>
          <a:lstStyle/>
          <a:p>
            <a:endParaRPr/>
          </a:p>
        </p:txBody>
      </p:sp>
      <p:sp>
        <p:nvSpPr>
          <p:cNvPr id="316" name="object 316"/>
          <p:cNvSpPr/>
          <p:nvPr/>
        </p:nvSpPr>
        <p:spPr>
          <a:xfrm>
            <a:off x="2773492" y="3933901"/>
            <a:ext cx="777989" cy="542898"/>
          </a:xfrm>
          <a:custGeom>
            <a:avLst/>
            <a:gdLst/>
            <a:ahLst/>
            <a:cxnLst/>
            <a:rect l="l" t="t" r="r" b="b"/>
            <a:pathLst>
              <a:path w="777989" h="542898">
                <a:moveTo>
                  <a:pt x="777989" y="0"/>
                </a:moveTo>
                <a:lnTo>
                  <a:pt x="0" y="0"/>
                </a:lnTo>
                <a:lnTo>
                  <a:pt x="0" y="542898"/>
                </a:lnTo>
                <a:lnTo>
                  <a:pt x="777989" y="542898"/>
                </a:lnTo>
                <a:lnTo>
                  <a:pt x="777989" y="0"/>
                </a:lnTo>
              </a:path>
            </a:pathLst>
          </a:custGeom>
          <a:ln w="2737">
            <a:solidFill>
              <a:srgbClr val="000000"/>
            </a:solidFill>
          </a:ln>
        </p:spPr>
        <p:txBody>
          <a:bodyPr wrap="square" lIns="0" tIns="0" rIns="0" bIns="0" rtlCol="0">
            <a:noAutofit/>
          </a:bodyPr>
          <a:lstStyle/>
          <a:p>
            <a:endParaRPr/>
          </a:p>
        </p:txBody>
      </p:sp>
      <p:sp>
        <p:nvSpPr>
          <p:cNvPr id="317" name="object 317"/>
          <p:cNvSpPr/>
          <p:nvPr/>
        </p:nvSpPr>
        <p:spPr>
          <a:xfrm>
            <a:off x="2773492" y="4027694"/>
            <a:ext cx="777989" cy="75834"/>
          </a:xfrm>
          <a:custGeom>
            <a:avLst/>
            <a:gdLst/>
            <a:ahLst/>
            <a:cxnLst/>
            <a:rect l="l" t="t" r="r" b="b"/>
            <a:pathLst>
              <a:path w="777989" h="75834">
                <a:moveTo>
                  <a:pt x="777989" y="0"/>
                </a:moveTo>
                <a:lnTo>
                  <a:pt x="0" y="0"/>
                </a:lnTo>
                <a:lnTo>
                  <a:pt x="0" y="75834"/>
                </a:lnTo>
                <a:lnTo>
                  <a:pt x="777989" y="75834"/>
                </a:lnTo>
                <a:lnTo>
                  <a:pt x="777989" y="0"/>
                </a:lnTo>
                <a:close/>
              </a:path>
            </a:pathLst>
          </a:custGeom>
          <a:solidFill>
            <a:srgbClr val="DFDFFF"/>
          </a:solidFill>
        </p:spPr>
        <p:txBody>
          <a:bodyPr wrap="square" lIns="0" tIns="0" rIns="0" bIns="0" rtlCol="0">
            <a:noAutofit/>
          </a:bodyPr>
          <a:lstStyle/>
          <a:p>
            <a:endParaRPr/>
          </a:p>
        </p:txBody>
      </p:sp>
      <p:sp>
        <p:nvSpPr>
          <p:cNvPr id="318" name="object 318"/>
          <p:cNvSpPr/>
          <p:nvPr/>
        </p:nvSpPr>
        <p:spPr>
          <a:xfrm>
            <a:off x="2773492" y="4027694"/>
            <a:ext cx="777989" cy="75834"/>
          </a:xfrm>
          <a:custGeom>
            <a:avLst/>
            <a:gdLst/>
            <a:ahLst/>
            <a:cxnLst/>
            <a:rect l="l" t="t" r="r" b="b"/>
            <a:pathLst>
              <a:path w="777989" h="75834">
                <a:moveTo>
                  <a:pt x="777989" y="0"/>
                </a:moveTo>
                <a:lnTo>
                  <a:pt x="0" y="0"/>
                </a:lnTo>
                <a:lnTo>
                  <a:pt x="0" y="75834"/>
                </a:lnTo>
                <a:lnTo>
                  <a:pt x="777989" y="75834"/>
                </a:lnTo>
                <a:lnTo>
                  <a:pt x="777989" y="0"/>
                </a:lnTo>
              </a:path>
            </a:pathLst>
          </a:custGeom>
          <a:ln w="2678">
            <a:solidFill>
              <a:srgbClr val="000000"/>
            </a:solidFill>
          </a:ln>
        </p:spPr>
        <p:txBody>
          <a:bodyPr wrap="square" lIns="0" tIns="0" rIns="0" bIns="0" rtlCol="0">
            <a:noAutofit/>
          </a:bodyPr>
          <a:lstStyle/>
          <a:p>
            <a:endParaRPr/>
          </a:p>
        </p:txBody>
      </p:sp>
      <p:sp>
        <p:nvSpPr>
          <p:cNvPr id="319" name="object 319"/>
          <p:cNvSpPr/>
          <p:nvPr/>
        </p:nvSpPr>
        <p:spPr>
          <a:xfrm>
            <a:off x="2773491" y="4253855"/>
            <a:ext cx="777704" cy="0"/>
          </a:xfrm>
          <a:custGeom>
            <a:avLst/>
            <a:gdLst/>
            <a:ahLst/>
            <a:cxnLst/>
            <a:rect l="l" t="t" r="r" b="b"/>
            <a:pathLst>
              <a:path w="777704">
                <a:moveTo>
                  <a:pt x="0" y="0"/>
                </a:moveTo>
                <a:lnTo>
                  <a:pt x="777704" y="0"/>
                </a:lnTo>
              </a:path>
            </a:pathLst>
          </a:custGeom>
          <a:ln w="1338">
            <a:solidFill>
              <a:srgbClr val="000000"/>
            </a:solidFill>
          </a:ln>
        </p:spPr>
        <p:txBody>
          <a:bodyPr wrap="square" lIns="0" tIns="0" rIns="0" bIns="0" rtlCol="0">
            <a:noAutofit/>
          </a:bodyPr>
          <a:lstStyle/>
          <a:p>
            <a:endParaRPr/>
          </a:p>
        </p:txBody>
      </p:sp>
      <p:sp>
        <p:nvSpPr>
          <p:cNvPr id="320" name="object 320"/>
          <p:cNvSpPr/>
          <p:nvPr/>
        </p:nvSpPr>
        <p:spPr>
          <a:xfrm>
            <a:off x="2773492" y="4326473"/>
            <a:ext cx="776845" cy="0"/>
          </a:xfrm>
          <a:custGeom>
            <a:avLst/>
            <a:gdLst/>
            <a:ahLst/>
            <a:cxnLst/>
            <a:rect l="l" t="t" r="r" b="b"/>
            <a:pathLst>
              <a:path w="776845">
                <a:moveTo>
                  <a:pt x="0" y="0"/>
                </a:moveTo>
                <a:lnTo>
                  <a:pt x="776845" y="0"/>
                </a:lnTo>
              </a:path>
            </a:pathLst>
          </a:custGeom>
          <a:ln w="1338">
            <a:solidFill>
              <a:srgbClr val="000000"/>
            </a:solidFill>
          </a:ln>
        </p:spPr>
        <p:txBody>
          <a:bodyPr wrap="square" lIns="0" tIns="0" rIns="0" bIns="0" rtlCol="0">
            <a:noAutofit/>
          </a:bodyPr>
          <a:lstStyle/>
          <a:p>
            <a:endParaRPr/>
          </a:p>
        </p:txBody>
      </p:sp>
      <p:sp>
        <p:nvSpPr>
          <p:cNvPr id="321" name="object 321"/>
          <p:cNvSpPr/>
          <p:nvPr/>
        </p:nvSpPr>
        <p:spPr>
          <a:xfrm>
            <a:off x="2773491" y="4179628"/>
            <a:ext cx="777704" cy="0"/>
          </a:xfrm>
          <a:custGeom>
            <a:avLst/>
            <a:gdLst/>
            <a:ahLst/>
            <a:cxnLst/>
            <a:rect l="l" t="t" r="r" b="b"/>
            <a:pathLst>
              <a:path w="777704">
                <a:moveTo>
                  <a:pt x="0" y="0"/>
                </a:moveTo>
                <a:lnTo>
                  <a:pt x="777704" y="0"/>
                </a:lnTo>
              </a:path>
            </a:pathLst>
          </a:custGeom>
          <a:ln w="1338">
            <a:solidFill>
              <a:srgbClr val="000000"/>
            </a:solidFill>
          </a:ln>
        </p:spPr>
        <p:txBody>
          <a:bodyPr wrap="square" lIns="0" tIns="0" rIns="0" bIns="0" rtlCol="0">
            <a:noAutofit/>
          </a:bodyPr>
          <a:lstStyle/>
          <a:p>
            <a:endParaRPr/>
          </a:p>
        </p:txBody>
      </p:sp>
      <p:sp>
        <p:nvSpPr>
          <p:cNvPr id="322" name="object 322"/>
          <p:cNvSpPr/>
          <p:nvPr/>
        </p:nvSpPr>
        <p:spPr>
          <a:xfrm>
            <a:off x="2773491" y="4400164"/>
            <a:ext cx="777704" cy="0"/>
          </a:xfrm>
          <a:custGeom>
            <a:avLst/>
            <a:gdLst/>
            <a:ahLst/>
            <a:cxnLst/>
            <a:rect l="l" t="t" r="r" b="b"/>
            <a:pathLst>
              <a:path w="777704">
                <a:moveTo>
                  <a:pt x="0" y="0"/>
                </a:moveTo>
                <a:lnTo>
                  <a:pt x="777704" y="0"/>
                </a:lnTo>
              </a:path>
            </a:pathLst>
          </a:custGeom>
          <a:ln w="1338">
            <a:solidFill>
              <a:srgbClr val="000000"/>
            </a:solidFill>
          </a:ln>
        </p:spPr>
        <p:txBody>
          <a:bodyPr wrap="square" lIns="0" tIns="0" rIns="0" bIns="0" rtlCol="0">
            <a:noAutofit/>
          </a:bodyPr>
          <a:lstStyle/>
          <a:p>
            <a:endParaRPr/>
          </a:p>
        </p:txBody>
      </p:sp>
      <p:sp>
        <p:nvSpPr>
          <p:cNvPr id="323" name="object 323"/>
          <p:cNvSpPr/>
          <p:nvPr/>
        </p:nvSpPr>
        <p:spPr>
          <a:xfrm>
            <a:off x="2773491" y="4104868"/>
            <a:ext cx="777990" cy="0"/>
          </a:xfrm>
          <a:custGeom>
            <a:avLst/>
            <a:gdLst/>
            <a:ahLst/>
            <a:cxnLst/>
            <a:rect l="l" t="t" r="r" b="b"/>
            <a:pathLst>
              <a:path w="777990">
                <a:moveTo>
                  <a:pt x="0" y="0"/>
                </a:moveTo>
                <a:lnTo>
                  <a:pt x="777990" y="0"/>
                </a:lnTo>
              </a:path>
            </a:pathLst>
          </a:custGeom>
          <a:ln w="1338">
            <a:solidFill>
              <a:srgbClr val="000000"/>
            </a:solidFill>
          </a:ln>
        </p:spPr>
        <p:txBody>
          <a:bodyPr wrap="square" lIns="0" tIns="0" rIns="0" bIns="0" rtlCol="0">
            <a:noAutofit/>
          </a:bodyPr>
          <a:lstStyle/>
          <a:p>
            <a:endParaRPr/>
          </a:p>
        </p:txBody>
      </p:sp>
      <p:sp>
        <p:nvSpPr>
          <p:cNvPr id="324" name="object 324"/>
          <p:cNvSpPr/>
          <p:nvPr/>
        </p:nvSpPr>
        <p:spPr>
          <a:xfrm>
            <a:off x="2773491" y="4027694"/>
            <a:ext cx="777990" cy="0"/>
          </a:xfrm>
          <a:custGeom>
            <a:avLst/>
            <a:gdLst/>
            <a:ahLst/>
            <a:cxnLst/>
            <a:rect l="l" t="t" r="r" b="b"/>
            <a:pathLst>
              <a:path w="777990">
                <a:moveTo>
                  <a:pt x="0" y="0"/>
                </a:moveTo>
                <a:lnTo>
                  <a:pt x="777990" y="0"/>
                </a:lnTo>
              </a:path>
            </a:pathLst>
          </a:custGeom>
          <a:ln w="1338">
            <a:solidFill>
              <a:srgbClr val="000000"/>
            </a:solidFill>
          </a:ln>
        </p:spPr>
        <p:txBody>
          <a:bodyPr wrap="square" lIns="0" tIns="0" rIns="0" bIns="0" rtlCol="0">
            <a:noAutofit/>
          </a:bodyPr>
          <a:lstStyle/>
          <a:p>
            <a:endParaRPr/>
          </a:p>
        </p:txBody>
      </p:sp>
      <p:sp>
        <p:nvSpPr>
          <p:cNvPr id="325" name="object 325"/>
          <p:cNvSpPr/>
          <p:nvPr/>
        </p:nvSpPr>
        <p:spPr>
          <a:xfrm>
            <a:off x="2773491" y="4022064"/>
            <a:ext cx="777990" cy="0"/>
          </a:xfrm>
          <a:custGeom>
            <a:avLst/>
            <a:gdLst/>
            <a:ahLst/>
            <a:cxnLst/>
            <a:rect l="l" t="t" r="r" b="b"/>
            <a:pathLst>
              <a:path w="777990">
                <a:moveTo>
                  <a:pt x="0" y="0"/>
                </a:moveTo>
                <a:lnTo>
                  <a:pt x="777990" y="0"/>
                </a:lnTo>
              </a:path>
            </a:pathLst>
          </a:custGeom>
          <a:ln w="1338">
            <a:solidFill>
              <a:srgbClr val="000000"/>
            </a:solidFill>
          </a:ln>
        </p:spPr>
        <p:txBody>
          <a:bodyPr wrap="square" lIns="0" tIns="0" rIns="0" bIns="0" rtlCol="0">
            <a:noAutofit/>
          </a:bodyPr>
          <a:lstStyle/>
          <a:p>
            <a:endParaRPr/>
          </a:p>
        </p:txBody>
      </p:sp>
      <p:sp>
        <p:nvSpPr>
          <p:cNvPr id="326" name="object 326"/>
          <p:cNvSpPr/>
          <p:nvPr/>
        </p:nvSpPr>
        <p:spPr>
          <a:xfrm>
            <a:off x="2884843" y="4027694"/>
            <a:ext cx="0" cy="449104"/>
          </a:xfrm>
          <a:custGeom>
            <a:avLst/>
            <a:gdLst/>
            <a:ahLst/>
            <a:cxnLst/>
            <a:rect l="l" t="t" r="r" b="b"/>
            <a:pathLst>
              <a:path h="449104">
                <a:moveTo>
                  <a:pt x="0" y="0"/>
                </a:moveTo>
                <a:lnTo>
                  <a:pt x="0" y="449104"/>
                </a:lnTo>
              </a:path>
            </a:pathLst>
          </a:custGeom>
          <a:ln w="1430">
            <a:solidFill>
              <a:srgbClr val="000000"/>
            </a:solidFill>
          </a:ln>
        </p:spPr>
        <p:txBody>
          <a:bodyPr wrap="square" lIns="0" tIns="0" rIns="0" bIns="0" rtlCol="0">
            <a:noAutofit/>
          </a:bodyPr>
          <a:lstStyle/>
          <a:p>
            <a:endParaRPr/>
          </a:p>
        </p:txBody>
      </p:sp>
      <p:sp>
        <p:nvSpPr>
          <p:cNvPr id="327" name="object 327"/>
          <p:cNvSpPr/>
          <p:nvPr/>
        </p:nvSpPr>
        <p:spPr>
          <a:xfrm>
            <a:off x="3106667" y="4027695"/>
            <a:ext cx="0" cy="448301"/>
          </a:xfrm>
          <a:custGeom>
            <a:avLst/>
            <a:gdLst/>
            <a:ahLst/>
            <a:cxnLst/>
            <a:rect l="l" t="t" r="r" b="b"/>
            <a:pathLst>
              <a:path h="448301">
                <a:moveTo>
                  <a:pt x="0" y="0"/>
                </a:moveTo>
                <a:lnTo>
                  <a:pt x="0" y="448301"/>
                </a:lnTo>
              </a:path>
            </a:pathLst>
          </a:custGeom>
          <a:ln w="1430">
            <a:solidFill>
              <a:srgbClr val="000000"/>
            </a:solidFill>
          </a:ln>
        </p:spPr>
        <p:txBody>
          <a:bodyPr wrap="square" lIns="0" tIns="0" rIns="0" bIns="0" rtlCol="0">
            <a:noAutofit/>
          </a:bodyPr>
          <a:lstStyle/>
          <a:p>
            <a:endParaRPr/>
          </a:p>
        </p:txBody>
      </p:sp>
      <p:sp>
        <p:nvSpPr>
          <p:cNvPr id="328" name="object 328"/>
          <p:cNvSpPr/>
          <p:nvPr/>
        </p:nvSpPr>
        <p:spPr>
          <a:xfrm>
            <a:off x="2995612" y="4027694"/>
            <a:ext cx="0" cy="449104"/>
          </a:xfrm>
          <a:custGeom>
            <a:avLst/>
            <a:gdLst/>
            <a:ahLst/>
            <a:cxnLst/>
            <a:rect l="l" t="t" r="r" b="b"/>
            <a:pathLst>
              <a:path h="449104">
                <a:moveTo>
                  <a:pt x="0" y="0"/>
                </a:moveTo>
                <a:lnTo>
                  <a:pt x="0" y="449104"/>
                </a:lnTo>
              </a:path>
            </a:pathLst>
          </a:custGeom>
          <a:ln w="1430">
            <a:solidFill>
              <a:srgbClr val="000000"/>
            </a:solidFill>
          </a:ln>
        </p:spPr>
        <p:txBody>
          <a:bodyPr wrap="square" lIns="0" tIns="0" rIns="0" bIns="0" rtlCol="0">
            <a:noAutofit/>
          </a:bodyPr>
          <a:lstStyle/>
          <a:p>
            <a:endParaRPr/>
          </a:p>
        </p:txBody>
      </p:sp>
      <p:sp>
        <p:nvSpPr>
          <p:cNvPr id="329" name="object 329"/>
          <p:cNvSpPr/>
          <p:nvPr/>
        </p:nvSpPr>
        <p:spPr>
          <a:xfrm>
            <a:off x="3218018" y="4027694"/>
            <a:ext cx="0" cy="449104"/>
          </a:xfrm>
          <a:custGeom>
            <a:avLst/>
            <a:gdLst/>
            <a:ahLst/>
            <a:cxnLst/>
            <a:rect l="l" t="t" r="r" b="b"/>
            <a:pathLst>
              <a:path h="449104">
                <a:moveTo>
                  <a:pt x="0" y="0"/>
                </a:moveTo>
                <a:lnTo>
                  <a:pt x="0" y="449104"/>
                </a:lnTo>
              </a:path>
            </a:pathLst>
          </a:custGeom>
          <a:ln w="1430">
            <a:solidFill>
              <a:srgbClr val="000000"/>
            </a:solidFill>
          </a:ln>
        </p:spPr>
        <p:txBody>
          <a:bodyPr wrap="square" lIns="0" tIns="0" rIns="0" bIns="0" rtlCol="0">
            <a:noAutofit/>
          </a:bodyPr>
          <a:lstStyle/>
          <a:p>
            <a:endParaRPr/>
          </a:p>
        </p:txBody>
      </p:sp>
      <p:sp>
        <p:nvSpPr>
          <p:cNvPr id="330" name="object 330"/>
          <p:cNvSpPr/>
          <p:nvPr/>
        </p:nvSpPr>
        <p:spPr>
          <a:xfrm>
            <a:off x="3440704" y="4027694"/>
            <a:ext cx="0" cy="449104"/>
          </a:xfrm>
          <a:custGeom>
            <a:avLst/>
            <a:gdLst/>
            <a:ahLst/>
            <a:cxnLst/>
            <a:rect l="l" t="t" r="r" b="b"/>
            <a:pathLst>
              <a:path h="449104">
                <a:moveTo>
                  <a:pt x="0" y="0"/>
                </a:moveTo>
                <a:lnTo>
                  <a:pt x="0" y="449104"/>
                </a:lnTo>
              </a:path>
            </a:pathLst>
          </a:custGeom>
          <a:ln w="1430">
            <a:solidFill>
              <a:srgbClr val="000000"/>
            </a:solidFill>
          </a:ln>
        </p:spPr>
        <p:txBody>
          <a:bodyPr wrap="square" lIns="0" tIns="0" rIns="0" bIns="0" rtlCol="0">
            <a:noAutofit/>
          </a:bodyPr>
          <a:lstStyle/>
          <a:p>
            <a:endParaRPr/>
          </a:p>
        </p:txBody>
      </p:sp>
      <p:sp>
        <p:nvSpPr>
          <p:cNvPr id="331" name="object 331"/>
          <p:cNvSpPr/>
          <p:nvPr/>
        </p:nvSpPr>
        <p:spPr>
          <a:xfrm>
            <a:off x="3328790" y="4027694"/>
            <a:ext cx="0" cy="449104"/>
          </a:xfrm>
          <a:custGeom>
            <a:avLst/>
            <a:gdLst/>
            <a:ahLst/>
            <a:cxnLst/>
            <a:rect l="l" t="t" r="r" b="b"/>
            <a:pathLst>
              <a:path h="449104">
                <a:moveTo>
                  <a:pt x="0" y="0"/>
                </a:moveTo>
                <a:lnTo>
                  <a:pt x="0" y="449104"/>
                </a:lnTo>
              </a:path>
            </a:pathLst>
          </a:custGeom>
          <a:ln w="1430">
            <a:solidFill>
              <a:srgbClr val="000000"/>
            </a:solidFill>
          </a:ln>
        </p:spPr>
        <p:txBody>
          <a:bodyPr wrap="square" lIns="0" tIns="0" rIns="0" bIns="0" rtlCol="0">
            <a:noAutofit/>
          </a:bodyPr>
          <a:lstStyle/>
          <a:p>
            <a:endParaRPr/>
          </a:p>
        </p:txBody>
      </p:sp>
      <p:sp>
        <p:nvSpPr>
          <p:cNvPr id="332" name="object 332"/>
          <p:cNvSpPr/>
          <p:nvPr/>
        </p:nvSpPr>
        <p:spPr>
          <a:xfrm>
            <a:off x="3116976" y="4108619"/>
            <a:ext cx="15172" cy="35641"/>
          </a:xfrm>
          <a:custGeom>
            <a:avLst/>
            <a:gdLst/>
            <a:ahLst/>
            <a:cxnLst/>
            <a:rect l="l" t="t" r="r" b="b"/>
            <a:pathLst>
              <a:path w="15172" h="35641">
                <a:moveTo>
                  <a:pt x="5436" y="7504"/>
                </a:moveTo>
                <a:lnTo>
                  <a:pt x="5436" y="35641"/>
                </a:lnTo>
                <a:lnTo>
                  <a:pt x="15172" y="35641"/>
                </a:lnTo>
                <a:lnTo>
                  <a:pt x="15172" y="0"/>
                </a:lnTo>
                <a:lnTo>
                  <a:pt x="1717" y="0"/>
                </a:lnTo>
                <a:lnTo>
                  <a:pt x="0" y="7504"/>
                </a:lnTo>
                <a:lnTo>
                  <a:pt x="5436" y="7504"/>
                </a:lnTo>
                <a:close/>
              </a:path>
            </a:pathLst>
          </a:custGeom>
          <a:solidFill>
            <a:srgbClr val="000000"/>
          </a:solidFill>
        </p:spPr>
        <p:txBody>
          <a:bodyPr wrap="square" lIns="0" tIns="0" rIns="0" bIns="0" rtlCol="0">
            <a:noAutofit/>
          </a:bodyPr>
          <a:lstStyle/>
          <a:p>
            <a:endParaRPr/>
          </a:p>
        </p:txBody>
      </p:sp>
      <p:sp>
        <p:nvSpPr>
          <p:cNvPr id="333" name="object 333"/>
          <p:cNvSpPr/>
          <p:nvPr/>
        </p:nvSpPr>
        <p:spPr>
          <a:xfrm>
            <a:off x="3228322" y="4108619"/>
            <a:ext cx="23469" cy="35641"/>
          </a:xfrm>
          <a:custGeom>
            <a:avLst/>
            <a:gdLst/>
            <a:ahLst/>
            <a:cxnLst/>
            <a:rect l="l" t="t" r="r" b="b"/>
            <a:pathLst>
              <a:path w="23469" h="35641">
                <a:moveTo>
                  <a:pt x="0" y="35641"/>
                </a:moveTo>
                <a:lnTo>
                  <a:pt x="23469" y="35641"/>
                </a:lnTo>
                <a:lnTo>
                  <a:pt x="23469" y="29476"/>
                </a:lnTo>
                <a:lnTo>
                  <a:pt x="10019" y="29476"/>
                </a:lnTo>
                <a:lnTo>
                  <a:pt x="23469" y="14736"/>
                </a:lnTo>
                <a:lnTo>
                  <a:pt x="23469" y="4553"/>
                </a:lnTo>
                <a:lnTo>
                  <a:pt x="16314" y="0"/>
                </a:lnTo>
                <a:lnTo>
                  <a:pt x="7151" y="0"/>
                </a:lnTo>
                <a:lnTo>
                  <a:pt x="0" y="4553"/>
                </a:lnTo>
                <a:lnTo>
                  <a:pt x="0" y="10986"/>
                </a:lnTo>
                <a:lnTo>
                  <a:pt x="9160" y="10986"/>
                </a:lnTo>
                <a:lnTo>
                  <a:pt x="9160" y="7504"/>
                </a:lnTo>
                <a:lnTo>
                  <a:pt x="14313" y="7504"/>
                </a:lnTo>
                <a:lnTo>
                  <a:pt x="14313" y="12861"/>
                </a:lnTo>
                <a:lnTo>
                  <a:pt x="0" y="29476"/>
                </a:lnTo>
                <a:lnTo>
                  <a:pt x="0" y="35641"/>
                </a:lnTo>
                <a:close/>
              </a:path>
            </a:pathLst>
          </a:custGeom>
          <a:solidFill>
            <a:srgbClr val="000000"/>
          </a:solidFill>
        </p:spPr>
        <p:txBody>
          <a:bodyPr wrap="square" lIns="0" tIns="0" rIns="0" bIns="0" rtlCol="0">
            <a:noAutofit/>
          </a:bodyPr>
          <a:lstStyle/>
          <a:p>
            <a:endParaRPr/>
          </a:p>
        </p:txBody>
      </p:sp>
      <p:sp>
        <p:nvSpPr>
          <p:cNvPr id="334" name="object 334"/>
          <p:cNvSpPr/>
          <p:nvPr/>
        </p:nvSpPr>
        <p:spPr>
          <a:xfrm>
            <a:off x="3339382" y="4108619"/>
            <a:ext cx="24330" cy="35641"/>
          </a:xfrm>
          <a:custGeom>
            <a:avLst/>
            <a:gdLst/>
            <a:ahLst/>
            <a:cxnLst/>
            <a:rect l="l" t="t" r="r" b="b"/>
            <a:pathLst>
              <a:path w="24330" h="35641">
                <a:moveTo>
                  <a:pt x="15166" y="21440"/>
                </a:moveTo>
                <a:lnTo>
                  <a:pt x="15166" y="29476"/>
                </a:lnTo>
                <a:lnTo>
                  <a:pt x="9158" y="29476"/>
                </a:lnTo>
                <a:lnTo>
                  <a:pt x="9158" y="25458"/>
                </a:lnTo>
                <a:lnTo>
                  <a:pt x="0" y="25458"/>
                </a:lnTo>
                <a:lnTo>
                  <a:pt x="0" y="31083"/>
                </a:lnTo>
                <a:lnTo>
                  <a:pt x="7154" y="35641"/>
                </a:lnTo>
                <a:lnTo>
                  <a:pt x="17168" y="35641"/>
                </a:lnTo>
                <a:lnTo>
                  <a:pt x="24330" y="31083"/>
                </a:lnTo>
                <a:lnTo>
                  <a:pt x="24330" y="21440"/>
                </a:lnTo>
                <a:lnTo>
                  <a:pt x="20609" y="18218"/>
                </a:lnTo>
                <a:lnTo>
                  <a:pt x="24330" y="14736"/>
                </a:lnTo>
                <a:lnTo>
                  <a:pt x="24330" y="4553"/>
                </a:lnTo>
                <a:lnTo>
                  <a:pt x="17168" y="0"/>
                </a:lnTo>
                <a:lnTo>
                  <a:pt x="7154" y="0"/>
                </a:lnTo>
                <a:lnTo>
                  <a:pt x="0" y="4553"/>
                </a:lnTo>
                <a:lnTo>
                  <a:pt x="0" y="10183"/>
                </a:lnTo>
                <a:lnTo>
                  <a:pt x="9158" y="10183"/>
                </a:lnTo>
                <a:lnTo>
                  <a:pt x="9158" y="6165"/>
                </a:lnTo>
                <a:lnTo>
                  <a:pt x="15166" y="6165"/>
                </a:lnTo>
                <a:lnTo>
                  <a:pt x="15166" y="14736"/>
                </a:lnTo>
                <a:lnTo>
                  <a:pt x="9158" y="14736"/>
                </a:lnTo>
                <a:lnTo>
                  <a:pt x="9158" y="21440"/>
                </a:lnTo>
                <a:lnTo>
                  <a:pt x="15166" y="21440"/>
                </a:lnTo>
                <a:close/>
              </a:path>
            </a:pathLst>
          </a:custGeom>
          <a:solidFill>
            <a:srgbClr val="000000"/>
          </a:solidFill>
        </p:spPr>
        <p:txBody>
          <a:bodyPr wrap="square" lIns="0" tIns="0" rIns="0" bIns="0" rtlCol="0">
            <a:noAutofit/>
          </a:bodyPr>
          <a:lstStyle/>
          <a:p>
            <a:endParaRPr/>
          </a:p>
        </p:txBody>
      </p:sp>
      <p:sp>
        <p:nvSpPr>
          <p:cNvPr id="335" name="object 335"/>
          <p:cNvSpPr/>
          <p:nvPr/>
        </p:nvSpPr>
        <p:spPr>
          <a:xfrm>
            <a:off x="3452729" y="4108619"/>
            <a:ext cx="25189" cy="35641"/>
          </a:xfrm>
          <a:custGeom>
            <a:avLst/>
            <a:gdLst/>
            <a:ahLst/>
            <a:cxnLst/>
            <a:rect l="l" t="t" r="r" b="b"/>
            <a:pathLst>
              <a:path w="25189" h="35641">
                <a:moveTo>
                  <a:pt x="0" y="29476"/>
                </a:moveTo>
                <a:lnTo>
                  <a:pt x="14027" y="29476"/>
                </a:lnTo>
                <a:lnTo>
                  <a:pt x="9736" y="21440"/>
                </a:lnTo>
                <a:lnTo>
                  <a:pt x="14027" y="13933"/>
                </a:lnTo>
                <a:lnTo>
                  <a:pt x="14027" y="21440"/>
                </a:lnTo>
                <a:lnTo>
                  <a:pt x="9736" y="21440"/>
                </a:lnTo>
                <a:lnTo>
                  <a:pt x="14027" y="29476"/>
                </a:lnTo>
                <a:lnTo>
                  <a:pt x="14027" y="35641"/>
                </a:lnTo>
                <a:lnTo>
                  <a:pt x="23185" y="35641"/>
                </a:lnTo>
                <a:lnTo>
                  <a:pt x="23185" y="29476"/>
                </a:lnTo>
                <a:lnTo>
                  <a:pt x="25189" y="29476"/>
                </a:lnTo>
                <a:lnTo>
                  <a:pt x="25189" y="21440"/>
                </a:lnTo>
                <a:lnTo>
                  <a:pt x="23185" y="21440"/>
                </a:lnTo>
                <a:lnTo>
                  <a:pt x="23185" y="0"/>
                </a:lnTo>
                <a:lnTo>
                  <a:pt x="14027" y="0"/>
                </a:lnTo>
                <a:lnTo>
                  <a:pt x="0" y="21440"/>
                </a:lnTo>
                <a:lnTo>
                  <a:pt x="0" y="29476"/>
                </a:lnTo>
                <a:close/>
              </a:path>
            </a:pathLst>
          </a:custGeom>
          <a:solidFill>
            <a:srgbClr val="000000"/>
          </a:solidFill>
        </p:spPr>
        <p:txBody>
          <a:bodyPr wrap="square" lIns="0" tIns="0" rIns="0" bIns="0" rtlCol="0">
            <a:noAutofit/>
          </a:bodyPr>
          <a:lstStyle/>
          <a:p>
            <a:endParaRPr/>
          </a:p>
        </p:txBody>
      </p:sp>
      <p:sp>
        <p:nvSpPr>
          <p:cNvPr id="336" name="object 336"/>
          <p:cNvSpPr/>
          <p:nvPr/>
        </p:nvSpPr>
        <p:spPr>
          <a:xfrm>
            <a:off x="2781796" y="4186056"/>
            <a:ext cx="24614" cy="36448"/>
          </a:xfrm>
          <a:custGeom>
            <a:avLst/>
            <a:gdLst/>
            <a:ahLst/>
            <a:cxnLst/>
            <a:rect l="l" t="t" r="r" b="b"/>
            <a:pathLst>
              <a:path w="24614" h="36448">
                <a:moveTo>
                  <a:pt x="15165" y="19030"/>
                </a:moveTo>
                <a:lnTo>
                  <a:pt x="15165" y="30279"/>
                </a:lnTo>
                <a:lnTo>
                  <a:pt x="9156" y="30279"/>
                </a:lnTo>
                <a:lnTo>
                  <a:pt x="9156" y="24387"/>
                </a:lnTo>
                <a:lnTo>
                  <a:pt x="0" y="24387"/>
                </a:lnTo>
                <a:lnTo>
                  <a:pt x="0" y="31083"/>
                </a:lnTo>
                <a:lnTo>
                  <a:pt x="7153" y="36448"/>
                </a:lnTo>
                <a:lnTo>
                  <a:pt x="17454" y="36448"/>
                </a:lnTo>
                <a:lnTo>
                  <a:pt x="24614" y="31083"/>
                </a:lnTo>
                <a:lnTo>
                  <a:pt x="24614" y="18226"/>
                </a:lnTo>
                <a:lnTo>
                  <a:pt x="17454" y="12864"/>
                </a:lnTo>
                <a:lnTo>
                  <a:pt x="9156" y="12864"/>
                </a:lnTo>
                <a:lnTo>
                  <a:pt x="9156" y="7239"/>
                </a:lnTo>
                <a:lnTo>
                  <a:pt x="23755" y="7239"/>
                </a:lnTo>
                <a:lnTo>
                  <a:pt x="23755" y="0"/>
                </a:lnTo>
                <a:lnTo>
                  <a:pt x="0" y="0"/>
                </a:lnTo>
                <a:lnTo>
                  <a:pt x="0" y="13668"/>
                </a:lnTo>
                <a:lnTo>
                  <a:pt x="7153" y="19030"/>
                </a:lnTo>
                <a:lnTo>
                  <a:pt x="15165" y="19030"/>
                </a:lnTo>
                <a:close/>
              </a:path>
            </a:pathLst>
          </a:custGeom>
          <a:solidFill>
            <a:srgbClr val="000000"/>
          </a:solidFill>
        </p:spPr>
        <p:txBody>
          <a:bodyPr wrap="square" lIns="0" tIns="0" rIns="0" bIns="0" rtlCol="0">
            <a:noAutofit/>
          </a:bodyPr>
          <a:lstStyle/>
          <a:p>
            <a:endParaRPr/>
          </a:p>
        </p:txBody>
      </p:sp>
      <p:sp>
        <p:nvSpPr>
          <p:cNvPr id="337" name="object 337"/>
          <p:cNvSpPr/>
          <p:nvPr/>
        </p:nvSpPr>
        <p:spPr>
          <a:xfrm>
            <a:off x="2905165" y="4193296"/>
            <a:ext cx="13160" cy="29208"/>
          </a:xfrm>
          <a:custGeom>
            <a:avLst/>
            <a:gdLst/>
            <a:ahLst/>
            <a:cxnLst/>
            <a:rect l="l" t="t" r="r" b="b"/>
            <a:pathLst>
              <a:path w="13160" h="29208">
                <a:moveTo>
                  <a:pt x="0" y="0"/>
                </a:moveTo>
                <a:lnTo>
                  <a:pt x="0" y="13665"/>
                </a:lnTo>
                <a:lnTo>
                  <a:pt x="5150" y="13665"/>
                </a:lnTo>
                <a:lnTo>
                  <a:pt x="6292" y="29208"/>
                </a:lnTo>
                <a:lnTo>
                  <a:pt x="13160" y="24922"/>
                </a:lnTo>
                <a:lnTo>
                  <a:pt x="13160" y="10986"/>
                </a:lnTo>
                <a:lnTo>
                  <a:pt x="6292" y="6428"/>
                </a:lnTo>
                <a:lnTo>
                  <a:pt x="0" y="6428"/>
                </a:lnTo>
                <a:lnTo>
                  <a:pt x="0" y="0"/>
                </a:lnTo>
                <a:close/>
              </a:path>
            </a:pathLst>
          </a:custGeom>
          <a:solidFill>
            <a:srgbClr val="000000"/>
          </a:solidFill>
        </p:spPr>
        <p:txBody>
          <a:bodyPr wrap="square" lIns="0" tIns="0" rIns="0" bIns="0" rtlCol="0">
            <a:noAutofit/>
          </a:bodyPr>
          <a:lstStyle/>
          <a:p>
            <a:endParaRPr/>
          </a:p>
        </p:txBody>
      </p:sp>
      <p:sp>
        <p:nvSpPr>
          <p:cNvPr id="338" name="object 338"/>
          <p:cNvSpPr/>
          <p:nvPr/>
        </p:nvSpPr>
        <p:spPr>
          <a:xfrm>
            <a:off x="2895715" y="4186056"/>
            <a:ext cx="22610" cy="36448"/>
          </a:xfrm>
          <a:custGeom>
            <a:avLst/>
            <a:gdLst/>
            <a:ahLst/>
            <a:cxnLst/>
            <a:rect l="l" t="t" r="r" b="b"/>
            <a:pathLst>
              <a:path w="22610" h="36448">
                <a:moveTo>
                  <a:pt x="14600" y="10989"/>
                </a:moveTo>
                <a:lnTo>
                  <a:pt x="22610" y="10989"/>
                </a:lnTo>
                <a:lnTo>
                  <a:pt x="22610" y="4293"/>
                </a:lnTo>
                <a:lnTo>
                  <a:pt x="15742" y="0"/>
                </a:lnTo>
                <a:lnTo>
                  <a:pt x="7151" y="0"/>
                </a:lnTo>
                <a:lnTo>
                  <a:pt x="0" y="4293"/>
                </a:lnTo>
                <a:lnTo>
                  <a:pt x="0" y="32162"/>
                </a:lnTo>
                <a:lnTo>
                  <a:pt x="7151" y="36448"/>
                </a:lnTo>
                <a:lnTo>
                  <a:pt x="15742" y="36448"/>
                </a:lnTo>
                <a:lnTo>
                  <a:pt x="14600" y="20905"/>
                </a:lnTo>
                <a:lnTo>
                  <a:pt x="14600" y="30279"/>
                </a:lnTo>
                <a:lnTo>
                  <a:pt x="9450" y="30279"/>
                </a:lnTo>
                <a:lnTo>
                  <a:pt x="9450" y="7239"/>
                </a:lnTo>
                <a:lnTo>
                  <a:pt x="14600" y="7239"/>
                </a:lnTo>
                <a:lnTo>
                  <a:pt x="14600" y="10989"/>
                </a:lnTo>
                <a:close/>
              </a:path>
            </a:pathLst>
          </a:custGeom>
          <a:solidFill>
            <a:srgbClr val="000000"/>
          </a:solidFill>
        </p:spPr>
        <p:txBody>
          <a:bodyPr wrap="square" lIns="0" tIns="0" rIns="0" bIns="0" rtlCol="0">
            <a:noAutofit/>
          </a:bodyPr>
          <a:lstStyle/>
          <a:p>
            <a:endParaRPr/>
          </a:p>
        </p:txBody>
      </p:sp>
      <p:sp>
        <p:nvSpPr>
          <p:cNvPr id="339" name="object 339"/>
          <p:cNvSpPr/>
          <p:nvPr/>
        </p:nvSpPr>
        <p:spPr>
          <a:xfrm>
            <a:off x="3004481" y="4186056"/>
            <a:ext cx="24336" cy="36448"/>
          </a:xfrm>
          <a:custGeom>
            <a:avLst/>
            <a:gdLst/>
            <a:ahLst/>
            <a:cxnLst/>
            <a:rect l="l" t="t" r="r" b="b"/>
            <a:pathLst>
              <a:path w="24336" h="36448">
                <a:moveTo>
                  <a:pt x="14316" y="7239"/>
                </a:moveTo>
                <a:lnTo>
                  <a:pt x="0" y="36448"/>
                </a:lnTo>
                <a:lnTo>
                  <a:pt x="10022" y="36448"/>
                </a:lnTo>
                <a:lnTo>
                  <a:pt x="24336" y="7239"/>
                </a:lnTo>
                <a:lnTo>
                  <a:pt x="24336" y="0"/>
                </a:lnTo>
                <a:lnTo>
                  <a:pt x="0" y="0"/>
                </a:lnTo>
                <a:lnTo>
                  <a:pt x="0" y="7239"/>
                </a:lnTo>
                <a:lnTo>
                  <a:pt x="14316" y="7239"/>
                </a:lnTo>
                <a:close/>
              </a:path>
            </a:pathLst>
          </a:custGeom>
          <a:solidFill>
            <a:srgbClr val="000000"/>
          </a:solidFill>
        </p:spPr>
        <p:txBody>
          <a:bodyPr wrap="square" lIns="0" tIns="0" rIns="0" bIns="0" rtlCol="0">
            <a:noAutofit/>
          </a:bodyPr>
          <a:lstStyle/>
          <a:p>
            <a:endParaRPr/>
          </a:p>
        </p:txBody>
      </p:sp>
      <p:sp>
        <p:nvSpPr>
          <p:cNvPr id="340" name="object 340"/>
          <p:cNvSpPr/>
          <p:nvPr/>
        </p:nvSpPr>
        <p:spPr>
          <a:xfrm>
            <a:off x="3125563" y="4216336"/>
            <a:ext cx="9163" cy="6168"/>
          </a:xfrm>
          <a:custGeom>
            <a:avLst/>
            <a:gdLst/>
            <a:ahLst/>
            <a:cxnLst/>
            <a:rect l="l" t="t" r="r" b="b"/>
            <a:pathLst>
              <a:path w="9163" h="6168">
                <a:moveTo>
                  <a:pt x="0" y="0"/>
                </a:moveTo>
                <a:lnTo>
                  <a:pt x="9163" y="6168"/>
                </a:lnTo>
                <a:lnTo>
                  <a:pt x="5150" y="0"/>
                </a:lnTo>
                <a:lnTo>
                  <a:pt x="0" y="0"/>
                </a:lnTo>
                <a:close/>
              </a:path>
            </a:pathLst>
          </a:custGeom>
          <a:solidFill>
            <a:srgbClr val="000000"/>
          </a:solidFill>
        </p:spPr>
        <p:txBody>
          <a:bodyPr wrap="square" lIns="0" tIns="0" rIns="0" bIns="0" rtlCol="0">
            <a:noAutofit/>
          </a:bodyPr>
          <a:lstStyle/>
          <a:p>
            <a:endParaRPr/>
          </a:p>
        </p:txBody>
      </p:sp>
      <p:sp>
        <p:nvSpPr>
          <p:cNvPr id="341" name="object 341"/>
          <p:cNvSpPr/>
          <p:nvPr/>
        </p:nvSpPr>
        <p:spPr>
          <a:xfrm>
            <a:off x="3125562" y="4191421"/>
            <a:ext cx="5150" cy="24914"/>
          </a:xfrm>
          <a:custGeom>
            <a:avLst/>
            <a:gdLst/>
            <a:ahLst/>
            <a:cxnLst/>
            <a:rect l="l" t="t" r="r" b="b"/>
            <a:pathLst>
              <a:path w="5150" h="24914">
                <a:moveTo>
                  <a:pt x="0" y="17415"/>
                </a:moveTo>
                <a:lnTo>
                  <a:pt x="5150" y="17415"/>
                </a:lnTo>
                <a:lnTo>
                  <a:pt x="0" y="7499"/>
                </a:lnTo>
                <a:lnTo>
                  <a:pt x="0" y="0"/>
                </a:lnTo>
                <a:lnTo>
                  <a:pt x="0" y="24914"/>
                </a:lnTo>
                <a:lnTo>
                  <a:pt x="0" y="17415"/>
                </a:lnTo>
                <a:close/>
              </a:path>
            </a:pathLst>
          </a:custGeom>
          <a:solidFill>
            <a:srgbClr val="000000"/>
          </a:solidFill>
        </p:spPr>
        <p:txBody>
          <a:bodyPr wrap="square" lIns="0" tIns="0" rIns="0" bIns="0" rtlCol="0">
            <a:noAutofit/>
          </a:bodyPr>
          <a:lstStyle/>
          <a:p>
            <a:endParaRPr/>
          </a:p>
        </p:txBody>
      </p:sp>
      <p:sp>
        <p:nvSpPr>
          <p:cNvPr id="342" name="object 342"/>
          <p:cNvSpPr/>
          <p:nvPr/>
        </p:nvSpPr>
        <p:spPr>
          <a:xfrm>
            <a:off x="3116405" y="4186056"/>
            <a:ext cx="23471" cy="36448"/>
          </a:xfrm>
          <a:custGeom>
            <a:avLst/>
            <a:gdLst/>
            <a:ahLst/>
            <a:cxnLst/>
            <a:rect l="l" t="t" r="r" b="b"/>
            <a:pathLst>
              <a:path w="23471" h="36448">
                <a:moveTo>
                  <a:pt x="4863" y="36448"/>
                </a:moveTo>
                <a:lnTo>
                  <a:pt x="18321" y="36448"/>
                </a:lnTo>
                <a:lnTo>
                  <a:pt x="9158" y="30279"/>
                </a:lnTo>
                <a:lnTo>
                  <a:pt x="9158" y="5364"/>
                </a:lnTo>
                <a:lnTo>
                  <a:pt x="14308" y="5364"/>
                </a:lnTo>
                <a:lnTo>
                  <a:pt x="14308" y="12864"/>
                </a:lnTo>
                <a:lnTo>
                  <a:pt x="9158" y="12864"/>
                </a:lnTo>
                <a:lnTo>
                  <a:pt x="14308" y="22780"/>
                </a:lnTo>
                <a:lnTo>
                  <a:pt x="14308" y="30279"/>
                </a:lnTo>
                <a:lnTo>
                  <a:pt x="18321" y="36448"/>
                </a:lnTo>
                <a:lnTo>
                  <a:pt x="23471" y="32162"/>
                </a:lnTo>
                <a:lnTo>
                  <a:pt x="23471" y="21976"/>
                </a:lnTo>
                <a:lnTo>
                  <a:pt x="20609" y="18226"/>
                </a:lnTo>
                <a:lnTo>
                  <a:pt x="23471" y="14471"/>
                </a:lnTo>
                <a:lnTo>
                  <a:pt x="23471" y="4293"/>
                </a:lnTo>
                <a:lnTo>
                  <a:pt x="18321" y="0"/>
                </a:lnTo>
                <a:lnTo>
                  <a:pt x="4863" y="0"/>
                </a:lnTo>
                <a:lnTo>
                  <a:pt x="0" y="4293"/>
                </a:lnTo>
                <a:lnTo>
                  <a:pt x="0" y="14471"/>
                </a:lnTo>
                <a:lnTo>
                  <a:pt x="2862" y="18226"/>
                </a:lnTo>
                <a:lnTo>
                  <a:pt x="0" y="21976"/>
                </a:lnTo>
                <a:lnTo>
                  <a:pt x="0" y="32162"/>
                </a:lnTo>
                <a:lnTo>
                  <a:pt x="4863" y="36448"/>
                </a:lnTo>
                <a:close/>
              </a:path>
            </a:pathLst>
          </a:custGeom>
          <a:solidFill>
            <a:srgbClr val="000000"/>
          </a:solidFill>
        </p:spPr>
        <p:txBody>
          <a:bodyPr wrap="square" lIns="0" tIns="0" rIns="0" bIns="0" rtlCol="0">
            <a:noAutofit/>
          </a:bodyPr>
          <a:lstStyle/>
          <a:p>
            <a:endParaRPr/>
          </a:p>
        </p:txBody>
      </p:sp>
      <p:sp>
        <p:nvSpPr>
          <p:cNvPr id="343" name="object 343"/>
          <p:cNvSpPr/>
          <p:nvPr/>
        </p:nvSpPr>
        <p:spPr>
          <a:xfrm>
            <a:off x="3227463" y="4186056"/>
            <a:ext cx="23755" cy="36448"/>
          </a:xfrm>
          <a:custGeom>
            <a:avLst/>
            <a:gdLst/>
            <a:ahLst/>
            <a:cxnLst/>
            <a:rect l="l" t="t" r="r" b="b"/>
            <a:pathLst>
              <a:path w="23755" h="36448">
                <a:moveTo>
                  <a:pt x="0" y="4293"/>
                </a:moveTo>
                <a:lnTo>
                  <a:pt x="0" y="18226"/>
                </a:lnTo>
                <a:lnTo>
                  <a:pt x="7437" y="22780"/>
                </a:lnTo>
                <a:lnTo>
                  <a:pt x="14600" y="22780"/>
                </a:lnTo>
                <a:lnTo>
                  <a:pt x="14600" y="15275"/>
                </a:lnTo>
                <a:lnTo>
                  <a:pt x="9450" y="15275"/>
                </a:lnTo>
                <a:lnTo>
                  <a:pt x="9450" y="6168"/>
                </a:lnTo>
                <a:lnTo>
                  <a:pt x="14600" y="6168"/>
                </a:lnTo>
                <a:lnTo>
                  <a:pt x="16601" y="36448"/>
                </a:lnTo>
                <a:lnTo>
                  <a:pt x="23755" y="32162"/>
                </a:lnTo>
                <a:lnTo>
                  <a:pt x="23755" y="4293"/>
                </a:lnTo>
                <a:lnTo>
                  <a:pt x="16601" y="0"/>
                </a:lnTo>
                <a:lnTo>
                  <a:pt x="7437" y="0"/>
                </a:lnTo>
                <a:lnTo>
                  <a:pt x="0" y="4293"/>
                </a:lnTo>
                <a:close/>
              </a:path>
            </a:pathLst>
          </a:custGeom>
          <a:solidFill>
            <a:srgbClr val="000000"/>
          </a:solidFill>
        </p:spPr>
        <p:txBody>
          <a:bodyPr wrap="square" lIns="0" tIns="0" rIns="0" bIns="0" rtlCol="0">
            <a:noAutofit/>
          </a:bodyPr>
          <a:lstStyle/>
          <a:p>
            <a:endParaRPr/>
          </a:p>
        </p:txBody>
      </p:sp>
      <p:sp>
        <p:nvSpPr>
          <p:cNvPr id="344" name="object 344"/>
          <p:cNvSpPr/>
          <p:nvPr/>
        </p:nvSpPr>
        <p:spPr>
          <a:xfrm>
            <a:off x="3227463" y="4192226"/>
            <a:ext cx="16601" cy="30279"/>
          </a:xfrm>
          <a:custGeom>
            <a:avLst/>
            <a:gdLst/>
            <a:ahLst/>
            <a:cxnLst/>
            <a:rect l="l" t="t" r="r" b="b"/>
            <a:pathLst>
              <a:path w="16601" h="30279">
                <a:moveTo>
                  <a:pt x="14600" y="16611"/>
                </a:moveTo>
                <a:lnTo>
                  <a:pt x="14600" y="23039"/>
                </a:lnTo>
                <a:lnTo>
                  <a:pt x="9450" y="23039"/>
                </a:lnTo>
                <a:lnTo>
                  <a:pt x="9450" y="19290"/>
                </a:lnTo>
                <a:lnTo>
                  <a:pt x="0" y="19290"/>
                </a:lnTo>
                <a:lnTo>
                  <a:pt x="0" y="25994"/>
                </a:lnTo>
                <a:lnTo>
                  <a:pt x="7437" y="30279"/>
                </a:lnTo>
                <a:lnTo>
                  <a:pt x="16601" y="30279"/>
                </a:lnTo>
                <a:lnTo>
                  <a:pt x="14600" y="0"/>
                </a:lnTo>
                <a:lnTo>
                  <a:pt x="14600" y="16611"/>
                </a:lnTo>
                <a:close/>
              </a:path>
            </a:pathLst>
          </a:custGeom>
          <a:solidFill>
            <a:srgbClr val="000000"/>
          </a:solidFill>
        </p:spPr>
        <p:txBody>
          <a:bodyPr wrap="square" lIns="0" tIns="0" rIns="0" bIns="0" rtlCol="0">
            <a:noAutofit/>
          </a:bodyPr>
          <a:lstStyle/>
          <a:p>
            <a:endParaRPr/>
          </a:p>
        </p:txBody>
      </p:sp>
      <p:sp>
        <p:nvSpPr>
          <p:cNvPr id="345" name="object 345"/>
          <p:cNvSpPr/>
          <p:nvPr/>
        </p:nvSpPr>
        <p:spPr>
          <a:xfrm>
            <a:off x="3364858" y="4186056"/>
            <a:ext cx="16314" cy="36448"/>
          </a:xfrm>
          <a:custGeom>
            <a:avLst/>
            <a:gdLst/>
            <a:ahLst/>
            <a:cxnLst/>
            <a:rect l="l" t="t" r="r" b="b"/>
            <a:pathLst>
              <a:path w="16314" h="36448">
                <a:moveTo>
                  <a:pt x="9441" y="0"/>
                </a:moveTo>
                <a:lnTo>
                  <a:pt x="0" y="0"/>
                </a:lnTo>
                <a:lnTo>
                  <a:pt x="2001" y="7239"/>
                </a:lnTo>
                <a:lnTo>
                  <a:pt x="7151" y="7239"/>
                </a:lnTo>
                <a:lnTo>
                  <a:pt x="7151" y="29208"/>
                </a:lnTo>
                <a:lnTo>
                  <a:pt x="9441" y="36448"/>
                </a:lnTo>
                <a:lnTo>
                  <a:pt x="16314" y="31083"/>
                </a:lnTo>
                <a:lnTo>
                  <a:pt x="16314" y="5364"/>
                </a:lnTo>
                <a:lnTo>
                  <a:pt x="9441" y="0"/>
                </a:lnTo>
                <a:close/>
              </a:path>
            </a:pathLst>
          </a:custGeom>
          <a:solidFill>
            <a:srgbClr val="000000"/>
          </a:solidFill>
        </p:spPr>
        <p:txBody>
          <a:bodyPr wrap="square" lIns="0" tIns="0" rIns="0" bIns="0" rtlCol="0">
            <a:noAutofit/>
          </a:bodyPr>
          <a:lstStyle/>
          <a:p>
            <a:endParaRPr/>
          </a:p>
        </p:txBody>
      </p:sp>
      <p:sp>
        <p:nvSpPr>
          <p:cNvPr id="346" name="object 346"/>
          <p:cNvSpPr/>
          <p:nvPr/>
        </p:nvSpPr>
        <p:spPr>
          <a:xfrm>
            <a:off x="3357695" y="4186056"/>
            <a:ext cx="16604" cy="36448"/>
          </a:xfrm>
          <a:custGeom>
            <a:avLst/>
            <a:gdLst/>
            <a:ahLst/>
            <a:cxnLst/>
            <a:rect l="l" t="t" r="r" b="b"/>
            <a:pathLst>
              <a:path w="16604" h="36448">
                <a:moveTo>
                  <a:pt x="9163" y="29208"/>
                </a:moveTo>
                <a:lnTo>
                  <a:pt x="9163" y="7239"/>
                </a:lnTo>
                <a:lnTo>
                  <a:pt x="7162" y="0"/>
                </a:lnTo>
                <a:lnTo>
                  <a:pt x="0" y="5364"/>
                </a:lnTo>
                <a:lnTo>
                  <a:pt x="0" y="31083"/>
                </a:lnTo>
                <a:lnTo>
                  <a:pt x="7162" y="36448"/>
                </a:lnTo>
                <a:lnTo>
                  <a:pt x="16604" y="36448"/>
                </a:lnTo>
                <a:lnTo>
                  <a:pt x="14313" y="29208"/>
                </a:lnTo>
                <a:lnTo>
                  <a:pt x="9163" y="29208"/>
                </a:lnTo>
                <a:close/>
              </a:path>
            </a:pathLst>
          </a:custGeom>
          <a:solidFill>
            <a:srgbClr val="000000"/>
          </a:solidFill>
        </p:spPr>
        <p:txBody>
          <a:bodyPr wrap="square" lIns="0" tIns="0" rIns="0" bIns="0" rtlCol="0">
            <a:noAutofit/>
          </a:bodyPr>
          <a:lstStyle/>
          <a:p>
            <a:endParaRPr/>
          </a:p>
        </p:txBody>
      </p:sp>
      <p:sp>
        <p:nvSpPr>
          <p:cNvPr id="347" name="object 347"/>
          <p:cNvSpPr/>
          <p:nvPr/>
        </p:nvSpPr>
        <p:spPr>
          <a:xfrm>
            <a:off x="3339097" y="4186056"/>
            <a:ext cx="15453" cy="36448"/>
          </a:xfrm>
          <a:custGeom>
            <a:avLst/>
            <a:gdLst/>
            <a:ahLst/>
            <a:cxnLst/>
            <a:rect l="l" t="t" r="r" b="b"/>
            <a:pathLst>
              <a:path w="15453" h="36448">
                <a:moveTo>
                  <a:pt x="5439" y="7239"/>
                </a:moveTo>
                <a:lnTo>
                  <a:pt x="5439" y="36448"/>
                </a:lnTo>
                <a:lnTo>
                  <a:pt x="15453" y="36448"/>
                </a:lnTo>
                <a:lnTo>
                  <a:pt x="15453" y="0"/>
                </a:lnTo>
                <a:lnTo>
                  <a:pt x="2003" y="0"/>
                </a:lnTo>
                <a:lnTo>
                  <a:pt x="0" y="7239"/>
                </a:lnTo>
                <a:lnTo>
                  <a:pt x="5439" y="7239"/>
                </a:lnTo>
                <a:close/>
              </a:path>
            </a:pathLst>
          </a:custGeom>
          <a:solidFill>
            <a:srgbClr val="000000"/>
          </a:solidFill>
        </p:spPr>
        <p:txBody>
          <a:bodyPr wrap="square" lIns="0" tIns="0" rIns="0" bIns="0" rtlCol="0">
            <a:noAutofit/>
          </a:bodyPr>
          <a:lstStyle/>
          <a:p>
            <a:endParaRPr/>
          </a:p>
        </p:txBody>
      </p:sp>
      <p:sp>
        <p:nvSpPr>
          <p:cNvPr id="348" name="object 348"/>
          <p:cNvSpPr/>
          <p:nvPr/>
        </p:nvSpPr>
        <p:spPr>
          <a:xfrm>
            <a:off x="3451014" y="4186056"/>
            <a:ext cx="14313" cy="36448"/>
          </a:xfrm>
          <a:custGeom>
            <a:avLst/>
            <a:gdLst/>
            <a:ahLst/>
            <a:cxnLst/>
            <a:rect l="l" t="t" r="r" b="b"/>
            <a:pathLst>
              <a:path w="14313" h="36448">
                <a:moveTo>
                  <a:pt x="5436" y="7239"/>
                </a:moveTo>
                <a:lnTo>
                  <a:pt x="5436" y="36448"/>
                </a:lnTo>
                <a:lnTo>
                  <a:pt x="14313" y="36448"/>
                </a:lnTo>
                <a:lnTo>
                  <a:pt x="14313" y="0"/>
                </a:lnTo>
                <a:lnTo>
                  <a:pt x="2001" y="0"/>
                </a:lnTo>
                <a:lnTo>
                  <a:pt x="0" y="7239"/>
                </a:lnTo>
                <a:lnTo>
                  <a:pt x="5436" y="7239"/>
                </a:lnTo>
                <a:close/>
              </a:path>
            </a:pathLst>
          </a:custGeom>
          <a:solidFill>
            <a:srgbClr val="000000"/>
          </a:solidFill>
        </p:spPr>
        <p:txBody>
          <a:bodyPr wrap="square" lIns="0" tIns="0" rIns="0" bIns="0" rtlCol="0">
            <a:noAutofit/>
          </a:bodyPr>
          <a:lstStyle/>
          <a:p>
            <a:endParaRPr/>
          </a:p>
        </p:txBody>
      </p:sp>
      <p:sp>
        <p:nvSpPr>
          <p:cNvPr id="349" name="object 349"/>
          <p:cNvSpPr/>
          <p:nvPr/>
        </p:nvSpPr>
        <p:spPr>
          <a:xfrm>
            <a:off x="3468473" y="4186056"/>
            <a:ext cx="15458" cy="36448"/>
          </a:xfrm>
          <a:custGeom>
            <a:avLst/>
            <a:gdLst/>
            <a:ahLst/>
            <a:cxnLst/>
            <a:rect l="l" t="t" r="r" b="b"/>
            <a:pathLst>
              <a:path w="15458" h="36448">
                <a:moveTo>
                  <a:pt x="5722" y="7239"/>
                </a:moveTo>
                <a:lnTo>
                  <a:pt x="5722" y="36448"/>
                </a:lnTo>
                <a:lnTo>
                  <a:pt x="15458" y="36448"/>
                </a:lnTo>
                <a:lnTo>
                  <a:pt x="15458" y="0"/>
                </a:lnTo>
                <a:lnTo>
                  <a:pt x="2003" y="0"/>
                </a:lnTo>
                <a:lnTo>
                  <a:pt x="0" y="7239"/>
                </a:lnTo>
                <a:lnTo>
                  <a:pt x="5722" y="7239"/>
                </a:lnTo>
                <a:close/>
              </a:path>
            </a:pathLst>
          </a:custGeom>
          <a:solidFill>
            <a:srgbClr val="000000"/>
          </a:solidFill>
        </p:spPr>
        <p:txBody>
          <a:bodyPr wrap="square" lIns="0" tIns="0" rIns="0" bIns="0" rtlCol="0">
            <a:noAutofit/>
          </a:bodyPr>
          <a:lstStyle/>
          <a:p>
            <a:endParaRPr/>
          </a:p>
        </p:txBody>
      </p:sp>
      <p:sp>
        <p:nvSpPr>
          <p:cNvPr id="350" name="object 350"/>
          <p:cNvSpPr/>
          <p:nvPr/>
        </p:nvSpPr>
        <p:spPr>
          <a:xfrm>
            <a:off x="2780359" y="4260017"/>
            <a:ext cx="15458" cy="36177"/>
          </a:xfrm>
          <a:custGeom>
            <a:avLst/>
            <a:gdLst/>
            <a:ahLst/>
            <a:cxnLst/>
            <a:rect l="l" t="t" r="r" b="b"/>
            <a:pathLst>
              <a:path w="15458" h="36177">
                <a:moveTo>
                  <a:pt x="5443" y="7237"/>
                </a:moveTo>
                <a:lnTo>
                  <a:pt x="5443" y="36177"/>
                </a:lnTo>
                <a:lnTo>
                  <a:pt x="15458" y="36177"/>
                </a:lnTo>
                <a:lnTo>
                  <a:pt x="15458" y="0"/>
                </a:lnTo>
                <a:lnTo>
                  <a:pt x="2010" y="0"/>
                </a:lnTo>
                <a:lnTo>
                  <a:pt x="0" y="7237"/>
                </a:lnTo>
                <a:lnTo>
                  <a:pt x="5443" y="7237"/>
                </a:lnTo>
                <a:close/>
              </a:path>
            </a:pathLst>
          </a:custGeom>
          <a:solidFill>
            <a:srgbClr val="000000"/>
          </a:solidFill>
        </p:spPr>
        <p:txBody>
          <a:bodyPr wrap="square" lIns="0" tIns="0" rIns="0" bIns="0" rtlCol="0">
            <a:noAutofit/>
          </a:bodyPr>
          <a:lstStyle/>
          <a:p>
            <a:endParaRPr/>
          </a:p>
        </p:txBody>
      </p:sp>
      <p:sp>
        <p:nvSpPr>
          <p:cNvPr id="351" name="object 351"/>
          <p:cNvSpPr/>
          <p:nvPr/>
        </p:nvSpPr>
        <p:spPr>
          <a:xfrm>
            <a:off x="2798393" y="4260017"/>
            <a:ext cx="23469" cy="36177"/>
          </a:xfrm>
          <a:custGeom>
            <a:avLst/>
            <a:gdLst/>
            <a:ahLst/>
            <a:cxnLst/>
            <a:rect l="l" t="t" r="r" b="b"/>
            <a:pathLst>
              <a:path w="23469" h="36177">
                <a:moveTo>
                  <a:pt x="0" y="36177"/>
                </a:moveTo>
                <a:lnTo>
                  <a:pt x="23469" y="36177"/>
                </a:lnTo>
                <a:lnTo>
                  <a:pt x="23469" y="30011"/>
                </a:lnTo>
                <a:lnTo>
                  <a:pt x="10022" y="30011"/>
                </a:lnTo>
                <a:lnTo>
                  <a:pt x="23469" y="14468"/>
                </a:lnTo>
                <a:lnTo>
                  <a:pt x="23469" y="4290"/>
                </a:lnTo>
                <a:lnTo>
                  <a:pt x="16318" y="0"/>
                </a:lnTo>
                <a:lnTo>
                  <a:pt x="6873" y="0"/>
                </a:lnTo>
                <a:lnTo>
                  <a:pt x="0" y="4290"/>
                </a:lnTo>
                <a:lnTo>
                  <a:pt x="0" y="10719"/>
                </a:lnTo>
                <a:lnTo>
                  <a:pt x="9164" y="10719"/>
                </a:lnTo>
                <a:lnTo>
                  <a:pt x="9164" y="7237"/>
                </a:lnTo>
                <a:lnTo>
                  <a:pt x="14314" y="7237"/>
                </a:lnTo>
                <a:lnTo>
                  <a:pt x="14314" y="12861"/>
                </a:lnTo>
                <a:lnTo>
                  <a:pt x="0" y="30011"/>
                </a:lnTo>
                <a:lnTo>
                  <a:pt x="0" y="36177"/>
                </a:lnTo>
                <a:close/>
              </a:path>
            </a:pathLst>
          </a:custGeom>
          <a:solidFill>
            <a:srgbClr val="000000"/>
          </a:solidFill>
        </p:spPr>
        <p:txBody>
          <a:bodyPr wrap="square" lIns="0" tIns="0" rIns="0" bIns="0" rtlCol="0">
            <a:noAutofit/>
          </a:bodyPr>
          <a:lstStyle/>
          <a:p>
            <a:endParaRPr/>
          </a:p>
        </p:txBody>
      </p:sp>
      <p:sp>
        <p:nvSpPr>
          <p:cNvPr id="352" name="object 352"/>
          <p:cNvSpPr/>
          <p:nvPr/>
        </p:nvSpPr>
        <p:spPr>
          <a:xfrm>
            <a:off x="2890279" y="4260017"/>
            <a:ext cx="15456" cy="36177"/>
          </a:xfrm>
          <a:custGeom>
            <a:avLst/>
            <a:gdLst/>
            <a:ahLst/>
            <a:cxnLst/>
            <a:rect l="l" t="t" r="r" b="b"/>
            <a:pathLst>
              <a:path w="15456" h="36177">
                <a:moveTo>
                  <a:pt x="5436" y="7237"/>
                </a:moveTo>
                <a:lnTo>
                  <a:pt x="5436" y="36177"/>
                </a:lnTo>
                <a:lnTo>
                  <a:pt x="15456" y="36177"/>
                </a:lnTo>
                <a:lnTo>
                  <a:pt x="15456" y="0"/>
                </a:lnTo>
                <a:lnTo>
                  <a:pt x="2001" y="0"/>
                </a:lnTo>
                <a:lnTo>
                  <a:pt x="0" y="7237"/>
                </a:lnTo>
                <a:lnTo>
                  <a:pt x="5436" y="7237"/>
                </a:lnTo>
                <a:close/>
              </a:path>
            </a:pathLst>
          </a:custGeom>
          <a:solidFill>
            <a:srgbClr val="000000"/>
          </a:solidFill>
        </p:spPr>
        <p:txBody>
          <a:bodyPr wrap="square" lIns="0" tIns="0" rIns="0" bIns="0" rtlCol="0">
            <a:noAutofit/>
          </a:bodyPr>
          <a:lstStyle/>
          <a:p>
            <a:endParaRPr/>
          </a:p>
        </p:txBody>
      </p:sp>
      <p:sp>
        <p:nvSpPr>
          <p:cNvPr id="353" name="object 353"/>
          <p:cNvSpPr/>
          <p:nvPr/>
        </p:nvSpPr>
        <p:spPr>
          <a:xfrm>
            <a:off x="2906595" y="4260017"/>
            <a:ext cx="23471" cy="36177"/>
          </a:xfrm>
          <a:custGeom>
            <a:avLst/>
            <a:gdLst/>
            <a:ahLst/>
            <a:cxnLst/>
            <a:rect l="l" t="t" r="r" b="b"/>
            <a:pathLst>
              <a:path w="23471" h="36177">
                <a:moveTo>
                  <a:pt x="14308" y="21708"/>
                </a:moveTo>
                <a:lnTo>
                  <a:pt x="14308" y="30011"/>
                </a:lnTo>
                <a:lnTo>
                  <a:pt x="8299" y="30011"/>
                </a:lnTo>
                <a:lnTo>
                  <a:pt x="8299" y="25994"/>
                </a:lnTo>
                <a:lnTo>
                  <a:pt x="0" y="25994"/>
                </a:lnTo>
                <a:lnTo>
                  <a:pt x="0" y="31624"/>
                </a:lnTo>
                <a:lnTo>
                  <a:pt x="6295" y="36177"/>
                </a:lnTo>
                <a:lnTo>
                  <a:pt x="16312" y="36177"/>
                </a:lnTo>
                <a:lnTo>
                  <a:pt x="23471" y="31624"/>
                </a:lnTo>
                <a:lnTo>
                  <a:pt x="23471" y="21708"/>
                </a:lnTo>
                <a:lnTo>
                  <a:pt x="19750" y="18226"/>
                </a:lnTo>
                <a:lnTo>
                  <a:pt x="23471" y="14468"/>
                </a:lnTo>
                <a:lnTo>
                  <a:pt x="23471" y="4290"/>
                </a:lnTo>
                <a:lnTo>
                  <a:pt x="16312" y="0"/>
                </a:lnTo>
                <a:lnTo>
                  <a:pt x="6295" y="0"/>
                </a:lnTo>
                <a:lnTo>
                  <a:pt x="0" y="4290"/>
                </a:lnTo>
                <a:lnTo>
                  <a:pt x="0" y="9915"/>
                </a:lnTo>
                <a:lnTo>
                  <a:pt x="8299" y="9915"/>
                </a:lnTo>
                <a:lnTo>
                  <a:pt x="8299" y="6165"/>
                </a:lnTo>
                <a:lnTo>
                  <a:pt x="14308" y="6165"/>
                </a:lnTo>
                <a:lnTo>
                  <a:pt x="14308" y="14468"/>
                </a:lnTo>
                <a:lnTo>
                  <a:pt x="8299" y="14468"/>
                </a:lnTo>
                <a:lnTo>
                  <a:pt x="8299" y="21708"/>
                </a:lnTo>
                <a:lnTo>
                  <a:pt x="14308" y="21708"/>
                </a:lnTo>
                <a:close/>
              </a:path>
            </a:pathLst>
          </a:custGeom>
          <a:solidFill>
            <a:srgbClr val="000000"/>
          </a:solidFill>
        </p:spPr>
        <p:txBody>
          <a:bodyPr wrap="square" lIns="0" tIns="0" rIns="0" bIns="0" rtlCol="0">
            <a:noAutofit/>
          </a:bodyPr>
          <a:lstStyle/>
          <a:p>
            <a:endParaRPr/>
          </a:p>
        </p:txBody>
      </p:sp>
      <p:sp>
        <p:nvSpPr>
          <p:cNvPr id="354" name="object 354"/>
          <p:cNvSpPr/>
          <p:nvPr/>
        </p:nvSpPr>
        <p:spPr>
          <a:xfrm>
            <a:off x="3002480" y="4260017"/>
            <a:ext cx="15458" cy="36177"/>
          </a:xfrm>
          <a:custGeom>
            <a:avLst/>
            <a:gdLst/>
            <a:ahLst/>
            <a:cxnLst/>
            <a:rect l="l" t="t" r="r" b="b"/>
            <a:pathLst>
              <a:path w="15458" h="36177">
                <a:moveTo>
                  <a:pt x="5442" y="7237"/>
                </a:moveTo>
                <a:lnTo>
                  <a:pt x="5442" y="36177"/>
                </a:lnTo>
                <a:lnTo>
                  <a:pt x="15458" y="36177"/>
                </a:lnTo>
                <a:lnTo>
                  <a:pt x="15458" y="0"/>
                </a:lnTo>
                <a:lnTo>
                  <a:pt x="2001" y="0"/>
                </a:lnTo>
                <a:lnTo>
                  <a:pt x="0" y="7237"/>
                </a:lnTo>
                <a:lnTo>
                  <a:pt x="5442" y="7237"/>
                </a:lnTo>
                <a:close/>
              </a:path>
            </a:pathLst>
          </a:custGeom>
          <a:solidFill>
            <a:srgbClr val="000000"/>
          </a:solidFill>
        </p:spPr>
        <p:txBody>
          <a:bodyPr wrap="square" lIns="0" tIns="0" rIns="0" bIns="0" rtlCol="0">
            <a:noAutofit/>
          </a:bodyPr>
          <a:lstStyle/>
          <a:p>
            <a:endParaRPr/>
          </a:p>
        </p:txBody>
      </p:sp>
      <p:sp>
        <p:nvSpPr>
          <p:cNvPr id="355" name="object 355"/>
          <p:cNvSpPr/>
          <p:nvPr/>
        </p:nvSpPr>
        <p:spPr>
          <a:xfrm>
            <a:off x="3017081" y="4260017"/>
            <a:ext cx="26331" cy="36177"/>
          </a:xfrm>
          <a:custGeom>
            <a:avLst/>
            <a:gdLst/>
            <a:ahLst/>
            <a:cxnLst/>
            <a:rect l="l" t="t" r="r" b="b"/>
            <a:pathLst>
              <a:path w="26331" h="36177">
                <a:moveTo>
                  <a:pt x="0" y="30011"/>
                </a:moveTo>
                <a:lnTo>
                  <a:pt x="15172" y="30011"/>
                </a:lnTo>
                <a:lnTo>
                  <a:pt x="10013" y="21708"/>
                </a:lnTo>
                <a:lnTo>
                  <a:pt x="15172" y="13665"/>
                </a:lnTo>
                <a:lnTo>
                  <a:pt x="15172" y="21708"/>
                </a:lnTo>
                <a:lnTo>
                  <a:pt x="10013" y="21708"/>
                </a:lnTo>
                <a:lnTo>
                  <a:pt x="15172" y="30011"/>
                </a:lnTo>
                <a:lnTo>
                  <a:pt x="15172" y="36177"/>
                </a:lnTo>
                <a:lnTo>
                  <a:pt x="24327" y="36177"/>
                </a:lnTo>
                <a:lnTo>
                  <a:pt x="24327" y="30011"/>
                </a:lnTo>
                <a:lnTo>
                  <a:pt x="26331" y="30011"/>
                </a:lnTo>
                <a:lnTo>
                  <a:pt x="26331" y="21708"/>
                </a:lnTo>
                <a:lnTo>
                  <a:pt x="24327" y="21708"/>
                </a:lnTo>
                <a:lnTo>
                  <a:pt x="24327" y="0"/>
                </a:lnTo>
                <a:lnTo>
                  <a:pt x="15172" y="0"/>
                </a:lnTo>
                <a:lnTo>
                  <a:pt x="0" y="21708"/>
                </a:lnTo>
                <a:lnTo>
                  <a:pt x="0" y="30011"/>
                </a:lnTo>
                <a:close/>
              </a:path>
            </a:pathLst>
          </a:custGeom>
          <a:solidFill>
            <a:srgbClr val="000000"/>
          </a:solidFill>
        </p:spPr>
        <p:txBody>
          <a:bodyPr wrap="square" lIns="0" tIns="0" rIns="0" bIns="0" rtlCol="0">
            <a:noAutofit/>
          </a:bodyPr>
          <a:lstStyle/>
          <a:p>
            <a:endParaRPr/>
          </a:p>
        </p:txBody>
      </p:sp>
      <p:sp>
        <p:nvSpPr>
          <p:cNvPr id="356" name="object 356"/>
          <p:cNvSpPr/>
          <p:nvPr/>
        </p:nvSpPr>
        <p:spPr>
          <a:xfrm>
            <a:off x="3113830" y="4260017"/>
            <a:ext cx="15164" cy="36177"/>
          </a:xfrm>
          <a:custGeom>
            <a:avLst/>
            <a:gdLst/>
            <a:ahLst/>
            <a:cxnLst/>
            <a:rect l="l" t="t" r="r" b="b"/>
            <a:pathLst>
              <a:path w="15164" h="36177">
                <a:moveTo>
                  <a:pt x="5150" y="7237"/>
                </a:moveTo>
                <a:lnTo>
                  <a:pt x="5150" y="36177"/>
                </a:lnTo>
                <a:lnTo>
                  <a:pt x="15164" y="36177"/>
                </a:lnTo>
                <a:lnTo>
                  <a:pt x="15164" y="0"/>
                </a:lnTo>
                <a:lnTo>
                  <a:pt x="2001" y="0"/>
                </a:lnTo>
                <a:lnTo>
                  <a:pt x="0" y="7237"/>
                </a:lnTo>
                <a:lnTo>
                  <a:pt x="5150" y="7237"/>
                </a:lnTo>
                <a:close/>
              </a:path>
            </a:pathLst>
          </a:custGeom>
          <a:solidFill>
            <a:srgbClr val="000000"/>
          </a:solidFill>
        </p:spPr>
        <p:txBody>
          <a:bodyPr wrap="square" lIns="0" tIns="0" rIns="0" bIns="0" rtlCol="0">
            <a:noAutofit/>
          </a:bodyPr>
          <a:lstStyle/>
          <a:p>
            <a:endParaRPr/>
          </a:p>
        </p:txBody>
      </p:sp>
      <p:sp>
        <p:nvSpPr>
          <p:cNvPr id="357" name="object 357"/>
          <p:cNvSpPr/>
          <p:nvPr/>
        </p:nvSpPr>
        <p:spPr>
          <a:xfrm>
            <a:off x="3131863" y="4260017"/>
            <a:ext cx="24614" cy="36177"/>
          </a:xfrm>
          <a:custGeom>
            <a:avLst/>
            <a:gdLst/>
            <a:ahLst/>
            <a:cxnLst/>
            <a:rect l="l" t="t" r="r" b="b"/>
            <a:pathLst>
              <a:path w="24614" h="36177">
                <a:moveTo>
                  <a:pt x="15164" y="19030"/>
                </a:moveTo>
                <a:lnTo>
                  <a:pt x="15164" y="30011"/>
                </a:lnTo>
                <a:lnTo>
                  <a:pt x="9158" y="30011"/>
                </a:lnTo>
                <a:lnTo>
                  <a:pt x="9158" y="24119"/>
                </a:lnTo>
                <a:lnTo>
                  <a:pt x="0" y="24119"/>
                </a:lnTo>
                <a:lnTo>
                  <a:pt x="0" y="30815"/>
                </a:lnTo>
                <a:lnTo>
                  <a:pt x="7154" y="36177"/>
                </a:lnTo>
                <a:lnTo>
                  <a:pt x="17454" y="36177"/>
                </a:lnTo>
                <a:lnTo>
                  <a:pt x="24614" y="30815"/>
                </a:lnTo>
                <a:lnTo>
                  <a:pt x="24614" y="18226"/>
                </a:lnTo>
                <a:lnTo>
                  <a:pt x="17454" y="12861"/>
                </a:lnTo>
                <a:lnTo>
                  <a:pt x="9158" y="12861"/>
                </a:lnTo>
                <a:lnTo>
                  <a:pt x="9158" y="7237"/>
                </a:lnTo>
                <a:lnTo>
                  <a:pt x="23758" y="7237"/>
                </a:lnTo>
                <a:lnTo>
                  <a:pt x="23758" y="0"/>
                </a:lnTo>
                <a:lnTo>
                  <a:pt x="0" y="0"/>
                </a:lnTo>
                <a:lnTo>
                  <a:pt x="0" y="13665"/>
                </a:lnTo>
                <a:lnTo>
                  <a:pt x="7154" y="19030"/>
                </a:lnTo>
                <a:lnTo>
                  <a:pt x="15164" y="19030"/>
                </a:lnTo>
                <a:close/>
              </a:path>
            </a:pathLst>
          </a:custGeom>
          <a:solidFill>
            <a:srgbClr val="000000"/>
          </a:solidFill>
        </p:spPr>
        <p:txBody>
          <a:bodyPr wrap="square" lIns="0" tIns="0" rIns="0" bIns="0" rtlCol="0">
            <a:noAutofit/>
          </a:bodyPr>
          <a:lstStyle/>
          <a:p>
            <a:endParaRPr/>
          </a:p>
        </p:txBody>
      </p:sp>
      <p:sp>
        <p:nvSpPr>
          <p:cNvPr id="358" name="object 358"/>
          <p:cNvSpPr/>
          <p:nvPr/>
        </p:nvSpPr>
        <p:spPr>
          <a:xfrm>
            <a:off x="3225458" y="4260017"/>
            <a:ext cx="15172" cy="36177"/>
          </a:xfrm>
          <a:custGeom>
            <a:avLst/>
            <a:gdLst/>
            <a:ahLst/>
            <a:cxnLst/>
            <a:rect l="l" t="t" r="r" b="b"/>
            <a:pathLst>
              <a:path w="15172" h="36177">
                <a:moveTo>
                  <a:pt x="5436" y="7237"/>
                </a:moveTo>
                <a:lnTo>
                  <a:pt x="5436" y="36177"/>
                </a:lnTo>
                <a:lnTo>
                  <a:pt x="15172" y="36177"/>
                </a:lnTo>
                <a:lnTo>
                  <a:pt x="15172" y="0"/>
                </a:lnTo>
                <a:lnTo>
                  <a:pt x="2003" y="0"/>
                </a:lnTo>
                <a:lnTo>
                  <a:pt x="0" y="7237"/>
                </a:lnTo>
                <a:lnTo>
                  <a:pt x="5436" y="7237"/>
                </a:lnTo>
                <a:close/>
              </a:path>
            </a:pathLst>
          </a:custGeom>
          <a:solidFill>
            <a:srgbClr val="000000"/>
          </a:solidFill>
        </p:spPr>
        <p:txBody>
          <a:bodyPr wrap="square" lIns="0" tIns="0" rIns="0" bIns="0" rtlCol="0">
            <a:noAutofit/>
          </a:bodyPr>
          <a:lstStyle/>
          <a:p>
            <a:endParaRPr/>
          </a:p>
        </p:txBody>
      </p:sp>
      <p:sp>
        <p:nvSpPr>
          <p:cNvPr id="359" name="object 359"/>
          <p:cNvSpPr/>
          <p:nvPr/>
        </p:nvSpPr>
        <p:spPr>
          <a:xfrm>
            <a:off x="3253222" y="4267253"/>
            <a:ext cx="14027" cy="28940"/>
          </a:xfrm>
          <a:custGeom>
            <a:avLst/>
            <a:gdLst/>
            <a:ahLst/>
            <a:cxnLst/>
            <a:rect l="l" t="t" r="r" b="b"/>
            <a:pathLst>
              <a:path w="14027" h="28940">
                <a:moveTo>
                  <a:pt x="0" y="0"/>
                </a:moveTo>
                <a:lnTo>
                  <a:pt x="0" y="13400"/>
                </a:lnTo>
                <a:lnTo>
                  <a:pt x="4869" y="13400"/>
                </a:lnTo>
                <a:lnTo>
                  <a:pt x="6873" y="28940"/>
                </a:lnTo>
                <a:lnTo>
                  <a:pt x="14027" y="24654"/>
                </a:lnTo>
                <a:lnTo>
                  <a:pt x="14027" y="10989"/>
                </a:lnTo>
                <a:lnTo>
                  <a:pt x="6873" y="6428"/>
                </a:lnTo>
                <a:lnTo>
                  <a:pt x="0" y="6428"/>
                </a:lnTo>
                <a:lnTo>
                  <a:pt x="0" y="0"/>
                </a:lnTo>
                <a:close/>
              </a:path>
            </a:pathLst>
          </a:custGeom>
          <a:solidFill>
            <a:srgbClr val="000000"/>
          </a:solidFill>
        </p:spPr>
        <p:txBody>
          <a:bodyPr wrap="square" lIns="0" tIns="0" rIns="0" bIns="0" rtlCol="0">
            <a:noAutofit/>
          </a:bodyPr>
          <a:lstStyle/>
          <a:p>
            <a:endParaRPr/>
          </a:p>
        </p:txBody>
      </p:sp>
      <p:sp>
        <p:nvSpPr>
          <p:cNvPr id="360" name="object 360"/>
          <p:cNvSpPr/>
          <p:nvPr/>
        </p:nvSpPr>
        <p:spPr>
          <a:xfrm>
            <a:off x="3244064" y="4260017"/>
            <a:ext cx="23185" cy="36177"/>
          </a:xfrm>
          <a:custGeom>
            <a:avLst/>
            <a:gdLst/>
            <a:ahLst/>
            <a:cxnLst/>
            <a:rect l="l" t="t" r="r" b="b"/>
            <a:pathLst>
              <a:path w="23185" h="36177">
                <a:moveTo>
                  <a:pt x="14027" y="10986"/>
                </a:moveTo>
                <a:lnTo>
                  <a:pt x="23185" y="10986"/>
                </a:lnTo>
                <a:lnTo>
                  <a:pt x="23185" y="4290"/>
                </a:lnTo>
                <a:lnTo>
                  <a:pt x="16031" y="0"/>
                </a:lnTo>
                <a:lnTo>
                  <a:pt x="7154" y="0"/>
                </a:lnTo>
                <a:lnTo>
                  <a:pt x="0" y="4290"/>
                </a:lnTo>
                <a:lnTo>
                  <a:pt x="0" y="31892"/>
                </a:lnTo>
                <a:lnTo>
                  <a:pt x="7154" y="36177"/>
                </a:lnTo>
                <a:lnTo>
                  <a:pt x="16031" y="36177"/>
                </a:lnTo>
                <a:lnTo>
                  <a:pt x="14027" y="20637"/>
                </a:lnTo>
                <a:lnTo>
                  <a:pt x="14027" y="30011"/>
                </a:lnTo>
                <a:lnTo>
                  <a:pt x="9158" y="30011"/>
                </a:lnTo>
                <a:lnTo>
                  <a:pt x="9158" y="7237"/>
                </a:lnTo>
                <a:lnTo>
                  <a:pt x="14027" y="7237"/>
                </a:lnTo>
                <a:lnTo>
                  <a:pt x="14027" y="10986"/>
                </a:lnTo>
                <a:close/>
              </a:path>
            </a:pathLst>
          </a:custGeom>
          <a:solidFill>
            <a:srgbClr val="000000"/>
          </a:solidFill>
        </p:spPr>
        <p:txBody>
          <a:bodyPr wrap="square" lIns="0" tIns="0" rIns="0" bIns="0" rtlCol="0">
            <a:noAutofit/>
          </a:bodyPr>
          <a:lstStyle/>
          <a:p>
            <a:endParaRPr/>
          </a:p>
        </p:txBody>
      </p:sp>
      <p:sp>
        <p:nvSpPr>
          <p:cNvPr id="361" name="object 361"/>
          <p:cNvSpPr/>
          <p:nvPr/>
        </p:nvSpPr>
        <p:spPr>
          <a:xfrm>
            <a:off x="3338518" y="4260017"/>
            <a:ext cx="15172" cy="36177"/>
          </a:xfrm>
          <a:custGeom>
            <a:avLst/>
            <a:gdLst/>
            <a:ahLst/>
            <a:cxnLst/>
            <a:rect l="l" t="t" r="r" b="b"/>
            <a:pathLst>
              <a:path w="15172" h="36177">
                <a:moveTo>
                  <a:pt x="5444" y="7237"/>
                </a:moveTo>
                <a:lnTo>
                  <a:pt x="5444" y="36177"/>
                </a:lnTo>
                <a:lnTo>
                  <a:pt x="15172" y="36177"/>
                </a:lnTo>
                <a:lnTo>
                  <a:pt x="15172" y="0"/>
                </a:lnTo>
                <a:lnTo>
                  <a:pt x="2009" y="0"/>
                </a:lnTo>
                <a:lnTo>
                  <a:pt x="0" y="7237"/>
                </a:lnTo>
                <a:lnTo>
                  <a:pt x="5444" y="7237"/>
                </a:lnTo>
                <a:close/>
              </a:path>
            </a:pathLst>
          </a:custGeom>
          <a:solidFill>
            <a:srgbClr val="000000"/>
          </a:solidFill>
        </p:spPr>
        <p:txBody>
          <a:bodyPr wrap="square" lIns="0" tIns="0" rIns="0" bIns="0" rtlCol="0">
            <a:noAutofit/>
          </a:bodyPr>
          <a:lstStyle/>
          <a:p>
            <a:endParaRPr/>
          </a:p>
        </p:txBody>
      </p:sp>
      <p:sp>
        <p:nvSpPr>
          <p:cNvPr id="362" name="object 362"/>
          <p:cNvSpPr/>
          <p:nvPr/>
        </p:nvSpPr>
        <p:spPr>
          <a:xfrm>
            <a:off x="3355695" y="4260017"/>
            <a:ext cx="24619" cy="36177"/>
          </a:xfrm>
          <a:custGeom>
            <a:avLst/>
            <a:gdLst/>
            <a:ahLst/>
            <a:cxnLst/>
            <a:rect l="l" t="t" r="r" b="b"/>
            <a:pathLst>
              <a:path w="24619" h="36177">
                <a:moveTo>
                  <a:pt x="14313" y="7237"/>
                </a:moveTo>
                <a:lnTo>
                  <a:pt x="0" y="36177"/>
                </a:lnTo>
                <a:lnTo>
                  <a:pt x="10305" y="36177"/>
                </a:lnTo>
                <a:lnTo>
                  <a:pt x="24619" y="7237"/>
                </a:lnTo>
                <a:lnTo>
                  <a:pt x="24619" y="0"/>
                </a:lnTo>
                <a:lnTo>
                  <a:pt x="0" y="0"/>
                </a:lnTo>
                <a:lnTo>
                  <a:pt x="0" y="7237"/>
                </a:lnTo>
                <a:lnTo>
                  <a:pt x="14313" y="7237"/>
                </a:lnTo>
                <a:close/>
              </a:path>
            </a:pathLst>
          </a:custGeom>
          <a:solidFill>
            <a:srgbClr val="000000"/>
          </a:solidFill>
        </p:spPr>
        <p:txBody>
          <a:bodyPr wrap="square" lIns="0" tIns="0" rIns="0" bIns="0" rtlCol="0">
            <a:noAutofit/>
          </a:bodyPr>
          <a:lstStyle/>
          <a:p>
            <a:endParaRPr/>
          </a:p>
        </p:txBody>
      </p:sp>
      <p:sp>
        <p:nvSpPr>
          <p:cNvPr id="363" name="object 363"/>
          <p:cNvSpPr/>
          <p:nvPr/>
        </p:nvSpPr>
        <p:spPr>
          <a:xfrm>
            <a:off x="3450154" y="4260017"/>
            <a:ext cx="14600" cy="36177"/>
          </a:xfrm>
          <a:custGeom>
            <a:avLst/>
            <a:gdLst/>
            <a:ahLst/>
            <a:cxnLst/>
            <a:rect l="l" t="t" r="r" b="b"/>
            <a:pathLst>
              <a:path w="14600" h="36177">
                <a:moveTo>
                  <a:pt x="5436" y="7237"/>
                </a:moveTo>
                <a:lnTo>
                  <a:pt x="5436" y="36177"/>
                </a:lnTo>
                <a:lnTo>
                  <a:pt x="14600" y="36177"/>
                </a:lnTo>
                <a:lnTo>
                  <a:pt x="14600" y="0"/>
                </a:lnTo>
                <a:lnTo>
                  <a:pt x="2003" y="0"/>
                </a:lnTo>
                <a:lnTo>
                  <a:pt x="0" y="7237"/>
                </a:lnTo>
                <a:lnTo>
                  <a:pt x="5436" y="7237"/>
                </a:lnTo>
                <a:close/>
              </a:path>
            </a:pathLst>
          </a:custGeom>
          <a:solidFill>
            <a:srgbClr val="000000"/>
          </a:solidFill>
        </p:spPr>
        <p:txBody>
          <a:bodyPr wrap="square" lIns="0" tIns="0" rIns="0" bIns="0" rtlCol="0">
            <a:noAutofit/>
          </a:bodyPr>
          <a:lstStyle/>
          <a:p>
            <a:endParaRPr/>
          </a:p>
        </p:txBody>
      </p:sp>
      <p:sp>
        <p:nvSpPr>
          <p:cNvPr id="364" name="object 364"/>
          <p:cNvSpPr/>
          <p:nvPr/>
        </p:nvSpPr>
        <p:spPr>
          <a:xfrm>
            <a:off x="3475341" y="4290028"/>
            <a:ext cx="9450" cy="6165"/>
          </a:xfrm>
          <a:custGeom>
            <a:avLst/>
            <a:gdLst/>
            <a:ahLst/>
            <a:cxnLst/>
            <a:rect l="l" t="t" r="r" b="b"/>
            <a:pathLst>
              <a:path w="9450" h="6165">
                <a:moveTo>
                  <a:pt x="0" y="0"/>
                </a:moveTo>
                <a:lnTo>
                  <a:pt x="9450" y="6165"/>
                </a:lnTo>
                <a:lnTo>
                  <a:pt x="5150" y="0"/>
                </a:lnTo>
                <a:lnTo>
                  <a:pt x="0" y="0"/>
                </a:lnTo>
                <a:close/>
              </a:path>
            </a:pathLst>
          </a:custGeom>
          <a:solidFill>
            <a:srgbClr val="000000"/>
          </a:solidFill>
        </p:spPr>
        <p:txBody>
          <a:bodyPr wrap="square" lIns="0" tIns="0" rIns="0" bIns="0" rtlCol="0">
            <a:noAutofit/>
          </a:bodyPr>
          <a:lstStyle/>
          <a:p>
            <a:endParaRPr/>
          </a:p>
        </p:txBody>
      </p:sp>
      <p:sp>
        <p:nvSpPr>
          <p:cNvPr id="365" name="object 365"/>
          <p:cNvSpPr/>
          <p:nvPr/>
        </p:nvSpPr>
        <p:spPr>
          <a:xfrm>
            <a:off x="3475341" y="4265111"/>
            <a:ext cx="5150" cy="24917"/>
          </a:xfrm>
          <a:custGeom>
            <a:avLst/>
            <a:gdLst/>
            <a:ahLst/>
            <a:cxnLst/>
            <a:rect l="l" t="t" r="r" b="b"/>
            <a:pathLst>
              <a:path w="5150" h="24917">
                <a:moveTo>
                  <a:pt x="0" y="17417"/>
                </a:moveTo>
                <a:lnTo>
                  <a:pt x="5150" y="17417"/>
                </a:lnTo>
                <a:lnTo>
                  <a:pt x="0" y="7767"/>
                </a:lnTo>
                <a:lnTo>
                  <a:pt x="0" y="0"/>
                </a:lnTo>
                <a:lnTo>
                  <a:pt x="0" y="24917"/>
                </a:lnTo>
                <a:lnTo>
                  <a:pt x="0" y="17417"/>
                </a:lnTo>
                <a:close/>
              </a:path>
            </a:pathLst>
          </a:custGeom>
          <a:solidFill>
            <a:srgbClr val="000000"/>
          </a:solidFill>
        </p:spPr>
        <p:txBody>
          <a:bodyPr wrap="square" lIns="0" tIns="0" rIns="0" bIns="0" rtlCol="0">
            <a:noAutofit/>
          </a:bodyPr>
          <a:lstStyle/>
          <a:p>
            <a:endParaRPr/>
          </a:p>
        </p:txBody>
      </p:sp>
      <p:sp>
        <p:nvSpPr>
          <p:cNvPr id="366" name="object 366"/>
          <p:cNvSpPr/>
          <p:nvPr/>
        </p:nvSpPr>
        <p:spPr>
          <a:xfrm>
            <a:off x="3466187" y="4259749"/>
            <a:ext cx="23755" cy="36445"/>
          </a:xfrm>
          <a:custGeom>
            <a:avLst/>
            <a:gdLst/>
            <a:ahLst/>
            <a:cxnLst/>
            <a:rect l="l" t="t" r="r" b="b"/>
            <a:pathLst>
              <a:path w="23755" h="36445">
                <a:moveTo>
                  <a:pt x="5150" y="36445"/>
                </a:moveTo>
                <a:lnTo>
                  <a:pt x="18605" y="36445"/>
                </a:lnTo>
                <a:lnTo>
                  <a:pt x="9155" y="30279"/>
                </a:lnTo>
                <a:lnTo>
                  <a:pt x="9155" y="5362"/>
                </a:lnTo>
                <a:lnTo>
                  <a:pt x="14305" y="5362"/>
                </a:lnTo>
                <a:lnTo>
                  <a:pt x="14305" y="13129"/>
                </a:lnTo>
                <a:lnTo>
                  <a:pt x="9155" y="13129"/>
                </a:lnTo>
                <a:lnTo>
                  <a:pt x="14305" y="22780"/>
                </a:lnTo>
                <a:lnTo>
                  <a:pt x="14305" y="30279"/>
                </a:lnTo>
                <a:lnTo>
                  <a:pt x="18605" y="36445"/>
                </a:lnTo>
                <a:lnTo>
                  <a:pt x="23755" y="31892"/>
                </a:lnTo>
                <a:lnTo>
                  <a:pt x="23755" y="21976"/>
                </a:lnTo>
                <a:lnTo>
                  <a:pt x="20895" y="18494"/>
                </a:lnTo>
                <a:lnTo>
                  <a:pt x="23755" y="14736"/>
                </a:lnTo>
                <a:lnTo>
                  <a:pt x="23755" y="4558"/>
                </a:lnTo>
                <a:lnTo>
                  <a:pt x="18605" y="0"/>
                </a:lnTo>
                <a:lnTo>
                  <a:pt x="5150" y="0"/>
                </a:lnTo>
                <a:lnTo>
                  <a:pt x="0" y="4558"/>
                </a:lnTo>
                <a:lnTo>
                  <a:pt x="0" y="14736"/>
                </a:lnTo>
                <a:lnTo>
                  <a:pt x="3146" y="18494"/>
                </a:lnTo>
                <a:lnTo>
                  <a:pt x="0" y="21976"/>
                </a:lnTo>
                <a:lnTo>
                  <a:pt x="0" y="31892"/>
                </a:lnTo>
                <a:lnTo>
                  <a:pt x="5150" y="36445"/>
                </a:lnTo>
                <a:close/>
              </a:path>
            </a:pathLst>
          </a:custGeom>
          <a:solidFill>
            <a:srgbClr val="000000"/>
          </a:solidFill>
        </p:spPr>
        <p:txBody>
          <a:bodyPr wrap="square" lIns="0" tIns="0" rIns="0" bIns="0" rtlCol="0">
            <a:noAutofit/>
          </a:bodyPr>
          <a:lstStyle/>
          <a:p>
            <a:endParaRPr/>
          </a:p>
        </p:txBody>
      </p:sp>
      <p:sp>
        <p:nvSpPr>
          <p:cNvPr id="367" name="object 367"/>
          <p:cNvSpPr/>
          <p:nvPr/>
        </p:nvSpPr>
        <p:spPr>
          <a:xfrm>
            <a:off x="2781797" y="4332366"/>
            <a:ext cx="15165" cy="36715"/>
          </a:xfrm>
          <a:custGeom>
            <a:avLst/>
            <a:gdLst/>
            <a:ahLst/>
            <a:cxnLst/>
            <a:rect l="l" t="t" r="r" b="b"/>
            <a:pathLst>
              <a:path w="15165" h="36715">
                <a:moveTo>
                  <a:pt x="5436" y="7507"/>
                </a:moveTo>
                <a:lnTo>
                  <a:pt x="5436" y="36715"/>
                </a:lnTo>
                <a:lnTo>
                  <a:pt x="15165" y="36715"/>
                </a:lnTo>
                <a:lnTo>
                  <a:pt x="15165" y="0"/>
                </a:lnTo>
                <a:lnTo>
                  <a:pt x="2002" y="0"/>
                </a:lnTo>
                <a:lnTo>
                  <a:pt x="0" y="7507"/>
                </a:lnTo>
                <a:lnTo>
                  <a:pt x="5436" y="7507"/>
                </a:lnTo>
                <a:close/>
              </a:path>
            </a:pathLst>
          </a:custGeom>
          <a:solidFill>
            <a:srgbClr val="000000"/>
          </a:solidFill>
        </p:spPr>
        <p:txBody>
          <a:bodyPr wrap="square" lIns="0" tIns="0" rIns="0" bIns="0" rtlCol="0">
            <a:noAutofit/>
          </a:bodyPr>
          <a:lstStyle/>
          <a:p>
            <a:endParaRPr/>
          </a:p>
        </p:txBody>
      </p:sp>
      <p:sp>
        <p:nvSpPr>
          <p:cNvPr id="368" name="object 368"/>
          <p:cNvSpPr/>
          <p:nvPr/>
        </p:nvSpPr>
        <p:spPr>
          <a:xfrm>
            <a:off x="2800684" y="4332366"/>
            <a:ext cx="23761" cy="36715"/>
          </a:xfrm>
          <a:custGeom>
            <a:avLst/>
            <a:gdLst/>
            <a:ahLst/>
            <a:cxnLst/>
            <a:rect l="l" t="t" r="r" b="b"/>
            <a:pathLst>
              <a:path w="23761" h="36715">
                <a:moveTo>
                  <a:pt x="0" y="4561"/>
                </a:moveTo>
                <a:lnTo>
                  <a:pt x="0" y="18494"/>
                </a:lnTo>
                <a:lnTo>
                  <a:pt x="7159" y="23047"/>
                </a:lnTo>
                <a:lnTo>
                  <a:pt x="14313" y="23047"/>
                </a:lnTo>
                <a:lnTo>
                  <a:pt x="14313" y="15542"/>
                </a:lnTo>
                <a:lnTo>
                  <a:pt x="9447" y="15542"/>
                </a:lnTo>
                <a:lnTo>
                  <a:pt x="9447" y="6704"/>
                </a:lnTo>
                <a:lnTo>
                  <a:pt x="14313" y="6704"/>
                </a:lnTo>
                <a:lnTo>
                  <a:pt x="16601" y="36715"/>
                </a:lnTo>
                <a:lnTo>
                  <a:pt x="23761" y="32430"/>
                </a:lnTo>
                <a:lnTo>
                  <a:pt x="23761" y="4561"/>
                </a:lnTo>
                <a:lnTo>
                  <a:pt x="16601" y="0"/>
                </a:lnTo>
                <a:lnTo>
                  <a:pt x="7159" y="0"/>
                </a:lnTo>
                <a:lnTo>
                  <a:pt x="0" y="4561"/>
                </a:lnTo>
                <a:close/>
              </a:path>
            </a:pathLst>
          </a:custGeom>
          <a:solidFill>
            <a:srgbClr val="000000"/>
          </a:solidFill>
        </p:spPr>
        <p:txBody>
          <a:bodyPr wrap="square" lIns="0" tIns="0" rIns="0" bIns="0" rtlCol="0">
            <a:noAutofit/>
          </a:bodyPr>
          <a:lstStyle/>
          <a:p>
            <a:endParaRPr/>
          </a:p>
        </p:txBody>
      </p:sp>
      <p:sp>
        <p:nvSpPr>
          <p:cNvPr id="369" name="object 369"/>
          <p:cNvSpPr/>
          <p:nvPr/>
        </p:nvSpPr>
        <p:spPr>
          <a:xfrm>
            <a:off x="2800684" y="4339070"/>
            <a:ext cx="16601" cy="30011"/>
          </a:xfrm>
          <a:custGeom>
            <a:avLst/>
            <a:gdLst/>
            <a:ahLst/>
            <a:cxnLst/>
            <a:rect l="l" t="t" r="r" b="b"/>
            <a:pathLst>
              <a:path w="16601" h="30011">
                <a:moveTo>
                  <a:pt x="14313" y="16343"/>
                </a:moveTo>
                <a:lnTo>
                  <a:pt x="14313" y="22771"/>
                </a:lnTo>
                <a:lnTo>
                  <a:pt x="9447" y="22771"/>
                </a:lnTo>
                <a:lnTo>
                  <a:pt x="9447" y="19022"/>
                </a:lnTo>
                <a:lnTo>
                  <a:pt x="0" y="19022"/>
                </a:lnTo>
                <a:lnTo>
                  <a:pt x="0" y="25726"/>
                </a:lnTo>
                <a:lnTo>
                  <a:pt x="7159" y="30011"/>
                </a:lnTo>
                <a:lnTo>
                  <a:pt x="16601" y="30011"/>
                </a:lnTo>
                <a:lnTo>
                  <a:pt x="14313" y="0"/>
                </a:lnTo>
                <a:lnTo>
                  <a:pt x="14313" y="16343"/>
                </a:lnTo>
                <a:close/>
              </a:path>
            </a:pathLst>
          </a:custGeom>
          <a:solidFill>
            <a:srgbClr val="000000"/>
          </a:solidFill>
        </p:spPr>
        <p:txBody>
          <a:bodyPr wrap="square" lIns="0" tIns="0" rIns="0" bIns="0" rtlCol="0">
            <a:noAutofit/>
          </a:bodyPr>
          <a:lstStyle/>
          <a:p>
            <a:endParaRPr/>
          </a:p>
        </p:txBody>
      </p:sp>
      <p:sp>
        <p:nvSpPr>
          <p:cNvPr id="370" name="object 370"/>
          <p:cNvSpPr/>
          <p:nvPr/>
        </p:nvSpPr>
        <p:spPr>
          <a:xfrm>
            <a:off x="2895144" y="4332366"/>
            <a:ext cx="22323" cy="36715"/>
          </a:xfrm>
          <a:custGeom>
            <a:avLst/>
            <a:gdLst/>
            <a:ahLst/>
            <a:cxnLst/>
            <a:rect l="l" t="t" r="r" b="b"/>
            <a:pathLst>
              <a:path w="22323" h="36715">
                <a:moveTo>
                  <a:pt x="0" y="36715"/>
                </a:moveTo>
                <a:lnTo>
                  <a:pt x="22323" y="36715"/>
                </a:lnTo>
                <a:lnTo>
                  <a:pt x="22323" y="30547"/>
                </a:lnTo>
                <a:lnTo>
                  <a:pt x="10022" y="30547"/>
                </a:lnTo>
                <a:lnTo>
                  <a:pt x="22323" y="14739"/>
                </a:lnTo>
                <a:lnTo>
                  <a:pt x="22323" y="4561"/>
                </a:lnTo>
                <a:lnTo>
                  <a:pt x="16031" y="0"/>
                </a:lnTo>
                <a:lnTo>
                  <a:pt x="7154" y="0"/>
                </a:lnTo>
                <a:lnTo>
                  <a:pt x="0" y="4561"/>
                </a:lnTo>
                <a:lnTo>
                  <a:pt x="0" y="10989"/>
                </a:lnTo>
                <a:lnTo>
                  <a:pt x="9155" y="10989"/>
                </a:lnTo>
                <a:lnTo>
                  <a:pt x="9155" y="7507"/>
                </a:lnTo>
                <a:lnTo>
                  <a:pt x="14313" y="7507"/>
                </a:lnTo>
                <a:lnTo>
                  <a:pt x="14313" y="12864"/>
                </a:lnTo>
                <a:lnTo>
                  <a:pt x="0" y="30547"/>
                </a:lnTo>
                <a:lnTo>
                  <a:pt x="0" y="36715"/>
                </a:lnTo>
                <a:close/>
              </a:path>
            </a:pathLst>
          </a:custGeom>
          <a:solidFill>
            <a:srgbClr val="000000"/>
          </a:solidFill>
        </p:spPr>
        <p:txBody>
          <a:bodyPr wrap="square" lIns="0" tIns="0" rIns="0" bIns="0" rtlCol="0">
            <a:noAutofit/>
          </a:bodyPr>
          <a:lstStyle/>
          <a:p>
            <a:endParaRPr/>
          </a:p>
        </p:txBody>
      </p:sp>
      <p:sp>
        <p:nvSpPr>
          <p:cNvPr id="371" name="object 371"/>
          <p:cNvSpPr/>
          <p:nvPr/>
        </p:nvSpPr>
        <p:spPr>
          <a:xfrm>
            <a:off x="2925775" y="4332366"/>
            <a:ext cx="16309" cy="36715"/>
          </a:xfrm>
          <a:custGeom>
            <a:avLst/>
            <a:gdLst/>
            <a:ahLst/>
            <a:cxnLst/>
            <a:rect l="l" t="t" r="r" b="b"/>
            <a:pathLst>
              <a:path w="16309" h="36715">
                <a:moveTo>
                  <a:pt x="9441" y="0"/>
                </a:moveTo>
                <a:lnTo>
                  <a:pt x="0" y="0"/>
                </a:lnTo>
                <a:lnTo>
                  <a:pt x="2287" y="7507"/>
                </a:lnTo>
                <a:lnTo>
                  <a:pt x="7151" y="7507"/>
                </a:lnTo>
                <a:lnTo>
                  <a:pt x="7151" y="29476"/>
                </a:lnTo>
                <a:lnTo>
                  <a:pt x="9441" y="36715"/>
                </a:lnTo>
                <a:lnTo>
                  <a:pt x="16309" y="31350"/>
                </a:lnTo>
                <a:lnTo>
                  <a:pt x="16309" y="5364"/>
                </a:lnTo>
                <a:lnTo>
                  <a:pt x="9441" y="0"/>
                </a:lnTo>
                <a:close/>
              </a:path>
            </a:pathLst>
          </a:custGeom>
          <a:solidFill>
            <a:srgbClr val="000000"/>
          </a:solidFill>
        </p:spPr>
        <p:txBody>
          <a:bodyPr wrap="square" lIns="0" tIns="0" rIns="0" bIns="0" rtlCol="0">
            <a:noAutofit/>
          </a:bodyPr>
          <a:lstStyle/>
          <a:p>
            <a:endParaRPr/>
          </a:p>
        </p:txBody>
      </p:sp>
      <p:sp>
        <p:nvSpPr>
          <p:cNvPr id="372" name="object 372"/>
          <p:cNvSpPr/>
          <p:nvPr/>
        </p:nvSpPr>
        <p:spPr>
          <a:xfrm>
            <a:off x="2918612" y="4332366"/>
            <a:ext cx="16604" cy="36715"/>
          </a:xfrm>
          <a:custGeom>
            <a:avLst/>
            <a:gdLst/>
            <a:ahLst/>
            <a:cxnLst/>
            <a:rect l="l" t="t" r="r" b="b"/>
            <a:pathLst>
              <a:path w="16604" h="36715">
                <a:moveTo>
                  <a:pt x="9450" y="29476"/>
                </a:moveTo>
                <a:lnTo>
                  <a:pt x="9450" y="7507"/>
                </a:lnTo>
                <a:lnTo>
                  <a:pt x="7162" y="0"/>
                </a:lnTo>
                <a:lnTo>
                  <a:pt x="0" y="5364"/>
                </a:lnTo>
                <a:lnTo>
                  <a:pt x="0" y="31350"/>
                </a:lnTo>
                <a:lnTo>
                  <a:pt x="7162" y="36715"/>
                </a:lnTo>
                <a:lnTo>
                  <a:pt x="16604" y="36715"/>
                </a:lnTo>
                <a:lnTo>
                  <a:pt x="14313" y="29476"/>
                </a:lnTo>
                <a:lnTo>
                  <a:pt x="9450" y="29476"/>
                </a:lnTo>
                <a:close/>
              </a:path>
            </a:pathLst>
          </a:custGeom>
          <a:solidFill>
            <a:srgbClr val="000000"/>
          </a:solidFill>
        </p:spPr>
        <p:txBody>
          <a:bodyPr wrap="square" lIns="0" tIns="0" rIns="0" bIns="0" rtlCol="0">
            <a:noAutofit/>
          </a:bodyPr>
          <a:lstStyle/>
          <a:p>
            <a:endParaRPr/>
          </a:p>
        </p:txBody>
      </p:sp>
      <p:sp>
        <p:nvSpPr>
          <p:cNvPr id="373" name="object 373"/>
          <p:cNvSpPr/>
          <p:nvPr/>
        </p:nvSpPr>
        <p:spPr>
          <a:xfrm>
            <a:off x="3004198" y="4332366"/>
            <a:ext cx="23469" cy="36715"/>
          </a:xfrm>
          <a:custGeom>
            <a:avLst/>
            <a:gdLst/>
            <a:ahLst/>
            <a:cxnLst/>
            <a:rect l="l" t="t" r="r" b="b"/>
            <a:pathLst>
              <a:path w="23469" h="36715">
                <a:moveTo>
                  <a:pt x="0" y="36715"/>
                </a:moveTo>
                <a:lnTo>
                  <a:pt x="23469" y="36715"/>
                </a:lnTo>
                <a:lnTo>
                  <a:pt x="23469" y="30547"/>
                </a:lnTo>
                <a:lnTo>
                  <a:pt x="10019" y="30547"/>
                </a:lnTo>
                <a:lnTo>
                  <a:pt x="23469" y="14739"/>
                </a:lnTo>
                <a:lnTo>
                  <a:pt x="23469" y="4561"/>
                </a:lnTo>
                <a:lnTo>
                  <a:pt x="16314" y="0"/>
                </a:lnTo>
                <a:lnTo>
                  <a:pt x="6873" y="0"/>
                </a:lnTo>
                <a:lnTo>
                  <a:pt x="0" y="4561"/>
                </a:lnTo>
                <a:lnTo>
                  <a:pt x="0" y="10989"/>
                </a:lnTo>
                <a:lnTo>
                  <a:pt x="9160" y="10989"/>
                </a:lnTo>
                <a:lnTo>
                  <a:pt x="9160" y="7507"/>
                </a:lnTo>
                <a:lnTo>
                  <a:pt x="14313" y="7507"/>
                </a:lnTo>
                <a:lnTo>
                  <a:pt x="14313" y="12864"/>
                </a:lnTo>
                <a:lnTo>
                  <a:pt x="0" y="30547"/>
                </a:lnTo>
                <a:lnTo>
                  <a:pt x="0" y="36715"/>
                </a:lnTo>
                <a:close/>
              </a:path>
            </a:pathLst>
          </a:custGeom>
          <a:solidFill>
            <a:srgbClr val="000000"/>
          </a:solidFill>
        </p:spPr>
        <p:txBody>
          <a:bodyPr wrap="square" lIns="0" tIns="0" rIns="0" bIns="0" rtlCol="0">
            <a:noAutofit/>
          </a:bodyPr>
          <a:lstStyle/>
          <a:p>
            <a:endParaRPr/>
          </a:p>
        </p:txBody>
      </p:sp>
      <p:sp>
        <p:nvSpPr>
          <p:cNvPr id="374" name="object 374"/>
          <p:cNvSpPr/>
          <p:nvPr/>
        </p:nvSpPr>
        <p:spPr>
          <a:xfrm>
            <a:off x="3028532" y="4332366"/>
            <a:ext cx="15453" cy="36715"/>
          </a:xfrm>
          <a:custGeom>
            <a:avLst/>
            <a:gdLst/>
            <a:ahLst/>
            <a:cxnLst/>
            <a:rect l="l" t="t" r="r" b="b"/>
            <a:pathLst>
              <a:path w="15453" h="36715">
                <a:moveTo>
                  <a:pt x="5436" y="7507"/>
                </a:moveTo>
                <a:lnTo>
                  <a:pt x="5436" y="36715"/>
                </a:lnTo>
                <a:lnTo>
                  <a:pt x="15453" y="36715"/>
                </a:lnTo>
                <a:lnTo>
                  <a:pt x="15453" y="0"/>
                </a:lnTo>
                <a:lnTo>
                  <a:pt x="2003" y="0"/>
                </a:lnTo>
                <a:lnTo>
                  <a:pt x="0" y="7507"/>
                </a:lnTo>
                <a:lnTo>
                  <a:pt x="5436" y="7507"/>
                </a:lnTo>
                <a:close/>
              </a:path>
            </a:pathLst>
          </a:custGeom>
          <a:solidFill>
            <a:srgbClr val="000000"/>
          </a:solidFill>
        </p:spPr>
        <p:txBody>
          <a:bodyPr wrap="square" lIns="0" tIns="0" rIns="0" bIns="0" rtlCol="0">
            <a:noAutofit/>
          </a:bodyPr>
          <a:lstStyle/>
          <a:p>
            <a:endParaRPr/>
          </a:p>
        </p:txBody>
      </p:sp>
      <p:sp>
        <p:nvSpPr>
          <p:cNvPr id="375" name="object 375"/>
          <p:cNvSpPr/>
          <p:nvPr/>
        </p:nvSpPr>
        <p:spPr>
          <a:xfrm>
            <a:off x="3116977" y="4332366"/>
            <a:ext cx="23185" cy="36715"/>
          </a:xfrm>
          <a:custGeom>
            <a:avLst/>
            <a:gdLst/>
            <a:ahLst/>
            <a:cxnLst/>
            <a:rect l="l" t="t" r="r" b="b"/>
            <a:pathLst>
              <a:path w="23185" h="36715">
                <a:moveTo>
                  <a:pt x="0" y="36715"/>
                </a:moveTo>
                <a:lnTo>
                  <a:pt x="23185" y="36715"/>
                </a:lnTo>
                <a:lnTo>
                  <a:pt x="23185" y="30547"/>
                </a:lnTo>
                <a:lnTo>
                  <a:pt x="9727" y="30547"/>
                </a:lnTo>
                <a:lnTo>
                  <a:pt x="23185" y="14739"/>
                </a:lnTo>
                <a:lnTo>
                  <a:pt x="23185" y="4561"/>
                </a:lnTo>
                <a:lnTo>
                  <a:pt x="16031" y="0"/>
                </a:lnTo>
                <a:lnTo>
                  <a:pt x="6581" y="0"/>
                </a:lnTo>
                <a:lnTo>
                  <a:pt x="0" y="4561"/>
                </a:lnTo>
                <a:lnTo>
                  <a:pt x="0" y="10989"/>
                </a:lnTo>
                <a:lnTo>
                  <a:pt x="8871" y="10989"/>
                </a:lnTo>
                <a:lnTo>
                  <a:pt x="8871" y="7507"/>
                </a:lnTo>
                <a:lnTo>
                  <a:pt x="14021" y="7507"/>
                </a:lnTo>
                <a:lnTo>
                  <a:pt x="14021" y="12864"/>
                </a:lnTo>
                <a:lnTo>
                  <a:pt x="0" y="30547"/>
                </a:lnTo>
                <a:lnTo>
                  <a:pt x="0" y="36715"/>
                </a:lnTo>
                <a:close/>
              </a:path>
            </a:pathLst>
          </a:custGeom>
          <a:solidFill>
            <a:srgbClr val="000000"/>
          </a:solidFill>
        </p:spPr>
        <p:txBody>
          <a:bodyPr wrap="square" lIns="0" tIns="0" rIns="0" bIns="0" rtlCol="0">
            <a:noAutofit/>
          </a:bodyPr>
          <a:lstStyle/>
          <a:p>
            <a:endParaRPr/>
          </a:p>
        </p:txBody>
      </p:sp>
      <p:sp>
        <p:nvSpPr>
          <p:cNvPr id="376" name="object 376"/>
          <p:cNvSpPr/>
          <p:nvPr/>
        </p:nvSpPr>
        <p:spPr>
          <a:xfrm>
            <a:off x="3140735" y="4332366"/>
            <a:ext cx="23755" cy="36715"/>
          </a:xfrm>
          <a:custGeom>
            <a:avLst/>
            <a:gdLst/>
            <a:ahLst/>
            <a:cxnLst/>
            <a:rect l="l" t="t" r="r" b="b"/>
            <a:pathLst>
              <a:path w="23755" h="36715">
                <a:moveTo>
                  <a:pt x="0" y="36715"/>
                </a:moveTo>
                <a:lnTo>
                  <a:pt x="23755" y="36715"/>
                </a:lnTo>
                <a:lnTo>
                  <a:pt x="23755" y="30547"/>
                </a:lnTo>
                <a:lnTo>
                  <a:pt x="10300" y="30547"/>
                </a:lnTo>
                <a:lnTo>
                  <a:pt x="23755" y="14739"/>
                </a:lnTo>
                <a:lnTo>
                  <a:pt x="23755" y="4561"/>
                </a:lnTo>
                <a:lnTo>
                  <a:pt x="16601" y="0"/>
                </a:lnTo>
                <a:lnTo>
                  <a:pt x="7151" y="0"/>
                </a:lnTo>
                <a:lnTo>
                  <a:pt x="0" y="4561"/>
                </a:lnTo>
                <a:lnTo>
                  <a:pt x="0" y="10989"/>
                </a:lnTo>
                <a:lnTo>
                  <a:pt x="9155" y="10989"/>
                </a:lnTo>
                <a:lnTo>
                  <a:pt x="9155" y="7507"/>
                </a:lnTo>
                <a:lnTo>
                  <a:pt x="14313" y="7507"/>
                </a:lnTo>
                <a:lnTo>
                  <a:pt x="14313" y="12864"/>
                </a:lnTo>
                <a:lnTo>
                  <a:pt x="0" y="30547"/>
                </a:lnTo>
                <a:lnTo>
                  <a:pt x="0" y="36715"/>
                </a:lnTo>
                <a:close/>
              </a:path>
            </a:pathLst>
          </a:custGeom>
          <a:solidFill>
            <a:srgbClr val="000000"/>
          </a:solidFill>
        </p:spPr>
        <p:txBody>
          <a:bodyPr wrap="square" lIns="0" tIns="0" rIns="0" bIns="0" rtlCol="0">
            <a:noAutofit/>
          </a:bodyPr>
          <a:lstStyle/>
          <a:p>
            <a:endParaRPr/>
          </a:p>
        </p:txBody>
      </p:sp>
      <p:sp>
        <p:nvSpPr>
          <p:cNvPr id="377" name="object 377"/>
          <p:cNvSpPr/>
          <p:nvPr/>
        </p:nvSpPr>
        <p:spPr>
          <a:xfrm>
            <a:off x="3228322" y="4332366"/>
            <a:ext cx="23469" cy="36715"/>
          </a:xfrm>
          <a:custGeom>
            <a:avLst/>
            <a:gdLst/>
            <a:ahLst/>
            <a:cxnLst/>
            <a:rect l="l" t="t" r="r" b="b"/>
            <a:pathLst>
              <a:path w="23469" h="36715">
                <a:moveTo>
                  <a:pt x="0" y="36715"/>
                </a:moveTo>
                <a:lnTo>
                  <a:pt x="23469" y="36715"/>
                </a:lnTo>
                <a:lnTo>
                  <a:pt x="23469" y="30547"/>
                </a:lnTo>
                <a:lnTo>
                  <a:pt x="10019" y="30547"/>
                </a:lnTo>
                <a:lnTo>
                  <a:pt x="23469" y="14739"/>
                </a:lnTo>
                <a:lnTo>
                  <a:pt x="23469" y="4561"/>
                </a:lnTo>
                <a:lnTo>
                  <a:pt x="16314" y="0"/>
                </a:lnTo>
                <a:lnTo>
                  <a:pt x="7151" y="0"/>
                </a:lnTo>
                <a:lnTo>
                  <a:pt x="0" y="4561"/>
                </a:lnTo>
                <a:lnTo>
                  <a:pt x="0" y="10989"/>
                </a:lnTo>
                <a:lnTo>
                  <a:pt x="9160" y="10989"/>
                </a:lnTo>
                <a:lnTo>
                  <a:pt x="9160" y="7507"/>
                </a:lnTo>
                <a:lnTo>
                  <a:pt x="14313" y="7507"/>
                </a:lnTo>
                <a:lnTo>
                  <a:pt x="14313" y="12864"/>
                </a:lnTo>
                <a:lnTo>
                  <a:pt x="0" y="30547"/>
                </a:lnTo>
                <a:lnTo>
                  <a:pt x="0" y="36715"/>
                </a:lnTo>
                <a:close/>
              </a:path>
            </a:pathLst>
          </a:custGeom>
          <a:solidFill>
            <a:srgbClr val="000000"/>
          </a:solidFill>
        </p:spPr>
        <p:txBody>
          <a:bodyPr wrap="square" lIns="0" tIns="0" rIns="0" bIns="0" rtlCol="0">
            <a:noAutofit/>
          </a:bodyPr>
          <a:lstStyle/>
          <a:p>
            <a:endParaRPr/>
          </a:p>
        </p:txBody>
      </p:sp>
      <p:sp>
        <p:nvSpPr>
          <p:cNvPr id="378" name="object 378"/>
          <p:cNvSpPr/>
          <p:nvPr/>
        </p:nvSpPr>
        <p:spPr>
          <a:xfrm>
            <a:off x="3251218" y="4332366"/>
            <a:ext cx="24041" cy="36715"/>
          </a:xfrm>
          <a:custGeom>
            <a:avLst/>
            <a:gdLst/>
            <a:ahLst/>
            <a:cxnLst/>
            <a:rect l="l" t="t" r="r" b="b"/>
            <a:pathLst>
              <a:path w="24041" h="36715">
                <a:moveTo>
                  <a:pt x="14886" y="21976"/>
                </a:moveTo>
                <a:lnTo>
                  <a:pt x="14886" y="30547"/>
                </a:lnTo>
                <a:lnTo>
                  <a:pt x="8877" y="30547"/>
                </a:lnTo>
                <a:lnTo>
                  <a:pt x="8877" y="26529"/>
                </a:lnTo>
                <a:lnTo>
                  <a:pt x="0" y="26529"/>
                </a:lnTo>
                <a:lnTo>
                  <a:pt x="0" y="32154"/>
                </a:lnTo>
                <a:lnTo>
                  <a:pt x="6873" y="36715"/>
                </a:lnTo>
                <a:lnTo>
                  <a:pt x="16890" y="36715"/>
                </a:lnTo>
                <a:lnTo>
                  <a:pt x="24041" y="32154"/>
                </a:lnTo>
                <a:lnTo>
                  <a:pt x="24041" y="21976"/>
                </a:lnTo>
                <a:lnTo>
                  <a:pt x="20322" y="18226"/>
                </a:lnTo>
                <a:lnTo>
                  <a:pt x="24041" y="14739"/>
                </a:lnTo>
                <a:lnTo>
                  <a:pt x="24041" y="4561"/>
                </a:lnTo>
                <a:lnTo>
                  <a:pt x="16890" y="0"/>
                </a:lnTo>
                <a:lnTo>
                  <a:pt x="6873" y="0"/>
                </a:lnTo>
                <a:lnTo>
                  <a:pt x="0" y="4561"/>
                </a:lnTo>
                <a:lnTo>
                  <a:pt x="0" y="10186"/>
                </a:lnTo>
                <a:lnTo>
                  <a:pt x="8877" y="10186"/>
                </a:lnTo>
                <a:lnTo>
                  <a:pt x="8877" y="6168"/>
                </a:lnTo>
                <a:lnTo>
                  <a:pt x="14886" y="6168"/>
                </a:lnTo>
                <a:lnTo>
                  <a:pt x="14886" y="14739"/>
                </a:lnTo>
                <a:lnTo>
                  <a:pt x="8877" y="14739"/>
                </a:lnTo>
                <a:lnTo>
                  <a:pt x="8877" y="21976"/>
                </a:lnTo>
                <a:lnTo>
                  <a:pt x="14886" y="21976"/>
                </a:lnTo>
                <a:close/>
              </a:path>
            </a:pathLst>
          </a:custGeom>
          <a:solidFill>
            <a:srgbClr val="000000"/>
          </a:solidFill>
        </p:spPr>
        <p:txBody>
          <a:bodyPr wrap="square" lIns="0" tIns="0" rIns="0" bIns="0" rtlCol="0">
            <a:noAutofit/>
          </a:bodyPr>
          <a:lstStyle/>
          <a:p>
            <a:endParaRPr/>
          </a:p>
        </p:txBody>
      </p:sp>
      <p:sp>
        <p:nvSpPr>
          <p:cNvPr id="379" name="object 379"/>
          <p:cNvSpPr/>
          <p:nvPr/>
        </p:nvSpPr>
        <p:spPr>
          <a:xfrm>
            <a:off x="3338813" y="4332366"/>
            <a:ext cx="23755" cy="36715"/>
          </a:xfrm>
          <a:custGeom>
            <a:avLst/>
            <a:gdLst/>
            <a:ahLst/>
            <a:cxnLst/>
            <a:rect l="l" t="t" r="r" b="b"/>
            <a:pathLst>
              <a:path w="23755" h="36715">
                <a:moveTo>
                  <a:pt x="0" y="36715"/>
                </a:moveTo>
                <a:lnTo>
                  <a:pt x="23755" y="36715"/>
                </a:lnTo>
                <a:lnTo>
                  <a:pt x="23755" y="30547"/>
                </a:lnTo>
                <a:lnTo>
                  <a:pt x="10013" y="30547"/>
                </a:lnTo>
                <a:lnTo>
                  <a:pt x="23755" y="14739"/>
                </a:lnTo>
                <a:lnTo>
                  <a:pt x="23755" y="4561"/>
                </a:lnTo>
                <a:lnTo>
                  <a:pt x="16595" y="0"/>
                </a:lnTo>
                <a:lnTo>
                  <a:pt x="7151" y="0"/>
                </a:lnTo>
                <a:lnTo>
                  <a:pt x="0" y="4561"/>
                </a:lnTo>
                <a:lnTo>
                  <a:pt x="0" y="10989"/>
                </a:lnTo>
                <a:lnTo>
                  <a:pt x="9155" y="10989"/>
                </a:lnTo>
                <a:lnTo>
                  <a:pt x="9155" y="7507"/>
                </a:lnTo>
                <a:lnTo>
                  <a:pt x="14305" y="7507"/>
                </a:lnTo>
                <a:lnTo>
                  <a:pt x="14305" y="12864"/>
                </a:lnTo>
                <a:lnTo>
                  <a:pt x="0" y="30547"/>
                </a:lnTo>
                <a:lnTo>
                  <a:pt x="0" y="36715"/>
                </a:lnTo>
                <a:close/>
              </a:path>
            </a:pathLst>
          </a:custGeom>
          <a:solidFill>
            <a:srgbClr val="000000"/>
          </a:solidFill>
        </p:spPr>
        <p:txBody>
          <a:bodyPr wrap="square" lIns="0" tIns="0" rIns="0" bIns="0" rtlCol="0">
            <a:noAutofit/>
          </a:bodyPr>
          <a:lstStyle/>
          <a:p>
            <a:endParaRPr/>
          </a:p>
        </p:txBody>
      </p:sp>
      <p:sp>
        <p:nvSpPr>
          <p:cNvPr id="380" name="object 380"/>
          <p:cNvSpPr/>
          <p:nvPr/>
        </p:nvSpPr>
        <p:spPr>
          <a:xfrm>
            <a:off x="3361137" y="4332366"/>
            <a:ext cx="26331" cy="36715"/>
          </a:xfrm>
          <a:custGeom>
            <a:avLst/>
            <a:gdLst/>
            <a:ahLst/>
            <a:cxnLst/>
            <a:rect l="l" t="t" r="r" b="b"/>
            <a:pathLst>
              <a:path w="26331" h="36715">
                <a:moveTo>
                  <a:pt x="0" y="30547"/>
                </a:moveTo>
                <a:lnTo>
                  <a:pt x="15450" y="30547"/>
                </a:lnTo>
                <a:lnTo>
                  <a:pt x="10013" y="21976"/>
                </a:lnTo>
                <a:lnTo>
                  <a:pt x="15450" y="13935"/>
                </a:lnTo>
                <a:lnTo>
                  <a:pt x="15450" y="21976"/>
                </a:lnTo>
                <a:lnTo>
                  <a:pt x="10013" y="21976"/>
                </a:lnTo>
                <a:lnTo>
                  <a:pt x="15450" y="30547"/>
                </a:lnTo>
                <a:lnTo>
                  <a:pt x="15450" y="36715"/>
                </a:lnTo>
                <a:lnTo>
                  <a:pt x="24327" y="36715"/>
                </a:lnTo>
                <a:lnTo>
                  <a:pt x="24327" y="30547"/>
                </a:lnTo>
                <a:lnTo>
                  <a:pt x="26331" y="30547"/>
                </a:lnTo>
                <a:lnTo>
                  <a:pt x="26331" y="21976"/>
                </a:lnTo>
                <a:lnTo>
                  <a:pt x="24327" y="21976"/>
                </a:lnTo>
                <a:lnTo>
                  <a:pt x="24327" y="0"/>
                </a:lnTo>
                <a:lnTo>
                  <a:pt x="15450" y="0"/>
                </a:lnTo>
                <a:lnTo>
                  <a:pt x="0" y="21976"/>
                </a:lnTo>
                <a:lnTo>
                  <a:pt x="0" y="30547"/>
                </a:lnTo>
                <a:close/>
              </a:path>
            </a:pathLst>
          </a:custGeom>
          <a:solidFill>
            <a:srgbClr val="000000"/>
          </a:solidFill>
        </p:spPr>
        <p:txBody>
          <a:bodyPr wrap="square" lIns="0" tIns="0" rIns="0" bIns="0" rtlCol="0">
            <a:noAutofit/>
          </a:bodyPr>
          <a:lstStyle/>
          <a:p>
            <a:endParaRPr/>
          </a:p>
        </p:txBody>
      </p:sp>
      <p:sp>
        <p:nvSpPr>
          <p:cNvPr id="381" name="object 381"/>
          <p:cNvSpPr/>
          <p:nvPr/>
        </p:nvSpPr>
        <p:spPr>
          <a:xfrm>
            <a:off x="3451014" y="4332366"/>
            <a:ext cx="22323" cy="36715"/>
          </a:xfrm>
          <a:custGeom>
            <a:avLst/>
            <a:gdLst/>
            <a:ahLst/>
            <a:cxnLst/>
            <a:rect l="l" t="t" r="r" b="b"/>
            <a:pathLst>
              <a:path w="22323" h="36715">
                <a:moveTo>
                  <a:pt x="0" y="36715"/>
                </a:moveTo>
                <a:lnTo>
                  <a:pt x="22323" y="36715"/>
                </a:lnTo>
                <a:lnTo>
                  <a:pt x="22323" y="30547"/>
                </a:lnTo>
                <a:lnTo>
                  <a:pt x="10013" y="30547"/>
                </a:lnTo>
                <a:lnTo>
                  <a:pt x="22323" y="14739"/>
                </a:lnTo>
                <a:lnTo>
                  <a:pt x="22323" y="4561"/>
                </a:lnTo>
                <a:lnTo>
                  <a:pt x="15172" y="0"/>
                </a:lnTo>
                <a:lnTo>
                  <a:pt x="6867" y="0"/>
                </a:lnTo>
                <a:lnTo>
                  <a:pt x="0" y="4561"/>
                </a:lnTo>
                <a:lnTo>
                  <a:pt x="0" y="10989"/>
                </a:lnTo>
                <a:lnTo>
                  <a:pt x="9155" y="10989"/>
                </a:lnTo>
                <a:lnTo>
                  <a:pt x="9155" y="7507"/>
                </a:lnTo>
                <a:lnTo>
                  <a:pt x="13168" y="7507"/>
                </a:lnTo>
                <a:lnTo>
                  <a:pt x="13168" y="12864"/>
                </a:lnTo>
                <a:lnTo>
                  <a:pt x="0" y="30547"/>
                </a:lnTo>
                <a:lnTo>
                  <a:pt x="0" y="36715"/>
                </a:lnTo>
                <a:close/>
              </a:path>
            </a:pathLst>
          </a:custGeom>
          <a:solidFill>
            <a:srgbClr val="000000"/>
          </a:solidFill>
        </p:spPr>
        <p:txBody>
          <a:bodyPr wrap="square" lIns="0" tIns="0" rIns="0" bIns="0" rtlCol="0">
            <a:noAutofit/>
          </a:bodyPr>
          <a:lstStyle/>
          <a:p>
            <a:endParaRPr/>
          </a:p>
        </p:txBody>
      </p:sp>
      <p:sp>
        <p:nvSpPr>
          <p:cNvPr id="382" name="object 382"/>
          <p:cNvSpPr/>
          <p:nvPr/>
        </p:nvSpPr>
        <p:spPr>
          <a:xfrm>
            <a:off x="3472481" y="4332366"/>
            <a:ext cx="24614" cy="36715"/>
          </a:xfrm>
          <a:custGeom>
            <a:avLst/>
            <a:gdLst/>
            <a:ahLst/>
            <a:cxnLst/>
            <a:rect l="l" t="t" r="r" b="b"/>
            <a:pathLst>
              <a:path w="24614" h="36715">
                <a:moveTo>
                  <a:pt x="15169" y="19298"/>
                </a:moveTo>
                <a:lnTo>
                  <a:pt x="15169" y="30547"/>
                </a:lnTo>
                <a:lnTo>
                  <a:pt x="9155" y="30547"/>
                </a:lnTo>
                <a:lnTo>
                  <a:pt x="9155" y="24654"/>
                </a:lnTo>
                <a:lnTo>
                  <a:pt x="0" y="24654"/>
                </a:lnTo>
                <a:lnTo>
                  <a:pt x="0" y="31350"/>
                </a:lnTo>
                <a:lnTo>
                  <a:pt x="7151" y="36715"/>
                </a:lnTo>
                <a:lnTo>
                  <a:pt x="17460" y="36715"/>
                </a:lnTo>
                <a:lnTo>
                  <a:pt x="24614" y="31350"/>
                </a:lnTo>
                <a:lnTo>
                  <a:pt x="24614" y="18494"/>
                </a:lnTo>
                <a:lnTo>
                  <a:pt x="17460" y="13132"/>
                </a:lnTo>
                <a:lnTo>
                  <a:pt x="9155" y="13132"/>
                </a:lnTo>
                <a:lnTo>
                  <a:pt x="9155" y="7507"/>
                </a:lnTo>
                <a:lnTo>
                  <a:pt x="23755" y="7507"/>
                </a:lnTo>
                <a:lnTo>
                  <a:pt x="23755" y="0"/>
                </a:lnTo>
                <a:lnTo>
                  <a:pt x="0" y="0"/>
                </a:lnTo>
                <a:lnTo>
                  <a:pt x="0" y="13935"/>
                </a:lnTo>
                <a:lnTo>
                  <a:pt x="7151" y="19298"/>
                </a:lnTo>
                <a:lnTo>
                  <a:pt x="15169" y="19298"/>
                </a:lnTo>
                <a:close/>
              </a:path>
            </a:pathLst>
          </a:custGeom>
          <a:solidFill>
            <a:srgbClr val="000000"/>
          </a:solidFill>
        </p:spPr>
        <p:txBody>
          <a:bodyPr wrap="square" lIns="0" tIns="0" rIns="0" bIns="0" rtlCol="0">
            <a:noAutofit/>
          </a:bodyPr>
          <a:lstStyle/>
          <a:p>
            <a:endParaRPr/>
          </a:p>
        </p:txBody>
      </p:sp>
      <p:sp>
        <p:nvSpPr>
          <p:cNvPr id="383" name="object 383"/>
          <p:cNvSpPr/>
          <p:nvPr/>
        </p:nvSpPr>
        <p:spPr>
          <a:xfrm>
            <a:off x="2781511" y="4406326"/>
            <a:ext cx="23755" cy="35373"/>
          </a:xfrm>
          <a:custGeom>
            <a:avLst/>
            <a:gdLst/>
            <a:ahLst/>
            <a:cxnLst/>
            <a:rect l="l" t="t" r="r" b="b"/>
            <a:pathLst>
              <a:path w="23755" h="35373">
                <a:moveTo>
                  <a:pt x="0" y="35373"/>
                </a:moveTo>
                <a:lnTo>
                  <a:pt x="23755" y="35373"/>
                </a:lnTo>
                <a:lnTo>
                  <a:pt x="23755" y="29208"/>
                </a:lnTo>
                <a:lnTo>
                  <a:pt x="10014" y="29208"/>
                </a:lnTo>
                <a:lnTo>
                  <a:pt x="23755" y="14468"/>
                </a:lnTo>
                <a:lnTo>
                  <a:pt x="23755" y="4558"/>
                </a:lnTo>
                <a:lnTo>
                  <a:pt x="16309" y="0"/>
                </a:lnTo>
                <a:lnTo>
                  <a:pt x="7153" y="0"/>
                </a:lnTo>
                <a:lnTo>
                  <a:pt x="0" y="4558"/>
                </a:lnTo>
                <a:lnTo>
                  <a:pt x="0" y="10986"/>
                </a:lnTo>
                <a:lnTo>
                  <a:pt x="9156" y="10986"/>
                </a:lnTo>
                <a:lnTo>
                  <a:pt x="9156" y="7237"/>
                </a:lnTo>
                <a:lnTo>
                  <a:pt x="14306" y="7237"/>
                </a:lnTo>
                <a:lnTo>
                  <a:pt x="14306" y="12861"/>
                </a:lnTo>
                <a:lnTo>
                  <a:pt x="0" y="29208"/>
                </a:lnTo>
                <a:lnTo>
                  <a:pt x="0" y="35373"/>
                </a:lnTo>
                <a:close/>
              </a:path>
            </a:pathLst>
          </a:custGeom>
          <a:solidFill>
            <a:srgbClr val="000000"/>
          </a:solidFill>
        </p:spPr>
        <p:txBody>
          <a:bodyPr wrap="square" lIns="0" tIns="0" rIns="0" bIns="0" rtlCol="0">
            <a:noAutofit/>
          </a:bodyPr>
          <a:lstStyle/>
          <a:p>
            <a:endParaRPr/>
          </a:p>
        </p:txBody>
      </p:sp>
      <p:sp>
        <p:nvSpPr>
          <p:cNvPr id="384" name="object 384"/>
          <p:cNvSpPr/>
          <p:nvPr/>
        </p:nvSpPr>
        <p:spPr>
          <a:xfrm>
            <a:off x="2813853" y="4413562"/>
            <a:ext cx="14313" cy="28136"/>
          </a:xfrm>
          <a:custGeom>
            <a:avLst/>
            <a:gdLst/>
            <a:ahLst/>
            <a:cxnLst/>
            <a:rect l="l" t="t" r="r" b="b"/>
            <a:pathLst>
              <a:path w="14313" h="28136">
                <a:moveTo>
                  <a:pt x="0" y="0"/>
                </a:moveTo>
                <a:lnTo>
                  <a:pt x="0" y="13132"/>
                </a:lnTo>
                <a:lnTo>
                  <a:pt x="5150" y="13132"/>
                </a:lnTo>
                <a:lnTo>
                  <a:pt x="7154" y="28136"/>
                </a:lnTo>
                <a:lnTo>
                  <a:pt x="14313" y="23846"/>
                </a:lnTo>
                <a:lnTo>
                  <a:pt x="14313" y="10721"/>
                </a:lnTo>
                <a:lnTo>
                  <a:pt x="7154" y="6428"/>
                </a:lnTo>
                <a:lnTo>
                  <a:pt x="0" y="6428"/>
                </a:lnTo>
                <a:lnTo>
                  <a:pt x="0" y="0"/>
                </a:lnTo>
                <a:close/>
              </a:path>
            </a:pathLst>
          </a:custGeom>
          <a:solidFill>
            <a:srgbClr val="000000"/>
          </a:solidFill>
        </p:spPr>
        <p:txBody>
          <a:bodyPr wrap="square" lIns="0" tIns="0" rIns="0" bIns="0" rtlCol="0">
            <a:noAutofit/>
          </a:bodyPr>
          <a:lstStyle/>
          <a:p>
            <a:endParaRPr/>
          </a:p>
        </p:txBody>
      </p:sp>
      <p:sp>
        <p:nvSpPr>
          <p:cNvPr id="385" name="object 385"/>
          <p:cNvSpPr/>
          <p:nvPr/>
        </p:nvSpPr>
        <p:spPr>
          <a:xfrm>
            <a:off x="2804695" y="4406326"/>
            <a:ext cx="23471" cy="35373"/>
          </a:xfrm>
          <a:custGeom>
            <a:avLst/>
            <a:gdLst/>
            <a:ahLst/>
            <a:cxnLst/>
            <a:rect l="l" t="t" r="r" b="b"/>
            <a:pathLst>
              <a:path w="23471" h="35373">
                <a:moveTo>
                  <a:pt x="14308" y="10986"/>
                </a:moveTo>
                <a:lnTo>
                  <a:pt x="23471" y="10986"/>
                </a:lnTo>
                <a:lnTo>
                  <a:pt x="23471" y="4558"/>
                </a:lnTo>
                <a:lnTo>
                  <a:pt x="16312" y="0"/>
                </a:lnTo>
                <a:lnTo>
                  <a:pt x="7154" y="0"/>
                </a:lnTo>
                <a:lnTo>
                  <a:pt x="0" y="4558"/>
                </a:lnTo>
                <a:lnTo>
                  <a:pt x="0" y="31083"/>
                </a:lnTo>
                <a:lnTo>
                  <a:pt x="7154" y="35373"/>
                </a:lnTo>
                <a:lnTo>
                  <a:pt x="16312" y="35373"/>
                </a:lnTo>
                <a:lnTo>
                  <a:pt x="14308" y="20369"/>
                </a:lnTo>
                <a:lnTo>
                  <a:pt x="14308" y="29208"/>
                </a:lnTo>
                <a:lnTo>
                  <a:pt x="9158" y="29208"/>
                </a:lnTo>
                <a:lnTo>
                  <a:pt x="9158" y="7237"/>
                </a:lnTo>
                <a:lnTo>
                  <a:pt x="14308" y="7237"/>
                </a:lnTo>
                <a:lnTo>
                  <a:pt x="14308" y="10986"/>
                </a:lnTo>
                <a:close/>
              </a:path>
            </a:pathLst>
          </a:custGeom>
          <a:solidFill>
            <a:srgbClr val="000000"/>
          </a:solidFill>
        </p:spPr>
        <p:txBody>
          <a:bodyPr wrap="square" lIns="0" tIns="0" rIns="0" bIns="0" rtlCol="0">
            <a:noAutofit/>
          </a:bodyPr>
          <a:lstStyle/>
          <a:p>
            <a:endParaRPr/>
          </a:p>
        </p:txBody>
      </p:sp>
      <p:sp>
        <p:nvSpPr>
          <p:cNvPr id="386" name="object 386"/>
          <p:cNvSpPr/>
          <p:nvPr/>
        </p:nvSpPr>
        <p:spPr>
          <a:xfrm>
            <a:off x="2895144" y="4406058"/>
            <a:ext cx="22323" cy="35641"/>
          </a:xfrm>
          <a:custGeom>
            <a:avLst/>
            <a:gdLst/>
            <a:ahLst/>
            <a:cxnLst/>
            <a:rect l="l" t="t" r="r" b="b"/>
            <a:pathLst>
              <a:path w="22323" h="35641">
                <a:moveTo>
                  <a:pt x="0" y="35641"/>
                </a:moveTo>
                <a:lnTo>
                  <a:pt x="22323" y="35641"/>
                </a:lnTo>
                <a:lnTo>
                  <a:pt x="22323" y="29476"/>
                </a:lnTo>
                <a:lnTo>
                  <a:pt x="10022" y="29476"/>
                </a:lnTo>
                <a:lnTo>
                  <a:pt x="22323" y="14736"/>
                </a:lnTo>
                <a:lnTo>
                  <a:pt x="22323" y="4558"/>
                </a:lnTo>
                <a:lnTo>
                  <a:pt x="16031" y="0"/>
                </a:lnTo>
                <a:lnTo>
                  <a:pt x="7154" y="0"/>
                </a:lnTo>
                <a:lnTo>
                  <a:pt x="0" y="4558"/>
                </a:lnTo>
                <a:lnTo>
                  <a:pt x="0" y="10986"/>
                </a:lnTo>
                <a:lnTo>
                  <a:pt x="9155" y="10986"/>
                </a:lnTo>
                <a:lnTo>
                  <a:pt x="9155" y="7504"/>
                </a:lnTo>
                <a:lnTo>
                  <a:pt x="14313" y="7504"/>
                </a:lnTo>
                <a:lnTo>
                  <a:pt x="14313" y="12861"/>
                </a:lnTo>
                <a:lnTo>
                  <a:pt x="0" y="29476"/>
                </a:lnTo>
                <a:lnTo>
                  <a:pt x="0" y="35641"/>
                </a:lnTo>
                <a:close/>
              </a:path>
            </a:pathLst>
          </a:custGeom>
          <a:solidFill>
            <a:srgbClr val="000000"/>
          </a:solidFill>
        </p:spPr>
        <p:txBody>
          <a:bodyPr wrap="square" lIns="0" tIns="0" rIns="0" bIns="0" rtlCol="0">
            <a:noAutofit/>
          </a:bodyPr>
          <a:lstStyle/>
          <a:p>
            <a:endParaRPr/>
          </a:p>
        </p:txBody>
      </p:sp>
      <p:sp>
        <p:nvSpPr>
          <p:cNvPr id="387" name="object 387"/>
          <p:cNvSpPr/>
          <p:nvPr/>
        </p:nvSpPr>
        <p:spPr>
          <a:xfrm>
            <a:off x="2918326" y="4406058"/>
            <a:ext cx="24616" cy="35641"/>
          </a:xfrm>
          <a:custGeom>
            <a:avLst/>
            <a:gdLst/>
            <a:ahLst/>
            <a:cxnLst/>
            <a:rect l="l" t="t" r="r" b="b"/>
            <a:pathLst>
              <a:path w="24616" h="35641">
                <a:moveTo>
                  <a:pt x="14600" y="7504"/>
                </a:moveTo>
                <a:lnTo>
                  <a:pt x="0" y="35641"/>
                </a:lnTo>
                <a:lnTo>
                  <a:pt x="10308" y="35641"/>
                </a:lnTo>
                <a:lnTo>
                  <a:pt x="24616" y="7504"/>
                </a:lnTo>
                <a:lnTo>
                  <a:pt x="24616" y="0"/>
                </a:lnTo>
                <a:lnTo>
                  <a:pt x="0" y="0"/>
                </a:lnTo>
                <a:lnTo>
                  <a:pt x="0" y="7504"/>
                </a:lnTo>
                <a:lnTo>
                  <a:pt x="14600" y="7504"/>
                </a:lnTo>
                <a:close/>
              </a:path>
            </a:pathLst>
          </a:custGeom>
          <a:solidFill>
            <a:srgbClr val="000000"/>
          </a:solidFill>
        </p:spPr>
        <p:txBody>
          <a:bodyPr wrap="square" lIns="0" tIns="0" rIns="0" bIns="0" rtlCol="0">
            <a:noAutofit/>
          </a:bodyPr>
          <a:lstStyle/>
          <a:p>
            <a:endParaRPr/>
          </a:p>
        </p:txBody>
      </p:sp>
      <p:sp>
        <p:nvSpPr>
          <p:cNvPr id="388" name="object 388"/>
          <p:cNvSpPr/>
          <p:nvPr/>
        </p:nvSpPr>
        <p:spPr>
          <a:xfrm>
            <a:off x="3007923" y="4406058"/>
            <a:ext cx="23471" cy="35641"/>
          </a:xfrm>
          <a:custGeom>
            <a:avLst/>
            <a:gdLst/>
            <a:ahLst/>
            <a:cxnLst/>
            <a:rect l="l" t="t" r="r" b="b"/>
            <a:pathLst>
              <a:path w="23471" h="35641">
                <a:moveTo>
                  <a:pt x="0" y="35641"/>
                </a:moveTo>
                <a:lnTo>
                  <a:pt x="23471" y="35641"/>
                </a:lnTo>
                <a:lnTo>
                  <a:pt x="23471" y="29476"/>
                </a:lnTo>
                <a:lnTo>
                  <a:pt x="10016" y="29476"/>
                </a:lnTo>
                <a:lnTo>
                  <a:pt x="23471" y="14736"/>
                </a:lnTo>
                <a:lnTo>
                  <a:pt x="23471" y="4558"/>
                </a:lnTo>
                <a:lnTo>
                  <a:pt x="16312" y="0"/>
                </a:lnTo>
                <a:lnTo>
                  <a:pt x="7154" y="0"/>
                </a:lnTo>
                <a:lnTo>
                  <a:pt x="0" y="4558"/>
                </a:lnTo>
                <a:lnTo>
                  <a:pt x="0" y="10986"/>
                </a:lnTo>
                <a:lnTo>
                  <a:pt x="9158" y="10986"/>
                </a:lnTo>
                <a:lnTo>
                  <a:pt x="9158" y="7504"/>
                </a:lnTo>
                <a:lnTo>
                  <a:pt x="14308" y="7504"/>
                </a:lnTo>
                <a:lnTo>
                  <a:pt x="14308" y="12861"/>
                </a:lnTo>
                <a:lnTo>
                  <a:pt x="0" y="29476"/>
                </a:lnTo>
                <a:lnTo>
                  <a:pt x="0" y="35641"/>
                </a:lnTo>
                <a:close/>
              </a:path>
            </a:pathLst>
          </a:custGeom>
          <a:solidFill>
            <a:srgbClr val="000000"/>
          </a:solidFill>
        </p:spPr>
        <p:txBody>
          <a:bodyPr wrap="square" lIns="0" tIns="0" rIns="0" bIns="0" rtlCol="0">
            <a:noAutofit/>
          </a:bodyPr>
          <a:lstStyle/>
          <a:p>
            <a:endParaRPr/>
          </a:p>
        </p:txBody>
      </p:sp>
      <p:sp>
        <p:nvSpPr>
          <p:cNvPr id="389" name="object 389"/>
          <p:cNvSpPr/>
          <p:nvPr/>
        </p:nvSpPr>
        <p:spPr>
          <a:xfrm>
            <a:off x="3042839" y="4435534"/>
            <a:ext cx="8304" cy="6165"/>
          </a:xfrm>
          <a:custGeom>
            <a:avLst/>
            <a:gdLst/>
            <a:ahLst/>
            <a:cxnLst/>
            <a:rect l="l" t="t" r="r" b="b"/>
            <a:pathLst>
              <a:path w="8304" h="6165">
                <a:moveTo>
                  <a:pt x="0" y="0"/>
                </a:moveTo>
                <a:lnTo>
                  <a:pt x="8304" y="6165"/>
                </a:lnTo>
                <a:lnTo>
                  <a:pt x="5150" y="0"/>
                </a:lnTo>
                <a:lnTo>
                  <a:pt x="0" y="0"/>
                </a:lnTo>
                <a:close/>
              </a:path>
            </a:pathLst>
          </a:custGeom>
          <a:solidFill>
            <a:srgbClr val="000000"/>
          </a:solidFill>
        </p:spPr>
        <p:txBody>
          <a:bodyPr wrap="square" lIns="0" tIns="0" rIns="0" bIns="0" rtlCol="0">
            <a:noAutofit/>
          </a:bodyPr>
          <a:lstStyle/>
          <a:p>
            <a:endParaRPr/>
          </a:p>
        </p:txBody>
      </p:sp>
      <p:sp>
        <p:nvSpPr>
          <p:cNvPr id="390" name="object 390"/>
          <p:cNvSpPr/>
          <p:nvPr/>
        </p:nvSpPr>
        <p:spPr>
          <a:xfrm>
            <a:off x="3042839" y="4411420"/>
            <a:ext cx="5150" cy="24113"/>
          </a:xfrm>
          <a:custGeom>
            <a:avLst/>
            <a:gdLst/>
            <a:ahLst/>
            <a:cxnLst/>
            <a:rect l="l" t="t" r="r" b="b"/>
            <a:pathLst>
              <a:path w="5150" h="24113">
                <a:moveTo>
                  <a:pt x="0" y="16614"/>
                </a:moveTo>
                <a:lnTo>
                  <a:pt x="5150" y="16614"/>
                </a:lnTo>
                <a:lnTo>
                  <a:pt x="0" y="7767"/>
                </a:lnTo>
                <a:lnTo>
                  <a:pt x="0" y="0"/>
                </a:lnTo>
                <a:lnTo>
                  <a:pt x="0" y="24113"/>
                </a:lnTo>
                <a:lnTo>
                  <a:pt x="0" y="16614"/>
                </a:lnTo>
                <a:close/>
              </a:path>
            </a:pathLst>
          </a:custGeom>
          <a:solidFill>
            <a:srgbClr val="000000"/>
          </a:solidFill>
        </p:spPr>
        <p:txBody>
          <a:bodyPr wrap="square" lIns="0" tIns="0" rIns="0" bIns="0" rtlCol="0">
            <a:noAutofit/>
          </a:bodyPr>
          <a:lstStyle/>
          <a:p>
            <a:endParaRPr/>
          </a:p>
        </p:txBody>
      </p:sp>
      <p:sp>
        <p:nvSpPr>
          <p:cNvPr id="391" name="object 391"/>
          <p:cNvSpPr/>
          <p:nvPr/>
        </p:nvSpPr>
        <p:spPr>
          <a:xfrm>
            <a:off x="3033682" y="4406058"/>
            <a:ext cx="22613" cy="35641"/>
          </a:xfrm>
          <a:custGeom>
            <a:avLst/>
            <a:gdLst/>
            <a:ahLst/>
            <a:cxnLst/>
            <a:rect l="l" t="t" r="r" b="b"/>
            <a:pathLst>
              <a:path w="22613" h="35641">
                <a:moveTo>
                  <a:pt x="5152" y="35641"/>
                </a:moveTo>
                <a:lnTo>
                  <a:pt x="17462" y="35641"/>
                </a:lnTo>
                <a:lnTo>
                  <a:pt x="9158" y="29476"/>
                </a:lnTo>
                <a:lnTo>
                  <a:pt x="9158" y="5362"/>
                </a:lnTo>
                <a:lnTo>
                  <a:pt x="14308" y="5362"/>
                </a:lnTo>
                <a:lnTo>
                  <a:pt x="14308" y="13129"/>
                </a:lnTo>
                <a:lnTo>
                  <a:pt x="9158" y="13129"/>
                </a:lnTo>
                <a:lnTo>
                  <a:pt x="14308" y="21976"/>
                </a:lnTo>
                <a:lnTo>
                  <a:pt x="14308" y="29476"/>
                </a:lnTo>
                <a:lnTo>
                  <a:pt x="17462" y="35641"/>
                </a:lnTo>
                <a:lnTo>
                  <a:pt x="22613" y="31083"/>
                </a:lnTo>
                <a:lnTo>
                  <a:pt x="22613" y="21172"/>
                </a:lnTo>
                <a:lnTo>
                  <a:pt x="19466" y="18494"/>
                </a:lnTo>
                <a:lnTo>
                  <a:pt x="22613" y="14736"/>
                </a:lnTo>
                <a:lnTo>
                  <a:pt x="22613" y="4558"/>
                </a:lnTo>
                <a:lnTo>
                  <a:pt x="17462" y="0"/>
                </a:lnTo>
                <a:lnTo>
                  <a:pt x="5152" y="0"/>
                </a:lnTo>
                <a:lnTo>
                  <a:pt x="0" y="4558"/>
                </a:lnTo>
                <a:lnTo>
                  <a:pt x="0" y="14736"/>
                </a:lnTo>
                <a:lnTo>
                  <a:pt x="2862" y="18494"/>
                </a:lnTo>
                <a:lnTo>
                  <a:pt x="0" y="21172"/>
                </a:lnTo>
                <a:lnTo>
                  <a:pt x="0" y="31083"/>
                </a:lnTo>
                <a:lnTo>
                  <a:pt x="5152" y="35641"/>
                </a:lnTo>
                <a:close/>
              </a:path>
            </a:pathLst>
          </a:custGeom>
          <a:solidFill>
            <a:srgbClr val="000000"/>
          </a:solidFill>
        </p:spPr>
        <p:txBody>
          <a:bodyPr wrap="square" lIns="0" tIns="0" rIns="0" bIns="0" rtlCol="0">
            <a:noAutofit/>
          </a:bodyPr>
          <a:lstStyle/>
          <a:p>
            <a:endParaRPr/>
          </a:p>
        </p:txBody>
      </p:sp>
      <p:sp>
        <p:nvSpPr>
          <p:cNvPr id="392" name="object 392"/>
          <p:cNvSpPr/>
          <p:nvPr/>
        </p:nvSpPr>
        <p:spPr>
          <a:xfrm>
            <a:off x="3116977" y="4406058"/>
            <a:ext cx="23185" cy="35641"/>
          </a:xfrm>
          <a:custGeom>
            <a:avLst/>
            <a:gdLst/>
            <a:ahLst/>
            <a:cxnLst/>
            <a:rect l="l" t="t" r="r" b="b"/>
            <a:pathLst>
              <a:path w="23185" h="35641">
                <a:moveTo>
                  <a:pt x="0" y="35641"/>
                </a:moveTo>
                <a:lnTo>
                  <a:pt x="23185" y="35641"/>
                </a:lnTo>
                <a:lnTo>
                  <a:pt x="23185" y="29476"/>
                </a:lnTo>
                <a:lnTo>
                  <a:pt x="9727" y="29476"/>
                </a:lnTo>
                <a:lnTo>
                  <a:pt x="23185" y="14736"/>
                </a:lnTo>
                <a:lnTo>
                  <a:pt x="23185" y="4558"/>
                </a:lnTo>
                <a:lnTo>
                  <a:pt x="16031" y="0"/>
                </a:lnTo>
                <a:lnTo>
                  <a:pt x="6581" y="0"/>
                </a:lnTo>
                <a:lnTo>
                  <a:pt x="0" y="4558"/>
                </a:lnTo>
                <a:lnTo>
                  <a:pt x="0" y="10986"/>
                </a:lnTo>
                <a:lnTo>
                  <a:pt x="8871" y="10986"/>
                </a:lnTo>
                <a:lnTo>
                  <a:pt x="8871" y="7504"/>
                </a:lnTo>
                <a:lnTo>
                  <a:pt x="14021" y="7504"/>
                </a:lnTo>
                <a:lnTo>
                  <a:pt x="14021" y="12861"/>
                </a:lnTo>
                <a:lnTo>
                  <a:pt x="0" y="29476"/>
                </a:lnTo>
                <a:lnTo>
                  <a:pt x="0" y="35641"/>
                </a:lnTo>
                <a:close/>
              </a:path>
            </a:pathLst>
          </a:custGeom>
          <a:solidFill>
            <a:srgbClr val="000000"/>
          </a:solidFill>
        </p:spPr>
        <p:txBody>
          <a:bodyPr wrap="square" lIns="0" tIns="0" rIns="0" bIns="0" rtlCol="0">
            <a:noAutofit/>
          </a:bodyPr>
          <a:lstStyle/>
          <a:p>
            <a:endParaRPr/>
          </a:p>
        </p:txBody>
      </p:sp>
      <p:sp>
        <p:nvSpPr>
          <p:cNvPr id="393" name="object 393"/>
          <p:cNvSpPr/>
          <p:nvPr/>
        </p:nvSpPr>
        <p:spPr>
          <a:xfrm>
            <a:off x="3141877" y="4406058"/>
            <a:ext cx="23758" cy="35641"/>
          </a:xfrm>
          <a:custGeom>
            <a:avLst/>
            <a:gdLst/>
            <a:ahLst/>
            <a:cxnLst/>
            <a:rect l="l" t="t" r="r" b="b"/>
            <a:pathLst>
              <a:path w="23758" h="35641">
                <a:moveTo>
                  <a:pt x="0" y="4558"/>
                </a:moveTo>
                <a:lnTo>
                  <a:pt x="0" y="18494"/>
                </a:lnTo>
                <a:lnTo>
                  <a:pt x="7440" y="21976"/>
                </a:lnTo>
                <a:lnTo>
                  <a:pt x="14600" y="21976"/>
                </a:lnTo>
                <a:lnTo>
                  <a:pt x="14600" y="15540"/>
                </a:lnTo>
                <a:lnTo>
                  <a:pt x="9444" y="15540"/>
                </a:lnTo>
                <a:lnTo>
                  <a:pt x="9444" y="6701"/>
                </a:lnTo>
                <a:lnTo>
                  <a:pt x="14600" y="6701"/>
                </a:lnTo>
                <a:lnTo>
                  <a:pt x="16604" y="35641"/>
                </a:lnTo>
                <a:lnTo>
                  <a:pt x="23758" y="31083"/>
                </a:lnTo>
                <a:lnTo>
                  <a:pt x="23758" y="4558"/>
                </a:lnTo>
                <a:lnTo>
                  <a:pt x="16604" y="0"/>
                </a:lnTo>
                <a:lnTo>
                  <a:pt x="7440" y="0"/>
                </a:lnTo>
                <a:lnTo>
                  <a:pt x="0" y="4558"/>
                </a:lnTo>
                <a:close/>
              </a:path>
            </a:pathLst>
          </a:custGeom>
          <a:solidFill>
            <a:srgbClr val="000000"/>
          </a:solidFill>
        </p:spPr>
        <p:txBody>
          <a:bodyPr wrap="square" lIns="0" tIns="0" rIns="0" bIns="0" rtlCol="0">
            <a:noAutofit/>
          </a:bodyPr>
          <a:lstStyle/>
          <a:p>
            <a:endParaRPr/>
          </a:p>
        </p:txBody>
      </p:sp>
      <p:sp>
        <p:nvSpPr>
          <p:cNvPr id="394" name="object 394"/>
          <p:cNvSpPr/>
          <p:nvPr/>
        </p:nvSpPr>
        <p:spPr>
          <a:xfrm>
            <a:off x="3141877" y="4412758"/>
            <a:ext cx="16604" cy="28940"/>
          </a:xfrm>
          <a:custGeom>
            <a:avLst/>
            <a:gdLst/>
            <a:ahLst/>
            <a:cxnLst/>
            <a:rect l="l" t="t" r="r" b="b"/>
            <a:pathLst>
              <a:path w="16604" h="28940">
                <a:moveTo>
                  <a:pt x="14600" y="15275"/>
                </a:moveTo>
                <a:lnTo>
                  <a:pt x="14600" y="21703"/>
                </a:lnTo>
                <a:lnTo>
                  <a:pt x="9444" y="21703"/>
                </a:lnTo>
                <a:lnTo>
                  <a:pt x="9444" y="17953"/>
                </a:lnTo>
                <a:lnTo>
                  <a:pt x="0" y="17953"/>
                </a:lnTo>
                <a:lnTo>
                  <a:pt x="0" y="24381"/>
                </a:lnTo>
                <a:lnTo>
                  <a:pt x="7440" y="28940"/>
                </a:lnTo>
                <a:lnTo>
                  <a:pt x="16604" y="28940"/>
                </a:lnTo>
                <a:lnTo>
                  <a:pt x="14600" y="0"/>
                </a:lnTo>
                <a:lnTo>
                  <a:pt x="14600" y="15275"/>
                </a:lnTo>
                <a:close/>
              </a:path>
            </a:pathLst>
          </a:custGeom>
          <a:solidFill>
            <a:srgbClr val="000000"/>
          </a:solidFill>
        </p:spPr>
        <p:txBody>
          <a:bodyPr wrap="square" lIns="0" tIns="0" rIns="0" bIns="0" rtlCol="0">
            <a:noAutofit/>
          </a:bodyPr>
          <a:lstStyle/>
          <a:p>
            <a:endParaRPr/>
          </a:p>
        </p:txBody>
      </p:sp>
      <p:sp>
        <p:nvSpPr>
          <p:cNvPr id="395" name="object 395"/>
          <p:cNvSpPr/>
          <p:nvPr/>
        </p:nvSpPr>
        <p:spPr>
          <a:xfrm>
            <a:off x="3228604" y="4406058"/>
            <a:ext cx="24616" cy="35641"/>
          </a:xfrm>
          <a:custGeom>
            <a:avLst/>
            <a:gdLst/>
            <a:ahLst/>
            <a:cxnLst/>
            <a:rect l="l" t="t" r="r" b="b"/>
            <a:pathLst>
              <a:path w="24616" h="35641">
                <a:moveTo>
                  <a:pt x="15458" y="20905"/>
                </a:moveTo>
                <a:lnTo>
                  <a:pt x="15458" y="29476"/>
                </a:lnTo>
                <a:lnTo>
                  <a:pt x="9450" y="29476"/>
                </a:lnTo>
                <a:lnTo>
                  <a:pt x="9450" y="25458"/>
                </a:lnTo>
                <a:lnTo>
                  <a:pt x="0" y="25458"/>
                </a:lnTo>
                <a:lnTo>
                  <a:pt x="0" y="31083"/>
                </a:lnTo>
                <a:lnTo>
                  <a:pt x="7448" y="35641"/>
                </a:lnTo>
                <a:lnTo>
                  <a:pt x="17462" y="35641"/>
                </a:lnTo>
                <a:lnTo>
                  <a:pt x="24616" y="31083"/>
                </a:lnTo>
                <a:lnTo>
                  <a:pt x="24616" y="20905"/>
                </a:lnTo>
                <a:lnTo>
                  <a:pt x="20895" y="18226"/>
                </a:lnTo>
                <a:lnTo>
                  <a:pt x="24616" y="14736"/>
                </a:lnTo>
                <a:lnTo>
                  <a:pt x="24616" y="4558"/>
                </a:lnTo>
                <a:lnTo>
                  <a:pt x="17462" y="0"/>
                </a:lnTo>
                <a:lnTo>
                  <a:pt x="7448" y="0"/>
                </a:lnTo>
                <a:lnTo>
                  <a:pt x="0" y="4558"/>
                </a:lnTo>
                <a:lnTo>
                  <a:pt x="0" y="10183"/>
                </a:lnTo>
                <a:lnTo>
                  <a:pt x="9450" y="10183"/>
                </a:lnTo>
                <a:lnTo>
                  <a:pt x="9450" y="6165"/>
                </a:lnTo>
                <a:lnTo>
                  <a:pt x="15458" y="6165"/>
                </a:lnTo>
                <a:lnTo>
                  <a:pt x="15458" y="14736"/>
                </a:lnTo>
                <a:lnTo>
                  <a:pt x="9450" y="14736"/>
                </a:lnTo>
                <a:lnTo>
                  <a:pt x="9450" y="20905"/>
                </a:lnTo>
                <a:lnTo>
                  <a:pt x="15458" y="20905"/>
                </a:lnTo>
                <a:close/>
              </a:path>
            </a:pathLst>
          </a:custGeom>
          <a:solidFill>
            <a:srgbClr val="000000"/>
          </a:solidFill>
        </p:spPr>
        <p:txBody>
          <a:bodyPr wrap="square" lIns="0" tIns="0" rIns="0" bIns="0" rtlCol="0">
            <a:noAutofit/>
          </a:bodyPr>
          <a:lstStyle/>
          <a:p>
            <a:endParaRPr/>
          </a:p>
        </p:txBody>
      </p:sp>
      <p:sp>
        <p:nvSpPr>
          <p:cNvPr id="396" name="object 396"/>
          <p:cNvSpPr/>
          <p:nvPr/>
        </p:nvSpPr>
        <p:spPr>
          <a:xfrm>
            <a:off x="3259809" y="4406058"/>
            <a:ext cx="16309" cy="35641"/>
          </a:xfrm>
          <a:custGeom>
            <a:avLst/>
            <a:gdLst/>
            <a:ahLst/>
            <a:cxnLst/>
            <a:rect l="l" t="t" r="r" b="b"/>
            <a:pathLst>
              <a:path w="16309" h="35641">
                <a:moveTo>
                  <a:pt x="9441" y="0"/>
                </a:moveTo>
                <a:lnTo>
                  <a:pt x="0" y="0"/>
                </a:lnTo>
                <a:lnTo>
                  <a:pt x="2290" y="7504"/>
                </a:lnTo>
                <a:lnTo>
                  <a:pt x="7154" y="7504"/>
                </a:lnTo>
                <a:lnTo>
                  <a:pt x="7154" y="28404"/>
                </a:lnTo>
                <a:lnTo>
                  <a:pt x="9441" y="35641"/>
                </a:lnTo>
                <a:lnTo>
                  <a:pt x="16309" y="30279"/>
                </a:lnTo>
                <a:lnTo>
                  <a:pt x="16309" y="5362"/>
                </a:lnTo>
                <a:lnTo>
                  <a:pt x="9441" y="0"/>
                </a:lnTo>
                <a:close/>
              </a:path>
            </a:pathLst>
          </a:custGeom>
          <a:solidFill>
            <a:srgbClr val="000000"/>
          </a:solidFill>
        </p:spPr>
        <p:txBody>
          <a:bodyPr wrap="square" lIns="0" tIns="0" rIns="0" bIns="0" rtlCol="0">
            <a:noAutofit/>
          </a:bodyPr>
          <a:lstStyle/>
          <a:p>
            <a:endParaRPr/>
          </a:p>
        </p:txBody>
      </p:sp>
      <p:sp>
        <p:nvSpPr>
          <p:cNvPr id="397" name="object 397"/>
          <p:cNvSpPr/>
          <p:nvPr/>
        </p:nvSpPr>
        <p:spPr>
          <a:xfrm>
            <a:off x="3252935" y="4406058"/>
            <a:ext cx="16314" cy="35641"/>
          </a:xfrm>
          <a:custGeom>
            <a:avLst/>
            <a:gdLst/>
            <a:ahLst/>
            <a:cxnLst/>
            <a:rect l="l" t="t" r="r" b="b"/>
            <a:pathLst>
              <a:path w="16314" h="35641">
                <a:moveTo>
                  <a:pt x="9163" y="28404"/>
                </a:moveTo>
                <a:lnTo>
                  <a:pt x="9163" y="7504"/>
                </a:lnTo>
                <a:lnTo>
                  <a:pt x="6873" y="0"/>
                </a:lnTo>
                <a:lnTo>
                  <a:pt x="0" y="5362"/>
                </a:lnTo>
                <a:lnTo>
                  <a:pt x="0" y="30279"/>
                </a:lnTo>
                <a:lnTo>
                  <a:pt x="6873" y="35641"/>
                </a:lnTo>
                <a:lnTo>
                  <a:pt x="16314" y="35641"/>
                </a:lnTo>
                <a:lnTo>
                  <a:pt x="14027" y="28404"/>
                </a:lnTo>
                <a:lnTo>
                  <a:pt x="9163" y="28404"/>
                </a:lnTo>
                <a:close/>
              </a:path>
            </a:pathLst>
          </a:custGeom>
          <a:solidFill>
            <a:srgbClr val="000000"/>
          </a:solidFill>
        </p:spPr>
        <p:txBody>
          <a:bodyPr wrap="square" lIns="0" tIns="0" rIns="0" bIns="0" rtlCol="0">
            <a:noAutofit/>
          </a:bodyPr>
          <a:lstStyle/>
          <a:p>
            <a:endParaRPr/>
          </a:p>
        </p:txBody>
      </p:sp>
      <p:sp>
        <p:nvSpPr>
          <p:cNvPr id="398" name="object 398"/>
          <p:cNvSpPr/>
          <p:nvPr/>
        </p:nvSpPr>
        <p:spPr>
          <a:xfrm>
            <a:off x="3339382" y="4406058"/>
            <a:ext cx="24330" cy="35641"/>
          </a:xfrm>
          <a:custGeom>
            <a:avLst/>
            <a:gdLst/>
            <a:ahLst/>
            <a:cxnLst/>
            <a:rect l="l" t="t" r="r" b="b"/>
            <a:pathLst>
              <a:path w="24330" h="35641">
                <a:moveTo>
                  <a:pt x="15166" y="20905"/>
                </a:moveTo>
                <a:lnTo>
                  <a:pt x="15166" y="29476"/>
                </a:lnTo>
                <a:lnTo>
                  <a:pt x="9158" y="29476"/>
                </a:lnTo>
                <a:lnTo>
                  <a:pt x="9158" y="25458"/>
                </a:lnTo>
                <a:lnTo>
                  <a:pt x="0" y="25458"/>
                </a:lnTo>
                <a:lnTo>
                  <a:pt x="0" y="31083"/>
                </a:lnTo>
                <a:lnTo>
                  <a:pt x="7154" y="35641"/>
                </a:lnTo>
                <a:lnTo>
                  <a:pt x="17168" y="35641"/>
                </a:lnTo>
                <a:lnTo>
                  <a:pt x="24330" y="31083"/>
                </a:lnTo>
                <a:lnTo>
                  <a:pt x="24330" y="20905"/>
                </a:lnTo>
                <a:lnTo>
                  <a:pt x="20609" y="18226"/>
                </a:lnTo>
                <a:lnTo>
                  <a:pt x="24330" y="14736"/>
                </a:lnTo>
                <a:lnTo>
                  <a:pt x="24330" y="4558"/>
                </a:lnTo>
                <a:lnTo>
                  <a:pt x="17168" y="0"/>
                </a:lnTo>
                <a:lnTo>
                  <a:pt x="7154" y="0"/>
                </a:lnTo>
                <a:lnTo>
                  <a:pt x="0" y="4558"/>
                </a:lnTo>
                <a:lnTo>
                  <a:pt x="0" y="10183"/>
                </a:lnTo>
                <a:lnTo>
                  <a:pt x="9158" y="10183"/>
                </a:lnTo>
                <a:lnTo>
                  <a:pt x="9158" y="6165"/>
                </a:lnTo>
                <a:lnTo>
                  <a:pt x="15166" y="6165"/>
                </a:lnTo>
                <a:lnTo>
                  <a:pt x="15166" y="14736"/>
                </a:lnTo>
                <a:lnTo>
                  <a:pt x="9158" y="14736"/>
                </a:lnTo>
                <a:lnTo>
                  <a:pt x="9158" y="20905"/>
                </a:lnTo>
                <a:lnTo>
                  <a:pt x="15166" y="20905"/>
                </a:lnTo>
                <a:close/>
              </a:path>
            </a:pathLst>
          </a:custGeom>
          <a:solidFill>
            <a:srgbClr val="000000"/>
          </a:solidFill>
        </p:spPr>
        <p:txBody>
          <a:bodyPr wrap="square" lIns="0" tIns="0" rIns="0" bIns="0" rtlCol="0">
            <a:noAutofit/>
          </a:bodyPr>
          <a:lstStyle/>
          <a:p>
            <a:endParaRPr/>
          </a:p>
        </p:txBody>
      </p:sp>
      <p:sp>
        <p:nvSpPr>
          <p:cNvPr id="399" name="object 399"/>
          <p:cNvSpPr/>
          <p:nvPr/>
        </p:nvSpPr>
        <p:spPr>
          <a:xfrm>
            <a:off x="3363427" y="4406058"/>
            <a:ext cx="15164" cy="35641"/>
          </a:xfrm>
          <a:custGeom>
            <a:avLst/>
            <a:gdLst/>
            <a:ahLst/>
            <a:cxnLst/>
            <a:rect l="l" t="t" r="r" b="b"/>
            <a:pathLst>
              <a:path w="15164" h="35641">
                <a:moveTo>
                  <a:pt x="5436" y="7504"/>
                </a:moveTo>
                <a:lnTo>
                  <a:pt x="5436" y="35641"/>
                </a:lnTo>
                <a:lnTo>
                  <a:pt x="15164" y="35641"/>
                </a:lnTo>
                <a:lnTo>
                  <a:pt x="15164" y="0"/>
                </a:lnTo>
                <a:lnTo>
                  <a:pt x="2001" y="0"/>
                </a:lnTo>
                <a:lnTo>
                  <a:pt x="0" y="7504"/>
                </a:lnTo>
                <a:lnTo>
                  <a:pt x="5436" y="7504"/>
                </a:lnTo>
                <a:close/>
              </a:path>
            </a:pathLst>
          </a:custGeom>
          <a:solidFill>
            <a:srgbClr val="000000"/>
          </a:solidFill>
        </p:spPr>
        <p:txBody>
          <a:bodyPr wrap="square" lIns="0" tIns="0" rIns="0" bIns="0" rtlCol="0">
            <a:noAutofit/>
          </a:bodyPr>
          <a:lstStyle/>
          <a:p>
            <a:endParaRPr/>
          </a:p>
        </p:txBody>
      </p:sp>
      <p:sp>
        <p:nvSpPr>
          <p:cNvPr id="400" name="object 400"/>
          <p:cNvSpPr/>
          <p:nvPr/>
        </p:nvSpPr>
        <p:spPr>
          <a:xfrm>
            <a:off x="3086345" y="3958560"/>
            <a:ext cx="17462" cy="43141"/>
          </a:xfrm>
          <a:custGeom>
            <a:avLst/>
            <a:gdLst/>
            <a:ahLst/>
            <a:cxnLst/>
            <a:rect l="l" t="t" r="r" b="b"/>
            <a:pathLst>
              <a:path w="17462" h="43141">
                <a:moveTo>
                  <a:pt x="6017" y="8844"/>
                </a:moveTo>
                <a:lnTo>
                  <a:pt x="6017" y="43141"/>
                </a:lnTo>
                <a:lnTo>
                  <a:pt x="17462" y="43141"/>
                </a:lnTo>
                <a:lnTo>
                  <a:pt x="17462" y="0"/>
                </a:lnTo>
                <a:lnTo>
                  <a:pt x="2576" y="0"/>
                </a:lnTo>
                <a:lnTo>
                  <a:pt x="0" y="8844"/>
                </a:lnTo>
                <a:lnTo>
                  <a:pt x="6017" y="8844"/>
                </a:lnTo>
                <a:close/>
              </a:path>
            </a:pathLst>
          </a:custGeom>
          <a:solidFill>
            <a:srgbClr val="000000"/>
          </a:solidFill>
        </p:spPr>
        <p:txBody>
          <a:bodyPr wrap="square" lIns="0" tIns="0" rIns="0" bIns="0" rtlCol="0">
            <a:noAutofit/>
          </a:bodyPr>
          <a:lstStyle/>
          <a:p>
            <a:endParaRPr/>
          </a:p>
        </p:txBody>
      </p:sp>
      <p:sp>
        <p:nvSpPr>
          <p:cNvPr id="401" name="object 401"/>
          <p:cNvSpPr/>
          <p:nvPr/>
        </p:nvSpPr>
        <p:spPr>
          <a:xfrm>
            <a:off x="3108385" y="3958560"/>
            <a:ext cx="27482" cy="43141"/>
          </a:xfrm>
          <a:custGeom>
            <a:avLst/>
            <a:gdLst/>
            <a:ahLst/>
            <a:cxnLst/>
            <a:rect l="l" t="t" r="r" b="b"/>
            <a:pathLst>
              <a:path w="27482" h="43141">
                <a:moveTo>
                  <a:pt x="0" y="5356"/>
                </a:moveTo>
                <a:lnTo>
                  <a:pt x="0" y="21968"/>
                </a:lnTo>
                <a:lnTo>
                  <a:pt x="8304" y="27065"/>
                </a:lnTo>
                <a:lnTo>
                  <a:pt x="16317" y="27065"/>
                </a:lnTo>
                <a:lnTo>
                  <a:pt x="16317" y="18486"/>
                </a:lnTo>
                <a:lnTo>
                  <a:pt x="10881" y="18486"/>
                </a:lnTo>
                <a:lnTo>
                  <a:pt x="10881" y="7772"/>
                </a:lnTo>
                <a:lnTo>
                  <a:pt x="16317" y="7772"/>
                </a:lnTo>
                <a:lnTo>
                  <a:pt x="19177" y="43141"/>
                </a:lnTo>
                <a:lnTo>
                  <a:pt x="27482" y="38052"/>
                </a:lnTo>
                <a:lnTo>
                  <a:pt x="27482" y="5356"/>
                </a:lnTo>
                <a:lnTo>
                  <a:pt x="19177" y="0"/>
                </a:lnTo>
                <a:lnTo>
                  <a:pt x="8304" y="0"/>
                </a:lnTo>
                <a:lnTo>
                  <a:pt x="0" y="5356"/>
                </a:lnTo>
                <a:close/>
              </a:path>
            </a:pathLst>
          </a:custGeom>
          <a:solidFill>
            <a:srgbClr val="000000"/>
          </a:solidFill>
        </p:spPr>
        <p:txBody>
          <a:bodyPr wrap="square" lIns="0" tIns="0" rIns="0" bIns="0" rtlCol="0">
            <a:noAutofit/>
          </a:bodyPr>
          <a:lstStyle/>
          <a:p>
            <a:endParaRPr/>
          </a:p>
        </p:txBody>
      </p:sp>
      <p:sp>
        <p:nvSpPr>
          <p:cNvPr id="402" name="object 402"/>
          <p:cNvSpPr/>
          <p:nvPr/>
        </p:nvSpPr>
        <p:spPr>
          <a:xfrm>
            <a:off x="3108386" y="3966332"/>
            <a:ext cx="19177" cy="35368"/>
          </a:xfrm>
          <a:custGeom>
            <a:avLst/>
            <a:gdLst/>
            <a:ahLst/>
            <a:cxnLst/>
            <a:rect l="l" t="t" r="r" b="b"/>
            <a:pathLst>
              <a:path w="19177" h="35368">
                <a:moveTo>
                  <a:pt x="16317" y="19292"/>
                </a:moveTo>
                <a:lnTo>
                  <a:pt x="16317" y="26792"/>
                </a:lnTo>
                <a:lnTo>
                  <a:pt x="10881" y="26792"/>
                </a:lnTo>
                <a:lnTo>
                  <a:pt x="10881" y="22238"/>
                </a:lnTo>
                <a:lnTo>
                  <a:pt x="0" y="22238"/>
                </a:lnTo>
                <a:lnTo>
                  <a:pt x="0" y="30279"/>
                </a:lnTo>
                <a:lnTo>
                  <a:pt x="8304" y="35368"/>
                </a:lnTo>
                <a:lnTo>
                  <a:pt x="19177" y="35368"/>
                </a:lnTo>
                <a:lnTo>
                  <a:pt x="16317" y="0"/>
                </a:lnTo>
                <a:lnTo>
                  <a:pt x="16317" y="19292"/>
                </a:lnTo>
                <a:close/>
              </a:path>
            </a:pathLst>
          </a:custGeom>
          <a:solidFill>
            <a:srgbClr val="000000"/>
          </a:solidFill>
        </p:spPr>
        <p:txBody>
          <a:bodyPr wrap="square" lIns="0" tIns="0" rIns="0" bIns="0" rtlCol="0">
            <a:noAutofit/>
          </a:bodyPr>
          <a:lstStyle/>
          <a:p>
            <a:endParaRPr/>
          </a:p>
        </p:txBody>
      </p:sp>
      <p:sp>
        <p:nvSpPr>
          <p:cNvPr id="403" name="object 403"/>
          <p:cNvSpPr/>
          <p:nvPr/>
        </p:nvSpPr>
        <p:spPr>
          <a:xfrm>
            <a:off x="3140448" y="3958560"/>
            <a:ext cx="27760" cy="43141"/>
          </a:xfrm>
          <a:custGeom>
            <a:avLst/>
            <a:gdLst/>
            <a:ahLst/>
            <a:cxnLst/>
            <a:rect l="l" t="t" r="r" b="b"/>
            <a:pathLst>
              <a:path w="27760" h="43141">
                <a:moveTo>
                  <a:pt x="0" y="5356"/>
                </a:moveTo>
                <a:lnTo>
                  <a:pt x="0" y="21968"/>
                </a:lnTo>
                <a:lnTo>
                  <a:pt x="8296" y="27065"/>
                </a:lnTo>
                <a:lnTo>
                  <a:pt x="16601" y="27065"/>
                </a:lnTo>
                <a:lnTo>
                  <a:pt x="16601" y="18486"/>
                </a:lnTo>
                <a:lnTo>
                  <a:pt x="11159" y="18486"/>
                </a:lnTo>
                <a:lnTo>
                  <a:pt x="11159" y="7772"/>
                </a:lnTo>
                <a:lnTo>
                  <a:pt x="16601" y="7772"/>
                </a:lnTo>
                <a:lnTo>
                  <a:pt x="19463" y="43141"/>
                </a:lnTo>
                <a:lnTo>
                  <a:pt x="27760" y="38052"/>
                </a:lnTo>
                <a:lnTo>
                  <a:pt x="27760" y="5356"/>
                </a:lnTo>
                <a:lnTo>
                  <a:pt x="19463" y="0"/>
                </a:lnTo>
                <a:lnTo>
                  <a:pt x="8296" y="0"/>
                </a:lnTo>
                <a:lnTo>
                  <a:pt x="0" y="5356"/>
                </a:lnTo>
                <a:close/>
              </a:path>
            </a:pathLst>
          </a:custGeom>
          <a:solidFill>
            <a:srgbClr val="000000"/>
          </a:solidFill>
        </p:spPr>
        <p:txBody>
          <a:bodyPr wrap="square" lIns="0" tIns="0" rIns="0" bIns="0" rtlCol="0">
            <a:noAutofit/>
          </a:bodyPr>
          <a:lstStyle/>
          <a:p>
            <a:endParaRPr/>
          </a:p>
        </p:txBody>
      </p:sp>
      <p:sp>
        <p:nvSpPr>
          <p:cNvPr id="404" name="object 404"/>
          <p:cNvSpPr/>
          <p:nvPr/>
        </p:nvSpPr>
        <p:spPr>
          <a:xfrm>
            <a:off x="3140449" y="3966332"/>
            <a:ext cx="19463" cy="35368"/>
          </a:xfrm>
          <a:custGeom>
            <a:avLst/>
            <a:gdLst/>
            <a:ahLst/>
            <a:cxnLst/>
            <a:rect l="l" t="t" r="r" b="b"/>
            <a:pathLst>
              <a:path w="19463" h="35368">
                <a:moveTo>
                  <a:pt x="16601" y="19292"/>
                </a:moveTo>
                <a:lnTo>
                  <a:pt x="16601" y="26792"/>
                </a:lnTo>
                <a:lnTo>
                  <a:pt x="11159" y="26792"/>
                </a:lnTo>
                <a:lnTo>
                  <a:pt x="11159" y="22238"/>
                </a:lnTo>
                <a:lnTo>
                  <a:pt x="0" y="22238"/>
                </a:lnTo>
                <a:lnTo>
                  <a:pt x="0" y="30279"/>
                </a:lnTo>
                <a:lnTo>
                  <a:pt x="8296" y="35368"/>
                </a:lnTo>
                <a:lnTo>
                  <a:pt x="19463" y="35368"/>
                </a:lnTo>
                <a:lnTo>
                  <a:pt x="16601" y="0"/>
                </a:lnTo>
                <a:lnTo>
                  <a:pt x="16601" y="19292"/>
                </a:lnTo>
                <a:close/>
              </a:path>
            </a:pathLst>
          </a:custGeom>
          <a:solidFill>
            <a:srgbClr val="000000"/>
          </a:solidFill>
        </p:spPr>
        <p:txBody>
          <a:bodyPr wrap="square" lIns="0" tIns="0" rIns="0" bIns="0" rtlCol="0">
            <a:noAutofit/>
          </a:bodyPr>
          <a:lstStyle/>
          <a:p>
            <a:endParaRPr/>
          </a:p>
        </p:txBody>
      </p:sp>
      <p:sp>
        <p:nvSpPr>
          <p:cNvPr id="405" name="object 405"/>
          <p:cNvSpPr/>
          <p:nvPr/>
        </p:nvSpPr>
        <p:spPr>
          <a:xfrm>
            <a:off x="3171931" y="3959095"/>
            <a:ext cx="26623" cy="42605"/>
          </a:xfrm>
          <a:custGeom>
            <a:avLst/>
            <a:gdLst/>
            <a:ahLst/>
            <a:cxnLst/>
            <a:rect l="l" t="t" r="r" b="b"/>
            <a:pathLst>
              <a:path w="26623" h="42605">
                <a:moveTo>
                  <a:pt x="0" y="42605"/>
                </a:moveTo>
                <a:lnTo>
                  <a:pt x="26623" y="42605"/>
                </a:lnTo>
                <a:lnTo>
                  <a:pt x="26623" y="34832"/>
                </a:lnTo>
                <a:lnTo>
                  <a:pt x="11451" y="34832"/>
                </a:lnTo>
                <a:lnTo>
                  <a:pt x="26623" y="16879"/>
                </a:lnTo>
                <a:lnTo>
                  <a:pt x="26623" y="5089"/>
                </a:lnTo>
                <a:lnTo>
                  <a:pt x="18605" y="0"/>
                </a:lnTo>
                <a:lnTo>
                  <a:pt x="7732" y="0"/>
                </a:lnTo>
                <a:lnTo>
                  <a:pt x="0" y="5089"/>
                </a:lnTo>
                <a:lnTo>
                  <a:pt x="0" y="12593"/>
                </a:lnTo>
                <a:lnTo>
                  <a:pt x="10305" y="12593"/>
                </a:lnTo>
                <a:lnTo>
                  <a:pt x="10305" y="8844"/>
                </a:lnTo>
                <a:lnTo>
                  <a:pt x="16314" y="8844"/>
                </a:lnTo>
                <a:lnTo>
                  <a:pt x="16314" y="15004"/>
                </a:lnTo>
                <a:lnTo>
                  <a:pt x="0" y="34832"/>
                </a:lnTo>
                <a:lnTo>
                  <a:pt x="0" y="42605"/>
                </a:lnTo>
                <a:close/>
              </a:path>
            </a:pathLst>
          </a:custGeom>
          <a:solidFill>
            <a:srgbClr val="000000"/>
          </a:solidFill>
        </p:spPr>
        <p:txBody>
          <a:bodyPr wrap="square" lIns="0" tIns="0" rIns="0" bIns="0" rtlCol="0">
            <a:noAutofit/>
          </a:bodyPr>
          <a:lstStyle/>
          <a:p>
            <a:endParaRPr/>
          </a:p>
        </p:txBody>
      </p:sp>
      <p:sp>
        <p:nvSpPr>
          <p:cNvPr id="406" name="object 406"/>
          <p:cNvSpPr/>
          <p:nvPr/>
        </p:nvSpPr>
        <p:spPr>
          <a:xfrm>
            <a:off x="3073400" y="3943413"/>
            <a:ext cx="139700" cy="61912"/>
          </a:xfrm>
          <a:custGeom>
            <a:avLst/>
            <a:gdLst/>
            <a:ahLst/>
            <a:cxnLst/>
            <a:rect l="l" t="t" r="r" b="b"/>
            <a:pathLst>
              <a:path w="139700" h="61912">
                <a:moveTo>
                  <a:pt x="0" y="61912"/>
                </a:moveTo>
                <a:lnTo>
                  <a:pt x="139700" y="61912"/>
                </a:lnTo>
                <a:lnTo>
                  <a:pt x="139700" y="0"/>
                </a:lnTo>
                <a:lnTo>
                  <a:pt x="0" y="0"/>
                </a:lnTo>
                <a:lnTo>
                  <a:pt x="0" y="61912"/>
                </a:lnTo>
                <a:close/>
              </a:path>
            </a:pathLst>
          </a:custGeom>
          <a:solidFill>
            <a:srgbClr val="FFFFFF"/>
          </a:solidFill>
        </p:spPr>
        <p:txBody>
          <a:bodyPr wrap="square" lIns="0" tIns="0" rIns="0" bIns="0" rtlCol="0">
            <a:noAutofit/>
          </a:bodyPr>
          <a:lstStyle/>
          <a:p>
            <a:endParaRPr/>
          </a:p>
        </p:txBody>
      </p:sp>
      <p:sp>
        <p:nvSpPr>
          <p:cNvPr id="407" name="object 407"/>
          <p:cNvSpPr/>
          <p:nvPr/>
        </p:nvSpPr>
        <p:spPr>
          <a:xfrm>
            <a:off x="6571489" y="5032249"/>
            <a:ext cx="1490471" cy="917447"/>
          </a:xfrm>
          <a:prstGeom prst="rect">
            <a:avLst/>
          </a:prstGeom>
          <a:blipFill>
            <a:blip r:embed="rId4" cstate="print"/>
            <a:stretch>
              <a:fillRect/>
            </a:stretch>
          </a:blipFill>
        </p:spPr>
        <p:txBody>
          <a:bodyPr wrap="square" lIns="0" tIns="0" rIns="0" bIns="0" rtlCol="0">
            <a:noAutofit/>
          </a:bodyPr>
          <a:lstStyle/>
          <a:p>
            <a:endParaRPr/>
          </a:p>
        </p:txBody>
      </p:sp>
      <p:sp>
        <p:nvSpPr>
          <p:cNvPr id="408" name="object 408"/>
          <p:cNvSpPr/>
          <p:nvPr/>
        </p:nvSpPr>
        <p:spPr>
          <a:xfrm>
            <a:off x="6553201" y="5014912"/>
            <a:ext cx="1474851" cy="901700"/>
          </a:xfrm>
          <a:custGeom>
            <a:avLst/>
            <a:gdLst/>
            <a:ahLst/>
            <a:cxnLst/>
            <a:rect l="l" t="t" r="r" b="b"/>
            <a:pathLst>
              <a:path w="1474851" h="901700">
                <a:moveTo>
                  <a:pt x="0" y="901700"/>
                </a:moveTo>
                <a:lnTo>
                  <a:pt x="1474851" y="901700"/>
                </a:lnTo>
                <a:lnTo>
                  <a:pt x="1474851" y="0"/>
                </a:lnTo>
                <a:lnTo>
                  <a:pt x="0" y="0"/>
                </a:lnTo>
                <a:lnTo>
                  <a:pt x="0" y="901700"/>
                </a:lnTo>
                <a:close/>
              </a:path>
            </a:pathLst>
          </a:custGeom>
          <a:solidFill>
            <a:srgbClr val="608FFC"/>
          </a:solidFill>
        </p:spPr>
        <p:txBody>
          <a:bodyPr wrap="square" lIns="0" tIns="0" rIns="0" bIns="0" rtlCol="0">
            <a:noAutofit/>
          </a:bodyPr>
          <a:lstStyle/>
          <a:p>
            <a:endParaRPr/>
          </a:p>
        </p:txBody>
      </p:sp>
      <p:sp>
        <p:nvSpPr>
          <p:cNvPr id="409" name="object 409"/>
          <p:cNvSpPr/>
          <p:nvPr/>
        </p:nvSpPr>
        <p:spPr>
          <a:xfrm>
            <a:off x="6553201" y="5014912"/>
            <a:ext cx="1474851" cy="901700"/>
          </a:xfrm>
          <a:custGeom>
            <a:avLst/>
            <a:gdLst/>
            <a:ahLst/>
            <a:cxnLst/>
            <a:rect l="l" t="t" r="r" b="b"/>
            <a:pathLst>
              <a:path w="1474851" h="901700">
                <a:moveTo>
                  <a:pt x="0" y="901700"/>
                </a:moveTo>
                <a:lnTo>
                  <a:pt x="1474851" y="901700"/>
                </a:lnTo>
                <a:lnTo>
                  <a:pt x="1474851" y="0"/>
                </a:lnTo>
                <a:lnTo>
                  <a:pt x="0" y="0"/>
                </a:lnTo>
                <a:lnTo>
                  <a:pt x="0" y="901700"/>
                </a:lnTo>
                <a:close/>
              </a:path>
            </a:pathLst>
          </a:custGeom>
          <a:ln w="12700">
            <a:solidFill>
              <a:srgbClr val="FFFFFF"/>
            </a:solidFill>
          </a:ln>
        </p:spPr>
        <p:txBody>
          <a:bodyPr wrap="square" lIns="0" tIns="0" rIns="0" bIns="0" rtlCol="0">
            <a:noAutofit/>
          </a:bodyPr>
          <a:lstStyle/>
          <a:p>
            <a:endParaRPr/>
          </a:p>
        </p:txBody>
      </p:sp>
      <p:sp>
        <p:nvSpPr>
          <p:cNvPr id="410" name="object 410"/>
          <p:cNvSpPr/>
          <p:nvPr/>
        </p:nvSpPr>
        <p:spPr>
          <a:xfrm>
            <a:off x="7527925" y="5395712"/>
            <a:ext cx="206768" cy="0"/>
          </a:xfrm>
          <a:custGeom>
            <a:avLst/>
            <a:gdLst/>
            <a:ahLst/>
            <a:cxnLst/>
            <a:rect l="l" t="t" r="r" b="b"/>
            <a:pathLst>
              <a:path w="206768">
                <a:moveTo>
                  <a:pt x="0" y="0"/>
                </a:moveTo>
                <a:lnTo>
                  <a:pt x="206768" y="0"/>
                </a:lnTo>
              </a:path>
            </a:pathLst>
          </a:custGeom>
          <a:ln w="42945">
            <a:solidFill>
              <a:srgbClr val="00CC99"/>
            </a:solidFill>
          </a:ln>
        </p:spPr>
        <p:txBody>
          <a:bodyPr wrap="square" lIns="0" tIns="0" rIns="0" bIns="0" rtlCol="0">
            <a:noAutofit/>
          </a:bodyPr>
          <a:lstStyle/>
          <a:p>
            <a:endParaRPr/>
          </a:p>
        </p:txBody>
      </p:sp>
      <p:sp>
        <p:nvSpPr>
          <p:cNvPr id="411" name="object 411"/>
          <p:cNvSpPr/>
          <p:nvPr/>
        </p:nvSpPr>
        <p:spPr>
          <a:xfrm>
            <a:off x="7734681" y="5361052"/>
            <a:ext cx="13970" cy="55499"/>
          </a:xfrm>
          <a:custGeom>
            <a:avLst/>
            <a:gdLst/>
            <a:ahLst/>
            <a:cxnLst/>
            <a:rect l="l" t="t" r="r" b="b"/>
            <a:pathLst>
              <a:path w="13970" h="55499">
                <a:moveTo>
                  <a:pt x="0" y="13843"/>
                </a:moveTo>
                <a:lnTo>
                  <a:pt x="0" y="55499"/>
                </a:lnTo>
                <a:lnTo>
                  <a:pt x="13970" y="41656"/>
                </a:lnTo>
                <a:lnTo>
                  <a:pt x="13970" y="0"/>
                </a:lnTo>
                <a:lnTo>
                  <a:pt x="0" y="13843"/>
                </a:lnTo>
                <a:close/>
              </a:path>
            </a:pathLst>
          </a:custGeom>
          <a:solidFill>
            <a:srgbClr val="00A37A"/>
          </a:solidFill>
        </p:spPr>
        <p:txBody>
          <a:bodyPr wrap="square" lIns="0" tIns="0" rIns="0" bIns="0" rtlCol="0">
            <a:noAutofit/>
          </a:bodyPr>
          <a:lstStyle/>
          <a:p>
            <a:endParaRPr/>
          </a:p>
        </p:txBody>
      </p:sp>
      <p:sp>
        <p:nvSpPr>
          <p:cNvPr id="412" name="object 412"/>
          <p:cNvSpPr/>
          <p:nvPr/>
        </p:nvSpPr>
        <p:spPr>
          <a:xfrm>
            <a:off x="7527926" y="5361052"/>
            <a:ext cx="220725" cy="13843"/>
          </a:xfrm>
          <a:custGeom>
            <a:avLst/>
            <a:gdLst/>
            <a:ahLst/>
            <a:cxnLst/>
            <a:rect l="l" t="t" r="r" b="b"/>
            <a:pathLst>
              <a:path w="220725" h="13843">
                <a:moveTo>
                  <a:pt x="0" y="13843"/>
                </a:moveTo>
                <a:lnTo>
                  <a:pt x="206755" y="13843"/>
                </a:lnTo>
                <a:lnTo>
                  <a:pt x="220725" y="0"/>
                </a:lnTo>
                <a:lnTo>
                  <a:pt x="13842" y="0"/>
                </a:lnTo>
                <a:lnTo>
                  <a:pt x="0" y="13843"/>
                </a:lnTo>
                <a:close/>
              </a:path>
            </a:pathLst>
          </a:custGeom>
          <a:solidFill>
            <a:srgbClr val="31D5AC"/>
          </a:solidFill>
        </p:spPr>
        <p:txBody>
          <a:bodyPr wrap="square" lIns="0" tIns="0" rIns="0" bIns="0" rtlCol="0">
            <a:noAutofit/>
          </a:bodyPr>
          <a:lstStyle/>
          <a:p>
            <a:endParaRPr/>
          </a:p>
        </p:txBody>
      </p:sp>
      <p:sp>
        <p:nvSpPr>
          <p:cNvPr id="413" name="object 413"/>
          <p:cNvSpPr/>
          <p:nvPr/>
        </p:nvSpPr>
        <p:spPr>
          <a:xfrm>
            <a:off x="7527926" y="5361052"/>
            <a:ext cx="220725" cy="55499"/>
          </a:xfrm>
          <a:custGeom>
            <a:avLst/>
            <a:gdLst/>
            <a:ahLst/>
            <a:cxnLst/>
            <a:rect l="l" t="t" r="r" b="b"/>
            <a:pathLst>
              <a:path w="220725" h="55499">
                <a:moveTo>
                  <a:pt x="0" y="13843"/>
                </a:moveTo>
                <a:lnTo>
                  <a:pt x="13842" y="0"/>
                </a:lnTo>
                <a:lnTo>
                  <a:pt x="220725" y="0"/>
                </a:lnTo>
                <a:lnTo>
                  <a:pt x="220725" y="41656"/>
                </a:lnTo>
                <a:lnTo>
                  <a:pt x="206755" y="55499"/>
                </a:lnTo>
                <a:lnTo>
                  <a:pt x="0" y="55499"/>
                </a:lnTo>
                <a:lnTo>
                  <a:pt x="0" y="13843"/>
                </a:lnTo>
                <a:close/>
              </a:path>
            </a:pathLst>
          </a:custGeom>
          <a:ln w="12700">
            <a:solidFill>
              <a:srgbClr val="000000"/>
            </a:solidFill>
          </a:ln>
        </p:spPr>
        <p:txBody>
          <a:bodyPr wrap="square" lIns="0" tIns="0" rIns="0" bIns="0" rtlCol="0">
            <a:noAutofit/>
          </a:bodyPr>
          <a:lstStyle/>
          <a:p>
            <a:endParaRPr/>
          </a:p>
        </p:txBody>
      </p:sp>
      <p:sp>
        <p:nvSpPr>
          <p:cNvPr id="414" name="object 414"/>
          <p:cNvSpPr/>
          <p:nvPr/>
        </p:nvSpPr>
        <p:spPr>
          <a:xfrm>
            <a:off x="7527926" y="5361052"/>
            <a:ext cx="220725" cy="13843"/>
          </a:xfrm>
          <a:custGeom>
            <a:avLst/>
            <a:gdLst/>
            <a:ahLst/>
            <a:cxnLst/>
            <a:rect l="l" t="t" r="r" b="b"/>
            <a:pathLst>
              <a:path w="220725" h="13843">
                <a:moveTo>
                  <a:pt x="0" y="13843"/>
                </a:moveTo>
                <a:lnTo>
                  <a:pt x="206755" y="13843"/>
                </a:lnTo>
                <a:lnTo>
                  <a:pt x="220725" y="0"/>
                </a:lnTo>
              </a:path>
            </a:pathLst>
          </a:custGeom>
          <a:ln w="12699">
            <a:solidFill>
              <a:srgbClr val="000000"/>
            </a:solidFill>
          </a:ln>
        </p:spPr>
        <p:txBody>
          <a:bodyPr wrap="square" lIns="0" tIns="0" rIns="0" bIns="0" rtlCol="0">
            <a:noAutofit/>
          </a:bodyPr>
          <a:lstStyle/>
          <a:p>
            <a:endParaRPr/>
          </a:p>
        </p:txBody>
      </p:sp>
      <p:sp>
        <p:nvSpPr>
          <p:cNvPr id="415" name="object 415"/>
          <p:cNvSpPr/>
          <p:nvPr/>
        </p:nvSpPr>
        <p:spPr>
          <a:xfrm>
            <a:off x="7734681" y="5374894"/>
            <a:ext cx="0" cy="41656"/>
          </a:xfrm>
          <a:custGeom>
            <a:avLst/>
            <a:gdLst/>
            <a:ahLst/>
            <a:cxnLst/>
            <a:rect l="l" t="t" r="r" b="b"/>
            <a:pathLst>
              <a:path h="41655">
                <a:moveTo>
                  <a:pt x="0" y="0"/>
                </a:moveTo>
                <a:lnTo>
                  <a:pt x="0" y="41655"/>
                </a:lnTo>
              </a:path>
            </a:pathLst>
          </a:custGeom>
          <a:ln w="12700">
            <a:solidFill>
              <a:srgbClr val="000000"/>
            </a:solidFill>
          </a:ln>
        </p:spPr>
        <p:txBody>
          <a:bodyPr wrap="square" lIns="0" tIns="0" rIns="0" bIns="0" rtlCol="0">
            <a:noAutofit/>
          </a:bodyPr>
          <a:lstStyle/>
          <a:p>
            <a:endParaRPr/>
          </a:p>
        </p:txBody>
      </p:sp>
      <p:sp>
        <p:nvSpPr>
          <p:cNvPr id="416" name="object 416"/>
          <p:cNvSpPr/>
          <p:nvPr/>
        </p:nvSpPr>
        <p:spPr>
          <a:xfrm>
            <a:off x="6643751" y="5572520"/>
            <a:ext cx="208762" cy="0"/>
          </a:xfrm>
          <a:custGeom>
            <a:avLst/>
            <a:gdLst/>
            <a:ahLst/>
            <a:cxnLst/>
            <a:rect l="l" t="t" r="r" b="b"/>
            <a:pathLst>
              <a:path w="208762">
                <a:moveTo>
                  <a:pt x="0" y="0"/>
                </a:moveTo>
                <a:lnTo>
                  <a:pt x="208762" y="0"/>
                </a:lnTo>
              </a:path>
            </a:pathLst>
          </a:custGeom>
          <a:ln w="41753">
            <a:solidFill>
              <a:srgbClr val="00CC99"/>
            </a:solidFill>
          </a:ln>
        </p:spPr>
        <p:txBody>
          <a:bodyPr wrap="square" lIns="0" tIns="0" rIns="0" bIns="0" rtlCol="0">
            <a:noAutofit/>
          </a:bodyPr>
          <a:lstStyle/>
          <a:p>
            <a:endParaRPr/>
          </a:p>
        </p:txBody>
      </p:sp>
      <p:sp>
        <p:nvSpPr>
          <p:cNvPr id="417" name="object 417"/>
          <p:cNvSpPr/>
          <p:nvPr/>
        </p:nvSpPr>
        <p:spPr>
          <a:xfrm>
            <a:off x="6852412" y="5538852"/>
            <a:ext cx="13588" cy="53911"/>
          </a:xfrm>
          <a:custGeom>
            <a:avLst/>
            <a:gdLst/>
            <a:ahLst/>
            <a:cxnLst/>
            <a:rect l="l" t="t" r="r" b="b"/>
            <a:pathLst>
              <a:path w="13588" h="53911">
                <a:moveTo>
                  <a:pt x="0" y="13462"/>
                </a:moveTo>
                <a:lnTo>
                  <a:pt x="0" y="53911"/>
                </a:lnTo>
                <a:lnTo>
                  <a:pt x="13588" y="40386"/>
                </a:lnTo>
                <a:lnTo>
                  <a:pt x="13588" y="0"/>
                </a:lnTo>
                <a:lnTo>
                  <a:pt x="0" y="13462"/>
                </a:lnTo>
                <a:close/>
              </a:path>
            </a:pathLst>
          </a:custGeom>
          <a:solidFill>
            <a:srgbClr val="00A37A"/>
          </a:solidFill>
        </p:spPr>
        <p:txBody>
          <a:bodyPr wrap="square" lIns="0" tIns="0" rIns="0" bIns="0" rtlCol="0">
            <a:noAutofit/>
          </a:bodyPr>
          <a:lstStyle/>
          <a:p>
            <a:endParaRPr/>
          </a:p>
        </p:txBody>
      </p:sp>
      <p:sp>
        <p:nvSpPr>
          <p:cNvPr id="418" name="object 418"/>
          <p:cNvSpPr/>
          <p:nvPr/>
        </p:nvSpPr>
        <p:spPr>
          <a:xfrm>
            <a:off x="6643751" y="5538851"/>
            <a:ext cx="222250" cy="13462"/>
          </a:xfrm>
          <a:custGeom>
            <a:avLst/>
            <a:gdLst/>
            <a:ahLst/>
            <a:cxnLst/>
            <a:rect l="l" t="t" r="r" b="b"/>
            <a:pathLst>
              <a:path w="222250" h="13462">
                <a:moveTo>
                  <a:pt x="0" y="13462"/>
                </a:moveTo>
                <a:lnTo>
                  <a:pt x="208661" y="13462"/>
                </a:lnTo>
                <a:lnTo>
                  <a:pt x="222250" y="0"/>
                </a:lnTo>
                <a:lnTo>
                  <a:pt x="13462" y="0"/>
                </a:lnTo>
                <a:lnTo>
                  <a:pt x="0" y="13462"/>
                </a:lnTo>
                <a:close/>
              </a:path>
            </a:pathLst>
          </a:custGeom>
          <a:solidFill>
            <a:srgbClr val="31D5AC"/>
          </a:solidFill>
        </p:spPr>
        <p:txBody>
          <a:bodyPr wrap="square" lIns="0" tIns="0" rIns="0" bIns="0" rtlCol="0">
            <a:noAutofit/>
          </a:bodyPr>
          <a:lstStyle/>
          <a:p>
            <a:endParaRPr/>
          </a:p>
        </p:txBody>
      </p:sp>
      <p:sp>
        <p:nvSpPr>
          <p:cNvPr id="419" name="object 419"/>
          <p:cNvSpPr/>
          <p:nvPr/>
        </p:nvSpPr>
        <p:spPr>
          <a:xfrm>
            <a:off x="6643751" y="5538852"/>
            <a:ext cx="222250" cy="53911"/>
          </a:xfrm>
          <a:custGeom>
            <a:avLst/>
            <a:gdLst/>
            <a:ahLst/>
            <a:cxnLst/>
            <a:rect l="l" t="t" r="r" b="b"/>
            <a:pathLst>
              <a:path w="222250" h="53911">
                <a:moveTo>
                  <a:pt x="0" y="13462"/>
                </a:moveTo>
                <a:lnTo>
                  <a:pt x="13462" y="0"/>
                </a:lnTo>
                <a:lnTo>
                  <a:pt x="222250" y="0"/>
                </a:lnTo>
                <a:lnTo>
                  <a:pt x="222250" y="40386"/>
                </a:lnTo>
                <a:lnTo>
                  <a:pt x="208661" y="53911"/>
                </a:lnTo>
                <a:lnTo>
                  <a:pt x="0" y="53911"/>
                </a:lnTo>
                <a:lnTo>
                  <a:pt x="0" y="13462"/>
                </a:lnTo>
                <a:close/>
              </a:path>
            </a:pathLst>
          </a:custGeom>
          <a:ln w="12700">
            <a:solidFill>
              <a:srgbClr val="000000"/>
            </a:solidFill>
          </a:ln>
        </p:spPr>
        <p:txBody>
          <a:bodyPr wrap="square" lIns="0" tIns="0" rIns="0" bIns="0" rtlCol="0">
            <a:noAutofit/>
          </a:bodyPr>
          <a:lstStyle/>
          <a:p>
            <a:endParaRPr/>
          </a:p>
        </p:txBody>
      </p:sp>
      <p:sp>
        <p:nvSpPr>
          <p:cNvPr id="420" name="object 420"/>
          <p:cNvSpPr/>
          <p:nvPr/>
        </p:nvSpPr>
        <p:spPr>
          <a:xfrm>
            <a:off x="6643751" y="5538851"/>
            <a:ext cx="222250" cy="13462"/>
          </a:xfrm>
          <a:custGeom>
            <a:avLst/>
            <a:gdLst/>
            <a:ahLst/>
            <a:cxnLst/>
            <a:rect l="l" t="t" r="r" b="b"/>
            <a:pathLst>
              <a:path w="222250" h="13462">
                <a:moveTo>
                  <a:pt x="0" y="13462"/>
                </a:moveTo>
                <a:lnTo>
                  <a:pt x="208661" y="13462"/>
                </a:lnTo>
                <a:lnTo>
                  <a:pt x="222250" y="0"/>
                </a:lnTo>
              </a:path>
            </a:pathLst>
          </a:custGeom>
          <a:ln w="12700">
            <a:solidFill>
              <a:srgbClr val="000000"/>
            </a:solidFill>
          </a:ln>
        </p:spPr>
        <p:txBody>
          <a:bodyPr wrap="square" lIns="0" tIns="0" rIns="0" bIns="0" rtlCol="0">
            <a:noAutofit/>
          </a:bodyPr>
          <a:lstStyle/>
          <a:p>
            <a:endParaRPr/>
          </a:p>
        </p:txBody>
      </p:sp>
      <p:sp>
        <p:nvSpPr>
          <p:cNvPr id="421" name="object 421"/>
          <p:cNvSpPr/>
          <p:nvPr/>
        </p:nvSpPr>
        <p:spPr>
          <a:xfrm>
            <a:off x="6852412" y="5552314"/>
            <a:ext cx="0" cy="40449"/>
          </a:xfrm>
          <a:custGeom>
            <a:avLst/>
            <a:gdLst/>
            <a:ahLst/>
            <a:cxnLst/>
            <a:rect l="l" t="t" r="r" b="b"/>
            <a:pathLst>
              <a:path h="40449">
                <a:moveTo>
                  <a:pt x="0" y="0"/>
                </a:moveTo>
                <a:lnTo>
                  <a:pt x="0" y="40449"/>
                </a:lnTo>
              </a:path>
            </a:pathLst>
          </a:custGeom>
          <a:ln w="12700">
            <a:solidFill>
              <a:srgbClr val="000000"/>
            </a:solidFill>
          </a:ln>
        </p:spPr>
        <p:txBody>
          <a:bodyPr wrap="square" lIns="0" tIns="0" rIns="0" bIns="0" rtlCol="0">
            <a:noAutofit/>
          </a:bodyPr>
          <a:lstStyle/>
          <a:p>
            <a:endParaRPr/>
          </a:p>
        </p:txBody>
      </p:sp>
      <p:sp>
        <p:nvSpPr>
          <p:cNvPr id="422" name="object 422"/>
          <p:cNvSpPr/>
          <p:nvPr/>
        </p:nvSpPr>
        <p:spPr>
          <a:xfrm>
            <a:off x="6967601" y="5572520"/>
            <a:ext cx="146050" cy="0"/>
          </a:xfrm>
          <a:custGeom>
            <a:avLst/>
            <a:gdLst/>
            <a:ahLst/>
            <a:cxnLst/>
            <a:rect l="l" t="t" r="r" b="b"/>
            <a:pathLst>
              <a:path w="146050">
                <a:moveTo>
                  <a:pt x="0" y="0"/>
                </a:moveTo>
                <a:lnTo>
                  <a:pt x="146050" y="0"/>
                </a:lnTo>
              </a:path>
            </a:pathLst>
          </a:custGeom>
          <a:ln w="41753">
            <a:solidFill>
              <a:srgbClr val="00CC99"/>
            </a:solidFill>
          </a:ln>
        </p:spPr>
        <p:txBody>
          <a:bodyPr wrap="square" lIns="0" tIns="0" rIns="0" bIns="0" rtlCol="0">
            <a:noAutofit/>
          </a:bodyPr>
          <a:lstStyle/>
          <a:p>
            <a:endParaRPr/>
          </a:p>
        </p:txBody>
      </p:sp>
      <p:sp>
        <p:nvSpPr>
          <p:cNvPr id="423" name="object 423"/>
          <p:cNvSpPr/>
          <p:nvPr/>
        </p:nvSpPr>
        <p:spPr>
          <a:xfrm>
            <a:off x="7177913" y="5538852"/>
            <a:ext cx="13462" cy="53911"/>
          </a:xfrm>
          <a:custGeom>
            <a:avLst/>
            <a:gdLst/>
            <a:ahLst/>
            <a:cxnLst/>
            <a:rect l="l" t="t" r="r" b="b"/>
            <a:pathLst>
              <a:path w="13462" h="53911">
                <a:moveTo>
                  <a:pt x="0" y="13462"/>
                </a:moveTo>
                <a:lnTo>
                  <a:pt x="0" y="53911"/>
                </a:lnTo>
                <a:lnTo>
                  <a:pt x="13462" y="40386"/>
                </a:lnTo>
                <a:lnTo>
                  <a:pt x="13462" y="0"/>
                </a:lnTo>
                <a:lnTo>
                  <a:pt x="0" y="13462"/>
                </a:lnTo>
                <a:close/>
              </a:path>
            </a:pathLst>
          </a:custGeom>
          <a:solidFill>
            <a:srgbClr val="00A37A"/>
          </a:solidFill>
        </p:spPr>
        <p:txBody>
          <a:bodyPr wrap="square" lIns="0" tIns="0" rIns="0" bIns="0" rtlCol="0">
            <a:noAutofit/>
          </a:bodyPr>
          <a:lstStyle/>
          <a:p>
            <a:endParaRPr/>
          </a:p>
        </p:txBody>
      </p:sp>
      <p:sp>
        <p:nvSpPr>
          <p:cNvPr id="424" name="object 424"/>
          <p:cNvSpPr/>
          <p:nvPr/>
        </p:nvSpPr>
        <p:spPr>
          <a:xfrm>
            <a:off x="6967601" y="5538851"/>
            <a:ext cx="223774" cy="13462"/>
          </a:xfrm>
          <a:custGeom>
            <a:avLst/>
            <a:gdLst/>
            <a:ahLst/>
            <a:cxnLst/>
            <a:rect l="l" t="t" r="r" b="b"/>
            <a:pathLst>
              <a:path w="223774" h="13462">
                <a:moveTo>
                  <a:pt x="0" y="13462"/>
                </a:moveTo>
                <a:lnTo>
                  <a:pt x="210312" y="13462"/>
                </a:lnTo>
                <a:lnTo>
                  <a:pt x="223774" y="0"/>
                </a:lnTo>
                <a:lnTo>
                  <a:pt x="13462" y="0"/>
                </a:lnTo>
                <a:lnTo>
                  <a:pt x="0" y="13462"/>
                </a:lnTo>
                <a:close/>
              </a:path>
            </a:pathLst>
          </a:custGeom>
          <a:solidFill>
            <a:srgbClr val="31D5AC"/>
          </a:solidFill>
        </p:spPr>
        <p:txBody>
          <a:bodyPr wrap="square" lIns="0" tIns="0" rIns="0" bIns="0" rtlCol="0">
            <a:noAutofit/>
          </a:bodyPr>
          <a:lstStyle/>
          <a:p>
            <a:endParaRPr/>
          </a:p>
        </p:txBody>
      </p:sp>
      <p:sp>
        <p:nvSpPr>
          <p:cNvPr id="425" name="object 425"/>
          <p:cNvSpPr/>
          <p:nvPr/>
        </p:nvSpPr>
        <p:spPr>
          <a:xfrm>
            <a:off x="6967601" y="5538852"/>
            <a:ext cx="223774" cy="53911"/>
          </a:xfrm>
          <a:custGeom>
            <a:avLst/>
            <a:gdLst/>
            <a:ahLst/>
            <a:cxnLst/>
            <a:rect l="l" t="t" r="r" b="b"/>
            <a:pathLst>
              <a:path w="223774" h="53911">
                <a:moveTo>
                  <a:pt x="0" y="13462"/>
                </a:moveTo>
                <a:lnTo>
                  <a:pt x="13462" y="0"/>
                </a:lnTo>
                <a:lnTo>
                  <a:pt x="223774" y="0"/>
                </a:lnTo>
                <a:lnTo>
                  <a:pt x="223774" y="40386"/>
                </a:lnTo>
                <a:lnTo>
                  <a:pt x="210312" y="53911"/>
                </a:lnTo>
                <a:lnTo>
                  <a:pt x="0" y="53911"/>
                </a:lnTo>
                <a:lnTo>
                  <a:pt x="0" y="13462"/>
                </a:lnTo>
                <a:close/>
              </a:path>
            </a:pathLst>
          </a:custGeom>
          <a:ln w="12700">
            <a:solidFill>
              <a:srgbClr val="000000"/>
            </a:solidFill>
          </a:ln>
        </p:spPr>
        <p:txBody>
          <a:bodyPr wrap="square" lIns="0" tIns="0" rIns="0" bIns="0" rtlCol="0">
            <a:noAutofit/>
          </a:bodyPr>
          <a:lstStyle/>
          <a:p>
            <a:endParaRPr/>
          </a:p>
        </p:txBody>
      </p:sp>
      <p:sp>
        <p:nvSpPr>
          <p:cNvPr id="426" name="object 426"/>
          <p:cNvSpPr/>
          <p:nvPr/>
        </p:nvSpPr>
        <p:spPr>
          <a:xfrm>
            <a:off x="6967601" y="5538851"/>
            <a:ext cx="223774" cy="13462"/>
          </a:xfrm>
          <a:custGeom>
            <a:avLst/>
            <a:gdLst/>
            <a:ahLst/>
            <a:cxnLst/>
            <a:rect l="l" t="t" r="r" b="b"/>
            <a:pathLst>
              <a:path w="223774" h="13462">
                <a:moveTo>
                  <a:pt x="0" y="13462"/>
                </a:moveTo>
                <a:lnTo>
                  <a:pt x="210312" y="13462"/>
                </a:lnTo>
                <a:lnTo>
                  <a:pt x="223774" y="0"/>
                </a:lnTo>
              </a:path>
            </a:pathLst>
          </a:custGeom>
          <a:ln w="12700">
            <a:solidFill>
              <a:srgbClr val="000000"/>
            </a:solidFill>
          </a:ln>
        </p:spPr>
        <p:txBody>
          <a:bodyPr wrap="square" lIns="0" tIns="0" rIns="0" bIns="0" rtlCol="0">
            <a:noAutofit/>
          </a:bodyPr>
          <a:lstStyle/>
          <a:p>
            <a:endParaRPr/>
          </a:p>
        </p:txBody>
      </p:sp>
      <p:sp>
        <p:nvSpPr>
          <p:cNvPr id="427" name="object 427"/>
          <p:cNvSpPr/>
          <p:nvPr/>
        </p:nvSpPr>
        <p:spPr>
          <a:xfrm>
            <a:off x="7479538" y="5538852"/>
            <a:ext cx="13462" cy="53911"/>
          </a:xfrm>
          <a:custGeom>
            <a:avLst/>
            <a:gdLst/>
            <a:ahLst/>
            <a:cxnLst/>
            <a:rect l="l" t="t" r="r" b="b"/>
            <a:pathLst>
              <a:path w="13462" h="53911">
                <a:moveTo>
                  <a:pt x="0" y="13462"/>
                </a:moveTo>
                <a:lnTo>
                  <a:pt x="0" y="53911"/>
                </a:lnTo>
                <a:lnTo>
                  <a:pt x="13462" y="40386"/>
                </a:lnTo>
                <a:lnTo>
                  <a:pt x="13462" y="0"/>
                </a:lnTo>
                <a:lnTo>
                  <a:pt x="0" y="13462"/>
                </a:lnTo>
                <a:close/>
              </a:path>
            </a:pathLst>
          </a:custGeom>
          <a:solidFill>
            <a:srgbClr val="00A37A"/>
          </a:solidFill>
        </p:spPr>
        <p:txBody>
          <a:bodyPr wrap="square" lIns="0" tIns="0" rIns="0" bIns="0" rtlCol="0">
            <a:noAutofit/>
          </a:bodyPr>
          <a:lstStyle/>
          <a:p>
            <a:endParaRPr/>
          </a:p>
        </p:txBody>
      </p:sp>
      <p:sp>
        <p:nvSpPr>
          <p:cNvPr id="428" name="object 428"/>
          <p:cNvSpPr/>
          <p:nvPr/>
        </p:nvSpPr>
        <p:spPr>
          <a:xfrm>
            <a:off x="7270750" y="5538851"/>
            <a:ext cx="222250" cy="13462"/>
          </a:xfrm>
          <a:custGeom>
            <a:avLst/>
            <a:gdLst/>
            <a:ahLst/>
            <a:cxnLst/>
            <a:rect l="l" t="t" r="r" b="b"/>
            <a:pathLst>
              <a:path w="222250" h="13462">
                <a:moveTo>
                  <a:pt x="0" y="13462"/>
                </a:moveTo>
                <a:lnTo>
                  <a:pt x="208787" y="13462"/>
                </a:lnTo>
                <a:lnTo>
                  <a:pt x="222250" y="0"/>
                </a:lnTo>
                <a:lnTo>
                  <a:pt x="13462" y="0"/>
                </a:lnTo>
                <a:lnTo>
                  <a:pt x="0" y="13462"/>
                </a:lnTo>
                <a:close/>
              </a:path>
            </a:pathLst>
          </a:custGeom>
          <a:solidFill>
            <a:srgbClr val="31D5AC"/>
          </a:solidFill>
        </p:spPr>
        <p:txBody>
          <a:bodyPr wrap="square" lIns="0" tIns="0" rIns="0" bIns="0" rtlCol="0">
            <a:noAutofit/>
          </a:bodyPr>
          <a:lstStyle/>
          <a:p>
            <a:endParaRPr/>
          </a:p>
        </p:txBody>
      </p:sp>
      <p:sp>
        <p:nvSpPr>
          <p:cNvPr id="429" name="object 429"/>
          <p:cNvSpPr/>
          <p:nvPr/>
        </p:nvSpPr>
        <p:spPr>
          <a:xfrm>
            <a:off x="7270750" y="5538852"/>
            <a:ext cx="222250" cy="53911"/>
          </a:xfrm>
          <a:custGeom>
            <a:avLst/>
            <a:gdLst/>
            <a:ahLst/>
            <a:cxnLst/>
            <a:rect l="l" t="t" r="r" b="b"/>
            <a:pathLst>
              <a:path w="222250" h="53911">
                <a:moveTo>
                  <a:pt x="0" y="13462"/>
                </a:moveTo>
                <a:lnTo>
                  <a:pt x="13462" y="0"/>
                </a:lnTo>
                <a:lnTo>
                  <a:pt x="222250" y="0"/>
                </a:lnTo>
                <a:lnTo>
                  <a:pt x="222250" y="40386"/>
                </a:lnTo>
                <a:lnTo>
                  <a:pt x="208787" y="53911"/>
                </a:lnTo>
                <a:lnTo>
                  <a:pt x="0" y="53911"/>
                </a:lnTo>
                <a:lnTo>
                  <a:pt x="0" y="13462"/>
                </a:lnTo>
                <a:close/>
              </a:path>
            </a:pathLst>
          </a:custGeom>
          <a:ln w="12700">
            <a:solidFill>
              <a:srgbClr val="000000"/>
            </a:solidFill>
          </a:ln>
        </p:spPr>
        <p:txBody>
          <a:bodyPr wrap="square" lIns="0" tIns="0" rIns="0" bIns="0" rtlCol="0">
            <a:noAutofit/>
          </a:bodyPr>
          <a:lstStyle/>
          <a:p>
            <a:endParaRPr/>
          </a:p>
        </p:txBody>
      </p:sp>
      <p:sp>
        <p:nvSpPr>
          <p:cNvPr id="430" name="object 430"/>
          <p:cNvSpPr/>
          <p:nvPr/>
        </p:nvSpPr>
        <p:spPr>
          <a:xfrm>
            <a:off x="7270750" y="5538851"/>
            <a:ext cx="222250" cy="13462"/>
          </a:xfrm>
          <a:custGeom>
            <a:avLst/>
            <a:gdLst/>
            <a:ahLst/>
            <a:cxnLst/>
            <a:rect l="l" t="t" r="r" b="b"/>
            <a:pathLst>
              <a:path w="222250" h="13462">
                <a:moveTo>
                  <a:pt x="0" y="13462"/>
                </a:moveTo>
                <a:lnTo>
                  <a:pt x="208787" y="13462"/>
                </a:lnTo>
                <a:lnTo>
                  <a:pt x="222250" y="0"/>
                </a:lnTo>
              </a:path>
            </a:pathLst>
          </a:custGeom>
          <a:ln w="12700">
            <a:solidFill>
              <a:srgbClr val="000000"/>
            </a:solidFill>
          </a:ln>
        </p:spPr>
        <p:txBody>
          <a:bodyPr wrap="square" lIns="0" tIns="0" rIns="0" bIns="0" rtlCol="0">
            <a:noAutofit/>
          </a:bodyPr>
          <a:lstStyle/>
          <a:p>
            <a:endParaRPr/>
          </a:p>
        </p:txBody>
      </p:sp>
      <p:sp>
        <p:nvSpPr>
          <p:cNvPr id="431" name="object 431"/>
          <p:cNvSpPr/>
          <p:nvPr/>
        </p:nvSpPr>
        <p:spPr>
          <a:xfrm>
            <a:off x="6678677" y="5327650"/>
            <a:ext cx="1069975" cy="209550"/>
          </a:xfrm>
          <a:prstGeom prst="rect">
            <a:avLst/>
          </a:prstGeom>
          <a:blipFill>
            <a:blip r:embed="rId5" cstate="print"/>
            <a:stretch>
              <a:fillRect/>
            </a:stretch>
          </a:blipFill>
        </p:spPr>
        <p:txBody>
          <a:bodyPr wrap="square" lIns="0" tIns="0" rIns="0" bIns="0" rtlCol="0">
            <a:noAutofit/>
          </a:bodyPr>
          <a:lstStyle/>
          <a:p>
            <a:endParaRPr/>
          </a:p>
        </p:txBody>
      </p:sp>
      <p:sp>
        <p:nvSpPr>
          <p:cNvPr id="432" name="object 432"/>
          <p:cNvSpPr/>
          <p:nvPr/>
        </p:nvSpPr>
        <p:spPr>
          <a:xfrm>
            <a:off x="6678677" y="5327650"/>
            <a:ext cx="1069975" cy="209550"/>
          </a:xfrm>
          <a:custGeom>
            <a:avLst/>
            <a:gdLst/>
            <a:ahLst/>
            <a:cxnLst/>
            <a:rect l="l" t="t" r="r" b="b"/>
            <a:pathLst>
              <a:path w="1069975" h="209550">
                <a:moveTo>
                  <a:pt x="0" y="209550"/>
                </a:moveTo>
                <a:lnTo>
                  <a:pt x="267335" y="0"/>
                </a:lnTo>
                <a:lnTo>
                  <a:pt x="1069975" y="0"/>
                </a:lnTo>
                <a:lnTo>
                  <a:pt x="802513" y="209550"/>
                </a:lnTo>
                <a:lnTo>
                  <a:pt x="0" y="209550"/>
                </a:lnTo>
                <a:close/>
              </a:path>
            </a:pathLst>
          </a:custGeom>
          <a:ln w="12700">
            <a:solidFill>
              <a:srgbClr val="000000"/>
            </a:solidFill>
          </a:ln>
        </p:spPr>
        <p:txBody>
          <a:bodyPr wrap="square" lIns="0" tIns="0" rIns="0" bIns="0" rtlCol="0">
            <a:noAutofit/>
          </a:bodyPr>
          <a:lstStyle/>
          <a:p>
            <a:endParaRPr/>
          </a:p>
        </p:txBody>
      </p:sp>
      <p:sp>
        <p:nvSpPr>
          <p:cNvPr id="433" name="object 433"/>
          <p:cNvSpPr/>
          <p:nvPr/>
        </p:nvSpPr>
        <p:spPr>
          <a:xfrm>
            <a:off x="6856476" y="5378840"/>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434" name="object 434"/>
          <p:cNvSpPr/>
          <p:nvPr/>
        </p:nvSpPr>
        <p:spPr>
          <a:xfrm>
            <a:off x="7014719" y="5348351"/>
            <a:ext cx="30607" cy="122174"/>
          </a:xfrm>
          <a:custGeom>
            <a:avLst/>
            <a:gdLst/>
            <a:ahLst/>
            <a:cxnLst/>
            <a:rect l="l" t="t" r="r" b="b"/>
            <a:pathLst>
              <a:path w="30607" h="122174">
                <a:moveTo>
                  <a:pt x="0" y="30480"/>
                </a:moveTo>
                <a:lnTo>
                  <a:pt x="0" y="122174"/>
                </a:lnTo>
                <a:lnTo>
                  <a:pt x="30607" y="91567"/>
                </a:lnTo>
                <a:lnTo>
                  <a:pt x="30607" y="0"/>
                </a:lnTo>
                <a:lnTo>
                  <a:pt x="0" y="30480"/>
                </a:lnTo>
                <a:close/>
              </a:path>
            </a:pathLst>
          </a:custGeom>
          <a:solidFill>
            <a:srgbClr val="00A37A"/>
          </a:solidFill>
        </p:spPr>
        <p:txBody>
          <a:bodyPr wrap="square" lIns="0" tIns="0" rIns="0" bIns="0" rtlCol="0">
            <a:noAutofit/>
          </a:bodyPr>
          <a:lstStyle/>
          <a:p>
            <a:endParaRPr/>
          </a:p>
        </p:txBody>
      </p:sp>
      <p:sp>
        <p:nvSpPr>
          <p:cNvPr id="435" name="object 435"/>
          <p:cNvSpPr/>
          <p:nvPr/>
        </p:nvSpPr>
        <p:spPr>
          <a:xfrm>
            <a:off x="6856477" y="5348351"/>
            <a:ext cx="188849" cy="30480"/>
          </a:xfrm>
          <a:custGeom>
            <a:avLst/>
            <a:gdLst/>
            <a:ahLst/>
            <a:cxnLst/>
            <a:rect l="l" t="t" r="r" b="b"/>
            <a:pathLst>
              <a:path w="188849" h="30479">
                <a:moveTo>
                  <a:pt x="0" y="30480"/>
                </a:moveTo>
                <a:lnTo>
                  <a:pt x="158241" y="30480"/>
                </a:lnTo>
                <a:lnTo>
                  <a:pt x="188849" y="0"/>
                </a:lnTo>
                <a:lnTo>
                  <a:pt x="30479" y="0"/>
                </a:lnTo>
                <a:lnTo>
                  <a:pt x="0" y="30480"/>
                </a:lnTo>
                <a:close/>
              </a:path>
            </a:pathLst>
          </a:custGeom>
          <a:solidFill>
            <a:srgbClr val="31D5AC"/>
          </a:solidFill>
        </p:spPr>
        <p:txBody>
          <a:bodyPr wrap="square" lIns="0" tIns="0" rIns="0" bIns="0" rtlCol="0">
            <a:noAutofit/>
          </a:bodyPr>
          <a:lstStyle/>
          <a:p>
            <a:endParaRPr/>
          </a:p>
        </p:txBody>
      </p:sp>
      <p:sp>
        <p:nvSpPr>
          <p:cNvPr id="436" name="object 436"/>
          <p:cNvSpPr/>
          <p:nvPr/>
        </p:nvSpPr>
        <p:spPr>
          <a:xfrm>
            <a:off x="6856477" y="5348351"/>
            <a:ext cx="188849" cy="30480"/>
          </a:xfrm>
          <a:custGeom>
            <a:avLst/>
            <a:gdLst/>
            <a:ahLst/>
            <a:cxnLst/>
            <a:rect l="l" t="t" r="r" b="b"/>
            <a:pathLst>
              <a:path w="188849" h="30479">
                <a:moveTo>
                  <a:pt x="0" y="30480"/>
                </a:moveTo>
                <a:lnTo>
                  <a:pt x="158241" y="30480"/>
                </a:lnTo>
                <a:lnTo>
                  <a:pt x="188849" y="0"/>
                </a:lnTo>
              </a:path>
            </a:pathLst>
          </a:custGeom>
          <a:ln w="12700">
            <a:solidFill>
              <a:srgbClr val="FFFFFF"/>
            </a:solidFill>
          </a:ln>
        </p:spPr>
        <p:txBody>
          <a:bodyPr wrap="square" lIns="0" tIns="0" rIns="0" bIns="0" rtlCol="0">
            <a:noAutofit/>
          </a:bodyPr>
          <a:lstStyle/>
          <a:p>
            <a:endParaRPr/>
          </a:p>
        </p:txBody>
      </p:sp>
      <p:sp>
        <p:nvSpPr>
          <p:cNvPr id="437" name="object 437"/>
          <p:cNvSpPr/>
          <p:nvPr/>
        </p:nvSpPr>
        <p:spPr>
          <a:xfrm>
            <a:off x="7012052" y="5378840"/>
            <a:ext cx="159943" cy="91685"/>
          </a:xfrm>
          <a:custGeom>
            <a:avLst/>
            <a:gdLst/>
            <a:ahLst/>
            <a:cxnLst/>
            <a:rect l="l" t="t" r="r" b="b"/>
            <a:pathLst>
              <a:path w="159943" h="91685">
                <a:moveTo>
                  <a:pt x="0" y="91685"/>
                </a:moveTo>
                <a:lnTo>
                  <a:pt x="159943" y="91685"/>
                </a:lnTo>
                <a:lnTo>
                  <a:pt x="159943" y="0"/>
                </a:lnTo>
                <a:lnTo>
                  <a:pt x="0" y="0"/>
                </a:lnTo>
                <a:lnTo>
                  <a:pt x="0" y="91685"/>
                </a:lnTo>
                <a:close/>
              </a:path>
            </a:pathLst>
          </a:custGeom>
          <a:solidFill>
            <a:srgbClr val="00CC99"/>
          </a:solidFill>
        </p:spPr>
        <p:txBody>
          <a:bodyPr wrap="square" lIns="0" tIns="0" rIns="0" bIns="0" rtlCol="0">
            <a:noAutofit/>
          </a:bodyPr>
          <a:lstStyle/>
          <a:p>
            <a:endParaRPr/>
          </a:p>
        </p:txBody>
      </p:sp>
      <p:sp>
        <p:nvSpPr>
          <p:cNvPr id="438" name="object 438"/>
          <p:cNvSpPr/>
          <p:nvPr/>
        </p:nvSpPr>
        <p:spPr>
          <a:xfrm>
            <a:off x="7171944" y="5348351"/>
            <a:ext cx="30606" cy="122174"/>
          </a:xfrm>
          <a:custGeom>
            <a:avLst/>
            <a:gdLst/>
            <a:ahLst/>
            <a:cxnLst/>
            <a:rect l="l" t="t" r="r" b="b"/>
            <a:pathLst>
              <a:path w="30606" h="122174">
                <a:moveTo>
                  <a:pt x="0" y="30480"/>
                </a:moveTo>
                <a:lnTo>
                  <a:pt x="0" y="122174"/>
                </a:lnTo>
                <a:lnTo>
                  <a:pt x="30606" y="91567"/>
                </a:lnTo>
                <a:lnTo>
                  <a:pt x="30606" y="0"/>
                </a:lnTo>
                <a:lnTo>
                  <a:pt x="0" y="30480"/>
                </a:lnTo>
                <a:close/>
              </a:path>
            </a:pathLst>
          </a:custGeom>
          <a:solidFill>
            <a:srgbClr val="00A37A"/>
          </a:solidFill>
        </p:spPr>
        <p:txBody>
          <a:bodyPr wrap="square" lIns="0" tIns="0" rIns="0" bIns="0" rtlCol="0">
            <a:noAutofit/>
          </a:bodyPr>
          <a:lstStyle/>
          <a:p>
            <a:endParaRPr/>
          </a:p>
        </p:txBody>
      </p:sp>
      <p:sp>
        <p:nvSpPr>
          <p:cNvPr id="439" name="object 439"/>
          <p:cNvSpPr/>
          <p:nvPr/>
        </p:nvSpPr>
        <p:spPr>
          <a:xfrm>
            <a:off x="7012051" y="5348351"/>
            <a:ext cx="190500" cy="30480"/>
          </a:xfrm>
          <a:custGeom>
            <a:avLst/>
            <a:gdLst/>
            <a:ahLst/>
            <a:cxnLst/>
            <a:rect l="l" t="t" r="r" b="b"/>
            <a:pathLst>
              <a:path w="190500" h="30479">
                <a:moveTo>
                  <a:pt x="0" y="30480"/>
                </a:moveTo>
                <a:lnTo>
                  <a:pt x="159893" y="30480"/>
                </a:lnTo>
                <a:lnTo>
                  <a:pt x="190500" y="0"/>
                </a:lnTo>
                <a:lnTo>
                  <a:pt x="30479" y="0"/>
                </a:lnTo>
                <a:lnTo>
                  <a:pt x="0" y="30480"/>
                </a:lnTo>
                <a:close/>
              </a:path>
            </a:pathLst>
          </a:custGeom>
          <a:solidFill>
            <a:srgbClr val="31D5AC"/>
          </a:solidFill>
        </p:spPr>
        <p:txBody>
          <a:bodyPr wrap="square" lIns="0" tIns="0" rIns="0" bIns="0" rtlCol="0">
            <a:noAutofit/>
          </a:bodyPr>
          <a:lstStyle/>
          <a:p>
            <a:endParaRPr/>
          </a:p>
        </p:txBody>
      </p:sp>
      <p:sp>
        <p:nvSpPr>
          <p:cNvPr id="440" name="object 440"/>
          <p:cNvSpPr/>
          <p:nvPr/>
        </p:nvSpPr>
        <p:spPr>
          <a:xfrm>
            <a:off x="7012051" y="5348351"/>
            <a:ext cx="190500" cy="122174"/>
          </a:xfrm>
          <a:custGeom>
            <a:avLst/>
            <a:gdLst/>
            <a:ahLst/>
            <a:cxnLst/>
            <a:rect l="l" t="t" r="r" b="b"/>
            <a:pathLst>
              <a:path w="190500" h="122174">
                <a:moveTo>
                  <a:pt x="0" y="30480"/>
                </a:moveTo>
                <a:lnTo>
                  <a:pt x="30479" y="0"/>
                </a:lnTo>
                <a:lnTo>
                  <a:pt x="190500" y="0"/>
                </a:lnTo>
                <a:lnTo>
                  <a:pt x="190500" y="91567"/>
                </a:lnTo>
                <a:lnTo>
                  <a:pt x="159893" y="122174"/>
                </a:lnTo>
                <a:lnTo>
                  <a:pt x="0" y="122174"/>
                </a:lnTo>
                <a:lnTo>
                  <a:pt x="0" y="30480"/>
                </a:lnTo>
                <a:close/>
              </a:path>
            </a:pathLst>
          </a:custGeom>
          <a:ln w="12699">
            <a:solidFill>
              <a:srgbClr val="FFFFFF"/>
            </a:solidFill>
          </a:ln>
        </p:spPr>
        <p:txBody>
          <a:bodyPr wrap="square" lIns="0" tIns="0" rIns="0" bIns="0" rtlCol="0">
            <a:noAutofit/>
          </a:bodyPr>
          <a:lstStyle/>
          <a:p>
            <a:endParaRPr/>
          </a:p>
        </p:txBody>
      </p:sp>
      <p:sp>
        <p:nvSpPr>
          <p:cNvPr id="441" name="object 441"/>
          <p:cNvSpPr/>
          <p:nvPr/>
        </p:nvSpPr>
        <p:spPr>
          <a:xfrm>
            <a:off x="7012051" y="5348351"/>
            <a:ext cx="190500" cy="30480"/>
          </a:xfrm>
          <a:custGeom>
            <a:avLst/>
            <a:gdLst/>
            <a:ahLst/>
            <a:cxnLst/>
            <a:rect l="l" t="t" r="r" b="b"/>
            <a:pathLst>
              <a:path w="190500" h="30479">
                <a:moveTo>
                  <a:pt x="0" y="30480"/>
                </a:moveTo>
                <a:lnTo>
                  <a:pt x="159893" y="30480"/>
                </a:lnTo>
                <a:lnTo>
                  <a:pt x="190500" y="0"/>
                </a:lnTo>
              </a:path>
            </a:pathLst>
          </a:custGeom>
          <a:ln w="12700">
            <a:solidFill>
              <a:srgbClr val="FFFFFF"/>
            </a:solidFill>
          </a:ln>
        </p:spPr>
        <p:txBody>
          <a:bodyPr wrap="square" lIns="0" tIns="0" rIns="0" bIns="0" rtlCol="0">
            <a:noAutofit/>
          </a:bodyPr>
          <a:lstStyle/>
          <a:p>
            <a:endParaRPr/>
          </a:p>
        </p:txBody>
      </p:sp>
      <p:sp>
        <p:nvSpPr>
          <p:cNvPr id="442" name="object 442"/>
          <p:cNvSpPr/>
          <p:nvPr/>
        </p:nvSpPr>
        <p:spPr>
          <a:xfrm>
            <a:off x="7158101" y="5378840"/>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443" name="object 443"/>
          <p:cNvSpPr/>
          <p:nvPr/>
        </p:nvSpPr>
        <p:spPr>
          <a:xfrm>
            <a:off x="7316344" y="5348351"/>
            <a:ext cx="30607" cy="122174"/>
          </a:xfrm>
          <a:custGeom>
            <a:avLst/>
            <a:gdLst/>
            <a:ahLst/>
            <a:cxnLst/>
            <a:rect l="l" t="t" r="r" b="b"/>
            <a:pathLst>
              <a:path w="30607" h="122174">
                <a:moveTo>
                  <a:pt x="0" y="30480"/>
                </a:moveTo>
                <a:lnTo>
                  <a:pt x="0" y="122174"/>
                </a:lnTo>
                <a:lnTo>
                  <a:pt x="30607" y="91567"/>
                </a:lnTo>
                <a:lnTo>
                  <a:pt x="30607" y="0"/>
                </a:lnTo>
                <a:lnTo>
                  <a:pt x="0" y="30480"/>
                </a:lnTo>
                <a:close/>
              </a:path>
            </a:pathLst>
          </a:custGeom>
          <a:solidFill>
            <a:srgbClr val="00A37A"/>
          </a:solidFill>
        </p:spPr>
        <p:txBody>
          <a:bodyPr wrap="square" lIns="0" tIns="0" rIns="0" bIns="0" rtlCol="0">
            <a:noAutofit/>
          </a:bodyPr>
          <a:lstStyle/>
          <a:p>
            <a:endParaRPr/>
          </a:p>
        </p:txBody>
      </p:sp>
      <p:sp>
        <p:nvSpPr>
          <p:cNvPr id="444" name="object 444"/>
          <p:cNvSpPr/>
          <p:nvPr/>
        </p:nvSpPr>
        <p:spPr>
          <a:xfrm>
            <a:off x="7158102" y="5348351"/>
            <a:ext cx="188849" cy="30480"/>
          </a:xfrm>
          <a:custGeom>
            <a:avLst/>
            <a:gdLst/>
            <a:ahLst/>
            <a:cxnLst/>
            <a:rect l="l" t="t" r="r" b="b"/>
            <a:pathLst>
              <a:path w="188849" h="30479">
                <a:moveTo>
                  <a:pt x="0" y="30480"/>
                </a:moveTo>
                <a:lnTo>
                  <a:pt x="158241" y="30480"/>
                </a:lnTo>
                <a:lnTo>
                  <a:pt x="188849" y="0"/>
                </a:lnTo>
                <a:lnTo>
                  <a:pt x="30479" y="0"/>
                </a:lnTo>
                <a:lnTo>
                  <a:pt x="0" y="30480"/>
                </a:lnTo>
                <a:close/>
              </a:path>
            </a:pathLst>
          </a:custGeom>
          <a:solidFill>
            <a:srgbClr val="31D5AC"/>
          </a:solidFill>
        </p:spPr>
        <p:txBody>
          <a:bodyPr wrap="square" lIns="0" tIns="0" rIns="0" bIns="0" rtlCol="0">
            <a:noAutofit/>
          </a:bodyPr>
          <a:lstStyle/>
          <a:p>
            <a:endParaRPr/>
          </a:p>
        </p:txBody>
      </p:sp>
      <p:sp>
        <p:nvSpPr>
          <p:cNvPr id="445" name="object 445"/>
          <p:cNvSpPr/>
          <p:nvPr/>
        </p:nvSpPr>
        <p:spPr>
          <a:xfrm>
            <a:off x="7158102" y="5348351"/>
            <a:ext cx="188849" cy="122174"/>
          </a:xfrm>
          <a:custGeom>
            <a:avLst/>
            <a:gdLst/>
            <a:ahLst/>
            <a:cxnLst/>
            <a:rect l="l" t="t" r="r" b="b"/>
            <a:pathLst>
              <a:path w="188849" h="122174">
                <a:moveTo>
                  <a:pt x="0" y="30480"/>
                </a:moveTo>
                <a:lnTo>
                  <a:pt x="30479" y="0"/>
                </a:lnTo>
                <a:lnTo>
                  <a:pt x="188849" y="0"/>
                </a:lnTo>
                <a:lnTo>
                  <a:pt x="188849" y="91567"/>
                </a:lnTo>
                <a:lnTo>
                  <a:pt x="158241" y="122174"/>
                </a:lnTo>
                <a:lnTo>
                  <a:pt x="0" y="122174"/>
                </a:lnTo>
                <a:lnTo>
                  <a:pt x="0" y="30480"/>
                </a:lnTo>
                <a:close/>
              </a:path>
            </a:pathLst>
          </a:custGeom>
          <a:ln w="12700">
            <a:solidFill>
              <a:srgbClr val="FFFFFF"/>
            </a:solidFill>
          </a:ln>
        </p:spPr>
        <p:txBody>
          <a:bodyPr wrap="square" lIns="0" tIns="0" rIns="0" bIns="0" rtlCol="0">
            <a:noAutofit/>
          </a:bodyPr>
          <a:lstStyle/>
          <a:p>
            <a:endParaRPr/>
          </a:p>
        </p:txBody>
      </p:sp>
      <p:sp>
        <p:nvSpPr>
          <p:cNvPr id="446" name="object 446"/>
          <p:cNvSpPr/>
          <p:nvPr/>
        </p:nvSpPr>
        <p:spPr>
          <a:xfrm>
            <a:off x="7158102" y="5348351"/>
            <a:ext cx="188849" cy="30480"/>
          </a:xfrm>
          <a:custGeom>
            <a:avLst/>
            <a:gdLst/>
            <a:ahLst/>
            <a:cxnLst/>
            <a:rect l="l" t="t" r="r" b="b"/>
            <a:pathLst>
              <a:path w="188849" h="30479">
                <a:moveTo>
                  <a:pt x="0" y="30480"/>
                </a:moveTo>
                <a:lnTo>
                  <a:pt x="158241" y="30480"/>
                </a:lnTo>
                <a:lnTo>
                  <a:pt x="188849" y="0"/>
                </a:lnTo>
              </a:path>
            </a:pathLst>
          </a:custGeom>
          <a:ln w="12700">
            <a:solidFill>
              <a:srgbClr val="FFFFFF"/>
            </a:solidFill>
          </a:ln>
        </p:spPr>
        <p:txBody>
          <a:bodyPr wrap="square" lIns="0" tIns="0" rIns="0" bIns="0" rtlCol="0">
            <a:noAutofit/>
          </a:bodyPr>
          <a:lstStyle/>
          <a:p>
            <a:endParaRPr/>
          </a:p>
        </p:txBody>
      </p:sp>
      <p:sp>
        <p:nvSpPr>
          <p:cNvPr id="447" name="object 447"/>
          <p:cNvSpPr/>
          <p:nvPr/>
        </p:nvSpPr>
        <p:spPr>
          <a:xfrm>
            <a:off x="7315200" y="5378840"/>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448" name="object 448"/>
          <p:cNvSpPr/>
          <p:nvPr/>
        </p:nvSpPr>
        <p:spPr>
          <a:xfrm>
            <a:off x="7473569" y="5348351"/>
            <a:ext cx="30606" cy="122174"/>
          </a:xfrm>
          <a:custGeom>
            <a:avLst/>
            <a:gdLst/>
            <a:ahLst/>
            <a:cxnLst/>
            <a:rect l="l" t="t" r="r" b="b"/>
            <a:pathLst>
              <a:path w="30606" h="122174">
                <a:moveTo>
                  <a:pt x="0" y="30480"/>
                </a:moveTo>
                <a:lnTo>
                  <a:pt x="0" y="122174"/>
                </a:lnTo>
                <a:lnTo>
                  <a:pt x="30606" y="91567"/>
                </a:lnTo>
                <a:lnTo>
                  <a:pt x="30606" y="0"/>
                </a:lnTo>
                <a:lnTo>
                  <a:pt x="0" y="30480"/>
                </a:lnTo>
                <a:close/>
              </a:path>
            </a:pathLst>
          </a:custGeom>
          <a:solidFill>
            <a:srgbClr val="00A37A"/>
          </a:solidFill>
        </p:spPr>
        <p:txBody>
          <a:bodyPr wrap="square" lIns="0" tIns="0" rIns="0" bIns="0" rtlCol="0">
            <a:noAutofit/>
          </a:bodyPr>
          <a:lstStyle/>
          <a:p>
            <a:endParaRPr/>
          </a:p>
        </p:txBody>
      </p:sp>
      <p:sp>
        <p:nvSpPr>
          <p:cNvPr id="449" name="object 449"/>
          <p:cNvSpPr/>
          <p:nvPr/>
        </p:nvSpPr>
        <p:spPr>
          <a:xfrm>
            <a:off x="7315201" y="5348351"/>
            <a:ext cx="188975" cy="30480"/>
          </a:xfrm>
          <a:custGeom>
            <a:avLst/>
            <a:gdLst/>
            <a:ahLst/>
            <a:cxnLst/>
            <a:rect l="l" t="t" r="r" b="b"/>
            <a:pathLst>
              <a:path w="188975" h="30479">
                <a:moveTo>
                  <a:pt x="0" y="30480"/>
                </a:moveTo>
                <a:lnTo>
                  <a:pt x="158369" y="30480"/>
                </a:lnTo>
                <a:lnTo>
                  <a:pt x="188975" y="0"/>
                </a:lnTo>
                <a:lnTo>
                  <a:pt x="30607" y="0"/>
                </a:lnTo>
                <a:lnTo>
                  <a:pt x="0" y="30480"/>
                </a:lnTo>
                <a:close/>
              </a:path>
            </a:pathLst>
          </a:custGeom>
          <a:solidFill>
            <a:srgbClr val="31D5AC"/>
          </a:solidFill>
        </p:spPr>
        <p:txBody>
          <a:bodyPr wrap="square" lIns="0" tIns="0" rIns="0" bIns="0" rtlCol="0">
            <a:noAutofit/>
          </a:bodyPr>
          <a:lstStyle/>
          <a:p>
            <a:endParaRPr/>
          </a:p>
        </p:txBody>
      </p:sp>
      <p:sp>
        <p:nvSpPr>
          <p:cNvPr id="450" name="object 450"/>
          <p:cNvSpPr/>
          <p:nvPr/>
        </p:nvSpPr>
        <p:spPr>
          <a:xfrm>
            <a:off x="7315201" y="5348351"/>
            <a:ext cx="188975" cy="122174"/>
          </a:xfrm>
          <a:custGeom>
            <a:avLst/>
            <a:gdLst/>
            <a:ahLst/>
            <a:cxnLst/>
            <a:rect l="l" t="t" r="r" b="b"/>
            <a:pathLst>
              <a:path w="188975" h="122174">
                <a:moveTo>
                  <a:pt x="0" y="30480"/>
                </a:moveTo>
                <a:lnTo>
                  <a:pt x="30607" y="0"/>
                </a:lnTo>
                <a:lnTo>
                  <a:pt x="188975" y="0"/>
                </a:lnTo>
                <a:lnTo>
                  <a:pt x="188975" y="91567"/>
                </a:lnTo>
                <a:lnTo>
                  <a:pt x="158369" y="122174"/>
                </a:lnTo>
                <a:lnTo>
                  <a:pt x="0" y="122174"/>
                </a:lnTo>
                <a:lnTo>
                  <a:pt x="0" y="30480"/>
                </a:lnTo>
                <a:close/>
              </a:path>
            </a:pathLst>
          </a:custGeom>
          <a:ln w="12700">
            <a:solidFill>
              <a:srgbClr val="FFFFFF"/>
            </a:solidFill>
          </a:ln>
        </p:spPr>
        <p:txBody>
          <a:bodyPr wrap="square" lIns="0" tIns="0" rIns="0" bIns="0" rtlCol="0">
            <a:noAutofit/>
          </a:bodyPr>
          <a:lstStyle/>
          <a:p>
            <a:endParaRPr/>
          </a:p>
        </p:txBody>
      </p:sp>
      <p:sp>
        <p:nvSpPr>
          <p:cNvPr id="451" name="object 451"/>
          <p:cNvSpPr/>
          <p:nvPr/>
        </p:nvSpPr>
        <p:spPr>
          <a:xfrm>
            <a:off x="7315201" y="5348351"/>
            <a:ext cx="188975" cy="30480"/>
          </a:xfrm>
          <a:custGeom>
            <a:avLst/>
            <a:gdLst/>
            <a:ahLst/>
            <a:cxnLst/>
            <a:rect l="l" t="t" r="r" b="b"/>
            <a:pathLst>
              <a:path w="188975" h="30479">
                <a:moveTo>
                  <a:pt x="0" y="30480"/>
                </a:moveTo>
                <a:lnTo>
                  <a:pt x="158369" y="30480"/>
                </a:lnTo>
                <a:lnTo>
                  <a:pt x="188975" y="0"/>
                </a:lnTo>
              </a:path>
            </a:pathLst>
          </a:custGeom>
          <a:ln w="12700">
            <a:solidFill>
              <a:srgbClr val="FFFFFF"/>
            </a:solidFill>
          </a:ln>
        </p:spPr>
        <p:txBody>
          <a:bodyPr wrap="square" lIns="0" tIns="0" rIns="0" bIns="0" rtlCol="0">
            <a:noAutofit/>
          </a:bodyPr>
          <a:lstStyle/>
          <a:p>
            <a:endParaRPr/>
          </a:p>
        </p:txBody>
      </p:sp>
      <p:sp>
        <p:nvSpPr>
          <p:cNvPr id="452" name="object 452"/>
          <p:cNvSpPr/>
          <p:nvPr/>
        </p:nvSpPr>
        <p:spPr>
          <a:xfrm>
            <a:off x="6856476" y="5278891"/>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453" name="object 453"/>
          <p:cNvSpPr/>
          <p:nvPr/>
        </p:nvSpPr>
        <p:spPr>
          <a:xfrm>
            <a:off x="7014719" y="5248275"/>
            <a:ext cx="30607" cy="122300"/>
          </a:xfrm>
          <a:custGeom>
            <a:avLst/>
            <a:gdLst/>
            <a:ahLst/>
            <a:cxnLst/>
            <a:rect l="l" t="t" r="r" b="b"/>
            <a:pathLst>
              <a:path w="30607" h="122300">
                <a:moveTo>
                  <a:pt x="0" y="30606"/>
                </a:moveTo>
                <a:lnTo>
                  <a:pt x="0" y="122300"/>
                </a:lnTo>
                <a:lnTo>
                  <a:pt x="30607" y="91693"/>
                </a:lnTo>
                <a:lnTo>
                  <a:pt x="30607" y="0"/>
                </a:lnTo>
                <a:lnTo>
                  <a:pt x="0" y="30606"/>
                </a:lnTo>
                <a:close/>
              </a:path>
            </a:pathLst>
          </a:custGeom>
          <a:solidFill>
            <a:srgbClr val="00A37A"/>
          </a:solidFill>
        </p:spPr>
        <p:txBody>
          <a:bodyPr wrap="square" lIns="0" tIns="0" rIns="0" bIns="0" rtlCol="0">
            <a:noAutofit/>
          </a:bodyPr>
          <a:lstStyle/>
          <a:p>
            <a:endParaRPr/>
          </a:p>
        </p:txBody>
      </p:sp>
      <p:sp>
        <p:nvSpPr>
          <p:cNvPr id="454" name="object 454"/>
          <p:cNvSpPr/>
          <p:nvPr/>
        </p:nvSpPr>
        <p:spPr>
          <a:xfrm>
            <a:off x="6856477" y="5248275"/>
            <a:ext cx="188849" cy="30606"/>
          </a:xfrm>
          <a:custGeom>
            <a:avLst/>
            <a:gdLst/>
            <a:ahLst/>
            <a:cxnLst/>
            <a:rect l="l" t="t" r="r" b="b"/>
            <a:pathLst>
              <a:path w="188849" h="30606">
                <a:moveTo>
                  <a:pt x="0" y="30606"/>
                </a:moveTo>
                <a:lnTo>
                  <a:pt x="158241" y="30606"/>
                </a:lnTo>
                <a:lnTo>
                  <a:pt x="188849" y="0"/>
                </a:lnTo>
                <a:lnTo>
                  <a:pt x="30479" y="0"/>
                </a:lnTo>
                <a:lnTo>
                  <a:pt x="0" y="30606"/>
                </a:lnTo>
                <a:close/>
              </a:path>
            </a:pathLst>
          </a:custGeom>
          <a:solidFill>
            <a:srgbClr val="31D5AC"/>
          </a:solidFill>
        </p:spPr>
        <p:txBody>
          <a:bodyPr wrap="square" lIns="0" tIns="0" rIns="0" bIns="0" rtlCol="0">
            <a:noAutofit/>
          </a:bodyPr>
          <a:lstStyle/>
          <a:p>
            <a:endParaRPr/>
          </a:p>
        </p:txBody>
      </p:sp>
      <p:sp>
        <p:nvSpPr>
          <p:cNvPr id="455" name="object 455"/>
          <p:cNvSpPr/>
          <p:nvPr/>
        </p:nvSpPr>
        <p:spPr>
          <a:xfrm>
            <a:off x="6856477" y="5248275"/>
            <a:ext cx="188849" cy="122300"/>
          </a:xfrm>
          <a:custGeom>
            <a:avLst/>
            <a:gdLst/>
            <a:ahLst/>
            <a:cxnLst/>
            <a:rect l="l" t="t" r="r" b="b"/>
            <a:pathLst>
              <a:path w="188849" h="122300">
                <a:moveTo>
                  <a:pt x="0" y="30606"/>
                </a:moveTo>
                <a:lnTo>
                  <a:pt x="30479" y="0"/>
                </a:lnTo>
                <a:lnTo>
                  <a:pt x="188849" y="0"/>
                </a:lnTo>
                <a:lnTo>
                  <a:pt x="188849" y="91693"/>
                </a:lnTo>
                <a:lnTo>
                  <a:pt x="158241" y="122300"/>
                </a:lnTo>
                <a:lnTo>
                  <a:pt x="0" y="122300"/>
                </a:lnTo>
                <a:lnTo>
                  <a:pt x="0" y="30606"/>
                </a:lnTo>
                <a:close/>
              </a:path>
            </a:pathLst>
          </a:custGeom>
          <a:ln w="12700">
            <a:solidFill>
              <a:srgbClr val="FFFFFF"/>
            </a:solidFill>
          </a:ln>
        </p:spPr>
        <p:txBody>
          <a:bodyPr wrap="square" lIns="0" tIns="0" rIns="0" bIns="0" rtlCol="0">
            <a:noAutofit/>
          </a:bodyPr>
          <a:lstStyle/>
          <a:p>
            <a:endParaRPr/>
          </a:p>
        </p:txBody>
      </p:sp>
      <p:sp>
        <p:nvSpPr>
          <p:cNvPr id="456" name="object 456"/>
          <p:cNvSpPr/>
          <p:nvPr/>
        </p:nvSpPr>
        <p:spPr>
          <a:xfrm>
            <a:off x="6856477" y="5248275"/>
            <a:ext cx="188849" cy="30606"/>
          </a:xfrm>
          <a:custGeom>
            <a:avLst/>
            <a:gdLst/>
            <a:ahLst/>
            <a:cxnLst/>
            <a:rect l="l" t="t" r="r" b="b"/>
            <a:pathLst>
              <a:path w="188849" h="30606">
                <a:moveTo>
                  <a:pt x="0" y="30606"/>
                </a:moveTo>
                <a:lnTo>
                  <a:pt x="158241" y="30606"/>
                </a:lnTo>
                <a:lnTo>
                  <a:pt x="188849" y="0"/>
                </a:lnTo>
              </a:path>
            </a:pathLst>
          </a:custGeom>
          <a:ln w="12699">
            <a:solidFill>
              <a:srgbClr val="FFFFFF"/>
            </a:solidFill>
          </a:ln>
        </p:spPr>
        <p:txBody>
          <a:bodyPr wrap="square" lIns="0" tIns="0" rIns="0" bIns="0" rtlCol="0">
            <a:noAutofit/>
          </a:bodyPr>
          <a:lstStyle/>
          <a:p>
            <a:endParaRPr/>
          </a:p>
        </p:txBody>
      </p:sp>
      <p:sp>
        <p:nvSpPr>
          <p:cNvPr id="457" name="object 457"/>
          <p:cNvSpPr/>
          <p:nvPr/>
        </p:nvSpPr>
        <p:spPr>
          <a:xfrm>
            <a:off x="7014718" y="5278883"/>
            <a:ext cx="0" cy="91693"/>
          </a:xfrm>
          <a:custGeom>
            <a:avLst/>
            <a:gdLst/>
            <a:ahLst/>
            <a:cxnLst/>
            <a:rect l="l" t="t" r="r" b="b"/>
            <a:pathLst>
              <a:path h="91694">
                <a:moveTo>
                  <a:pt x="0" y="0"/>
                </a:moveTo>
                <a:lnTo>
                  <a:pt x="0" y="91694"/>
                </a:lnTo>
              </a:path>
            </a:pathLst>
          </a:custGeom>
          <a:ln w="12700">
            <a:solidFill>
              <a:srgbClr val="FFFFFF"/>
            </a:solidFill>
          </a:ln>
        </p:spPr>
        <p:txBody>
          <a:bodyPr wrap="square" lIns="0" tIns="0" rIns="0" bIns="0" rtlCol="0">
            <a:noAutofit/>
          </a:bodyPr>
          <a:lstStyle/>
          <a:p>
            <a:endParaRPr/>
          </a:p>
        </p:txBody>
      </p:sp>
      <p:sp>
        <p:nvSpPr>
          <p:cNvPr id="458" name="object 458"/>
          <p:cNvSpPr/>
          <p:nvPr/>
        </p:nvSpPr>
        <p:spPr>
          <a:xfrm>
            <a:off x="7012052" y="5278891"/>
            <a:ext cx="159943" cy="91685"/>
          </a:xfrm>
          <a:custGeom>
            <a:avLst/>
            <a:gdLst/>
            <a:ahLst/>
            <a:cxnLst/>
            <a:rect l="l" t="t" r="r" b="b"/>
            <a:pathLst>
              <a:path w="159943" h="91685">
                <a:moveTo>
                  <a:pt x="0" y="91685"/>
                </a:moveTo>
                <a:lnTo>
                  <a:pt x="159943" y="91685"/>
                </a:lnTo>
                <a:lnTo>
                  <a:pt x="159943" y="0"/>
                </a:lnTo>
                <a:lnTo>
                  <a:pt x="0" y="0"/>
                </a:lnTo>
                <a:lnTo>
                  <a:pt x="0" y="91685"/>
                </a:lnTo>
                <a:close/>
              </a:path>
            </a:pathLst>
          </a:custGeom>
          <a:solidFill>
            <a:srgbClr val="00CC99"/>
          </a:solidFill>
        </p:spPr>
        <p:txBody>
          <a:bodyPr wrap="square" lIns="0" tIns="0" rIns="0" bIns="0" rtlCol="0">
            <a:noAutofit/>
          </a:bodyPr>
          <a:lstStyle/>
          <a:p>
            <a:endParaRPr/>
          </a:p>
        </p:txBody>
      </p:sp>
      <p:sp>
        <p:nvSpPr>
          <p:cNvPr id="459" name="object 459"/>
          <p:cNvSpPr/>
          <p:nvPr/>
        </p:nvSpPr>
        <p:spPr>
          <a:xfrm>
            <a:off x="7171944" y="5248275"/>
            <a:ext cx="30606" cy="122300"/>
          </a:xfrm>
          <a:custGeom>
            <a:avLst/>
            <a:gdLst/>
            <a:ahLst/>
            <a:cxnLst/>
            <a:rect l="l" t="t" r="r" b="b"/>
            <a:pathLst>
              <a:path w="30606" h="122300">
                <a:moveTo>
                  <a:pt x="0" y="30606"/>
                </a:moveTo>
                <a:lnTo>
                  <a:pt x="0" y="122300"/>
                </a:lnTo>
                <a:lnTo>
                  <a:pt x="30606" y="91693"/>
                </a:lnTo>
                <a:lnTo>
                  <a:pt x="30606" y="0"/>
                </a:lnTo>
                <a:lnTo>
                  <a:pt x="0" y="30606"/>
                </a:lnTo>
                <a:close/>
              </a:path>
            </a:pathLst>
          </a:custGeom>
          <a:solidFill>
            <a:srgbClr val="00A37A"/>
          </a:solidFill>
        </p:spPr>
        <p:txBody>
          <a:bodyPr wrap="square" lIns="0" tIns="0" rIns="0" bIns="0" rtlCol="0">
            <a:noAutofit/>
          </a:bodyPr>
          <a:lstStyle/>
          <a:p>
            <a:endParaRPr/>
          </a:p>
        </p:txBody>
      </p:sp>
      <p:sp>
        <p:nvSpPr>
          <p:cNvPr id="460" name="object 460"/>
          <p:cNvSpPr/>
          <p:nvPr/>
        </p:nvSpPr>
        <p:spPr>
          <a:xfrm>
            <a:off x="7012051" y="5248275"/>
            <a:ext cx="190500" cy="30606"/>
          </a:xfrm>
          <a:custGeom>
            <a:avLst/>
            <a:gdLst/>
            <a:ahLst/>
            <a:cxnLst/>
            <a:rect l="l" t="t" r="r" b="b"/>
            <a:pathLst>
              <a:path w="190500" h="30606">
                <a:moveTo>
                  <a:pt x="0" y="30606"/>
                </a:moveTo>
                <a:lnTo>
                  <a:pt x="159893" y="30606"/>
                </a:lnTo>
                <a:lnTo>
                  <a:pt x="190500" y="0"/>
                </a:lnTo>
                <a:lnTo>
                  <a:pt x="30479" y="0"/>
                </a:lnTo>
                <a:lnTo>
                  <a:pt x="0" y="30606"/>
                </a:lnTo>
                <a:close/>
              </a:path>
            </a:pathLst>
          </a:custGeom>
          <a:solidFill>
            <a:srgbClr val="31D5AC"/>
          </a:solidFill>
        </p:spPr>
        <p:txBody>
          <a:bodyPr wrap="square" lIns="0" tIns="0" rIns="0" bIns="0" rtlCol="0">
            <a:noAutofit/>
          </a:bodyPr>
          <a:lstStyle/>
          <a:p>
            <a:endParaRPr/>
          </a:p>
        </p:txBody>
      </p:sp>
      <p:sp>
        <p:nvSpPr>
          <p:cNvPr id="461" name="object 461"/>
          <p:cNvSpPr/>
          <p:nvPr/>
        </p:nvSpPr>
        <p:spPr>
          <a:xfrm>
            <a:off x="7012051" y="5248275"/>
            <a:ext cx="190500" cy="122300"/>
          </a:xfrm>
          <a:custGeom>
            <a:avLst/>
            <a:gdLst/>
            <a:ahLst/>
            <a:cxnLst/>
            <a:rect l="l" t="t" r="r" b="b"/>
            <a:pathLst>
              <a:path w="190500" h="122300">
                <a:moveTo>
                  <a:pt x="0" y="30606"/>
                </a:moveTo>
                <a:lnTo>
                  <a:pt x="30479" y="0"/>
                </a:lnTo>
                <a:lnTo>
                  <a:pt x="190500" y="0"/>
                </a:lnTo>
                <a:lnTo>
                  <a:pt x="190500" y="91693"/>
                </a:lnTo>
                <a:lnTo>
                  <a:pt x="159893" y="122300"/>
                </a:lnTo>
                <a:lnTo>
                  <a:pt x="0" y="122300"/>
                </a:lnTo>
                <a:lnTo>
                  <a:pt x="0" y="30606"/>
                </a:lnTo>
                <a:close/>
              </a:path>
            </a:pathLst>
          </a:custGeom>
          <a:ln w="12700">
            <a:solidFill>
              <a:srgbClr val="FFFFFF"/>
            </a:solidFill>
          </a:ln>
        </p:spPr>
        <p:txBody>
          <a:bodyPr wrap="square" lIns="0" tIns="0" rIns="0" bIns="0" rtlCol="0">
            <a:noAutofit/>
          </a:bodyPr>
          <a:lstStyle/>
          <a:p>
            <a:endParaRPr/>
          </a:p>
        </p:txBody>
      </p:sp>
      <p:sp>
        <p:nvSpPr>
          <p:cNvPr id="462" name="object 462"/>
          <p:cNvSpPr/>
          <p:nvPr/>
        </p:nvSpPr>
        <p:spPr>
          <a:xfrm>
            <a:off x="7012051" y="5248275"/>
            <a:ext cx="190500" cy="30606"/>
          </a:xfrm>
          <a:custGeom>
            <a:avLst/>
            <a:gdLst/>
            <a:ahLst/>
            <a:cxnLst/>
            <a:rect l="l" t="t" r="r" b="b"/>
            <a:pathLst>
              <a:path w="190500" h="30606">
                <a:moveTo>
                  <a:pt x="0" y="30606"/>
                </a:moveTo>
                <a:lnTo>
                  <a:pt x="159893" y="30606"/>
                </a:lnTo>
                <a:lnTo>
                  <a:pt x="190500" y="0"/>
                </a:lnTo>
              </a:path>
            </a:pathLst>
          </a:custGeom>
          <a:ln w="12700">
            <a:solidFill>
              <a:srgbClr val="FFFFFF"/>
            </a:solidFill>
          </a:ln>
        </p:spPr>
        <p:txBody>
          <a:bodyPr wrap="square" lIns="0" tIns="0" rIns="0" bIns="0" rtlCol="0">
            <a:noAutofit/>
          </a:bodyPr>
          <a:lstStyle/>
          <a:p>
            <a:endParaRPr/>
          </a:p>
        </p:txBody>
      </p:sp>
      <p:sp>
        <p:nvSpPr>
          <p:cNvPr id="463" name="object 463"/>
          <p:cNvSpPr/>
          <p:nvPr/>
        </p:nvSpPr>
        <p:spPr>
          <a:xfrm>
            <a:off x="7161847" y="5278883"/>
            <a:ext cx="0" cy="91693"/>
          </a:xfrm>
          <a:custGeom>
            <a:avLst/>
            <a:gdLst/>
            <a:ahLst/>
            <a:cxnLst/>
            <a:rect l="l" t="t" r="r" b="b"/>
            <a:pathLst>
              <a:path h="91694">
                <a:moveTo>
                  <a:pt x="0" y="0"/>
                </a:moveTo>
                <a:lnTo>
                  <a:pt x="0" y="91694"/>
                </a:lnTo>
              </a:path>
            </a:pathLst>
          </a:custGeom>
          <a:ln w="12700">
            <a:solidFill>
              <a:srgbClr val="FFFFFF"/>
            </a:solidFill>
          </a:ln>
        </p:spPr>
        <p:txBody>
          <a:bodyPr wrap="square" lIns="0" tIns="0" rIns="0" bIns="0" rtlCol="0">
            <a:noAutofit/>
          </a:bodyPr>
          <a:lstStyle/>
          <a:p>
            <a:endParaRPr/>
          </a:p>
        </p:txBody>
      </p:sp>
      <p:sp>
        <p:nvSpPr>
          <p:cNvPr id="464" name="object 464"/>
          <p:cNvSpPr/>
          <p:nvPr/>
        </p:nvSpPr>
        <p:spPr>
          <a:xfrm>
            <a:off x="7158101" y="5278891"/>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465" name="object 465"/>
          <p:cNvSpPr/>
          <p:nvPr/>
        </p:nvSpPr>
        <p:spPr>
          <a:xfrm>
            <a:off x="7316344" y="5248275"/>
            <a:ext cx="30607" cy="122300"/>
          </a:xfrm>
          <a:custGeom>
            <a:avLst/>
            <a:gdLst/>
            <a:ahLst/>
            <a:cxnLst/>
            <a:rect l="l" t="t" r="r" b="b"/>
            <a:pathLst>
              <a:path w="30607" h="122300">
                <a:moveTo>
                  <a:pt x="0" y="30606"/>
                </a:moveTo>
                <a:lnTo>
                  <a:pt x="0" y="122300"/>
                </a:lnTo>
                <a:lnTo>
                  <a:pt x="30607" y="91693"/>
                </a:lnTo>
                <a:lnTo>
                  <a:pt x="30607" y="0"/>
                </a:lnTo>
                <a:lnTo>
                  <a:pt x="0" y="30606"/>
                </a:lnTo>
                <a:close/>
              </a:path>
            </a:pathLst>
          </a:custGeom>
          <a:solidFill>
            <a:srgbClr val="00A37A"/>
          </a:solidFill>
        </p:spPr>
        <p:txBody>
          <a:bodyPr wrap="square" lIns="0" tIns="0" rIns="0" bIns="0" rtlCol="0">
            <a:noAutofit/>
          </a:bodyPr>
          <a:lstStyle/>
          <a:p>
            <a:endParaRPr/>
          </a:p>
        </p:txBody>
      </p:sp>
      <p:sp>
        <p:nvSpPr>
          <p:cNvPr id="466" name="object 466"/>
          <p:cNvSpPr/>
          <p:nvPr/>
        </p:nvSpPr>
        <p:spPr>
          <a:xfrm>
            <a:off x="7158102" y="5248275"/>
            <a:ext cx="188849" cy="30606"/>
          </a:xfrm>
          <a:custGeom>
            <a:avLst/>
            <a:gdLst/>
            <a:ahLst/>
            <a:cxnLst/>
            <a:rect l="l" t="t" r="r" b="b"/>
            <a:pathLst>
              <a:path w="188849" h="30606">
                <a:moveTo>
                  <a:pt x="0" y="30606"/>
                </a:moveTo>
                <a:lnTo>
                  <a:pt x="158241" y="30606"/>
                </a:lnTo>
                <a:lnTo>
                  <a:pt x="188849" y="0"/>
                </a:lnTo>
                <a:lnTo>
                  <a:pt x="30479" y="0"/>
                </a:lnTo>
                <a:lnTo>
                  <a:pt x="0" y="30606"/>
                </a:lnTo>
                <a:close/>
              </a:path>
            </a:pathLst>
          </a:custGeom>
          <a:solidFill>
            <a:srgbClr val="31D5AC"/>
          </a:solidFill>
        </p:spPr>
        <p:txBody>
          <a:bodyPr wrap="square" lIns="0" tIns="0" rIns="0" bIns="0" rtlCol="0">
            <a:noAutofit/>
          </a:bodyPr>
          <a:lstStyle/>
          <a:p>
            <a:endParaRPr/>
          </a:p>
        </p:txBody>
      </p:sp>
      <p:sp>
        <p:nvSpPr>
          <p:cNvPr id="467" name="object 467"/>
          <p:cNvSpPr/>
          <p:nvPr/>
        </p:nvSpPr>
        <p:spPr>
          <a:xfrm>
            <a:off x="7158102" y="5248275"/>
            <a:ext cx="188849" cy="122300"/>
          </a:xfrm>
          <a:custGeom>
            <a:avLst/>
            <a:gdLst/>
            <a:ahLst/>
            <a:cxnLst/>
            <a:rect l="l" t="t" r="r" b="b"/>
            <a:pathLst>
              <a:path w="188849" h="122300">
                <a:moveTo>
                  <a:pt x="0" y="30606"/>
                </a:moveTo>
                <a:lnTo>
                  <a:pt x="30479" y="0"/>
                </a:lnTo>
                <a:lnTo>
                  <a:pt x="188849" y="0"/>
                </a:lnTo>
                <a:lnTo>
                  <a:pt x="188849" y="91693"/>
                </a:lnTo>
                <a:lnTo>
                  <a:pt x="158241" y="122300"/>
                </a:lnTo>
                <a:lnTo>
                  <a:pt x="0" y="122300"/>
                </a:lnTo>
                <a:lnTo>
                  <a:pt x="0" y="30606"/>
                </a:lnTo>
                <a:close/>
              </a:path>
            </a:pathLst>
          </a:custGeom>
          <a:ln w="12700">
            <a:solidFill>
              <a:srgbClr val="FFFFFF"/>
            </a:solidFill>
          </a:ln>
        </p:spPr>
        <p:txBody>
          <a:bodyPr wrap="square" lIns="0" tIns="0" rIns="0" bIns="0" rtlCol="0">
            <a:noAutofit/>
          </a:bodyPr>
          <a:lstStyle/>
          <a:p>
            <a:endParaRPr/>
          </a:p>
        </p:txBody>
      </p:sp>
      <p:sp>
        <p:nvSpPr>
          <p:cNvPr id="468" name="object 468"/>
          <p:cNvSpPr/>
          <p:nvPr/>
        </p:nvSpPr>
        <p:spPr>
          <a:xfrm>
            <a:off x="7158102" y="5248275"/>
            <a:ext cx="188849" cy="30606"/>
          </a:xfrm>
          <a:custGeom>
            <a:avLst/>
            <a:gdLst/>
            <a:ahLst/>
            <a:cxnLst/>
            <a:rect l="l" t="t" r="r" b="b"/>
            <a:pathLst>
              <a:path w="188849" h="30606">
                <a:moveTo>
                  <a:pt x="0" y="30606"/>
                </a:moveTo>
                <a:lnTo>
                  <a:pt x="158241" y="30606"/>
                </a:lnTo>
                <a:lnTo>
                  <a:pt x="188849" y="0"/>
                </a:lnTo>
              </a:path>
            </a:pathLst>
          </a:custGeom>
          <a:ln w="12699">
            <a:solidFill>
              <a:srgbClr val="FFFFFF"/>
            </a:solidFill>
          </a:ln>
        </p:spPr>
        <p:txBody>
          <a:bodyPr wrap="square" lIns="0" tIns="0" rIns="0" bIns="0" rtlCol="0">
            <a:noAutofit/>
          </a:bodyPr>
          <a:lstStyle/>
          <a:p>
            <a:endParaRPr/>
          </a:p>
        </p:txBody>
      </p:sp>
      <p:sp>
        <p:nvSpPr>
          <p:cNvPr id="469" name="object 469"/>
          <p:cNvSpPr/>
          <p:nvPr/>
        </p:nvSpPr>
        <p:spPr>
          <a:xfrm>
            <a:off x="7316343" y="5278883"/>
            <a:ext cx="0" cy="91693"/>
          </a:xfrm>
          <a:custGeom>
            <a:avLst/>
            <a:gdLst/>
            <a:ahLst/>
            <a:cxnLst/>
            <a:rect l="l" t="t" r="r" b="b"/>
            <a:pathLst>
              <a:path h="91694">
                <a:moveTo>
                  <a:pt x="0" y="0"/>
                </a:moveTo>
                <a:lnTo>
                  <a:pt x="0" y="91694"/>
                </a:lnTo>
              </a:path>
            </a:pathLst>
          </a:custGeom>
          <a:ln w="12700">
            <a:solidFill>
              <a:srgbClr val="FFFFFF"/>
            </a:solidFill>
          </a:ln>
        </p:spPr>
        <p:txBody>
          <a:bodyPr wrap="square" lIns="0" tIns="0" rIns="0" bIns="0" rtlCol="0">
            <a:noAutofit/>
          </a:bodyPr>
          <a:lstStyle/>
          <a:p>
            <a:endParaRPr/>
          </a:p>
        </p:txBody>
      </p:sp>
      <p:sp>
        <p:nvSpPr>
          <p:cNvPr id="470" name="object 470"/>
          <p:cNvSpPr/>
          <p:nvPr/>
        </p:nvSpPr>
        <p:spPr>
          <a:xfrm>
            <a:off x="7315200" y="5278891"/>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471" name="object 471"/>
          <p:cNvSpPr/>
          <p:nvPr/>
        </p:nvSpPr>
        <p:spPr>
          <a:xfrm>
            <a:off x="7473569" y="5248275"/>
            <a:ext cx="30606" cy="122300"/>
          </a:xfrm>
          <a:custGeom>
            <a:avLst/>
            <a:gdLst/>
            <a:ahLst/>
            <a:cxnLst/>
            <a:rect l="l" t="t" r="r" b="b"/>
            <a:pathLst>
              <a:path w="30606" h="122300">
                <a:moveTo>
                  <a:pt x="0" y="30606"/>
                </a:moveTo>
                <a:lnTo>
                  <a:pt x="0" y="122300"/>
                </a:lnTo>
                <a:lnTo>
                  <a:pt x="30606" y="91693"/>
                </a:lnTo>
                <a:lnTo>
                  <a:pt x="30606" y="0"/>
                </a:lnTo>
                <a:lnTo>
                  <a:pt x="0" y="30606"/>
                </a:lnTo>
                <a:close/>
              </a:path>
            </a:pathLst>
          </a:custGeom>
          <a:solidFill>
            <a:srgbClr val="00A37A"/>
          </a:solidFill>
        </p:spPr>
        <p:txBody>
          <a:bodyPr wrap="square" lIns="0" tIns="0" rIns="0" bIns="0" rtlCol="0">
            <a:noAutofit/>
          </a:bodyPr>
          <a:lstStyle/>
          <a:p>
            <a:endParaRPr/>
          </a:p>
        </p:txBody>
      </p:sp>
      <p:sp>
        <p:nvSpPr>
          <p:cNvPr id="472" name="object 472"/>
          <p:cNvSpPr/>
          <p:nvPr/>
        </p:nvSpPr>
        <p:spPr>
          <a:xfrm>
            <a:off x="7315201" y="5248275"/>
            <a:ext cx="188975" cy="30606"/>
          </a:xfrm>
          <a:custGeom>
            <a:avLst/>
            <a:gdLst/>
            <a:ahLst/>
            <a:cxnLst/>
            <a:rect l="l" t="t" r="r" b="b"/>
            <a:pathLst>
              <a:path w="188975" h="30606">
                <a:moveTo>
                  <a:pt x="0" y="30606"/>
                </a:moveTo>
                <a:lnTo>
                  <a:pt x="158369" y="30606"/>
                </a:lnTo>
                <a:lnTo>
                  <a:pt x="188975" y="0"/>
                </a:lnTo>
                <a:lnTo>
                  <a:pt x="30607" y="0"/>
                </a:lnTo>
                <a:lnTo>
                  <a:pt x="0" y="30606"/>
                </a:lnTo>
                <a:close/>
              </a:path>
            </a:pathLst>
          </a:custGeom>
          <a:solidFill>
            <a:srgbClr val="31D5AC"/>
          </a:solidFill>
        </p:spPr>
        <p:txBody>
          <a:bodyPr wrap="square" lIns="0" tIns="0" rIns="0" bIns="0" rtlCol="0">
            <a:noAutofit/>
          </a:bodyPr>
          <a:lstStyle/>
          <a:p>
            <a:endParaRPr/>
          </a:p>
        </p:txBody>
      </p:sp>
      <p:sp>
        <p:nvSpPr>
          <p:cNvPr id="473" name="object 473"/>
          <p:cNvSpPr/>
          <p:nvPr/>
        </p:nvSpPr>
        <p:spPr>
          <a:xfrm>
            <a:off x="7315201" y="5248275"/>
            <a:ext cx="188975" cy="122300"/>
          </a:xfrm>
          <a:custGeom>
            <a:avLst/>
            <a:gdLst/>
            <a:ahLst/>
            <a:cxnLst/>
            <a:rect l="l" t="t" r="r" b="b"/>
            <a:pathLst>
              <a:path w="188975" h="122300">
                <a:moveTo>
                  <a:pt x="0" y="30606"/>
                </a:moveTo>
                <a:lnTo>
                  <a:pt x="30607" y="0"/>
                </a:lnTo>
                <a:lnTo>
                  <a:pt x="188975" y="0"/>
                </a:lnTo>
                <a:lnTo>
                  <a:pt x="188975" y="91693"/>
                </a:lnTo>
                <a:lnTo>
                  <a:pt x="158369" y="122300"/>
                </a:lnTo>
                <a:lnTo>
                  <a:pt x="0" y="122300"/>
                </a:lnTo>
                <a:lnTo>
                  <a:pt x="0" y="30606"/>
                </a:lnTo>
                <a:close/>
              </a:path>
            </a:pathLst>
          </a:custGeom>
          <a:ln w="12700">
            <a:solidFill>
              <a:srgbClr val="FFFFFF"/>
            </a:solidFill>
          </a:ln>
        </p:spPr>
        <p:txBody>
          <a:bodyPr wrap="square" lIns="0" tIns="0" rIns="0" bIns="0" rtlCol="0">
            <a:noAutofit/>
          </a:bodyPr>
          <a:lstStyle/>
          <a:p>
            <a:endParaRPr/>
          </a:p>
        </p:txBody>
      </p:sp>
      <p:sp>
        <p:nvSpPr>
          <p:cNvPr id="474" name="object 474"/>
          <p:cNvSpPr/>
          <p:nvPr/>
        </p:nvSpPr>
        <p:spPr>
          <a:xfrm>
            <a:off x="7315201" y="5248275"/>
            <a:ext cx="188975" cy="30606"/>
          </a:xfrm>
          <a:custGeom>
            <a:avLst/>
            <a:gdLst/>
            <a:ahLst/>
            <a:cxnLst/>
            <a:rect l="l" t="t" r="r" b="b"/>
            <a:pathLst>
              <a:path w="188975" h="30606">
                <a:moveTo>
                  <a:pt x="0" y="30606"/>
                </a:moveTo>
                <a:lnTo>
                  <a:pt x="158369" y="30606"/>
                </a:lnTo>
                <a:lnTo>
                  <a:pt x="188975" y="0"/>
                </a:lnTo>
              </a:path>
            </a:pathLst>
          </a:custGeom>
          <a:ln w="12700">
            <a:solidFill>
              <a:srgbClr val="FFFFFF"/>
            </a:solidFill>
          </a:ln>
        </p:spPr>
        <p:txBody>
          <a:bodyPr wrap="square" lIns="0" tIns="0" rIns="0" bIns="0" rtlCol="0">
            <a:noAutofit/>
          </a:bodyPr>
          <a:lstStyle/>
          <a:p>
            <a:endParaRPr/>
          </a:p>
        </p:txBody>
      </p:sp>
      <p:sp>
        <p:nvSpPr>
          <p:cNvPr id="475" name="object 475"/>
          <p:cNvSpPr/>
          <p:nvPr/>
        </p:nvSpPr>
        <p:spPr>
          <a:xfrm>
            <a:off x="7473569" y="5278883"/>
            <a:ext cx="0" cy="91693"/>
          </a:xfrm>
          <a:custGeom>
            <a:avLst/>
            <a:gdLst/>
            <a:ahLst/>
            <a:cxnLst/>
            <a:rect l="l" t="t" r="r" b="b"/>
            <a:pathLst>
              <a:path h="91694">
                <a:moveTo>
                  <a:pt x="0" y="0"/>
                </a:moveTo>
                <a:lnTo>
                  <a:pt x="0" y="91694"/>
                </a:lnTo>
              </a:path>
            </a:pathLst>
          </a:custGeom>
          <a:ln w="12700">
            <a:solidFill>
              <a:srgbClr val="FFFFFF"/>
            </a:solidFill>
          </a:ln>
        </p:spPr>
        <p:txBody>
          <a:bodyPr wrap="square" lIns="0" tIns="0" rIns="0" bIns="0" rtlCol="0">
            <a:noAutofit/>
          </a:bodyPr>
          <a:lstStyle/>
          <a:p>
            <a:endParaRPr/>
          </a:p>
        </p:txBody>
      </p:sp>
      <p:sp>
        <p:nvSpPr>
          <p:cNvPr id="476" name="object 476"/>
          <p:cNvSpPr/>
          <p:nvPr/>
        </p:nvSpPr>
        <p:spPr>
          <a:xfrm>
            <a:off x="6856476" y="5179276"/>
            <a:ext cx="157962" cy="92875"/>
          </a:xfrm>
          <a:custGeom>
            <a:avLst/>
            <a:gdLst/>
            <a:ahLst/>
            <a:cxnLst/>
            <a:rect l="l" t="t" r="r" b="b"/>
            <a:pathLst>
              <a:path w="157962" h="92875">
                <a:moveTo>
                  <a:pt x="0" y="92875"/>
                </a:moveTo>
                <a:lnTo>
                  <a:pt x="157962" y="92875"/>
                </a:lnTo>
                <a:lnTo>
                  <a:pt x="157962" y="0"/>
                </a:lnTo>
                <a:lnTo>
                  <a:pt x="0" y="0"/>
                </a:lnTo>
                <a:lnTo>
                  <a:pt x="0" y="92875"/>
                </a:lnTo>
                <a:close/>
              </a:path>
            </a:pathLst>
          </a:custGeom>
          <a:solidFill>
            <a:srgbClr val="00CC99"/>
          </a:solidFill>
        </p:spPr>
        <p:txBody>
          <a:bodyPr wrap="square" lIns="0" tIns="0" rIns="0" bIns="0" rtlCol="0">
            <a:noAutofit/>
          </a:bodyPr>
          <a:lstStyle/>
          <a:p>
            <a:endParaRPr/>
          </a:p>
        </p:txBody>
      </p:sp>
      <p:sp>
        <p:nvSpPr>
          <p:cNvPr id="477" name="object 477"/>
          <p:cNvSpPr/>
          <p:nvPr/>
        </p:nvSpPr>
        <p:spPr>
          <a:xfrm>
            <a:off x="7014338" y="5148200"/>
            <a:ext cx="30987" cy="123951"/>
          </a:xfrm>
          <a:custGeom>
            <a:avLst/>
            <a:gdLst/>
            <a:ahLst/>
            <a:cxnLst/>
            <a:rect l="l" t="t" r="r" b="b"/>
            <a:pathLst>
              <a:path w="30987" h="123951">
                <a:moveTo>
                  <a:pt x="0" y="30987"/>
                </a:moveTo>
                <a:lnTo>
                  <a:pt x="0" y="123951"/>
                </a:lnTo>
                <a:lnTo>
                  <a:pt x="30987" y="92963"/>
                </a:lnTo>
                <a:lnTo>
                  <a:pt x="30987" y="0"/>
                </a:lnTo>
                <a:lnTo>
                  <a:pt x="0" y="30987"/>
                </a:lnTo>
                <a:close/>
              </a:path>
            </a:pathLst>
          </a:custGeom>
          <a:solidFill>
            <a:srgbClr val="00A37A"/>
          </a:solidFill>
        </p:spPr>
        <p:txBody>
          <a:bodyPr wrap="square" lIns="0" tIns="0" rIns="0" bIns="0" rtlCol="0">
            <a:noAutofit/>
          </a:bodyPr>
          <a:lstStyle/>
          <a:p>
            <a:endParaRPr/>
          </a:p>
        </p:txBody>
      </p:sp>
      <p:sp>
        <p:nvSpPr>
          <p:cNvPr id="478" name="object 478"/>
          <p:cNvSpPr/>
          <p:nvPr/>
        </p:nvSpPr>
        <p:spPr>
          <a:xfrm>
            <a:off x="6856477" y="5148200"/>
            <a:ext cx="188849" cy="30987"/>
          </a:xfrm>
          <a:custGeom>
            <a:avLst/>
            <a:gdLst/>
            <a:ahLst/>
            <a:cxnLst/>
            <a:rect l="l" t="t" r="r" b="b"/>
            <a:pathLst>
              <a:path w="188849" h="30987">
                <a:moveTo>
                  <a:pt x="0" y="30987"/>
                </a:moveTo>
                <a:lnTo>
                  <a:pt x="157861" y="30987"/>
                </a:lnTo>
                <a:lnTo>
                  <a:pt x="188849" y="0"/>
                </a:lnTo>
                <a:lnTo>
                  <a:pt x="30861" y="0"/>
                </a:lnTo>
                <a:lnTo>
                  <a:pt x="0" y="30987"/>
                </a:lnTo>
                <a:close/>
              </a:path>
            </a:pathLst>
          </a:custGeom>
          <a:solidFill>
            <a:srgbClr val="31D5AC"/>
          </a:solidFill>
        </p:spPr>
        <p:txBody>
          <a:bodyPr wrap="square" lIns="0" tIns="0" rIns="0" bIns="0" rtlCol="0">
            <a:noAutofit/>
          </a:bodyPr>
          <a:lstStyle/>
          <a:p>
            <a:endParaRPr/>
          </a:p>
        </p:txBody>
      </p:sp>
      <p:sp>
        <p:nvSpPr>
          <p:cNvPr id="479" name="object 479"/>
          <p:cNvSpPr/>
          <p:nvPr/>
        </p:nvSpPr>
        <p:spPr>
          <a:xfrm>
            <a:off x="6856477" y="5148200"/>
            <a:ext cx="188849" cy="123951"/>
          </a:xfrm>
          <a:custGeom>
            <a:avLst/>
            <a:gdLst/>
            <a:ahLst/>
            <a:cxnLst/>
            <a:rect l="l" t="t" r="r" b="b"/>
            <a:pathLst>
              <a:path w="188849" h="123951">
                <a:moveTo>
                  <a:pt x="0" y="30987"/>
                </a:moveTo>
                <a:lnTo>
                  <a:pt x="30861" y="0"/>
                </a:lnTo>
                <a:lnTo>
                  <a:pt x="188849" y="0"/>
                </a:lnTo>
                <a:lnTo>
                  <a:pt x="188849" y="92963"/>
                </a:lnTo>
                <a:lnTo>
                  <a:pt x="157861" y="123951"/>
                </a:lnTo>
                <a:lnTo>
                  <a:pt x="0" y="123951"/>
                </a:lnTo>
                <a:lnTo>
                  <a:pt x="0" y="30987"/>
                </a:lnTo>
                <a:close/>
              </a:path>
            </a:pathLst>
          </a:custGeom>
          <a:ln w="12700">
            <a:solidFill>
              <a:srgbClr val="FFFFFF"/>
            </a:solidFill>
          </a:ln>
        </p:spPr>
        <p:txBody>
          <a:bodyPr wrap="square" lIns="0" tIns="0" rIns="0" bIns="0" rtlCol="0">
            <a:noAutofit/>
          </a:bodyPr>
          <a:lstStyle/>
          <a:p>
            <a:endParaRPr/>
          </a:p>
        </p:txBody>
      </p:sp>
      <p:sp>
        <p:nvSpPr>
          <p:cNvPr id="480" name="object 480"/>
          <p:cNvSpPr/>
          <p:nvPr/>
        </p:nvSpPr>
        <p:spPr>
          <a:xfrm>
            <a:off x="6856477" y="5148200"/>
            <a:ext cx="188849" cy="30987"/>
          </a:xfrm>
          <a:custGeom>
            <a:avLst/>
            <a:gdLst/>
            <a:ahLst/>
            <a:cxnLst/>
            <a:rect l="l" t="t" r="r" b="b"/>
            <a:pathLst>
              <a:path w="188849" h="30987">
                <a:moveTo>
                  <a:pt x="0" y="30987"/>
                </a:moveTo>
                <a:lnTo>
                  <a:pt x="157861" y="30987"/>
                </a:lnTo>
                <a:lnTo>
                  <a:pt x="188849" y="0"/>
                </a:lnTo>
              </a:path>
            </a:pathLst>
          </a:custGeom>
          <a:ln w="12699">
            <a:solidFill>
              <a:srgbClr val="FFFFFF"/>
            </a:solidFill>
          </a:ln>
        </p:spPr>
        <p:txBody>
          <a:bodyPr wrap="square" lIns="0" tIns="0" rIns="0" bIns="0" rtlCol="0">
            <a:noAutofit/>
          </a:bodyPr>
          <a:lstStyle/>
          <a:p>
            <a:endParaRPr/>
          </a:p>
        </p:txBody>
      </p:sp>
      <p:sp>
        <p:nvSpPr>
          <p:cNvPr id="481" name="object 481"/>
          <p:cNvSpPr/>
          <p:nvPr/>
        </p:nvSpPr>
        <p:spPr>
          <a:xfrm>
            <a:off x="7014337" y="5179188"/>
            <a:ext cx="0" cy="92963"/>
          </a:xfrm>
          <a:custGeom>
            <a:avLst/>
            <a:gdLst/>
            <a:ahLst/>
            <a:cxnLst/>
            <a:rect l="l" t="t" r="r" b="b"/>
            <a:pathLst>
              <a:path h="92963">
                <a:moveTo>
                  <a:pt x="0" y="0"/>
                </a:moveTo>
                <a:lnTo>
                  <a:pt x="0" y="92963"/>
                </a:lnTo>
              </a:path>
            </a:pathLst>
          </a:custGeom>
          <a:ln w="12700">
            <a:solidFill>
              <a:srgbClr val="FFFFFF"/>
            </a:solidFill>
          </a:ln>
        </p:spPr>
        <p:txBody>
          <a:bodyPr wrap="square" lIns="0" tIns="0" rIns="0" bIns="0" rtlCol="0">
            <a:noAutofit/>
          </a:bodyPr>
          <a:lstStyle/>
          <a:p>
            <a:endParaRPr/>
          </a:p>
        </p:txBody>
      </p:sp>
      <p:sp>
        <p:nvSpPr>
          <p:cNvPr id="482" name="object 482"/>
          <p:cNvSpPr/>
          <p:nvPr/>
        </p:nvSpPr>
        <p:spPr>
          <a:xfrm>
            <a:off x="7012051" y="5179276"/>
            <a:ext cx="159550" cy="92875"/>
          </a:xfrm>
          <a:custGeom>
            <a:avLst/>
            <a:gdLst/>
            <a:ahLst/>
            <a:cxnLst/>
            <a:rect l="l" t="t" r="r" b="b"/>
            <a:pathLst>
              <a:path w="159550" h="92875">
                <a:moveTo>
                  <a:pt x="0" y="92875"/>
                </a:moveTo>
                <a:lnTo>
                  <a:pt x="159550" y="92875"/>
                </a:lnTo>
                <a:lnTo>
                  <a:pt x="159550" y="0"/>
                </a:lnTo>
                <a:lnTo>
                  <a:pt x="0" y="0"/>
                </a:lnTo>
                <a:lnTo>
                  <a:pt x="0" y="92875"/>
                </a:lnTo>
                <a:close/>
              </a:path>
            </a:pathLst>
          </a:custGeom>
          <a:solidFill>
            <a:srgbClr val="00CC99"/>
          </a:solidFill>
        </p:spPr>
        <p:txBody>
          <a:bodyPr wrap="square" lIns="0" tIns="0" rIns="0" bIns="0" rtlCol="0">
            <a:noAutofit/>
          </a:bodyPr>
          <a:lstStyle/>
          <a:p>
            <a:endParaRPr/>
          </a:p>
        </p:txBody>
      </p:sp>
      <p:sp>
        <p:nvSpPr>
          <p:cNvPr id="483" name="object 483"/>
          <p:cNvSpPr/>
          <p:nvPr/>
        </p:nvSpPr>
        <p:spPr>
          <a:xfrm>
            <a:off x="7171564" y="5148200"/>
            <a:ext cx="30987" cy="123951"/>
          </a:xfrm>
          <a:custGeom>
            <a:avLst/>
            <a:gdLst/>
            <a:ahLst/>
            <a:cxnLst/>
            <a:rect l="l" t="t" r="r" b="b"/>
            <a:pathLst>
              <a:path w="30987" h="123951">
                <a:moveTo>
                  <a:pt x="0" y="30987"/>
                </a:moveTo>
                <a:lnTo>
                  <a:pt x="0" y="123951"/>
                </a:lnTo>
                <a:lnTo>
                  <a:pt x="30987" y="92963"/>
                </a:lnTo>
                <a:lnTo>
                  <a:pt x="30987" y="0"/>
                </a:lnTo>
                <a:lnTo>
                  <a:pt x="0" y="30987"/>
                </a:lnTo>
                <a:close/>
              </a:path>
            </a:pathLst>
          </a:custGeom>
          <a:solidFill>
            <a:srgbClr val="00A37A"/>
          </a:solidFill>
        </p:spPr>
        <p:txBody>
          <a:bodyPr wrap="square" lIns="0" tIns="0" rIns="0" bIns="0" rtlCol="0">
            <a:noAutofit/>
          </a:bodyPr>
          <a:lstStyle/>
          <a:p>
            <a:endParaRPr/>
          </a:p>
        </p:txBody>
      </p:sp>
      <p:sp>
        <p:nvSpPr>
          <p:cNvPr id="484" name="object 484"/>
          <p:cNvSpPr/>
          <p:nvPr/>
        </p:nvSpPr>
        <p:spPr>
          <a:xfrm>
            <a:off x="7012051" y="5148200"/>
            <a:ext cx="190500" cy="30987"/>
          </a:xfrm>
          <a:custGeom>
            <a:avLst/>
            <a:gdLst/>
            <a:ahLst/>
            <a:cxnLst/>
            <a:rect l="l" t="t" r="r" b="b"/>
            <a:pathLst>
              <a:path w="190500" h="30987">
                <a:moveTo>
                  <a:pt x="0" y="30987"/>
                </a:moveTo>
                <a:lnTo>
                  <a:pt x="159512" y="30987"/>
                </a:lnTo>
                <a:lnTo>
                  <a:pt x="190500" y="0"/>
                </a:lnTo>
                <a:lnTo>
                  <a:pt x="30861" y="0"/>
                </a:lnTo>
                <a:lnTo>
                  <a:pt x="0" y="30987"/>
                </a:lnTo>
                <a:close/>
              </a:path>
            </a:pathLst>
          </a:custGeom>
          <a:solidFill>
            <a:srgbClr val="31D5AC"/>
          </a:solidFill>
        </p:spPr>
        <p:txBody>
          <a:bodyPr wrap="square" lIns="0" tIns="0" rIns="0" bIns="0" rtlCol="0">
            <a:noAutofit/>
          </a:bodyPr>
          <a:lstStyle/>
          <a:p>
            <a:endParaRPr/>
          </a:p>
        </p:txBody>
      </p:sp>
      <p:sp>
        <p:nvSpPr>
          <p:cNvPr id="485" name="object 485"/>
          <p:cNvSpPr/>
          <p:nvPr/>
        </p:nvSpPr>
        <p:spPr>
          <a:xfrm>
            <a:off x="7012051" y="5148200"/>
            <a:ext cx="190500" cy="123951"/>
          </a:xfrm>
          <a:custGeom>
            <a:avLst/>
            <a:gdLst/>
            <a:ahLst/>
            <a:cxnLst/>
            <a:rect l="l" t="t" r="r" b="b"/>
            <a:pathLst>
              <a:path w="190500" h="123951">
                <a:moveTo>
                  <a:pt x="0" y="30987"/>
                </a:moveTo>
                <a:lnTo>
                  <a:pt x="30861" y="0"/>
                </a:lnTo>
                <a:lnTo>
                  <a:pt x="190500" y="0"/>
                </a:lnTo>
                <a:lnTo>
                  <a:pt x="190500" y="92963"/>
                </a:lnTo>
                <a:lnTo>
                  <a:pt x="159512" y="123951"/>
                </a:lnTo>
                <a:lnTo>
                  <a:pt x="0" y="123951"/>
                </a:lnTo>
                <a:lnTo>
                  <a:pt x="0" y="30987"/>
                </a:lnTo>
                <a:close/>
              </a:path>
            </a:pathLst>
          </a:custGeom>
          <a:ln w="12700">
            <a:solidFill>
              <a:srgbClr val="FFFFFF"/>
            </a:solidFill>
          </a:ln>
        </p:spPr>
        <p:txBody>
          <a:bodyPr wrap="square" lIns="0" tIns="0" rIns="0" bIns="0" rtlCol="0">
            <a:noAutofit/>
          </a:bodyPr>
          <a:lstStyle/>
          <a:p>
            <a:endParaRPr/>
          </a:p>
        </p:txBody>
      </p:sp>
      <p:sp>
        <p:nvSpPr>
          <p:cNvPr id="486" name="object 486"/>
          <p:cNvSpPr/>
          <p:nvPr/>
        </p:nvSpPr>
        <p:spPr>
          <a:xfrm>
            <a:off x="7012051" y="5148200"/>
            <a:ext cx="190500" cy="30987"/>
          </a:xfrm>
          <a:custGeom>
            <a:avLst/>
            <a:gdLst/>
            <a:ahLst/>
            <a:cxnLst/>
            <a:rect l="l" t="t" r="r" b="b"/>
            <a:pathLst>
              <a:path w="190500" h="30987">
                <a:moveTo>
                  <a:pt x="0" y="30987"/>
                </a:moveTo>
                <a:lnTo>
                  <a:pt x="159512" y="30987"/>
                </a:lnTo>
                <a:lnTo>
                  <a:pt x="190500" y="0"/>
                </a:lnTo>
              </a:path>
            </a:pathLst>
          </a:custGeom>
          <a:ln w="12700">
            <a:solidFill>
              <a:srgbClr val="FFFFFF"/>
            </a:solidFill>
          </a:ln>
        </p:spPr>
        <p:txBody>
          <a:bodyPr wrap="square" lIns="0" tIns="0" rIns="0" bIns="0" rtlCol="0">
            <a:noAutofit/>
          </a:bodyPr>
          <a:lstStyle/>
          <a:p>
            <a:endParaRPr/>
          </a:p>
        </p:txBody>
      </p:sp>
      <p:sp>
        <p:nvSpPr>
          <p:cNvPr id="487" name="object 487"/>
          <p:cNvSpPr/>
          <p:nvPr/>
        </p:nvSpPr>
        <p:spPr>
          <a:xfrm>
            <a:off x="7161657" y="5179188"/>
            <a:ext cx="0" cy="92963"/>
          </a:xfrm>
          <a:custGeom>
            <a:avLst/>
            <a:gdLst/>
            <a:ahLst/>
            <a:cxnLst/>
            <a:rect l="l" t="t" r="r" b="b"/>
            <a:pathLst>
              <a:path h="92963">
                <a:moveTo>
                  <a:pt x="0" y="0"/>
                </a:moveTo>
                <a:lnTo>
                  <a:pt x="0" y="92963"/>
                </a:lnTo>
              </a:path>
            </a:pathLst>
          </a:custGeom>
          <a:ln w="12700">
            <a:solidFill>
              <a:srgbClr val="FFFFFF"/>
            </a:solidFill>
          </a:ln>
        </p:spPr>
        <p:txBody>
          <a:bodyPr wrap="square" lIns="0" tIns="0" rIns="0" bIns="0" rtlCol="0">
            <a:noAutofit/>
          </a:bodyPr>
          <a:lstStyle/>
          <a:p>
            <a:endParaRPr/>
          </a:p>
        </p:txBody>
      </p:sp>
      <p:sp>
        <p:nvSpPr>
          <p:cNvPr id="488" name="object 488"/>
          <p:cNvSpPr/>
          <p:nvPr/>
        </p:nvSpPr>
        <p:spPr>
          <a:xfrm>
            <a:off x="7158101" y="5179276"/>
            <a:ext cx="157962" cy="92875"/>
          </a:xfrm>
          <a:custGeom>
            <a:avLst/>
            <a:gdLst/>
            <a:ahLst/>
            <a:cxnLst/>
            <a:rect l="l" t="t" r="r" b="b"/>
            <a:pathLst>
              <a:path w="157962" h="92875">
                <a:moveTo>
                  <a:pt x="0" y="92875"/>
                </a:moveTo>
                <a:lnTo>
                  <a:pt x="157962" y="92875"/>
                </a:lnTo>
                <a:lnTo>
                  <a:pt x="157962" y="0"/>
                </a:lnTo>
                <a:lnTo>
                  <a:pt x="0" y="0"/>
                </a:lnTo>
                <a:lnTo>
                  <a:pt x="0" y="92875"/>
                </a:lnTo>
                <a:close/>
              </a:path>
            </a:pathLst>
          </a:custGeom>
          <a:solidFill>
            <a:srgbClr val="00CC99"/>
          </a:solidFill>
        </p:spPr>
        <p:txBody>
          <a:bodyPr wrap="square" lIns="0" tIns="0" rIns="0" bIns="0" rtlCol="0">
            <a:noAutofit/>
          </a:bodyPr>
          <a:lstStyle/>
          <a:p>
            <a:endParaRPr/>
          </a:p>
        </p:txBody>
      </p:sp>
      <p:sp>
        <p:nvSpPr>
          <p:cNvPr id="489" name="object 489"/>
          <p:cNvSpPr/>
          <p:nvPr/>
        </p:nvSpPr>
        <p:spPr>
          <a:xfrm>
            <a:off x="7315963" y="5148200"/>
            <a:ext cx="30987" cy="123951"/>
          </a:xfrm>
          <a:custGeom>
            <a:avLst/>
            <a:gdLst/>
            <a:ahLst/>
            <a:cxnLst/>
            <a:rect l="l" t="t" r="r" b="b"/>
            <a:pathLst>
              <a:path w="30987" h="123951">
                <a:moveTo>
                  <a:pt x="0" y="30987"/>
                </a:moveTo>
                <a:lnTo>
                  <a:pt x="0" y="123951"/>
                </a:lnTo>
                <a:lnTo>
                  <a:pt x="30987" y="92963"/>
                </a:lnTo>
                <a:lnTo>
                  <a:pt x="30987" y="0"/>
                </a:lnTo>
                <a:lnTo>
                  <a:pt x="0" y="30987"/>
                </a:lnTo>
                <a:close/>
              </a:path>
            </a:pathLst>
          </a:custGeom>
          <a:solidFill>
            <a:srgbClr val="00A37A"/>
          </a:solidFill>
        </p:spPr>
        <p:txBody>
          <a:bodyPr wrap="square" lIns="0" tIns="0" rIns="0" bIns="0" rtlCol="0">
            <a:noAutofit/>
          </a:bodyPr>
          <a:lstStyle/>
          <a:p>
            <a:endParaRPr/>
          </a:p>
        </p:txBody>
      </p:sp>
      <p:sp>
        <p:nvSpPr>
          <p:cNvPr id="490" name="object 490"/>
          <p:cNvSpPr/>
          <p:nvPr/>
        </p:nvSpPr>
        <p:spPr>
          <a:xfrm>
            <a:off x="7158102" y="5148200"/>
            <a:ext cx="188849" cy="30987"/>
          </a:xfrm>
          <a:custGeom>
            <a:avLst/>
            <a:gdLst/>
            <a:ahLst/>
            <a:cxnLst/>
            <a:rect l="l" t="t" r="r" b="b"/>
            <a:pathLst>
              <a:path w="188849" h="30987">
                <a:moveTo>
                  <a:pt x="0" y="30987"/>
                </a:moveTo>
                <a:lnTo>
                  <a:pt x="157861" y="30987"/>
                </a:lnTo>
                <a:lnTo>
                  <a:pt x="188849" y="0"/>
                </a:lnTo>
                <a:lnTo>
                  <a:pt x="30861" y="0"/>
                </a:lnTo>
                <a:lnTo>
                  <a:pt x="0" y="30987"/>
                </a:lnTo>
                <a:close/>
              </a:path>
            </a:pathLst>
          </a:custGeom>
          <a:solidFill>
            <a:srgbClr val="31D5AC"/>
          </a:solidFill>
        </p:spPr>
        <p:txBody>
          <a:bodyPr wrap="square" lIns="0" tIns="0" rIns="0" bIns="0" rtlCol="0">
            <a:noAutofit/>
          </a:bodyPr>
          <a:lstStyle/>
          <a:p>
            <a:endParaRPr/>
          </a:p>
        </p:txBody>
      </p:sp>
      <p:sp>
        <p:nvSpPr>
          <p:cNvPr id="491" name="object 491"/>
          <p:cNvSpPr/>
          <p:nvPr/>
        </p:nvSpPr>
        <p:spPr>
          <a:xfrm>
            <a:off x="7158102" y="5148200"/>
            <a:ext cx="188849" cy="123951"/>
          </a:xfrm>
          <a:custGeom>
            <a:avLst/>
            <a:gdLst/>
            <a:ahLst/>
            <a:cxnLst/>
            <a:rect l="l" t="t" r="r" b="b"/>
            <a:pathLst>
              <a:path w="188849" h="123951">
                <a:moveTo>
                  <a:pt x="0" y="30987"/>
                </a:moveTo>
                <a:lnTo>
                  <a:pt x="30861" y="0"/>
                </a:lnTo>
                <a:lnTo>
                  <a:pt x="188849" y="0"/>
                </a:lnTo>
                <a:lnTo>
                  <a:pt x="188849" y="92963"/>
                </a:lnTo>
                <a:lnTo>
                  <a:pt x="157861" y="123951"/>
                </a:lnTo>
                <a:lnTo>
                  <a:pt x="0" y="123951"/>
                </a:lnTo>
                <a:lnTo>
                  <a:pt x="0" y="30987"/>
                </a:lnTo>
                <a:close/>
              </a:path>
            </a:pathLst>
          </a:custGeom>
          <a:ln w="12700">
            <a:solidFill>
              <a:srgbClr val="FFFFFF"/>
            </a:solidFill>
          </a:ln>
        </p:spPr>
        <p:txBody>
          <a:bodyPr wrap="square" lIns="0" tIns="0" rIns="0" bIns="0" rtlCol="0">
            <a:noAutofit/>
          </a:bodyPr>
          <a:lstStyle/>
          <a:p>
            <a:endParaRPr/>
          </a:p>
        </p:txBody>
      </p:sp>
      <p:sp>
        <p:nvSpPr>
          <p:cNvPr id="492" name="object 492"/>
          <p:cNvSpPr/>
          <p:nvPr/>
        </p:nvSpPr>
        <p:spPr>
          <a:xfrm>
            <a:off x="7158102" y="5148200"/>
            <a:ext cx="188849" cy="30987"/>
          </a:xfrm>
          <a:custGeom>
            <a:avLst/>
            <a:gdLst/>
            <a:ahLst/>
            <a:cxnLst/>
            <a:rect l="l" t="t" r="r" b="b"/>
            <a:pathLst>
              <a:path w="188849" h="30987">
                <a:moveTo>
                  <a:pt x="0" y="30987"/>
                </a:moveTo>
                <a:lnTo>
                  <a:pt x="157861" y="30987"/>
                </a:lnTo>
                <a:lnTo>
                  <a:pt x="188849" y="0"/>
                </a:lnTo>
              </a:path>
            </a:pathLst>
          </a:custGeom>
          <a:ln w="12699">
            <a:solidFill>
              <a:srgbClr val="FFFFFF"/>
            </a:solidFill>
          </a:ln>
        </p:spPr>
        <p:txBody>
          <a:bodyPr wrap="square" lIns="0" tIns="0" rIns="0" bIns="0" rtlCol="0">
            <a:noAutofit/>
          </a:bodyPr>
          <a:lstStyle/>
          <a:p>
            <a:endParaRPr/>
          </a:p>
        </p:txBody>
      </p:sp>
      <p:sp>
        <p:nvSpPr>
          <p:cNvPr id="493" name="object 493"/>
          <p:cNvSpPr/>
          <p:nvPr/>
        </p:nvSpPr>
        <p:spPr>
          <a:xfrm>
            <a:off x="7315962" y="5179188"/>
            <a:ext cx="0" cy="92963"/>
          </a:xfrm>
          <a:custGeom>
            <a:avLst/>
            <a:gdLst/>
            <a:ahLst/>
            <a:cxnLst/>
            <a:rect l="l" t="t" r="r" b="b"/>
            <a:pathLst>
              <a:path h="92963">
                <a:moveTo>
                  <a:pt x="0" y="0"/>
                </a:moveTo>
                <a:lnTo>
                  <a:pt x="0" y="92963"/>
                </a:lnTo>
              </a:path>
            </a:pathLst>
          </a:custGeom>
          <a:ln w="12700">
            <a:solidFill>
              <a:srgbClr val="FFFFFF"/>
            </a:solidFill>
          </a:ln>
        </p:spPr>
        <p:txBody>
          <a:bodyPr wrap="square" lIns="0" tIns="0" rIns="0" bIns="0" rtlCol="0">
            <a:noAutofit/>
          </a:bodyPr>
          <a:lstStyle/>
          <a:p>
            <a:endParaRPr/>
          </a:p>
        </p:txBody>
      </p:sp>
      <p:sp>
        <p:nvSpPr>
          <p:cNvPr id="494" name="object 494"/>
          <p:cNvSpPr/>
          <p:nvPr/>
        </p:nvSpPr>
        <p:spPr>
          <a:xfrm>
            <a:off x="7315200" y="5179276"/>
            <a:ext cx="157962" cy="92875"/>
          </a:xfrm>
          <a:custGeom>
            <a:avLst/>
            <a:gdLst/>
            <a:ahLst/>
            <a:cxnLst/>
            <a:rect l="l" t="t" r="r" b="b"/>
            <a:pathLst>
              <a:path w="157962" h="92875">
                <a:moveTo>
                  <a:pt x="0" y="92875"/>
                </a:moveTo>
                <a:lnTo>
                  <a:pt x="157962" y="92875"/>
                </a:lnTo>
                <a:lnTo>
                  <a:pt x="157962" y="0"/>
                </a:lnTo>
                <a:lnTo>
                  <a:pt x="0" y="0"/>
                </a:lnTo>
                <a:lnTo>
                  <a:pt x="0" y="92875"/>
                </a:lnTo>
                <a:close/>
              </a:path>
            </a:pathLst>
          </a:custGeom>
          <a:solidFill>
            <a:srgbClr val="00CC99"/>
          </a:solidFill>
        </p:spPr>
        <p:txBody>
          <a:bodyPr wrap="square" lIns="0" tIns="0" rIns="0" bIns="0" rtlCol="0">
            <a:noAutofit/>
          </a:bodyPr>
          <a:lstStyle/>
          <a:p>
            <a:endParaRPr/>
          </a:p>
        </p:txBody>
      </p:sp>
      <p:sp>
        <p:nvSpPr>
          <p:cNvPr id="495" name="object 495"/>
          <p:cNvSpPr/>
          <p:nvPr/>
        </p:nvSpPr>
        <p:spPr>
          <a:xfrm>
            <a:off x="7473189" y="5148200"/>
            <a:ext cx="30987" cy="123951"/>
          </a:xfrm>
          <a:custGeom>
            <a:avLst/>
            <a:gdLst/>
            <a:ahLst/>
            <a:cxnLst/>
            <a:rect l="l" t="t" r="r" b="b"/>
            <a:pathLst>
              <a:path w="30987" h="123951">
                <a:moveTo>
                  <a:pt x="0" y="30987"/>
                </a:moveTo>
                <a:lnTo>
                  <a:pt x="0" y="123951"/>
                </a:lnTo>
                <a:lnTo>
                  <a:pt x="30987" y="92963"/>
                </a:lnTo>
                <a:lnTo>
                  <a:pt x="30987" y="0"/>
                </a:lnTo>
                <a:lnTo>
                  <a:pt x="0" y="30987"/>
                </a:lnTo>
                <a:close/>
              </a:path>
            </a:pathLst>
          </a:custGeom>
          <a:solidFill>
            <a:srgbClr val="00A37A"/>
          </a:solidFill>
        </p:spPr>
        <p:txBody>
          <a:bodyPr wrap="square" lIns="0" tIns="0" rIns="0" bIns="0" rtlCol="0">
            <a:noAutofit/>
          </a:bodyPr>
          <a:lstStyle/>
          <a:p>
            <a:endParaRPr/>
          </a:p>
        </p:txBody>
      </p:sp>
      <p:sp>
        <p:nvSpPr>
          <p:cNvPr id="496" name="object 496"/>
          <p:cNvSpPr/>
          <p:nvPr/>
        </p:nvSpPr>
        <p:spPr>
          <a:xfrm>
            <a:off x="7315201" y="5148200"/>
            <a:ext cx="188975" cy="30987"/>
          </a:xfrm>
          <a:custGeom>
            <a:avLst/>
            <a:gdLst/>
            <a:ahLst/>
            <a:cxnLst/>
            <a:rect l="l" t="t" r="r" b="b"/>
            <a:pathLst>
              <a:path w="188975" h="30987">
                <a:moveTo>
                  <a:pt x="0" y="30987"/>
                </a:moveTo>
                <a:lnTo>
                  <a:pt x="157987" y="30987"/>
                </a:lnTo>
                <a:lnTo>
                  <a:pt x="188975" y="0"/>
                </a:lnTo>
                <a:lnTo>
                  <a:pt x="30987" y="0"/>
                </a:lnTo>
                <a:lnTo>
                  <a:pt x="0" y="30987"/>
                </a:lnTo>
                <a:close/>
              </a:path>
            </a:pathLst>
          </a:custGeom>
          <a:solidFill>
            <a:srgbClr val="31D5AC"/>
          </a:solidFill>
        </p:spPr>
        <p:txBody>
          <a:bodyPr wrap="square" lIns="0" tIns="0" rIns="0" bIns="0" rtlCol="0">
            <a:noAutofit/>
          </a:bodyPr>
          <a:lstStyle/>
          <a:p>
            <a:endParaRPr/>
          </a:p>
        </p:txBody>
      </p:sp>
      <p:sp>
        <p:nvSpPr>
          <p:cNvPr id="497" name="object 497"/>
          <p:cNvSpPr/>
          <p:nvPr/>
        </p:nvSpPr>
        <p:spPr>
          <a:xfrm>
            <a:off x="7315201" y="5148200"/>
            <a:ext cx="188975" cy="123951"/>
          </a:xfrm>
          <a:custGeom>
            <a:avLst/>
            <a:gdLst/>
            <a:ahLst/>
            <a:cxnLst/>
            <a:rect l="l" t="t" r="r" b="b"/>
            <a:pathLst>
              <a:path w="188975" h="123951">
                <a:moveTo>
                  <a:pt x="0" y="30987"/>
                </a:moveTo>
                <a:lnTo>
                  <a:pt x="30987" y="0"/>
                </a:lnTo>
                <a:lnTo>
                  <a:pt x="188975" y="0"/>
                </a:lnTo>
                <a:lnTo>
                  <a:pt x="188975" y="92963"/>
                </a:lnTo>
                <a:lnTo>
                  <a:pt x="157987" y="123951"/>
                </a:lnTo>
                <a:lnTo>
                  <a:pt x="0" y="123951"/>
                </a:lnTo>
                <a:lnTo>
                  <a:pt x="0" y="30987"/>
                </a:lnTo>
                <a:close/>
              </a:path>
            </a:pathLst>
          </a:custGeom>
          <a:ln w="12700">
            <a:solidFill>
              <a:srgbClr val="FFFFFF"/>
            </a:solidFill>
          </a:ln>
        </p:spPr>
        <p:txBody>
          <a:bodyPr wrap="square" lIns="0" tIns="0" rIns="0" bIns="0" rtlCol="0">
            <a:noAutofit/>
          </a:bodyPr>
          <a:lstStyle/>
          <a:p>
            <a:endParaRPr/>
          </a:p>
        </p:txBody>
      </p:sp>
      <p:sp>
        <p:nvSpPr>
          <p:cNvPr id="498" name="object 498"/>
          <p:cNvSpPr/>
          <p:nvPr/>
        </p:nvSpPr>
        <p:spPr>
          <a:xfrm>
            <a:off x="7315201" y="5148200"/>
            <a:ext cx="188975" cy="30987"/>
          </a:xfrm>
          <a:custGeom>
            <a:avLst/>
            <a:gdLst/>
            <a:ahLst/>
            <a:cxnLst/>
            <a:rect l="l" t="t" r="r" b="b"/>
            <a:pathLst>
              <a:path w="188975" h="30987">
                <a:moveTo>
                  <a:pt x="0" y="30987"/>
                </a:moveTo>
                <a:lnTo>
                  <a:pt x="157987" y="30987"/>
                </a:lnTo>
                <a:lnTo>
                  <a:pt x="188975" y="0"/>
                </a:lnTo>
              </a:path>
            </a:pathLst>
          </a:custGeom>
          <a:ln w="12699">
            <a:solidFill>
              <a:srgbClr val="FFFFFF"/>
            </a:solidFill>
          </a:ln>
        </p:spPr>
        <p:txBody>
          <a:bodyPr wrap="square" lIns="0" tIns="0" rIns="0" bIns="0" rtlCol="0">
            <a:noAutofit/>
          </a:bodyPr>
          <a:lstStyle/>
          <a:p>
            <a:endParaRPr/>
          </a:p>
        </p:txBody>
      </p:sp>
      <p:sp>
        <p:nvSpPr>
          <p:cNvPr id="499" name="object 499"/>
          <p:cNvSpPr/>
          <p:nvPr/>
        </p:nvSpPr>
        <p:spPr>
          <a:xfrm>
            <a:off x="7473188" y="5179188"/>
            <a:ext cx="0" cy="92963"/>
          </a:xfrm>
          <a:custGeom>
            <a:avLst/>
            <a:gdLst/>
            <a:ahLst/>
            <a:cxnLst/>
            <a:rect l="l" t="t" r="r" b="b"/>
            <a:pathLst>
              <a:path h="92963">
                <a:moveTo>
                  <a:pt x="0" y="0"/>
                </a:moveTo>
                <a:lnTo>
                  <a:pt x="0" y="92963"/>
                </a:lnTo>
              </a:path>
            </a:pathLst>
          </a:custGeom>
          <a:ln w="12700">
            <a:solidFill>
              <a:srgbClr val="FFFFFF"/>
            </a:solidFill>
          </a:ln>
        </p:spPr>
        <p:txBody>
          <a:bodyPr wrap="square" lIns="0" tIns="0" rIns="0" bIns="0" rtlCol="0">
            <a:noAutofit/>
          </a:bodyPr>
          <a:lstStyle/>
          <a:p>
            <a:endParaRPr/>
          </a:p>
        </p:txBody>
      </p:sp>
      <p:sp>
        <p:nvSpPr>
          <p:cNvPr id="500" name="object 500"/>
          <p:cNvSpPr/>
          <p:nvPr/>
        </p:nvSpPr>
        <p:spPr>
          <a:xfrm>
            <a:off x="7783576" y="5628083"/>
            <a:ext cx="210350" cy="0"/>
          </a:xfrm>
          <a:custGeom>
            <a:avLst/>
            <a:gdLst/>
            <a:ahLst/>
            <a:cxnLst/>
            <a:rect l="l" t="t" r="r" b="b"/>
            <a:pathLst>
              <a:path w="210350">
                <a:moveTo>
                  <a:pt x="0" y="0"/>
                </a:moveTo>
                <a:lnTo>
                  <a:pt x="210350" y="0"/>
                </a:lnTo>
              </a:path>
            </a:pathLst>
          </a:custGeom>
          <a:ln w="41753">
            <a:solidFill>
              <a:srgbClr val="00CC99"/>
            </a:solidFill>
          </a:ln>
        </p:spPr>
        <p:txBody>
          <a:bodyPr wrap="square" lIns="0" tIns="0" rIns="0" bIns="0" rtlCol="0">
            <a:noAutofit/>
          </a:bodyPr>
          <a:lstStyle/>
          <a:p>
            <a:endParaRPr/>
          </a:p>
        </p:txBody>
      </p:sp>
      <p:sp>
        <p:nvSpPr>
          <p:cNvPr id="501" name="object 501"/>
          <p:cNvSpPr/>
          <p:nvPr/>
        </p:nvSpPr>
        <p:spPr>
          <a:xfrm>
            <a:off x="7993888" y="5594351"/>
            <a:ext cx="13462" cy="53975"/>
          </a:xfrm>
          <a:custGeom>
            <a:avLst/>
            <a:gdLst/>
            <a:ahLst/>
            <a:cxnLst/>
            <a:rect l="l" t="t" r="r" b="b"/>
            <a:pathLst>
              <a:path w="13462" h="53975">
                <a:moveTo>
                  <a:pt x="0" y="13487"/>
                </a:moveTo>
                <a:lnTo>
                  <a:pt x="0" y="53975"/>
                </a:lnTo>
                <a:lnTo>
                  <a:pt x="13462" y="40487"/>
                </a:lnTo>
                <a:lnTo>
                  <a:pt x="13462" y="0"/>
                </a:lnTo>
                <a:lnTo>
                  <a:pt x="0" y="13487"/>
                </a:lnTo>
                <a:close/>
              </a:path>
            </a:pathLst>
          </a:custGeom>
          <a:solidFill>
            <a:srgbClr val="00A37A"/>
          </a:solidFill>
        </p:spPr>
        <p:txBody>
          <a:bodyPr wrap="square" lIns="0" tIns="0" rIns="0" bIns="0" rtlCol="0">
            <a:noAutofit/>
          </a:bodyPr>
          <a:lstStyle/>
          <a:p>
            <a:endParaRPr/>
          </a:p>
        </p:txBody>
      </p:sp>
      <p:sp>
        <p:nvSpPr>
          <p:cNvPr id="502" name="object 502"/>
          <p:cNvSpPr/>
          <p:nvPr/>
        </p:nvSpPr>
        <p:spPr>
          <a:xfrm>
            <a:off x="7783576" y="5594351"/>
            <a:ext cx="223774" cy="13487"/>
          </a:xfrm>
          <a:custGeom>
            <a:avLst/>
            <a:gdLst/>
            <a:ahLst/>
            <a:cxnLst/>
            <a:rect l="l" t="t" r="r" b="b"/>
            <a:pathLst>
              <a:path w="223774" h="13487">
                <a:moveTo>
                  <a:pt x="0" y="13487"/>
                </a:moveTo>
                <a:lnTo>
                  <a:pt x="210312" y="13487"/>
                </a:lnTo>
                <a:lnTo>
                  <a:pt x="223774" y="0"/>
                </a:lnTo>
                <a:lnTo>
                  <a:pt x="13462" y="0"/>
                </a:lnTo>
                <a:lnTo>
                  <a:pt x="0" y="13487"/>
                </a:lnTo>
                <a:close/>
              </a:path>
            </a:pathLst>
          </a:custGeom>
          <a:solidFill>
            <a:srgbClr val="31D5AC"/>
          </a:solidFill>
        </p:spPr>
        <p:txBody>
          <a:bodyPr wrap="square" lIns="0" tIns="0" rIns="0" bIns="0" rtlCol="0">
            <a:noAutofit/>
          </a:bodyPr>
          <a:lstStyle/>
          <a:p>
            <a:endParaRPr/>
          </a:p>
        </p:txBody>
      </p:sp>
      <p:sp>
        <p:nvSpPr>
          <p:cNvPr id="503" name="object 503"/>
          <p:cNvSpPr/>
          <p:nvPr/>
        </p:nvSpPr>
        <p:spPr>
          <a:xfrm>
            <a:off x="7783576" y="5594351"/>
            <a:ext cx="223774" cy="53975"/>
          </a:xfrm>
          <a:custGeom>
            <a:avLst/>
            <a:gdLst/>
            <a:ahLst/>
            <a:cxnLst/>
            <a:rect l="l" t="t" r="r" b="b"/>
            <a:pathLst>
              <a:path w="223774" h="53975">
                <a:moveTo>
                  <a:pt x="0" y="13487"/>
                </a:moveTo>
                <a:lnTo>
                  <a:pt x="13462" y="0"/>
                </a:lnTo>
                <a:lnTo>
                  <a:pt x="223774" y="0"/>
                </a:lnTo>
                <a:lnTo>
                  <a:pt x="223774" y="40487"/>
                </a:lnTo>
                <a:lnTo>
                  <a:pt x="210312" y="53975"/>
                </a:lnTo>
                <a:lnTo>
                  <a:pt x="0" y="53975"/>
                </a:lnTo>
                <a:lnTo>
                  <a:pt x="0" y="13487"/>
                </a:lnTo>
                <a:close/>
              </a:path>
            </a:pathLst>
          </a:custGeom>
          <a:ln w="12700">
            <a:solidFill>
              <a:srgbClr val="000000"/>
            </a:solidFill>
          </a:ln>
        </p:spPr>
        <p:txBody>
          <a:bodyPr wrap="square" lIns="0" tIns="0" rIns="0" bIns="0" rtlCol="0">
            <a:noAutofit/>
          </a:bodyPr>
          <a:lstStyle/>
          <a:p>
            <a:endParaRPr/>
          </a:p>
        </p:txBody>
      </p:sp>
      <p:sp>
        <p:nvSpPr>
          <p:cNvPr id="504" name="object 504"/>
          <p:cNvSpPr/>
          <p:nvPr/>
        </p:nvSpPr>
        <p:spPr>
          <a:xfrm>
            <a:off x="7783576" y="5594351"/>
            <a:ext cx="223774" cy="13487"/>
          </a:xfrm>
          <a:custGeom>
            <a:avLst/>
            <a:gdLst/>
            <a:ahLst/>
            <a:cxnLst/>
            <a:rect l="l" t="t" r="r" b="b"/>
            <a:pathLst>
              <a:path w="223774" h="13487">
                <a:moveTo>
                  <a:pt x="0" y="13487"/>
                </a:moveTo>
                <a:lnTo>
                  <a:pt x="210312" y="13487"/>
                </a:lnTo>
                <a:lnTo>
                  <a:pt x="223774" y="0"/>
                </a:lnTo>
              </a:path>
            </a:pathLst>
          </a:custGeom>
          <a:ln w="12700">
            <a:solidFill>
              <a:srgbClr val="000000"/>
            </a:solidFill>
          </a:ln>
        </p:spPr>
        <p:txBody>
          <a:bodyPr wrap="square" lIns="0" tIns="0" rIns="0" bIns="0" rtlCol="0">
            <a:noAutofit/>
          </a:bodyPr>
          <a:lstStyle/>
          <a:p>
            <a:endParaRPr/>
          </a:p>
        </p:txBody>
      </p:sp>
      <p:sp>
        <p:nvSpPr>
          <p:cNvPr id="505" name="object 505"/>
          <p:cNvSpPr/>
          <p:nvPr/>
        </p:nvSpPr>
        <p:spPr>
          <a:xfrm>
            <a:off x="7993888" y="5607838"/>
            <a:ext cx="0" cy="40487"/>
          </a:xfrm>
          <a:custGeom>
            <a:avLst/>
            <a:gdLst/>
            <a:ahLst/>
            <a:cxnLst/>
            <a:rect l="l" t="t" r="r" b="b"/>
            <a:pathLst>
              <a:path h="40487">
                <a:moveTo>
                  <a:pt x="0" y="0"/>
                </a:moveTo>
                <a:lnTo>
                  <a:pt x="0" y="40487"/>
                </a:lnTo>
              </a:path>
            </a:pathLst>
          </a:custGeom>
          <a:ln w="12700">
            <a:solidFill>
              <a:srgbClr val="000000"/>
            </a:solidFill>
          </a:ln>
        </p:spPr>
        <p:txBody>
          <a:bodyPr wrap="square" lIns="0" tIns="0" rIns="0" bIns="0" rtlCol="0">
            <a:noAutofit/>
          </a:bodyPr>
          <a:lstStyle/>
          <a:p>
            <a:endParaRPr/>
          </a:p>
        </p:txBody>
      </p:sp>
      <p:sp>
        <p:nvSpPr>
          <p:cNvPr id="506" name="object 506"/>
          <p:cNvSpPr/>
          <p:nvPr/>
        </p:nvSpPr>
        <p:spPr>
          <a:xfrm>
            <a:off x="6900926" y="5805883"/>
            <a:ext cx="208762" cy="0"/>
          </a:xfrm>
          <a:custGeom>
            <a:avLst/>
            <a:gdLst/>
            <a:ahLst/>
            <a:cxnLst/>
            <a:rect l="l" t="t" r="r" b="b"/>
            <a:pathLst>
              <a:path w="208762">
                <a:moveTo>
                  <a:pt x="0" y="0"/>
                </a:moveTo>
                <a:lnTo>
                  <a:pt x="208762" y="0"/>
                </a:lnTo>
              </a:path>
            </a:pathLst>
          </a:custGeom>
          <a:ln w="41753">
            <a:solidFill>
              <a:srgbClr val="00CC99"/>
            </a:solidFill>
          </a:ln>
        </p:spPr>
        <p:txBody>
          <a:bodyPr wrap="square" lIns="0" tIns="0" rIns="0" bIns="0" rtlCol="0">
            <a:noAutofit/>
          </a:bodyPr>
          <a:lstStyle/>
          <a:p>
            <a:endParaRPr/>
          </a:p>
        </p:txBody>
      </p:sp>
      <p:sp>
        <p:nvSpPr>
          <p:cNvPr id="507" name="object 507"/>
          <p:cNvSpPr/>
          <p:nvPr/>
        </p:nvSpPr>
        <p:spPr>
          <a:xfrm>
            <a:off x="7109587" y="5772151"/>
            <a:ext cx="13588" cy="53975"/>
          </a:xfrm>
          <a:custGeom>
            <a:avLst/>
            <a:gdLst/>
            <a:ahLst/>
            <a:cxnLst/>
            <a:rect l="l" t="t" r="r" b="b"/>
            <a:pathLst>
              <a:path w="13588" h="53975">
                <a:moveTo>
                  <a:pt x="0" y="13487"/>
                </a:moveTo>
                <a:lnTo>
                  <a:pt x="0" y="53975"/>
                </a:lnTo>
                <a:lnTo>
                  <a:pt x="13588" y="40487"/>
                </a:lnTo>
                <a:lnTo>
                  <a:pt x="13588" y="0"/>
                </a:lnTo>
                <a:lnTo>
                  <a:pt x="0" y="13487"/>
                </a:lnTo>
                <a:close/>
              </a:path>
            </a:pathLst>
          </a:custGeom>
          <a:solidFill>
            <a:srgbClr val="00A37A"/>
          </a:solidFill>
        </p:spPr>
        <p:txBody>
          <a:bodyPr wrap="square" lIns="0" tIns="0" rIns="0" bIns="0" rtlCol="0">
            <a:noAutofit/>
          </a:bodyPr>
          <a:lstStyle/>
          <a:p>
            <a:endParaRPr/>
          </a:p>
        </p:txBody>
      </p:sp>
      <p:sp>
        <p:nvSpPr>
          <p:cNvPr id="508" name="object 508"/>
          <p:cNvSpPr/>
          <p:nvPr/>
        </p:nvSpPr>
        <p:spPr>
          <a:xfrm>
            <a:off x="6900926" y="5772151"/>
            <a:ext cx="222250" cy="13487"/>
          </a:xfrm>
          <a:custGeom>
            <a:avLst/>
            <a:gdLst/>
            <a:ahLst/>
            <a:cxnLst/>
            <a:rect l="l" t="t" r="r" b="b"/>
            <a:pathLst>
              <a:path w="222250" h="13487">
                <a:moveTo>
                  <a:pt x="0" y="13487"/>
                </a:moveTo>
                <a:lnTo>
                  <a:pt x="208661" y="13487"/>
                </a:lnTo>
                <a:lnTo>
                  <a:pt x="222250" y="0"/>
                </a:lnTo>
                <a:lnTo>
                  <a:pt x="13462" y="0"/>
                </a:lnTo>
                <a:lnTo>
                  <a:pt x="0" y="13487"/>
                </a:lnTo>
                <a:close/>
              </a:path>
            </a:pathLst>
          </a:custGeom>
          <a:solidFill>
            <a:srgbClr val="31D5AC"/>
          </a:solidFill>
        </p:spPr>
        <p:txBody>
          <a:bodyPr wrap="square" lIns="0" tIns="0" rIns="0" bIns="0" rtlCol="0">
            <a:noAutofit/>
          </a:bodyPr>
          <a:lstStyle/>
          <a:p>
            <a:endParaRPr/>
          </a:p>
        </p:txBody>
      </p:sp>
      <p:sp>
        <p:nvSpPr>
          <p:cNvPr id="509" name="object 509"/>
          <p:cNvSpPr/>
          <p:nvPr/>
        </p:nvSpPr>
        <p:spPr>
          <a:xfrm>
            <a:off x="6900926" y="5772151"/>
            <a:ext cx="222250" cy="53975"/>
          </a:xfrm>
          <a:custGeom>
            <a:avLst/>
            <a:gdLst/>
            <a:ahLst/>
            <a:cxnLst/>
            <a:rect l="l" t="t" r="r" b="b"/>
            <a:pathLst>
              <a:path w="222250" h="53975">
                <a:moveTo>
                  <a:pt x="0" y="13487"/>
                </a:moveTo>
                <a:lnTo>
                  <a:pt x="13462" y="0"/>
                </a:lnTo>
                <a:lnTo>
                  <a:pt x="222250" y="0"/>
                </a:lnTo>
                <a:lnTo>
                  <a:pt x="222250" y="40487"/>
                </a:lnTo>
                <a:lnTo>
                  <a:pt x="208661" y="53975"/>
                </a:lnTo>
                <a:lnTo>
                  <a:pt x="0" y="53975"/>
                </a:lnTo>
                <a:lnTo>
                  <a:pt x="0" y="13487"/>
                </a:lnTo>
                <a:close/>
              </a:path>
            </a:pathLst>
          </a:custGeom>
          <a:ln w="12700">
            <a:solidFill>
              <a:srgbClr val="000000"/>
            </a:solidFill>
          </a:ln>
        </p:spPr>
        <p:txBody>
          <a:bodyPr wrap="square" lIns="0" tIns="0" rIns="0" bIns="0" rtlCol="0">
            <a:noAutofit/>
          </a:bodyPr>
          <a:lstStyle/>
          <a:p>
            <a:endParaRPr/>
          </a:p>
        </p:txBody>
      </p:sp>
      <p:sp>
        <p:nvSpPr>
          <p:cNvPr id="510" name="object 510"/>
          <p:cNvSpPr/>
          <p:nvPr/>
        </p:nvSpPr>
        <p:spPr>
          <a:xfrm>
            <a:off x="6900926" y="5772151"/>
            <a:ext cx="222250" cy="13487"/>
          </a:xfrm>
          <a:custGeom>
            <a:avLst/>
            <a:gdLst/>
            <a:ahLst/>
            <a:cxnLst/>
            <a:rect l="l" t="t" r="r" b="b"/>
            <a:pathLst>
              <a:path w="222250" h="13487">
                <a:moveTo>
                  <a:pt x="0" y="13487"/>
                </a:moveTo>
                <a:lnTo>
                  <a:pt x="208661" y="13487"/>
                </a:lnTo>
                <a:lnTo>
                  <a:pt x="222250" y="0"/>
                </a:lnTo>
              </a:path>
            </a:pathLst>
          </a:custGeom>
          <a:ln w="12700">
            <a:solidFill>
              <a:srgbClr val="000000"/>
            </a:solidFill>
          </a:ln>
        </p:spPr>
        <p:txBody>
          <a:bodyPr wrap="square" lIns="0" tIns="0" rIns="0" bIns="0" rtlCol="0">
            <a:noAutofit/>
          </a:bodyPr>
          <a:lstStyle/>
          <a:p>
            <a:endParaRPr/>
          </a:p>
        </p:txBody>
      </p:sp>
      <p:sp>
        <p:nvSpPr>
          <p:cNvPr id="511" name="object 511"/>
          <p:cNvSpPr/>
          <p:nvPr/>
        </p:nvSpPr>
        <p:spPr>
          <a:xfrm>
            <a:off x="7109587" y="5785638"/>
            <a:ext cx="0" cy="40487"/>
          </a:xfrm>
          <a:custGeom>
            <a:avLst/>
            <a:gdLst/>
            <a:ahLst/>
            <a:cxnLst/>
            <a:rect l="l" t="t" r="r" b="b"/>
            <a:pathLst>
              <a:path h="40487">
                <a:moveTo>
                  <a:pt x="0" y="0"/>
                </a:moveTo>
                <a:lnTo>
                  <a:pt x="0" y="40487"/>
                </a:lnTo>
              </a:path>
            </a:pathLst>
          </a:custGeom>
          <a:ln w="12700">
            <a:solidFill>
              <a:srgbClr val="000000"/>
            </a:solidFill>
          </a:ln>
        </p:spPr>
        <p:txBody>
          <a:bodyPr wrap="square" lIns="0" tIns="0" rIns="0" bIns="0" rtlCol="0">
            <a:noAutofit/>
          </a:bodyPr>
          <a:lstStyle/>
          <a:p>
            <a:endParaRPr/>
          </a:p>
        </p:txBody>
      </p:sp>
      <p:sp>
        <p:nvSpPr>
          <p:cNvPr id="512" name="object 512"/>
          <p:cNvSpPr/>
          <p:nvPr/>
        </p:nvSpPr>
        <p:spPr>
          <a:xfrm>
            <a:off x="7224776" y="5805883"/>
            <a:ext cx="210350" cy="0"/>
          </a:xfrm>
          <a:custGeom>
            <a:avLst/>
            <a:gdLst/>
            <a:ahLst/>
            <a:cxnLst/>
            <a:rect l="l" t="t" r="r" b="b"/>
            <a:pathLst>
              <a:path w="210350">
                <a:moveTo>
                  <a:pt x="0" y="0"/>
                </a:moveTo>
                <a:lnTo>
                  <a:pt x="210350" y="0"/>
                </a:lnTo>
              </a:path>
            </a:pathLst>
          </a:custGeom>
          <a:ln w="41753">
            <a:solidFill>
              <a:srgbClr val="00CC99"/>
            </a:solidFill>
          </a:ln>
        </p:spPr>
        <p:txBody>
          <a:bodyPr wrap="square" lIns="0" tIns="0" rIns="0" bIns="0" rtlCol="0">
            <a:noAutofit/>
          </a:bodyPr>
          <a:lstStyle/>
          <a:p>
            <a:endParaRPr/>
          </a:p>
        </p:txBody>
      </p:sp>
      <p:sp>
        <p:nvSpPr>
          <p:cNvPr id="513" name="object 513"/>
          <p:cNvSpPr/>
          <p:nvPr/>
        </p:nvSpPr>
        <p:spPr>
          <a:xfrm>
            <a:off x="7435088" y="5772151"/>
            <a:ext cx="13462" cy="53975"/>
          </a:xfrm>
          <a:custGeom>
            <a:avLst/>
            <a:gdLst/>
            <a:ahLst/>
            <a:cxnLst/>
            <a:rect l="l" t="t" r="r" b="b"/>
            <a:pathLst>
              <a:path w="13462" h="53975">
                <a:moveTo>
                  <a:pt x="0" y="13487"/>
                </a:moveTo>
                <a:lnTo>
                  <a:pt x="0" y="53975"/>
                </a:lnTo>
                <a:lnTo>
                  <a:pt x="13462" y="40487"/>
                </a:lnTo>
                <a:lnTo>
                  <a:pt x="13462" y="0"/>
                </a:lnTo>
                <a:lnTo>
                  <a:pt x="0" y="13487"/>
                </a:lnTo>
                <a:close/>
              </a:path>
            </a:pathLst>
          </a:custGeom>
          <a:solidFill>
            <a:srgbClr val="00A37A"/>
          </a:solidFill>
        </p:spPr>
        <p:txBody>
          <a:bodyPr wrap="square" lIns="0" tIns="0" rIns="0" bIns="0" rtlCol="0">
            <a:noAutofit/>
          </a:bodyPr>
          <a:lstStyle/>
          <a:p>
            <a:endParaRPr/>
          </a:p>
        </p:txBody>
      </p:sp>
      <p:sp>
        <p:nvSpPr>
          <p:cNvPr id="514" name="object 514"/>
          <p:cNvSpPr/>
          <p:nvPr/>
        </p:nvSpPr>
        <p:spPr>
          <a:xfrm>
            <a:off x="7224776" y="5772151"/>
            <a:ext cx="223774" cy="13487"/>
          </a:xfrm>
          <a:custGeom>
            <a:avLst/>
            <a:gdLst/>
            <a:ahLst/>
            <a:cxnLst/>
            <a:rect l="l" t="t" r="r" b="b"/>
            <a:pathLst>
              <a:path w="223774" h="13487">
                <a:moveTo>
                  <a:pt x="0" y="13487"/>
                </a:moveTo>
                <a:lnTo>
                  <a:pt x="210312" y="13487"/>
                </a:lnTo>
                <a:lnTo>
                  <a:pt x="223774" y="0"/>
                </a:lnTo>
                <a:lnTo>
                  <a:pt x="13462" y="0"/>
                </a:lnTo>
                <a:lnTo>
                  <a:pt x="0" y="13487"/>
                </a:lnTo>
                <a:close/>
              </a:path>
            </a:pathLst>
          </a:custGeom>
          <a:solidFill>
            <a:srgbClr val="31D5AC"/>
          </a:solidFill>
        </p:spPr>
        <p:txBody>
          <a:bodyPr wrap="square" lIns="0" tIns="0" rIns="0" bIns="0" rtlCol="0">
            <a:noAutofit/>
          </a:bodyPr>
          <a:lstStyle/>
          <a:p>
            <a:endParaRPr/>
          </a:p>
        </p:txBody>
      </p:sp>
      <p:sp>
        <p:nvSpPr>
          <p:cNvPr id="515" name="object 515"/>
          <p:cNvSpPr/>
          <p:nvPr/>
        </p:nvSpPr>
        <p:spPr>
          <a:xfrm>
            <a:off x="7224776" y="5772151"/>
            <a:ext cx="223774" cy="53975"/>
          </a:xfrm>
          <a:custGeom>
            <a:avLst/>
            <a:gdLst/>
            <a:ahLst/>
            <a:cxnLst/>
            <a:rect l="l" t="t" r="r" b="b"/>
            <a:pathLst>
              <a:path w="223774" h="53975">
                <a:moveTo>
                  <a:pt x="0" y="13487"/>
                </a:moveTo>
                <a:lnTo>
                  <a:pt x="13462" y="0"/>
                </a:lnTo>
                <a:lnTo>
                  <a:pt x="223774" y="0"/>
                </a:lnTo>
                <a:lnTo>
                  <a:pt x="223774" y="40487"/>
                </a:lnTo>
                <a:lnTo>
                  <a:pt x="210312" y="53975"/>
                </a:lnTo>
                <a:lnTo>
                  <a:pt x="0" y="53975"/>
                </a:lnTo>
                <a:lnTo>
                  <a:pt x="0" y="13487"/>
                </a:lnTo>
                <a:close/>
              </a:path>
            </a:pathLst>
          </a:custGeom>
          <a:ln w="12700">
            <a:solidFill>
              <a:srgbClr val="000000"/>
            </a:solidFill>
          </a:ln>
        </p:spPr>
        <p:txBody>
          <a:bodyPr wrap="square" lIns="0" tIns="0" rIns="0" bIns="0" rtlCol="0">
            <a:noAutofit/>
          </a:bodyPr>
          <a:lstStyle/>
          <a:p>
            <a:endParaRPr/>
          </a:p>
        </p:txBody>
      </p:sp>
      <p:sp>
        <p:nvSpPr>
          <p:cNvPr id="516" name="object 516"/>
          <p:cNvSpPr/>
          <p:nvPr/>
        </p:nvSpPr>
        <p:spPr>
          <a:xfrm>
            <a:off x="7224776" y="5772151"/>
            <a:ext cx="223774" cy="13487"/>
          </a:xfrm>
          <a:custGeom>
            <a:avLst/>
            <a:gdLst/>
            <a:ahLst/>
            <a:cxnLst/>
            <a:rect l="l" t="t" r="r" b="b"/>
            <a:pathLst>
              <a:path w="223774" h="13487">
                <a:moveTo>
                  <a:pt x="0" y="13487"/>
                </a:moveTo>
                <a:lnTo>
                  <a:pt x="210312" y="13487"/>
                </a:lnTo>
                <a:lnTo>
                  <a:pt x="223774" y="0"/>
                </a:lnTo>
              </a:path>
            </a:pathLst>
          </a:custGeom>
          <a:ln w="12700">
            <a:solidFill>
              <a:srgbClr val="000000"/>
            </a:solidFill>
          </a:ln>
        </p:spPr>
        <p:txBody>
          <a:bodyPr wrap="square" lIns="0" tIns="0" rIns="0" bIns="0" rtlCol="0">
            <a:noAutofit/>
          </a:bodyPr>
          <a:lstStyle/>
          <a:p>
            <a:endParaRPr/>
          </a:p>
        </p:txBody>
      </p:sp>
      <p:sp>
        <p:nvSpPr>
          <p:cNvPr id="517" name="object 517"/>
          <p:cNvSpPr/>
          <p:nvPr/>
        </p:nvSpPr>
        <p:spPr>
          <a:xfrm>
            <a:off x="7435088" y="5785638"/>
            <a:ext cx="0" cy="40487"/>
          </a:xfrm>
          <a:custGeom>
            <a:avLst/>
            <a:gdLst/>
            <a:ahLst/>
            <a:cxnLst/>
            <a:rect l="l" t="t" r="r" b="b"/>
            <a:pathLst>
              <a:path h="40487">
                <a:moveTo>
                  <a:pt x="0" y="0"/>
                </a:moveTo>
                <a:lnTo>
                  <a:pt x="0" y="40487"/>
                </a:lnTo>
              </a:path>
            </a:pathLst>
          </a:custGeom>
          <a:ln w="12700">
            <a:solidFill>
              <a:srgbClr val="000000"/>
            </a:solidFill>
          </a:ln>
        </p:spPr>
        <p:txBody>
          <a:bodyPr wrap="square" lIns="0" tIns="0" rIns="0" bIns="0" rtlCol="0">
            <a:noAutofit/>
          </a:bodyPr>
          <a:lstStyle/>
          <a:p>
            <a:endParaRPr/>
          </a:p>
        </p:txBody>
      </p:sp>
      <p:sp>
        <p:nvSpPr>
          <p:cNvPr id="518" name="object 518"/>
          <p:cNvSpPr/>
          <p:nvPr/>
        </p:nvSpPr>
        <p:spPr>
          <a:xfrm>
            <a:off x="7527926" y="5805883"/>
            <a:ext cx="207175" cy="0"/>
          </a:xfrm>
          <a:custGeom>
            <a:avLst/>
            <a:gdLst/>
            <a:ahLst/>
            <a:cxnLst/>
            <a:rect l="l" t="t" r="r" b="b"/>
            <a:pathLst>
              <a:path w="207175">
                <a:moveTo>
                  <a:pt x="0" y="0"/>
                </a:moveTo>
                <a:lnTo>
                  <a:pt x="207175" y="0"/>
                </a:lnTo>
              </a:path>
            </a:pathLst>
          </a:custGeom>
          <a:ln w="41753">
            <a:solidFill>
              <a:srgbClr val="00CC99"/>
            </a:solidFill>
          </a:ln>
        </p:spPr>
        <p:txBody>
          <a:bodyPr wrap="square" lIns="0" tIns="0" rIns="0" bIns="0" rtlCol="0">
            <a:noAutofit/>
          </a:bodyPr>
          <a:lstStyle/>
          <a:p>
            <a:endParaRPr/>
          </a:p>
        </p:txBody>
      </p:sp>
      <p:sp>
        <p:nvSpPr>
          <p:cNvPr id="519" name="object 519"/>
          <p:cNvSpPr/>
          <p:nvPr/>
        </p:nvSpPr>
        <p:spPr>
          <a:xfrm>
            <a:off x="7735062" y="5772151"/>
            <a:ext cx="13588" cy="53975"/>
          </a:xfrm>
          <a:custGeom>
            <a:avLst/>
            <a:gdLst/>
            <a:ahLst/>
            <a:cxnLst/>
            <a:rect l="l" t="t" r="r" b="b"/>
            <a:pathLst>
              <a:path w="13588" h="53975">
                <a:moveTo>
                  <a:pt x="0" y="13487"/>
                </a:moveTo>
                <a:lnTo>
                  <a:pt x="0" y="53975"/>
                </a:lnTo>
                <a:lnTo>
                  <a:pt x="13588" y="40487"/>
                </a:lnTo>
                <a:lnTo>
                  <a:pt x="13588" y="0"/>
                </a:lnTo>
                <a:lnTo>
                  <a:pt x="0" y="13487"/>
                </a:lnTo>
                <a:close/>
              </a:path>
            </a:pathLst>
          </a:custGeom>
          <a:solidFill>
            <a:srgbClr val="00A37A"/>
          </a:solidFill>
        </p:spPr>
        <p:txBody>
          <a:bodyPr wrap="square" lIns="0" tIns="0" rIns="0" bIns="0" rtlCol="0">
            <a:noAutofit/>
          </a:bodyPr>
          <a:lstStyle/>
          <a:p>
            <a:endParaRPr/>
          </a:p>
        </p:txBody>
      </p:sp>
      <p:sp>
        <p:nvSpPr>
          <p:cNvPr id="520" name="object 520"/>
          <p:cNvSpPr/>
          <p:nvPr/>
        </p:nvSpPr>
        <p:spPr>
          <a:xfrm>
            <a:off x="7527926" y="5772151"/>
            <a:ext cx="220725" cy="13487"/>
          </a:xfrm>
          <a:custGeom>
            <a:avLst/>
            <a:gdLst/>
            <a:ahLst/>
            <a:cxnLst/>
            <a:rect l="l" t="t" r="r" b="b"/>
            <a:pathLst>
              <a:path w="220725" h="13487">
                <a:moveTo>
                  <a:pt x="0" y="13487"/>
                </a:moveTo>
                <a:lnTo>
                  <a:pt x="207137" y="13487"/>
                </a:lnTo>
                <a:lnTo>
                  <a:pt x="220725" y="0"/>
                </a:lnTo>
                <a:lnTo>
                  <a:pt x="13462" y="0"/>
                </a:lnTo>
                <a:lnTo>
                  <a:pt x="0" y="13487"/>
                </a:lnTo>
                <a:close/>
              </a:path>
            </a:pathLst>
          </a:custGeom>
          <a:solidFill>
            <a:srgbClr val="31D5AC"/>
          </a:solidFill>
        </p:spPr>
        <p:txBody>
          <a:bodyPr wrap="square" lIns="0" tIns="0" rIns="0" bIns="0" rtlCol="0">
            <a:noAutofit/>
          </a:bodyPr>
          <a:lstStyle/>
          <a:p>
            <a:endParaRPr/>
          </a:p>
        </p:txBody>
      </p:sp>
      <p:sp>
        <p:nvSpPr>
          <p:cNvPr id="521" name="object 521"/>
          <p:cNvSpPr/>
          <p:nvPr/>
        </p:nvSpPr>
        <p:spPr>
          <a:xfrm>
            <a:off x="7527926" y="5772151"/>
            <a:ext cx="220725" cy="53975"/>
          </a:xfrm>
          <a:custGeom>
            <a:avLst/>
            <a:gdLst/>
            <a:ahLst/>
            <a:cxnLst/>
            <a:rect l="l" t="t" r="r" b="b"/>
            <a:pathLst>
              <a:path w="220725" h="53975">
                <a:moveTo>
                  <a:pt x="0" y="13487"/>
                </a:moveTo>
                <a:lnTo>
                  <a:pt x="13462" y="0"/>
                </a:lnTo>
                <a:lnTo>
                  <a:pt x="220725" y="0"/>
                </a:lnTo>
                <a:lnTo>
                  <a:pt x="220725" y="40487"/>
                </a:lnTo>
                <a:lnTo>
                  <a:pt x="207137" y="53975"/>
                </a:lnTo>
                <a:lnTo>
                  <a:pt x="0" y="53975"/>
                </a:lnTo>
                <a:lnTo>
                  <a:pt x="0" y="13487"/>
                </a:lnTo>
                <a:close/>
              </a:path>
            </a:pathLst>
          </a:custGeom>
          <a:ln w="12700">
            <a:solidFill>
              <a:srgbClr val="000000"/>
            </a:solidFill>
          </a:ln>
        </p:spPr>
        <p:txBody>
          <a:bodyPr wrap="square" lIns="0" tIns="0" rIns="0" bIns="0" rtlCol="0">
            <a:noAutofit/>
          </a:bodyPr>
          <a:lstStyle/>
          <a:p>
            <a:endParaRPr/>
          </a:p>
        </p:txBody>
      </p:sp>
      <p:sp>
        <p:nvSpPr>
          <p:cNvPr id="522" name="object 522"/>
          <p:cNvSpPr/>
          <p:nvPr/>
        </p:nvSpPr>
        <p:spPr>
          <a:xfrm>
            <a:off x="7527926" y="5772151"/>
            <a:ext cx="220725" cy="13487"/>
          </a:xfrm>
          <a:custGeom>
            <a:avLst/>
            <a:gdLst/>
            <a:ahLst/>
            <a:cxnLst/>
            <a:rect l="l" t="t" r="r" b="b"/>
            <a:pathLst>
              <a:path w="220725" h="13487">
                <a:moveTo>
                  <a:pt x="0" y="13487"/>
                </a:moveTo>
                <a:lnTo>
                  <a:pt x="207137" y="13487"/>
                </a:lnTo>
                <a:lnTo>
                  <a:pt x="220725" y="0"/>
                </a:lnTo>
              </a:path>
            </a:pathLst>
          </a:custGeom>
          <a:ln w="12700">
            <a:solidFill>
              <a:srgbClr val="000000"/>
            </a:solidFill>
          </a:ln>
        </p:spPr>
        <p:txBody>
          <a:bodyPr wrap="square" lIns="0" tIns="0" rIns="0" bIns="0" rtlCol="0">
            <a:noAutofit/>
          </a:bodyPr>
          <a:lstStyle/>
          <a:p>
            <a:endParaRPr/>
          </a:p>
        </p:txBody>
      </p:sp>
      <p:sp>
        <p:nvSpPr>
          <p:cNvPr id="523" name="object 523"/>
          <p:cNvSpPr/>
          <p:nvPr/>
        </p:nvSpPr>
        <p:spPr>
          <a:xfrm>
            <a:off x="7735062" y="5785638"/>
            <a:ext cx="0" cy="40487"/>
          </a:xfrm>
          <a:custGeom>
            <a:avLst/>
            <a:gdLst/>
            <a:ahLst/>
            <a:cxnLst/>
            <a:rect l="l" t="t" r="r" b="b"/>
            <a:pathLst>
              <a:path h="40487">
                <a:moveTo>
                  <a:pt x="0" y="0"/>
                </a:moveTo>
                <a:lnTo>
                  <a:pt x="0" y="40487"/>
                </a:lnTo>
              </a:path>
            </a:pathLst>
          </a:custGeom>
          <a:ln w="12700">
            <a:solidFill>
              <a:srgbClr val="000000"/>
            </a:solidFill>
          </a:ln>
        </p:spPr>
        <p:txBody>
          <a:bodyPr wrap="square" lIns="0" tIns="0" rIns="0" bIns="0" rtlCol="0">
            <a:noAutofit/>
          </a:bodyPr>
          <a:lstStyle/>
          <a:p>
            <a:endParaRPr/>
          </a:p>
        </p:txBody>
      </p:sp>
      <p:sp>
        <p:nvSpPr>
          <p:cNvPr id="524" name="object 524"/>
          <p:cNvSpPr/>
          <p:nvPr/>
        </p:nvSpPr>
        <p:spPr>
          <a:xfrm>
            <a:off x="6934200" y="5561076"/>
            <a:ext cx="1073150" cy="209486"/>
          </a:xfrm>
          <a:prstGeom prst="rect">
            <a:avLst/>
          </a:prstGeom>
          <a:blipFill>
            <a:blip r:embed="rId6" cstate="print"/>
            <a:stretch>
              <a:fillRect/>
            </a:stretch>
          </a:blipFill>
        </p:spPr>
        <p:txBody>
          <a:bodyPr wrap="square" lIns="0" tIns="0" rIns="0" bIns="0" rtlCol="0">
            <a:noAutofit/>
          </a:bodyPr>
          <a:lstStyle/>
          <a:p>
            <a:endParaRPr/>
          </a:p>
        </p:txBody>
      </p:sp>
      <p:sp>
        <p:nvSpPr>
          <p:cNvPr id="525" name="object 525"/>
          <p:cNvSpPr/>
          <p:nvPr/>
        </p:nvSpPr>
        <p:spPr>
          <a:xfrm>
            <a:off x="6934200" y="5561076"/>
            <a:ext cx="1073150" cy="209486"/>
          </a:xfrm>
          <a:custGeom>
            <a:avLst/>
            <a:gdLst/>
            <a:ahLst/>
            <a:cxnLst/>
            <a:rect l="l" t="t" r="r" b="b"/>
            <a:pathLst>
              <a:path w="1073150" h="209486">
                <a:moveTo>
                  <a:pt x="0" y="209486"/>
                </a:moveTo>
                <a:lnTo>
                  <a:pt x="268224" y="0"/>
                </a:lnTo>
                <a:lnTo>
                  <a:pt x="1073150" y="0"/>
                </a:lnTo>
                <a:lnTo>
                  <a:pt x="804926" y="209486"/>
                </a:lnTo>
                <a:lnTo>
                  <a:pt x="0" y="209486"/>
                </a:lnTo>
                <a:close/>
              </a:path>
            </a:pathLst>
          </a:custGeom>
          <a:ln w="12700">
            <a:solidFill>
              <a:srgbClr val="000000"/>
            </a:solidFill>
          </a:ln>
        </p:spPr>
        <p:txBody>
          <a:bodyPr wrap="square" lIns="0" tIns="0" rIns="0" bIns="0" rtlCol="0">
            <a:noAutofit/>
          </a:bodyPr>
          <a:lstStyle/>
          <a:p>
            <a:endParaRPr/>
          </a:p>
        </p:txBody>
      </p:sp>
      <p:sp>
        <p:nvSpPr>
          <p:cNvPr id="526" name="object 526"/>
          <p:cNvSpPr/>
          <p:nvPr/>
        </p:nvSpPr>
        <p:spPr>
          <a:xfrm>
            <a:off x="7113651" y="5612203"/>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527" name="object 527"/>
          <p:cNvSpPr/>
          <p:nvPr/>
        </p:nvSpPr>
        <p:spPr>
          <a:xfrm>
            <a:off x="7271894" y="5581651"/>
            <a:ext cx="30607" cy="122237"/>
          </a:xfrm>
          <a:custGeom>
            <a:avLst/>
            <a:gdLst/>
            <a:ahLst/>
            <a:cxnLst/>
            <a:rect l="l" t="t" r="r" b="b"/>
            <a:pathLst>
              <a:path w="30607" h="122237">
                <a:moveTo>
                  <a:pt x="0" y="30556"/>
                </a:moveTo>
                <a:lnTo>
                  <a:pt x="0" y="122237"/>
                </a:lnTo>
                <a:lnTo>
                  <a:pt x="30607" y="91681"/>
                </a:lnTo>
                <a:lnTo>
                  <a:pt x="30607" y="0"/>
                </a:lnTo>
                <a:lnTo>
                  <a:pt x="0" y="30556"/>
                </a:lnTo>
                <a:close/>
              </a:path>
            </a:pathLst>
          </a:custGeom>
          <a:solidFill>
            <a:srgbClr val="00A37A"/>
          </a:solidFill>
        </p:spPr>
        <p:txBody>
          <a:bodyPr wrap="square" lIns="0" tIns="0" rIns="0" bIns="0" rtlCol="0">
            <a:noAutofit/>
          </a:bodyPr>
          <a:lstStyle/>
          <a:p>
            <a:endParaRPr/>
          </a:p>
        </p:txBody>
      </p:sp>
      <p:sp>
        <p:nvSpPr>
          <p:cNvPr id="528" name="object 528"/>
          <p:cNvSpPr/>
          <p:nvPr/>
        </p:nvSpPr>
        <p:spPr>
          <a:xfrm>
            <a:off x="7113652" y="5581650"/>
            <a:ext cx="188849" cy="30556"/>
          </a:xfrm>
          <a:custGeom>
            <a:avLst/>
            <a:gdLst/>
            <a:ahLst/>
            <a:cxnLst/>
            <a:rect l="l" t="t" r="r" b="b"/>
            <a:pathLst>
              <a:path w="188849" h="30556">
                <a:moveTo>
                  <a:pt x="0" y="30556"/>
                </a:moveTo>
                <a:lnTo>
                  <a:pt x="158241" y="30556"/>
                </a:lnTo>
                <a:lnTo>
                  <a:pt x="188849" y="0"/>
                </a:lnTo>
                <a:lnTo>
                  <a:pt x="30479" y="0"/>
                </a:lnTo>
                <a:lnTo>
                  <a:pt x="0" y="30556"/>
                </a:lnTo>
                <a:close/>
              </a:path>
            </a:pathLst>
          </a:custGeom>
          <a:solidFill>
            <a:srgbClr val="31D5AC"/>
          </a:solidFill>
        </p:spPr>
        <p:txBody>
          <a:bodyPr wrap="square" lIns="0" tIns="0" rIns="0" bIns="0" rtlCol="0">
            <a:noAutofit/>
          </a:bodyPr>
          <a:lstStyle/>
          <a:p>
            <a:endParaRPr/>
          </a:p>
        </p:txBody>
      </p:sp>
      <p:sp>
        <p:nvSpPr>
          <p:cNvPr id="529" name="object 529"/>
          <p:cNvSpPr/>
          <p:nvPr/>
        </p:nvSpPr>
        <p:spPr>
          <a:xfrm>
            <a:off x="7113652" y="5581650"/>
            <a:ext cx="188849" cy="30556"/>
          </a:xfrm>
          <a:custGeom>
            <a:avLst/>
            <a:gdLst/>
            <a:ahLst/>
            <a:cxnLst/>
            <a:rect l="l" t="t" r="r" b="b"/>
            <a:pathLst>
              <a:path w="188849" h="30556">
                <a:moveTo>
                  <a:pt x="0" y="30556"/>
                </a:moveTo>
                <a:lnTo>
                  <a:pt x="158241" y="30556"/>
                </a:lnTo>
                <a:lnTo>
                  <a:pt x="188849" y="0"/>
                </a:lnTo>
              </a:path>
            </a:pathLst>
          </a:custGeom>
          <a:ln w="12700">
            <a:solidFill>
              <a:srgbClr val="FFFFFF"/>
            </a:solidFill>
          </a:ln>
        </p:spPr>
        <p:txBody>
          <a:bodyPr wrap="square" lIns="0" tIns="0" rIns="0" bIns="0" rtlCol="0">
            <a:noAutofit/>
          </a:bodyPr>
          <a:lstStyle/>
          <a:p>
            <a:endParaRPr/>
          </a:p>
        </p:txBody>
      </p:sp>
      <p:sp>
        <p:nvSpPr>
          <p:cNvPr id="530" name="object 530"/>
          <p:cNvSpPr/>
          <p:nvPr/>
        </p:nvSpPr>
        <p:spPr>
          <a:xfrm>
            <a:off x="7270751" y="5612203"/>
            <a:ext cx="159943" cy="91685"/>
          </a:xfrm>
          <a:custGeom>
            <a:avLst/>
            <a:gdLst/>
            <a:ahLst/>
            <a:cxnLst/>
            <a:rect l="l" t="t" r="r" b="b"/>
            <a:pathLst>
              <a:path w="159943" h="91685">
                <a:moveTo>
                  <a:pt x="0" y="91685"/>
                </a:moveTo>
                <a:lnTo>
                  <a:pt x="159943" y="91685"/>
                </a:lnTo>
                <a:lnTo>
                  <a:pt x="159943" y="0"/>
                </a:lnTo>
                <a:lnTo>
                  <a:pt x="0" y="0"/>
                </a:lnTo>
                <a:lnTo>
                  <a:pt x="0" y="91685"/>
                </a:lnTo>
                <a:close/>
              </a:path>
            </a:pathLst>
          </a:custGeom>
          <a:solidFill>
            <a:srgbClr val="00CC99"/>
          </a:solidFill>
        </p:spPr>
        <p:txBody>
          <a:bodyPr wrap="square" lIns="0" tIns="0" rIns="0" bIns="0" rtlCol="0">
            <a:noAutofit/>
          </a:bodyPr>
          <a:lstStyle/>
          <a:p>
            <a:endParaRPr/>
          </a:p>
        </p:txBody>
      </p:sp>
      <p:sp>
        <p:nvSpPr>
          <p:cNvPr id="531" name="object 531"/>
          <p:cNvSpPr/>
          <p:nvPr/>
        </p:nvSpPr>
        <p:spPr>
          <a:xfrm>
            <a:off x="7430644" y="5581651"/>
            <a:ext cx="30607" cy="122237"/>
          </a:xfrm>
          <a:custGeom>
            <a:avLst/>
            <a:gdLst/>
            <a:ahLst/>
            <a:cxnLst/>
            <a:rect l="l" t="t" r="r" b="b"/>
            <a:pathLst>
              <a:path w="30607" h="122237">
                <a:moveTo>
                  <a:pt x="0" y="30556"/>
                </a:moveTo>
                <a:lnTo>
                  <a:pt x="0" y="122237"/>
                </a:lnTo>
                <a:lnTo>
                  <a:pt x="30607" y="91681"/>
                </a:lnTo>
                <a:lnTo>
                  <a:pt x="30607" y="0"/>
                </a:lnTo>
                <a:lnTo>
                  <a:pt x="0" y="30556"/>
                </a:lnTo>
                <a:close/>
              </a:path>
            </a:pathLst>
          </a:custGeom>
          <a:solidFill>
            <a:srgbClr val="00A37A"/>
          </a:solidFill>
        </p:spPr>
        <p:txBody>
          <a:bodyPr wrap="square" lIns="0" tIns="0" rIns="0" bIns="0" rtlCol="0">
            <a:noAutofit/>
          </a:bodyPr>
          <a:lstStyle/>
          <a:p>
            <a:endParaRPr/>
          </a:p>
        </p:txBody>
      </p:sp>
      <p:sp>
        <p:nvSpPr>
          <p:cNvPr id="532" name="object 532"/>
          <p:cNvSpPr/>
          <p:nvPr/>
        </p:nvSpPr>
        <p:spPr>
          <a:xfrm>
            <a:off x="7270750" y="5581650"/>
            <a:ext cx="190500" cy="30556"/>
          </a:xfrm>
          <a:custGeom>
            <a:avLst/>
            <a:gdLst/>
            <a:ahLst/>
            <a:cxnLst/>
            <a:rect l="l" t="t" r="r" b="b"/>
            <a:pathLst>
              <a:path w="190500" h="30556">
                <a:moveTo>
                  <a:pt x="0" y="30556"/>
                </a:moveTo>
                <a:lnTo>
                  <a:pt x="159892" y="30556"/>
                </a:lnTo>
                <a:lnTo>
                  <a:pt x="190500" y="0"/>
                </a:lnTo>
                <a:lnTo>
                  <a:pt x="30607" y="0"/>
                </a:lnTo>
                <a:lnTo>
                  <a:pt x="0" y="30556"/>
                </a:lnTo>
                <a:close/>
              </a:path>
            </a:pathLst>
          </a:custGeom>
          <a:solidFill>
            <a:srgbClr val="31D5AC"/>
          </a:solidFill>
        </p:spPr>
        <p:txBody>
          <a:bodyPr wrap="square" lIns="0" tIns="0" rIns="0" bIns="0" rtlCol="0">
            <a:noAutofit/>
          </a:bodyPr>
          <a:lstStyle/>
          <a:p>
            <a:endParaRPr/>
          </a:p>
        </p:txBody>
      </p:sp>
      <p:sp>
        <p:nvSpPr>
          <p:cNvPr id="533" name="object 533"/>
          <p:cNvSpPr/>
          <p:nvPr/>
        </p:nvSpPr>
        <p:spPr>
          <a:xfrm>
            <a:off x="7270750" y="5581651"/>
            <a:ext cx="190500" cy="122237"/>
          </a:xfrm>
          <a:custGeom>
            <a:avLst/>
            <a:gdLst/>
            <a:ahLst/>
            <a:cxnLst/>
            <a:rect l="l" t="t" r="r" b="b"/>
            <a:pathLst>
              <a:path w="190500" h="122237">
                <a:moveTo>
                  <a:pt x="0" y="30556"/>
                </a:moveTo>
                <a:lnTo>
                  <a:pt x="30607" y="0"/>
                </a:lnTo>
                <a:lnTo>
                  <a:pt x="190500" y="0"/>
                </a:lnTo>
                <a:lnTo>
                  <a:pt x="190500" y="91681"/>
                </a:lnTo>
                <a:lnTo>
                  <a:pt x="159892" y="122237"/>
                </a:lnTo>
                <a:lnTo>
                  <a:pt x="0" y="122237"/>
                </a:lnTo>
                <a:lnTo>
                  <a:pt x="0" y="30556"/>
                </a:lnTo>
                <a:close/>
              </a:path>
            </a:pathLst>
          </a:custGeom>
          <a:ln w="12700">
            <a:solidFill>
              <a:srgbClr val="FFFFFF"/>
            </a:solidFill>
          </a:ln>
        </p:spPr>
        <p:txBody>
          <a:bodyPr wrap="square" lIns="0" tIns="0" rIns="0" bIns="0" rtlCol="0">
            <a:noAutofit/>
          </a:bodyPr>
          <a:lstStyle/>
          <a:p>
            <a:endParaRPr/>
          </a:p>
        </p:txBody>
      </p:sp>
      <p:sp>
        <p:nvSpPr>
          <p:cNvPr id="534" name="object 534"/>
          <p:cNvSpPr/>
          <p:nvPr/>
        </p:nvSpPr>
        <p:spPr>
          <a:xfrm>
            <a:off x="7270750" y="5581650"/>
            <a:ext cx="190500" cy="30556"/>
          </a:xfrm>
          <a:custGeom>
            <a:avLst/>
            <a:gdLst/>
            <a:ahLst/>
            <a:cxnLst/>
            <a:rect l="l" t="t" r="r" b="b"/>
            <a:pathLst>
              <a:path w="190500" h="30556">
                <a:moveTo>
                  <a:pt x="0" y="30556"/>
                </a:moveTo>
                <a:lnTo>
                  <a:pt x="159892" y="30556"/>
                </a:lnTo>
                <a:lnTo>
                  <a:pt x="190500" y="0"/>
                </a:lnTo>
              </a:path>
            </a:pathLst>
          </a:custGeom>
          <a:ln w="12700">
            <a:solidFill>
              <a:srgbClr val="FFFFFF"/>
            </a:solidFill>
          </a:ln>
        </p:spPr>
        <p:txBody>
          <a:bodyPr wrap="square" lIns="0" tIns="0" rIns="0" bIns="0" rtlCol="0">
            <a:noAutofit/>
          </a:bodyPr>
          <a:lstStyle/>
          <a:p>
            <a:endParaRPr/>
          </a:p>
        </p:txBody>
      </p:sp>
      <p:sp>
        <p:nvSpPr>
          <p:cNvPr id="535" name="object 535"/>
          <p:cNvSpPr/>
          <p:nvPr/>
        </p:nvSpPr>
        <p:spPr>
          <a:xfrm>
            <a:off x="7416800" y="5612203"/>
            <a:ext cx="156768" cy="91685"/>
          </a:xfrm>
          <a:custGeom>
            <a:avLst/>
            <a:gdLst/>
            <a:ahLst/>
            <a:cxnLst/>
            <a:rect l="l" t="t" r="r" b="b"/>
            <a:pathLst>
              <a:path w="156768" h="91685">
                <a:moveTo>
                  <a:pt x="0" y="91685"/>
                </a:moveTo>
                <a:lnTo>
                  <a:pt x="156768" y="91685"/>
                </a:lnTo>
                <a:lnTo>
                  <a:pt x="156768" y="0"/>
                </a:lnTo>
                <a:lnTo>
                  <a:pt x="0" y="0"/>
                </a:lnTo>
                <a:lnTo>
                  <a:pt x="0" y="91685"/>
                </a:lnTo>
                <a:close/>
              </a:path>
            </a:pathLst>
          </a:custGeom>
          <a:solidFill>
            <a:srgbClr val="00CC99"/>
          </a:solidFill>
        </p:spPr>
        <p:txBody>
          <a:bodyPr wrap="square" lIns="0" tIns="0" rIns="0" bIns="0" rtlCol="0">
            <a:noAutofit/>
          </a:bodyPr>
          <a:lstStyle/>
          <a:p>
            <a:endParaRPr/>
          </a:p>
        </p:txBody>
      </p:sp>
      <p:sp>
        <p:nvSpPr>
          <p:cNvPr id="536" name="object 536"/>
          <p:cNvSpPr/>
          <p:nvPr/>
        </p:nvSpPr>
        <p:spPr>
          <a:xfrm>
            <a:off x="7573519" y="5581651"/>
            <a:ext cx="30607" cy="122237"/>
          </a:xfrm>
          <a:custGeom>
            <a:avLst/>
            <a:gdLst/>
            <a:ahLst/>
            <a:cxnLst/>
            <a:rect l="l" t="t" r="r" b="b"/>
            <a:pathLst>
              <a:path w="30607" h="122237">
                <a:moveTo>
                  <a:pt x="0" y="30556"/>
                </a:moveTo>
                <a:lnTo>
                  <a:pt x="0" y="122237"/>
                </a:lnTo>
                <a:lnTo>
                  <a:pt x="30607" y="91681"/>
                </a:lnTo>
                <a:lnTo>
                  <a:pt x="30607" y="0"/>
                </a:lnTo>
                <a:lnTo>
                  <a:pt x="0" y="30556"/>
                </a:lnTo>
                <a:close/>
              </a:path>
            </a:pathLst>
          </a:custGeom>
          <a:solidFill>
            <a:srgbClr val="00A37A"/>
          </a:solidFill>
        </p:spPr>
        <p:txBody>
          <a:bodyPr wrap="square" lIns="0" tIns="0" rIns="0" bIns="0" rtlCol="0">
            <a:noAutofit/>
          </a:bodyPr>
          <a:lstStyle/>
          <a:p>
            <a:endParaRPr/>
          </a:p>
        </p:txBody>
      </p:sp>
      <p:sp>
        <p:nvSpPr>
          <p:cNvPr id="537" name="object 537"/>
          <p:cNvSpPr/>
          <p:nvPr/>
        </p:nvSpPr>
        <p:spPr>
          <a:xfrm>
            <a:off x="7416801" y="5581650"/>
            <a:ext cx="187325" cy="30556"/>
          </a:xfrm>
          <a:custGeom>
            <a:avLst/>
            <a:gdLst/>
            <a:ahLst/>
            <a:cxnLst/>
            <a:rect l="l" t="t" r="r" b="b"/>
            <a:pathLst>
              <a:path w="187325" h="30556">
                <a:moveTo>
                  <a:pt x="0" y="30556"/>
                </a:moveTo>
                <a:lnTo>
                  <a:pt x="156717" y="30556"/>
                </a:lnTo>
                <a:lnTo>
                  <a:pt x="187325" y="0"/>
                </a:lnTo>
                <a:lnTo>
                  <a:pt x="30607" y="0"/>
                </a:lnTo>
                <a:lnTo>
                  <a:pt x="0" y="30556"/>
                </a:lnTo>
                <a:close/>
              </a:path>
            </a:pathLst>
          </a:custGeom>
          <a:solidFill>
            <a:srgbClr val="31D5AC"/>
          </a:solidFill>
        </p:spPr>
        <p:txBody>
          <a:bodyPr wrap="square" lIns="0" tIns="0" rIns="0" bIns="0" rtlCol="0">
            <a:noAutofit/>
          </a:bodyPr>
          <a:lstStyle/>
          <a:p>
            <a:endParaRPr/>
          </a:p>
        </p:txBody>
      </p:sp>
      <p:sp>
        <p:nvSpPr>
          <p:cNvPr id="538" name="object 538"/>
          <p:cNvSpPr/>
          <p:nvPr/>
        </p:nvSpPr>
        <p:spPr>
          <a:xfrm>
            <a:off x="7416801" y="5581651"/>
            <a:ext cx="187325" cy="122237"/>
          </a:xfrm>
          <a:custGeom>
            <a:avLst/>
            <a:gdLst/>
            <a:ahLst/>
            <a:cxnLst/>
            <a:rect l="l" t="t" r="r" b="b"/>
            <a:pathLst>
              <a:path w="187325" h="122237">
                <a:moveTo>
                  <a:pt x="0" y="30556"/>
                </a:moveTo>
                <a:lnTo>
                  <a:pt x="30607" y="0"/>
                </a:lnTo>
                <a:lnTo>
                  <a:pt x="187325" y="0"/>
                </a:lnTo>
                <a:lnTo>
                  <a:pt x="187325" y="91681"/>
                </a:lnTo>
                <a:lnTo>
                  <a:pt x="156717" y="122237"/>
                </a:lnTo>
                <a:lnTo>
                  <a:pt x="0" y="122237"/>
                </a:lnTo>
                <a:lnTo>
                  <a:pt x="0" y="30556"/>
                </a:lnTo>
                <a:close/>
              </a:path>
            </a:pathLst>
          </a:custGeom>
          <a:ln w="12700">
            <a:solidFill>
              <a:srgbClr val="FFFFFF"/>
            </a:solidFill>
          </a:ln>
        </p:spPr>
        <p:txBody>
          <a:bodyPr wrap="square" lIns="0" tIns="0" rIns="0" bIns="0" rtlCol="0">
            <a:noAutofit/>
          </a:bodyPr>
          <a:lstStyle/>
          <a:p>
            <a:endParaRPr/>
          </a:p>
        </p:txBody>
      </p:sp>
      <p:sp>
        <p:nvSpPr>
          <p:cNvPr id="539" name="object 539"/>
          <p:cNvSpPr/>
          <p:nvPr/>
        </p:nvSpPr>
        <p:spPr>
          <a:xfrm>
            <a:off x="7416801" y="5581650"/>
            <a:ext cx="187325" cy="30556"/>
          </a:xfrm>
          <a:custGeom>
            <a:avLst/>
            <a:gdLst/>
            <a:ahLst/>
            <a:cxnLst/>
            <a:rect l="l" t="t" r="r" b="b"/>
            <a:pathLst>
              <a:path w="187325" h="30556">
                <a:moveTo>
                  <a:pt x="0" y="30556"/>
                </a:moveTo>
                <a:lnTo>
                  <a:pt x="156717" y="30556"/>
                </a:lnTo>
                <a:lnTo>
                  <a:pt x="187325" y="0"/>
                </a:lnTo>
              </a:path>
            </a:pathLst>
          </a:custGeom>
          <a:ln w="12700">
            <a:solidFill>
              <a:srgbClr val="FFFFFF"/>
            </a:solidFill>
          </a:ln>
        </p:spPr>
        <p:txBody>
          <a:bodyPr wrap="square" lIns="0" tIns="0" rIns="0" bIns="0" rtlCol="0">
            <a:noAutofit/>
          </a:bodyPr>
          <a:lstStyle/>
          <a:p>
            <a:endParaRPr/>
          </a:p>
        </p:txBody>
      </p:sp>
      <p:sp>
        <p:nvSpPr>
          <p:cNvPr id="540" name="object 540"/>
          <p:cNvSpPr/>
          <p:nvPr/>
        </p:nvSpPr>
        <p:spPr>
          <a:xfrm>
            <a:off x="7572375" y="5612203"/>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541" name="object 541"/>
          <p:cNvSpPr/>
          <p:nvPr/>
        </p:nvSpPr>
        <p:spPr>
          <a:xfrm>
            <a:off x="7730744" y="5581651"/>
            <a:ext cx="30606" cy="122237"/>
          </a:xfrm>
          <a:custGeom>
            <a:avLst/>
            <a:gdLst/>
            <a:ahLst/>
            <a:cxnLst/>
            <a:rect l="l" t="t" r="r" b="b"/>
            <a:pathLst>
              <a:path w="30606" h="122237">
                <a:moveTo>
                  <a:pt x="0" y="30556"/>
                </a:moveTo>
                <a:lnTo>
                  <a:pt x="0" y="122237"/>
                </a:lnTo>
                <a:lnTo>
                  <a:pt x="30606" y="91681"/>
                </a:lnTo>
                <a:lnTo>
                  <a:pt x="30606" y="0"/>
                </a:lnTo>
                <a:lnTo>
                  <a:pt x="0" y="30556"/>
                </a:lnTo>
                <a:close/>
              </a:path>
            </a:pathLst>
          </a:custGeom>
          <a:solidFill>
            <a:srgbClr val="00A37A"/>
          </a:solidFill>
        </p:spPr>
        <p:txBody>
          <a:bodyPr wrap="square" lIns="0" tIns="0" rIns="0" bIns="0" rtlCol="0">
            <a:noAutofit/>
          </a:bodyPr>
          <a:lstStyle/>
          <a:p>
            <a:endParaRPr/>
          </a:p>
        </p:txBody>
      </p:sp>
      <p:sp>
        <p:nvSpPr>
          <p:cNvPr id="542" name="object 542"/>
          <p:cNvSpPr/>
          <p:nvPr/>
        </p:nvSpPr>
        <p:spPr>
          <a:xfrm>
            <a:off x="7572376" y="5581650"/>
            <a:ext cx="188975" cy="30556"/>
          </a:xfrm>
          <a:custGeom>
            <a:avLst/>
            <a:gdLst/>
            <a:ahLst/>
            <a:cxnLst/>
            <a:rect l="l" t="t" r="r" b="b"/>
            <a:pathLst>
              <a:path w="188975" h="30556">
                <a:moveTo>
                  <a:pt x="0" y="30556"/>
                </a:moveTo>
                <a:lnTo>
                  <a:pt x="158369" y="30556"/>
                </a:lnTo>
                <a:lnTo>
                  <a:pt x="188975" y="0"/>
                </a:lnTo>
                <a:lnTo>
                  <a:pt x="30607" y="0"/>
                </a:lnTo>
                <a:lnTo>
                  <a:pt x="0" y="30556"/>
                </a:lnTo>
                <a:close/>
              </a:path>
            </a:pathLst>
          </a:custGeom>
          <a:solidFill>
            <a:srgbClr val="31D5AC"/>
          </a:solidFill>
        </p:spPr>
        <p:txBody>
          <a:bodyPr wrap="square" lIns="0" tIns="0" rIns="0" bIns="0" rtlCol="0">
            <a:noAutofit/>
          </a:bodyPr>
          <a:lstStyle/>
          <a:p>
            <a:endParaRPr/>
          </a:p>
        </p:txBody>
      </p:sp>
      <p:sp>
        <p:nvSpPr>
          <p:cNvPr id="543" name="object 543"/>
          <p:cNvSpPr/>
          <p:nvPr/>
        </p:nvSpPr>
        <p:spPr>
          <a:xfrm>
            <a:off x="7572376" y="5581651"/>
            <a:ext cx="188975" cy="122237"/>
          </a:xfrm>
          <a:custGeom>
            <a:avLst/>
            <a:gdLst/>
            <a:ahLst/>
            <a:cxnLst/>
            <a:rect l="l" t="t" r="r" b="b"/>
            <a:pathLst>
              <a:path w="188975" h="122237">
                <a:moveTo>
                  <a:pt x="0" y="30556"/>
                </a:moveTo>
                <a:lnTo>
                  <a:pt x="30607" y="0"/>
                </a:lnTo>
                <a:lnTo>
                  <a:pt x="188975" y="0"/>
                </a:lnTo>
                <a:lnTo>
                  <a:pt x="188975" y="91681"/>
                </a:lnTo>
                <a:lnTo>
                  <a:pt x="158369" y="122237"/>
                </a:lnTo>
                <a:lnTo>
                  <a:pt x="0" y="122237"/>
                </a:lnTo>
                <a:lnTo>
                  <a:pt x="0" y="30556"/>
                </a:lnTo>
                <a:close/>
              </a:path>
            </a:pathLst>
          </a:custGeom>
          <a:ln w="12699">
            <a:solidFill>
              <a:srgbClr val="FFFFFF"/>
            </a:solidFill>
          </a:ln>
        </p:spPr>
        <p:txBody>
          <a:bodyPr wrap="square" lIns="0" tIns="0" rIns="0" bIns="0" rtlCol="0">
            <a:noAutofit/>
          </a:bodyPr>
          <a:lstStyle/>
          <a:p>
            <a:endParaRPr/>
          </a:p>
        </p:txBody>
      </p:sp>
      <p:sp>
        <p:nvSpPr>
          <p:cNvPr id="544" name="object 544"/>
          <p:cNvSpPr/>
          <p:nvPr/>
        </p:nvSpPr>
        <p:spPr>
          <a:xfrm>
            <a:off x="7572376" y="5581650"/>
            <a:ext cx="188975" cy="30556"/>
          </a:xfrm>
          <a:custGeom>
            <a:avLst/>
            <a:gdLst/>
            <a:ahLst/>
            <a:cxnLst/>
            <a:rect l="l" t="t" r="r" b="b"/>
            <a:pathLst>
              <a:path w="188975" h="30556">
                <a:moveTo>
                  <a:pt x="0" y="30556"/>
                </a:moveTo>
                <a:lnTo>
                  <a:pt x="158369" y="30556"/>
                </a:lnTo>
                <a:lnTo>
                  <a:pt x="188975" y="0"/>
                </a:lnTo>
              </a:path>
            </a:pathLst>
          </a:custGeom>
          <a:ln w="12700">
            <a:solidFill>
              <a:srgbClr val="FFFFFF"/>
            </a:solidFill>
          </a:ln>
        </p:spPr>
        <p:txBody>
          <a:bodyPr wrap="square" lIns="0" tIns="0" rIns="0" bIns="0" rtlCol="0">
            <a:noAutofit/>
          </a:bodyPr>
          <a:lstStyle/>
          <a:p>
            <a:endParaRPr/>
          </a:p>
        </p:txBody>
      </p:sp>
      <p:sp>
        <p:nvSpPr>
          <p:cNvPr id="545" name="object 545"/>
          <p:cNvSpPr/>
          <p:nvPr/>
        </p:nvSpPr>
        <p:spPr>
          <a:xfrm>
            <a:off x="7113651" y="5513778"/>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546" name="object 546"/>
          <p:cNvSpPr/>
          <p:nvPr/>
        </p:nvSpPr>
        <p:spPr>
          <a:xfrm>
            <a:off x="7271894" y="5483226"/>
            <a:ext cx="30607" cy="122237"/>
          </a:xfrm>
          <a:custGeom>
            <a:avLst/>
            <a:gdLst/>
            <a:ahLst/>
            <a:cxnLst/>
            <a:rect l="l" t="t" r="r" b="b"/>
            <a:pathLst>
              <a:path w="30607" h="122237">
                <a:moveTo>
                  <a:pt x="0" y="30606"/>
                </a:moveTo>
                <a:lnTo>
                  <a:pt x="0" y="122237"/>
                </a:lnTo>
                <a:lnTo>
                  <a:pt x="30607" y="91693"/>
                </a:lnTo>
                <a:lnTo>
                  <a:pt x="30607" y="0"/>
                </a:lnTo>
                <a:lnTo>
                  <a:pt x="0" y="30606"/>
                </a:lnTo>
                <a:close/>
              </a:path>
            </a:pathLst>
          </a:custGeom>
          <a:solidFill>
            <a:srgbClr val="00A37A"/>
          </a:solidFill>
        </p:spPr>
        <p:txBody>
          <a:bodyPr wrap="square" lIns="0" tIns="0" rIns="0" bIns="0" rtlCol="0">
            <a:noAutofit/>
          </a:bodyPr>
          <a:lstStyle/>
          <a:p>
            <a:endParaRPr/>
          </a:p>
        </p:txBody>
      </p:sp>
      <p:sp>
        <p:nvSpPr>
          <p:cNvPr id="547" name="object 547"/>
          <p:cNvSpPr/>
          <p:nvPr/>
        </p:nvSpPr>
        <p:spPr>
          <a:xfrm>
            <a:off x="7113652" y="5483225"/>
            <a:ext cx="188849" cy="30606"/>
          </a:xfrm>
          <a:custGeom>
            <a:avLst/>
            <a:gdLst/>
            <a:ahLst/>
            <a:cxnLst/>
            <a:rect l="l" t="t" r="r" b="b"/>
            <a:pathLst>
              <a:path w="188849" h="30606">
                <a:moveTo>
                  <a:pt x="0" y="30606"/>
                </a:moveTo>
                <a:lnTo>
                  <a:pt x="158241" y="30606"/>
                </a:lnTo>
                <a:lnTo>
                  <a:pt x="188849" y="0"/>
                </a:lnTo>
                <a:lnTo>
                  <a:pt x="30479" y="0"/>
                </a:lnTo>
                <a:lnTo>
                  <a:pt x="0" y="30606"/>
                </a:lnTo>
                <a:close/>
              </a:path>
            </a:pathLst>
          </a:custGeom>
          <a:solidFill>
            <a:srgbClr val="31D5AC"/>
          </a:solidFill>
        </p:spPr>
        <p:txBody>
          <a:bodyPr wrap="square" lIns="0" tIns="0" rIns="0" bIns="0" rtlCol="0">
            <a:noAutofit/>
          </a:bodyPr>
          <a:lstStyle/>
          <a:p>
            <a:endParaRPr/>
          </a:p>
        </p:txBody>
      </p:sp>
      <p:sp>
        <p:nvSpPr>
          <p:cNvPr id="548" name="object 548"/>
          <p:cNvSpPr/>
          <p:nvPr/>
        </p:nvSpPr>
        <p:spPr>
          <a:xfrm>
            <a:off x="7113652" y="5483226"/>
            <a:ext cx="188849" cy="122237"/>
          </a:xfrm>
          <a:custGeom>
            <a:avLst/>
            <a:gdLst/>
            <a:ahLst/>
            <a:cxnLst/>
            <a:rect l="l" t="t" r="r" b="b"/>
            <a:pathLst>
              <a:path w="188849" h="122237">
                <a:moveTo>
                  <a:pt x="0" y="30606"/>
                </a:moveTo>
                <a:lnTo>
                  <a:pt x="30479" y="0"/>
                </a:lnTo>
                <a:lnTo>
                  <a:pt x="188849" y="0"/>
                </a:lnTo>
                <a:lnTo>
                  <a:pt x="188849" y="91693"/>
                </a:lnTo>
                <a:lnTo>
                  <a:pt x="158241" y="122237"/>
                </a:lnTo>
                <a:lnTo>
                  <a:pt x="0" y="122237"/>
                </a:lnTo>
                <a:lnTo>
                  <a:pt x="0" y="30606"/>
                </a:lnTo>
                <a:close/>
              </a:path>
            </a:pathLst>
          </a:custGeom>
          <a:ln w="12700">
            <a:solidFill>
              <a:srgbClr val="FFFFFF"/>
            </a:solidFill>
          </a:ln>
        </p:spPr>
        <p:txBody>
          <a:bodyPr wrap="square" lIns="0" tIns="0" rIns="0" bIns="0" rtlCol="0">
            <a:noAutofit/>
          </a:bodyPr>
          <a:lstStyle/>
          <a:p>
            <a:endParaRPr/>
          </a:p>
        </p:txBody>
      </p:sp>
      <p:sp>
        <p:nvSpPr>
          <p:cNvPr id="549" name="object 549"/>
          <p:cNvSpPr/>
          <p:nvPr/>
        </p:nvSpPr>
        <p:spPr>
          <a:xfrm>
            <a:off x="7113652" y="5483225"/>
            <a:ext cx="188849" cy="30606"/>
          </a:xfrm>
          <a:custGeom>
            <a:avLst/>
            <a:gdLst/>
            <a:ahLst/>
            <a:cxnLst/>
            <a:rect l="l" t="t" r="r" b="b"/>
            <a:pathLst>
              <a:path w="188849" h="30606">
                <a:moveTo>
                  <a:pt x="0" y="30606"/>
                </a:moveTo>
                <a:lnTo>
                  <a:pt x="158241" y="30606"/>
                </a:lnTo>
                <a:lnTo>
                  <a:pt x="188849" y="0"/>
                </a:lnTo>
              </a:path>
            </a:pathLst>
          </a:custGeom>
          <a:ln w="12699">
            <a:solidFill>
              <a:srgbClr val="FFFFFF"/>
            </a:solidFill>
          </a:ln>
        </p:spPr>
        <p:txBody>
          <a:bodyPr wrap="square" lIns="0" tIns="0" rIns="0" bIns="0" rtlCol="0">
            <a:noAutofit/>
          </a:bodyPr>
          <a:lstStyle/>
          <a:p>
            <a:endParaRPr/>
          </a:p>
        </p:txBody>
      </p:sp>
      <p:sp>
        <p:nvSpPr>
          <p:cNvPr id="550" name="object 550"/>
          <p:cNvSpPr/>
          <p:nvPr/>
        </p:nvSpPr>
        <p:spPr>
          <a:xfrm>
            <a:off x="7271893" y="5513832"/>
            <a:ext cx="0" cy="91630"/>
          </a:xfrm>
          <a:custGeom>
            <a:avLst/>
            <a:gdLst/>
            <a:ahLst/>
            <a:cxnLst/>
            <a:rect l="l" t="t" r="r" b="b"/>
            <a:pathLst>
              <a:path h="91630">
                <a:moveTo>
                  <a:pt x="0" y="0"/>
                </a:moveTo>
                <a:lnTo>
                  <a:pt x="0" y="91630"/>
                </a:lnTo>
              </a:path>
            </a:pathLst>
          </a:custGeom>
          <a:ln w="12700">
            <a:solidFill>
              <a:srgbClr val="FFFFFF"/>
            </a:solidFill>
          </a:ln>
        </p:spPr>
        <p:txBody>
          <a:bodyPr wrap="square" lIns="0" tIns="0" rIns="0" bIns="0" rtlCol="0">
            <a:noAutofit/>
          </a:bodyPr>
          <a:lstStyle/>
          <a:p>
            <a:endParaRPr/>
          </a:p>
        </p:txBody>
      </p:sp>
      <p:sp>
        <p:nvSpPr>
          <p:cNvPr id="551" name="object 551"/>
          <p:cNvSpPr/>
          <p:nvPr/>
        </p:nvSpPr>
        <p:spPr>
          <a:xfrm>
            <a:off x="7270751" y="5513778"/>
            <a:ext cx="159943" cy="91685"/>
          </a:xfrm>
          <a:custGeom>
            <a:avLst/>
            <a:gdLst/>
            <a:ahLst/>
            <a:cxnLst/>
            <a:rect l="l" t="t" r="r" b="b"/>
            <a:pathLst>
              <a:path w="159943" h="91685">
                <a:moveTo>
                  <a:pt x="0" y="91685"/>
                </a:moveTo>
                <a:lnTo>
                  <a:pt x="159943" y="91685"/>
                </a:lnTo>
                <a:lnTo>
                  <a:pt x="159943" y="0"/>
                </a:lnTo>
                <a:lnTo>
                  <a:pt x="0" y="0"/>
                </a:lnTo>
                <a:lnTo>
                  <a:pt x="0" y="91685"/>
                </a:lnTo>
                <a:close/>
              </a:path>
            </a:pathLst>
          </a:custGeom>
          <a:solidFill>
            <a:srgbClr val="00CC99"/>
          </a:solidFill>
        </p:spPr>
        <p:txBody>
          <a:bodyPr wrap="square" lIns="0" tIns="0" rIns="0" bIns="0" rtlCol="0">
            <a:noAutofit/>
          </a:bodyPr>
          <a:lstStyle/>
          <a:p>
            <a:endParaRPr/>
          </a:p>
        </p:txBody>
      </p:sp>
      <p:sp>
        <p:nvSpPr>
          <p:cNvPr id="552" name="object 552"/>
          <p:cNvSpPr/>
          <p:nvPr/>
        </p:nvSpPr>
        <p:spPr>
          <a:xfrm>
            <a:off x="7430644" y="5483226"/>
            <a:ext cx="30607" cy="122237"/>
          </a:xfrm>
          <a:custGeom>
            <a:avLst/>
            <a:gdLst/>
            <a:ahLst/>
            <a:cxnLst/>
            <a:rect l="l" t="t" r="r" b="b"/>
            <a:pathLst>
              <a:path w="30607" h="122237">
                <a:moveTo>
                  <a:pt x="0" y="30606"/>
                </a:moveTo>
                <a:lnTo>
                  <a:pt x="0" y="122237"/>
                </a:lnTo>
                <a:lnTo>
                  <a:pt x="30607" y="91693"/>
                </a:lnTo>
                <a:lnTo>
                  <a:pt x="30607" y="0"/>
                </a:lnTo>
                <a:lnTo>
                  <a:pt x="0" y="30606"/>
                </a:lnTo>
                <a:close/>
              </a:path>
            </a:pathLst>
          </a:custGeom>
          <a:solidFill>
            <a:srgbClr val="00A37A"/>
          </a:solidFill>
        </p:spPr>
        <p:txBody>
          <a:bodyPr wrap="square" lIns="0" tIns="0" rIns="0" bIns="0" rtlCol="0">
            <a:noAutofit/>
          </a:bodyPr>
          <a:lstStyle/>
          <a:p>
            <a:endParaRPr/>
          </a:p>
        </p:txBody>
      </p:sp>
      <p:sp>
        <p:nvSpPr>
          <p:cNvPr id="553" name="object 553"/>
          <p:cNvSpPr/>
          <p:nvPr/>
        </p:nvSpPr>
        <p:spPr>
          <a:xfrm>
            <a:off x="7270750" y="5483225"/>
            <a:ext cx="190500" cy="30606"/>
          </a:xfrm>
          <a:custGeom>
            <a:avLst/>
            <a:gdLst/>
            <a:ahLst/>
            <a:cxnLst/>
            <a:rect l="l" t="t" r="r" b="b"/>
            <a:pathLst>
              <a:path w="190500" h="30606">
                <a:moveTo>
                  <a:pt x="0" y="30606"/>
                </a:moveTo>
                <a:lnTo>
                  <a:pt x="159892" y="30606"/>
                </a:lnTo>
                <a:lnTo>
                  <a:pt x="190500" y="0"/>
                </a:lnTo>
                <a:lnTo>
                  <a:pt x="30607" y="0"/>
                </a:lnTo>
                <a:lnTo>
                  <a:pt x="0" y="30606"/>
                </a:lnTo>
                <a:close/>
              </a:path>
            </a:pathLst>
          </a:custGeom>
          <a:solidFill>
            <a:srgbClr val="31D5AC"/>
          </a:solidFill>
        </p:spPr>
        <p:txBody>
          <a:bodyPr wrap="square" lIns="0" tIns="0" rIns="0" bIns="0" rtlCol="0">
            <a:noAutofit/>
          </a:bodyPr>
          <a:lstStyle/>
          <a:p>
            <a:endParaRPr/>
          </a:p>
        </p:txBody>
      </p:sp>
      <p:sp>
        <p:nvSpPr>
          <p:cNvPr id="554" name="object 554"/>
          <p:cNvSpPr/>
          <p:nvPr/>
        </p:nvSpPr>
        <p:spPr>
          <a:xfrm>
            <a:off x="7270750" y="5483226"/>
            <a:ext cx="190500" cy="122237"/>
          </a:xfrm>
          <a:custGeom>
            <a:avLst/>
            <a:gdLst/>
            <a:ahLst/>
            <a:cxnLst/>
            <a:rect l="l" t="t" r="r" b="b"/>
            <a:pathLst>
              <a:path w="190500" h="122237">
                <a:moveTo>
                  <a:pt x="0" y="30606"/>
                </a:moveTo>
                <a:lnTo>
                  <a:pt x="30607" y="0"/>
                </a:lnTo>
                <a:lnTo>
                  <a:pt x="190500" y="0"/>
                </a:lnTo>
                <a:lnTo>
                  <a:pt x="190500" y="91693"/>
                </a:lnTo>
                <a:lnTo>
                  <a:pt x="159892" y="122237"/>
                </a:lnTo>
                <a:lnTo>
                  <a:pt x="0" y="122237"/>
                </a:lnTo>
                <a:lnTo>
                  <a:pt x="0" y="30606"/>
                </a:lnTo>
                <a:close/>
              </a:path>
            </a:pathLst>
          </a:custGeom>
          <a:ln w="12700">
            <a:solidFill>
              <a:srgbClr val="FFFFFF"/>
            </a:solidFill>
          </a:ln>
        </p:spPr>
        <p:txBody>
          <a:bodyPr wrap="square" lIns="0" tIns="0" rIns="0" bIns="0" rtlCol="0">
            <a:noAutofit/>
          </a:bodyPr>
          <a:lstStyle/>
          <a:p>
            <a:endParaRPr/>
          </a:p>
        </p:txBody>
      </p:sp>
      <p:sp>
        <p:nvSpPr>
          <p:cNvPr id="555" name="object 555"/>
          <p:cNvSpPr/>
          <p:nvPr/>
        </p:nvSpPr>
        <p:spPr>
          <a:xfrm>
            <a:off x="7270750" y="5483225"/>
            <a:ext cx="190500" cy="30606"/>
          </a:xfrm>
          <a:custGeom>
            <a:avLst/>
            <a:gdLst/>
            <a:ahLst/>
            <a:cxnLst/>
            <a:rect l="l" t="t" r="r" b="b"/>
            <a:pathLst>
              <a:path w="190500" h="30606">
                <a:moveTo>
                  <a:pt x="0" y="30606"/>
                </a:moveTo>
                <a:lnTo>
                  <a:pt x="159892" y="30606"/>
                </a:lnTo>
                <a:lnTo>
                  <a:pt x="190500" y="0"/>
                </a:lnTo>
              </a:path>
            </a:pathLst>
          </a:custGeom>
          <a:ln w="12700">
            <a:solidFill>
              <a:srgbClr val="FFFFFF"/>
            </a:solidFill>
          </a:ln>
        </p:spPr>
        <p:txBody>
          <a:bodyPr wrap="square" lIns="0" tIns="0" rIns="0" bIns="0" rtlCol="0">
            <a:noAutofit/>
          </a:bodyPr>
          <a:lstStyle/>
          <a:p>
            <a:endParaRPr/>
          </a:p>
        </p:txBody>
      </p:sp>
      <p:sp>
        <p:nvSpPr>
          <p:cNvPr id="556" name="object 556"/>
          <p:cNvSpPr/>
          <p:nvPr/>
        </p:nvSpPr>
        <p:spPr>
          <a:xfrm>
            <a:off x="7416800" y="5513778"/>
            <a:ext cx="156768" cy="91685"/>
          </a:xfrm>
          <a:custGeom>
            <a:avLst/>
            <a:gdLst/>
            <a:ahLst/>
            <a:cxnLst/>
            <a:rect l="l" t="t" r="r" b="b"/>
            <a:pathLst>
              <a:path w="156768" h="91685">
                <a:moveTo>
                  <a:pt x="0" y="91685"/>
                </a:moveTo>
                <a:lnTo>
                  <a:pt x="156768" y="91685"/>
                </a:lnTo>
                <a:lnTo>
                  <a:pt x="156768" y="0"/>
                </a:lnTo>
                <a:lnTo>
                  <a:pt x="0" y="0"/>
                </a:lnTo>
                <a:lnTo>
                  <a:pt x="0" y="91685"/>
                </a:lnTo>
                <a:close/>
              </a:path>
            </a:pathLst>
          </a:custGeom>
          <a:solidFill>
            <a:srgbClr val="00CC99"/>
          </a:solidFill>
        </p:spPr>
        <p:txBody>
          <a:bodyPr wrap="square" lIns="0" tIns="0" rIns="0" bIns="0" rtlCol="0">
            <a:noAutofit/>
          </a:bodyPr>
          <a:lstStyle/>
          <a:p>
            <a:endParaRPr/>
          </a:p>
        </p:txBody>
      </p:sp>
      <p:sp>
        <p:nvSpPr>
          <p:cNvPr id="557" name="object 557"/>
          <p:cNvSpPr/>
          <p:nvPr/>
        </p:nvSpPr>
        <p:spPr>
          <a:xfrm>
            <a:off x="7573519" y="5483226"/>
            <a:ext cx="30607" cy="122237"/>
          </a:xfrm>
          <a:custGeom>
            <a:avLst/>
            <a:gdLst/>
            <a:ahLst/>
            <a:cxnLst/>
            <a:rect l="l" t="t" r="r" b="b"/>
            <a:pathLst>
              <a:path w="30607" h="122237">
                <a:moveTo>
                  <a:pt x="0" y="30606"/>
                </a:moveTo>
                <a:lnTo>
                  <a:pt x="0" y="122237"/>
                </a:lnTo>
                <a:lnTo>
                  <a:pt x="30607" y="91693"/>
                </a:lnTo>
                <a:lnTo>
                  <a:pt x="30607" y="0"/>
                </a:lnTo>
                <a:lnTo>
                  <a:pt x="0" y="30606"/>
                </a:lnTo>
                <a:close/>
              </a:path>
            </a:pathLst>
          </a:custGeom>
          <a:solidFill>
            <a:srgbClr val="00A37A"/>
          </a:solidFill>
        </p:spPr>
        <p:txBody>
          <a:bodyPr wrap="square" lIns="0" tIns="0" rIns="0" bIns="0" rtlCol="0">
            <a:noAutofit/>
          </a:bodyPr>
          <a:lstStyle/>
          <a:p>
            <a:endParaRPr/>
          </a:p>
        </p:txBody>
      </p:sp>
      <p:sp>
        <p:nvSpPr>
          <p:cNvPr id="558" name="object 558"/>
          <p:cNvSpPr/>
          <p:nvPr/>
        </p:nvSpPr>
        <p:spPr>
          <a:xfrm>
            <a:off x="7416801" y="5483225"/>
            <a:ext cx="187325" cy="30606"/>
          </a:xfrm>
          <a:custGeom>
            <a:avLst/>
            <a:gdLst/>
            <a:ahLst/>
            <a:cxnLst/>
            <a:rect l="l" t="t" r="r" b="b"/>
            <a:pathLst>
              <a:path w="187325" h="30606">
                <a:moveTo>
                  <a:pt x="0" y="30606"/>
                </a:moveTo>
                <a:lnTo>
                  <a:pt x="156717" y="30606"/>
                </a:lnTo>
                <a:lnTo>
                  <a:pt x="187325" y="0"/>
                </a:lnTo>
                <a:lnTo>
                  <a:pt x="30607" y="0"/>
                </a:lnTo>
                <a:lnTo>
                  <a:pt x="0" y="30606"/>
                </a:lnTo>
                <a:close/>
              </a:path>
            </a:pathLst>
          </a:custGeom>
          <a:solidFill>
            <a:srgbClr val="31D5AC"/>
          </a:solidFill>
        </p:spPr>
        <p:txBody>
          <a:bodyPr wrap="square" lIns="0" tIns="0" rIns="0" bIns="0" rtlCol="0">
            <a:noAutofit/>
          </a:bodyPr>
          <a:lstStyle/>
          <a:p>
            <a:endParaRPr/>
          </a:p>
        </p:txBody>
      </p:sp>
      <p:sp>
        <p:nvSpPr>
          <p:cNvPr id="559" name="object 559"/>
          <p:cNvSpPr/>
          <p:nvPr/>
        </p:nvSpPr>
        <p:spPr>
          <a:xfrm>
            <a:off x="7416801" y="5483226"/>
            <a:ext cx="187325" cy="122237"/>
          </a:xfrm>
          <a:custGeom>
            <a:avLst/>
            <a:gdLst/>
            <a:ahLst/>
            <a:cxnLst/>
            <a:rect l="l" t="t" r="r" b="b"/>
            <a:pathLst>
              <a:path w="187325" h="122237">
                <a:moveTo>
                  <a:pt x="0" y="30606"/>
                </a:moveTo>
                <a:lnTo>
                  <a:pt x="30607" y="0"/>
                </a:lnTo>
                <a:lnTo>
                  <a:pt x="187325" y="0"/>
                </a:lnTo>
                <a:lnTo>
                  <a:pt x="187325" y="91693"/>
                </a:lnTo>
                <a:lnTo>
                  <a:pt x="156717" y="122237"/>
                </a:lnTo>
                <a:lnTo>
                  <a:pt x="0" y="122237"/>
                </a:lnTo>
                <a:lnTo>
                  <a:pt x="0" y="30606"/>
                </a:lnTo>
                <a:close/>
              </a:path>
            </a:pathLst>
          </a:custGeom>
          <a:ln w="12700">
            <a:solidFill>
              <a:srgbClr val="FFFFFF"/>
            </a:solidFill>
          </a:ln>
        </p:spPr>
        <p:txBody>
          <a:bodyPr wrap="square" lIns="0" tIns="0" rIns="0" bIns="0" rtlCol="0">
            <a:noAutofit/>
          </a:bodyPr>
          <a:lstStyle/>
          <a:p>
            <a:endParaRPr/>
          </a:p>
        </p:txBody>
      </p:sp>
      <p:sp>
        <p:nvSpPr>
          <p:cNvPr id="560" name="object 560"/>
          <p:cNvSpPr/>
          <p:nvPr/>
        </p:nvSpPr>
        <p:spPr>
          <a:xfrm>
            <a:off x="7416801" y="5483225"/>
            <a:ext cx="187325" cy="30606"/>
          </a:xfrm>
          <a:custGeom>
            <a:avLst/>
            <a:gdLst/>
            <a:ahLst/>
            <a:cxnLst/>
            <a:rect l="l" t="t" r="r" b="b"/>
            <a:pathLst>
              <a:path w="187325" h="30606">
                <a:moveTo>
                  <a:pt x="0" y="30606"/>
                </a:moveTo>
                <a:lnTo>
                  <a:pt x="156717" y="30606"/>
                </a:lnTo>
                <a:lnTo>
                  <a:pt x="187325" y="0"/>
                </a:lnTo>
              </a:path>
            </a:pathLst>
          </a:custGeom>
          <a:ln w="12699">
            <a:solidFill>
              <a:srgbClr val="FFFFFF"/>
            </a:solidFill>
          </a:ln>
        </p:spPr>
        <p:txBody>
          <a:bodyPr wrap="square" lIns="0" tIns="0" rIns="0" bIns="0" rtlCol="0">
            <a:noAutofit/>
          </a:bodyPr>
          <a:lstStyle/>
          <a:p>
            <a:endParaRPr/>
          </a:p>
        </p:txBody>
      </p:sp>
      <p:sp>
        <p:nvSpPr>
          <p:cNvPr id="561" name="object 561"/>
          <p:cNvSpPr/>
          <p:nvPr/>
        </p:nvSpPr>
        <p:spPr>
          <a:xfrm>
            <a:off x="7573518" y="5513832"/>
            <a:ext cx="0" cy="91630"/>
          </a:xfrm>
          <a:custGeom>
            <a:avLst/>
            <a:gdLst/>
            <a:ahLst/>
            <a:cxnLst/>
            <a:rect l="l" t="t" r="r" b="b"/>
            <a:pathLst>
              <a:path h="91630">
                <a:moveTo>
                  <a:pt x="0" y="0"/>
                </a:moveTo>
                <a:lnTo>
                  <a:pt x="0" y="91630"/>
                </a:lnTo>
              </a:path>
            </a:pathLst>
          </a:custGeom>
          <a:ln w="12700">
            <a:solidFill>
              <a:srgbClr val="FFFFFF"/>
            </a:solidFill>
          </a:ln>
        </p:spPr>
        <p:txBody>
          <a:bodyPr wrap="square" lIns="0" tIns="0" rIns="0" bIns="0" rtlCol="0">
            <a:noAutofit/>
          </a:bodyPr>
          <a:lstStyle/>
          <a:p>
            <a:endParaRPr/>
          </a:p>
        </p:txBody>
      </p:sp>
      <p:sp>
        <p:nvSpPr>
          <p:cNvPr id="562" name="object 562"/>
          <p:cNvSpPr/>
          <p:nvPr/>
        </p:nvSpPr>
        <p:spPr>
          <a:xfrm>
            <a:off x="7572375" y="5513778"/>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563" name="object 563"/>
          <p:cNvSpPr/>
          <p:nvPr/>
        </p:nvSpPr>
        <p:spPr>
          <a:xfrm>
            <a:off x="7730744" y="5483226"/>
            <a:ext cx="30606" cy="122237"/>
          </a:xfrm>
          <a:custGeom>
            <a:avLst/>
            <a:gdLst/>
            <a:ahLst/>
            <a:cxnLst/>
            <a:rect l="l" t="t" r="r" b="b"/>
            <a:pathLst>
              <a:path w="30606" h="122237">
                <a:moveTo>
                  <a:pt x="0" y="30606"/>
                </a:moveTo>
                <a:lnTo>
                  <a:pt x="0" y="122237"/>
                </a:lnTo>
                <a:lnTo>
                  <a:pt x="30606" y="91693"/>
                </a:lnTo>
                <a:lnTo>
                  <a:pt x="30606" y="0"/>
                </a:lnTo>
                <a:lnTo>
                  <a:pt x="0" y="30606"/>
                </a:lnTo>
                <a:close/>
              </a:path>
            </a:pathLst>
          </a:custGeom>
          <a:solidFill>
            <a:srgbClr val="00A37A"/>
          </a:solidFill>
        </p:spPr>
        <p:txBody>
          <a:bodyPr wrap="square" lIns="0" tIns="0" rIns="0" bIns="0" rtlCol="0">
            <a:noAutofit/>
          </a:bodyPr>
          <a:lstStyle/>
          <a:p>
            <a:endParaRPr/>
          </a:p>
        </p:txBody>
      </p:sp>
      <p:sp>
        <p:nvSpPr>
          <p:cNvPr id="564" name="object 564"/>
          <p:cNvSpPr/>
          <p:nvPr/>
        </p:nvSpPr>
        <p:spPr>
          <a:xfrm>
            <a:off x="7572376" y="5483225"/>
            <a:ext cx="188975" cy="30606"/>
          </a:xfrm>
          <a:custGeom>
            <a:avLst/>
            <a:gdLst/>
            <a:ahLst/>
            <a:cxnLst/>
            <a:rect l="l" t="t" r="r" b="b"/>
            <a:pathLst>
              <a:path w="188975" h="30606">
                <a:moveTo>
                  <a:pt x="0" y="30606"/>
                </a:moveTo>
                <a:lnTo>
                  <a:pt x="158369" y="30606"/>
                </a:lnTo>
                <a:lnTo>
                  <a:pt x="188975" y="0"/>
                </a:lnTo>
                <a:lnTo>
                  <a:pt x="30607" y="0"/>
                </a:lnTo>
                <a:lnTo>
                  <a:pt x="0" y="30606"/>
                </a:lnTo>
                <a:close/>
              </a:path>
            </a:pathLst>
          </a:custGeom>
          <a:solidFill>
            <a:srgbClr val="31D5AC"/>
          </a:solidFill>
        </p:spPr>
        <p:txBody>
          <a:bodyPr wrap="square" lIns="0" tIns="0" rIns="0" bIns="0" rtlCol="0">
            <a:noAutofit/>
          </a:bodyPr>
          <a:lstStyle/>
          <a:p>
            <a:endParaRPr/>
          </a:p>
        </p:txBody>
      </p:sp>
      <p:sp>
        <p:nvSpPr>
          <p:cNvPr id="565" name="object 565"/>
          <p:cNvSpPr/>
          <p:nvPr/>
        </p:nvSpPr>
        <p:spPr>
          <a:xfrm>
            <a:off x="7572376" y="5483226"/>
            <a:ext cx="188975" cy="122237"/>
          </a:xfrm>
          <a:custGeom>
            <a:avLst/>
            <a:gdLst/>
            <a:ahLst/>
            <a:cxnLst/>
            <a:rect l="l" t="t" r="r" b="b"/>
            <a:pathLst>
              <a:path w="188975" h="122237">
                <a:moveTo>
                  <a:pt x="0" y="30606"/>
                </a:moveTo>
                <a:lnTo>
                  <a:pt x="30607" y="0"/>
                </a:lnTo>
                <a:lnTo>
                  <a:pt x="188975" y="0"/>
                </a:lnTo>
                <a:lnTo>
                  <a:pt x="188975" y="91693"/>
                </a:lnTo>
                <a:lnTo>
                  <a:pt x="158369" y="122237"/>
                </a:lnTo>
                <a:lnTo>
                  <a:pt x="0" y="122237"/>
                </a:lnTo>
                <a:lnTo>
                  <a:pt x="0" y="30606"/>
                </a:lnTo>
                <a:close/>
              </a:path>
            </a:pathLst>
          </a:custGeom>
          <a:ln w="12699">
            <a:solidFill>
              <a:srgbClr val="FFFFFF"/>
            </a:solidFill>
          </a:ln>
        </p:spPr>
        <p:txBody>
          <a:bodyPr wrap="square" lIns="0" tIns="0" rIns="0" bIns="0" rtlCol="0">
            <a:noAutofit/>
          </a:bodyPr>
          <a:lstStyle/>
          <a:p>
            <a:endParaRPr/>
          </a:p>
        </p:txBody>
      </p:sp>
      <p:sp>
        <p:nvSpPr>
          <p:cNvPr id="566" name="object 566"/>
          <p:cNvSpPr/>
          <p:nvPr/>
        </p:nvSpPr>
        <p:spPr>
          <a:xfrm>
            <a:off x="7572376" y="5483225"/>
            <a:ext cx="188975" cy="30606"/>
          </a:xfrm>
          <a:custGeom>
            <a:avLst/>
            <a:gdLst/>
            <a:ahLst/>
            <a:cxnLst/>
            <a:rect l="l" t="t" r="r" b="b"/>
            <a:pathLst>
              <a:path w="188975" h="30606">
                <a:moveTo>
                  <a:pt x="0" y="30606"/>
                </a:moveTo>
                <a:lnTo>
                  <a:pt x="158369" y="30606"/>
                </a:lnTo>
                <a:lnTo>
                  <a:pt x="188975" y="0"/>
                </a:lnTo>
              </a:path>
            </a:pathLst>
          </a:custGeom>
          <a:ln w="12700">
            <a:solidFill>
              <a:srgbClr val="FFFFFF"/>
            </a:solidFill>
          </a:ln>
        </p:spPr>
        <p:txBody>
          <a:bodyPr wrap="square" lIns="0" tIns="0" rIns="0" bIns="0" rtlCol="0">
            <a:noAutofit/>
          </a:bodyPr>
          <a:lstStyle/>
          <a:p>
            <a:endParaRPr/>
          </a:p>
        </p:txBody>
      </p:sp>
      <p:sp>
        <p:nvSpPr>
          <p:cNvPr id="567" name="object 567"/>
          <p:cNvSpPr/>
          <p:nvPr/>
        </p:nvSpPr>
        <p:spPr>
          <a:xfrm>
            <a:off x="7730744" y="5513832"/>
            <a:ext cx="0" cy="91630"/>
          </a:xfrm>
          <a:custGeom>
            <a:avLst/>
            <a:gdLst/>
            <a:ahLst/>
            <a:cxnLst/>
            <a:rect l="l" t="t" r="r" b="b"/>
            <a:pathLst>
              <a:path h="91630">
                <a:moveTo>
                  <a:pt x="0" y="0"/>
                </a:moveTo>
                <a:lnTo>
                  <a:pt x="0" y="91630"/>
                </a:lnTo>
              </a:path>
            </a:pathLst>
          </a:custGeom>
          <a:ln w="12700">
            <a:solidFill>
              <a:srgbClr val="FFFFFF"/>
            </a:solidFill>
          </a:ln>
        </p:spPr>
        <p:txBody>
          <a:bodyPr wrap="square" lIns="0" tIns="0" rIns="0" bIns="0" rtlCol="0">
            <a:noAutofit/>
          </a:bodyPr>
          <a:lstStyle/>
          <a:p>
            <a:endParaRPr/>
          </a:p>
        </p:txBody>
      </p:sp>
      <p:sp>
        <p:nvSpPr>
          <p:cNvPr id="568" name="object 568"/>
          <p:cNvSpPr/>
          <p:nvPr/>
        </p:nvSpPr>
        <p:spPr>
          <a:xfrm>
            <a:off x="7113651" y="5413765"/>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569" name="object 569"/>
          <p:cNvSpPr/>
          <p:nvPr/>
        </p:nvSpPr>
        <p:spPr>
          <a:xfrm>
            <a:off x="7271894" y="5383276"/>
            <a:ext cx="30607" cy="122174"/>
          </a:xfrm>
          <a:custGeom>
            <a:avLst/>
            <a:gdLst/>
            <a:ahLst/>
            <a:cxnLst/>
            <a:rect l="l" t="t" r="r" b="b"/>
            <a:pathLst>
              <a:path w="30607" h="122174">
                <a:moveTo>
                  <a:pt x="0" y="30480"/>
                </a:moveTo>
                <a:lnTo>
                  <a:pt x="0" y="122174"/>
                </a:lnTo>
                <a:lnTo>
                  <a:pt x="30607" y="91567"/>
                </a:lnTo>
                <a:lnTo>
                  <a:pt x="30607" y="0"/>
                </a:lnTo>
                <a:lnTo>
                  <a:pt x="0" y="30480"/>
                </a:lnTo>
                <a:close/>
              </a:path>
            </a:pathLst>
          </a:custGeom>
          <a:solidFill>
            <a:srgbClr val="00A37A"/>
          </a:solidFill>
        </p:spPr>
        <p:txBody>
          <a:bodyPr wrap="square" lIns="0" tIns="0" rIns="0" bIns="0" rtlCol="0">
            <a:noAutofit/>
          </a:bodyPr>
          <a:lstStyle/>
          <a:p>
            <a:endParaRPr/>
          </a:p>
        </p:txBody>
      </p:sp>
      <p:sp>
        <p:nvSpPr>
          <p:cNvPr id="570" name="object 570"/>
          <p:cNvSpPr/>
          <p:nvPr/>
        </p:nvSpPr>
        <p:spPr>
          <a:xfrm>
            <a:off x="7113652" y="5383276"/>
            <a:ext cx="188849" cy="30480"/>
          </a:xfrm>
          <a:custGeom>
            <a:avLst/>
            <a:gdLst/>
            <a:ahLst/>
            <a:cxnLst/>
            <a:rect l="l" t="t" r="r" b="b"/>
            <a:pathLst>
              <a:path w="188849" h="30479">
                <a:moveTo>
                  <a:pt x="0" y="30480"/>
                </a:moveTo>
                <a:lnTo>
                  <a:pt x="158241" y="30480"/>
                </a:lnTo>
                <a:lnTo>
                  <a:pt x="188849" y="0"/>
                </a:lnTo>
                <a:lnTo>
                  <a:pt x="30479" y="0"/>
                </a:lnTo>
                <a:lnTo>
                  <a:pt x="0" y="30480"/>
                </a:lnTo>
                <a:close/>
              </a:path>
            </a:pathLst>
          </a:custGeom>
          <a:solidFill>
            <a:srgbClr val="31D5AC"/>
          </a:solidFill>
        </p:spPr>
        <p:txBody>
          <a:bodyPr wrap="square" lIns="0" tIns="0" rIns="0" bIns="0" rtlCol="0">
            <a:noAutofit/>
          </a:bodyPr>
          <a:lstStyle/>
          <a:p>
            <a:endParaRPr/>
          </a:p>
        </p:txBody>
      </p:sp>
      <p:sp>
        <p:nvSpPr>
          <p:cNvPr id="571" name="object 571"/>
          <p:cNvSpPr/>
          <p:nvPr/>
        </p:nvSpPr>
        <p:spPr>
          <a:xfrm>
            <a:off x="7113652" y="5383276"/>
            <a:ext cx="188849" cy="122174"/>
          </a:xfrm>
          <a:custGeom>
            <a:avLst/>
            <a:gdLst/>
            <a:ahLst/>
            <a:cxnLst/>
            <a:rect l="l" t="t" r="r" b="b"/>
            <a:pathLst>
              <a:path w="188849" h="122174">
                <a:moveTo>
                  <a:pt x="0" y="30480"/>
                </a:moveTo>
                <a:lnTo>
                  <a:pt x="30479" y="0"/>
                </a:lnTo>
                <a:lnTo>
                  <a:pt x="188849" y="0"/>
                </a:lnTo>
                <a:lnTo>
                  <a:pt x="188849" y="91567"/>
                </a:lnTo>
                <a:lnTo>
                  <a:pt x="158241" y="122174"/>
                </a:lnTo>
                <a:lnTo>
                  <a:pt x="0" y="122174"/>
                </a:lnTo>
                <a:lnTo>
                  <a:pt x="0" y="30480"/>
                </a:lnTo>
                <a:close/>
              </a:path>
            </a:pathLst>
          </a:custGeom>
          <a:ln w="12700">
            <a:solidFill>
              <a:srgbClr val="FFFFFF"/>
            </a:solidFill>
          </a:ln>
        </p:spPr>
        <p:txBody>
          <a:bodyPr wrap="square" lIns="0" tIns="0" rIns="0" bIns="0" rtlCol="0">
            <a:noAutofit/>
          </a:bodyPr>
          <a:lstStyle/>
          <a:p>
            <a:endParaRPr/>
          </a:p>
        </p:txBody>
      </p:sp>
      <p:sp>
        <p:nvSpPr>
          <p:cNvPr id="572" name="object 572"/>
          <p:cNvSpPr/>
          <p:nvPr/>
        </p:nvSpPr>
        <p:spPr>
          <a:xfrm>
            <a:off x="7113652" y="5383276"/>
            <a:ext cx="188849" cy="30480"/>
          </a:xfrm>
          <a:custGeom>
            <a:avLst/>
            <a:gdLst/>
            <a:ahLst/>
            <a:cxnLst/>
            <a:rect l="l" t="t" r="r" b="b"/>
            <a:pathLst>
              <a:path w="188849" h="30479">
                <a:moveTo>
                  <a:pt x="0" y="30480"/>
                </a:moveTo>
                <a:lnTo>
                  <a:pt x="158241" y="30480"/>
                </a:lnTo>
                <a:lnTo>
                  <a:pt x="188849" y="0"/>
                </a:lnTo>
              </a:path>
            </a:pathLst>
          </a:custGeom>
          <a:ln w="12700">
            <a:solidFill>
              <a:srgbClr val="FFFFFF"/>
            </a:solidFill>
          </a:ln>
        </p:spPr>
        <p:txBody>
          <a:bodyPr wrap="square" lIns="0" tIns="0" rIns="0" bIns="0" rtlCol="0">
            <a:noAutofit/>
          </a:bodyPr>
          <a:lstStyle/>
          <a:p>
            <a:endParaRPr/>
          </a:p>
        </p:txBody>
      </p:sp>
      <p:sp>
        <p:nvSpPr>
          <p:cNvPr id="573" name="object 573"/>
          <p:cNvSpPr/>
          <p:nvPr/>
        </p:nvSpPr>
        <p:spPr>
          <a:xfrm>
            <a:off x="7271893" y="5413757"/>
            <a:ext cx="0" cy="91693"/>
          </a:xfrm>
          <a:custGeom>
            <a:avLst/>
            <a:gdLst/>
            <a:ahLst/>
            <a:cxnLst/>
            <a:rect l="l" t="t" r="r" b="b"/>
            <a:pathLst>
              <a:path h="91694">
                <a:moveTo>
                  <a:pt x="0" y="0"/>
                </a:moveTo>
                <a:lnTo>
                  <a:pt x="0" y="91694"/>
                </a:lnTo>
              </a:path>
            </a:pathLst>
          </a:custGeom>
          <a:ln w="12700">
            <a:solidFill>
              <a:srgbClr val="FFFFFF"/>
            </a:solidFill>
          </a:ln>
        </p:spPr>
        <p:txBody>
          <a:bodyPr wrap="square" lIns="0" tIns="0" rIns="0" bIns="0" rtlCol="0">
            <a:noAutofit/>
          </a:bodyPr>
          <a:lstStyle/>
          <a:p>
            <a:endParaRPr/>
          </a:p>
        </p:txBody>
      </p:sp>
      <p:sp>
        <p:nvSpPr>
          <p:cNvPr id="574" name="object 574"/>
          <p:cNvSpPr/>
          <p:nvPr/>
        </p:nvSpPr>
        <p:spPr>
          <a:xfrm>
            <a:off x="7270751" y="5413765"/>
            <a:ext cx="159943" cy="91685"/>
          </a:xfrm>
          <a:custGeom>
            <a:avLst/>
            <a:gdLst/>
            <a:ahLst/>
            <a:cxnLst/>
            <a:rect l="l" t="t" r="r" b="b"/>
            <a:pathLst>
              <a:path w="159943" h="91685">
                <a:moveTo>
                  <a:pt x="0" y="91685"/>
                </a:moveTo>
                <a:lnTo>
                  <a:pt x="159943" y="91685"/>
                </a:lnTo>
                <a:lnTo>
                  <a:pt x="159943" y="0"/>
                </a:lnTo>
                <a:lnTo>
                  <a:pt x="0" y="0"/>
                </a:lnTo>
                <a:lnTo>
                  <a:pt x="0" y="91685"/>
                </a:lnTo>
                <a:close/>
              </a:path>
            </a:pathLst>
          </a:custGeom>
          <a:solidFill>
            <a:srgbClr val="00CC99"/>
          </a:solidFill>
        </p:spPr>
        <p:txBody>
          <a:bodyPr wrap="square" lIns="0" tIns="0" rIns="0" bIns="0" rtlCol="0">
            <a:noAutofit/>
          </a:bodyPr>
          <a:lstStyle/>
          <a:p>
            <a:endParaRPr/>
          </a:p>
        </p:txBody>
      </p:sp>
      <p:sp>
        <p:nvSpPr>
          <p:cNvPr id="575" name="object 575"/>
          <p:cNvSpPr/>
          <p:nvPr/>
        </p:nvSpPr>
        <p:spPr>
          <a:xfrm>
            <a:off x="7430644" y="5383276"/>
            <a:ext cx="30607" cy="122174"/>
          </a:xfrm>
          <a:custGeom>
            <a:avLst/>
            <a:gdLst/>
            <a:ahLst/>
            <a:cxnLst/>
            <a:rect l="l" t="t" r="r" b="b"/>
            <a:pathLst>
              <a:path w="30607" h="122174">
                <a:moveTo>
                  <a:pt x="0" y="30480"/>
                </a:moveTo>
                <a:lnTo>
                  <a:pt x="0" y="122174"/>
                </a:lnTo>
                <a:lnTo>
                  <a:pt x="30607" y="91567"/>
                </a:lnTo>
                <a:lnTo>
                  <a:pt x="30607" y="0"/>
                </a:lnTo>
                <a:lnTo>
                  <a:pt x="0" y="30480"/>
                </a:lnTo>
                <a:close/>
              </a:path>
            </a:pathLst>
          </a:custGeom>
          <a:solidFill>
            <a:srgbClr val="00A37A"/>
          </a:solidFill>
        </p:spPr>
        <p:txBody>
          <a:bodyPr wrap="square" lIns="0" tIns="0" rIns="0" bIns="0" rtlCol="0">
            <a:noAutofit/>
          </a:bodyPr>
          <a:lstStyle/>
          <a:p>
            <a:endParaRPr/>
          </a:p>
        </p:txBody>
      </p:sp>
      <p:sp>
        <p:nvSpPr>
          <p:cNvPr id="576" name="object 576"/>
          <p:cNvSpPr/>
          <p:nvPr/>
        </p:nvSpPr>
        <p:spPr>
          <a:xfrm>
            <a:off x="7270750" y="5383276"/>
            <a:ext cx="190500" cy="30480"/>
          </a:xfrm>
          <a:custGeom>
            <a:avLst/>
            <a:gdLst/>
            <a:ahLst/>
            <a:cxnLst/>
            <a:rect l="l" t="t" r="r" b="b"/>
            <a:pathLst>
              <a:path w="190500" h="30479">
                <a:moveTo>
                  <a:pt x="0" y="30480"/>
                </a:moveTo>
                <a:lnTo>
                  <a:pt x="159892" y="30480"/>
                </a:lnTo>
                <a:lnTo>
                  <a:pt x="190500" y="0"/>
                </a:lnTo>
                <a:lnTo>
                  <a:pt x="30607" y="0"/>
                </a:lnTo>
                <a:lnTo>
                  <a:pt x="0" y="30480"/>
                </a:lnTo>
                <a:close/>
              </a:path>
            </a:pathLst>
          </a:custGeom>
          <a:solidFill>
            <a:srgbClr val="31D5AC"/>
          </a:solidFill>
        </p:spPr>
        <p:txBody>
          <a:bodyPr wrap="square" lIns="0" tIns="0" rIns="0" bIns="0" rtlCol="0">
            <a:noAutofit/>
          </a:bodyPr>
          <a:lstStyle/>
          <a:p>
            <a:endParaRPr/>
          </a:p>
        </p:txBody>
      </p:sp>
      <p:sp>
        <p:nvSpPr>
          <p:cNvPr id="577" name="object 577"/>
          <p:cNvSpPr/>
          <p:nvPr/>
        </p:nvSpPr>
        <p:spPr>
          <a:xfrm>
            <a:off x="7270750" y="5383276"/>
            <a:ext cx="190500" cy="122174"/>
          </a:xfrm>
          <a:custGeom>
            <a:avLst/>
            <a:gdLst/>
            <a:ahLst/>
            <a:cxnLst/>
            <a:rect l="l" t="t" r="r" b="b"/>
            <a:pathLst>
              <a:path w="190500" h="122174">
                <a:moveTo>
                  <a:pt x="0" y="30480"/>
                </a:moveTo>
                <a:lnTo>
                  <a:pt x="30607" y="0"/>
                </a:lnTo>
                <a:lnTo>
                  <a:pt x="190500" y="0"/>
                </a:lnTo>
                <a:lnTo>
                  <a:pt x="190500" y="91567"/>
                </a:lnTo>
                <a:lnTo>
                  <a:pt x="159892" y="122174"/>
                </a:lnTo>
                <a:lnTo>
                  <a:pt x="0" y="122174"/>
                </a:lnTo>
                <a:lnTo>
                  <a:pt x="0" y="30480"/>
                </a:lnTo>
                <a:close/>
              </a:path>
            </a:pathLst>
          </a:custGeom>
          <a:ln w="12699">
            <a:solidFill>
              <a:srgbClr val="FFFFFF"/>
            </a:solidFill>
          </a:ln>
        </p:spPr>
        <p:txBody>
          <a:bodyPr wrap="square" lIns="0" tIns="0" rIns="0" bIns="0" rtlCol="0">
            <a:noAutofit/>
          </a:bodyPr>
          <a:lstStyle/>
          <a:p>
            <a:endParaRPr/>
          </a:p>
        </p:txBody>
      </p:sp>
      <p:sp>
        <p:nvSpPr>
          <p:cNvPr id="578" name="object 578"/>
          <p:cNvSpPr/>
          <p:nvPr/>
        </p:nvSpPr>
        <p:spPr>
          <a:xfrm>
            <a:off x="7270750" y="5383276"/>
            <a:ext cx="190500" cy="30480"/>
          </a:xfrm>
          <a:custGeom>
            <a:avLst/>
            <a:gdLst/>
            <a:ahLst/>
            <a:cxnLst/>
            <a:rect l="l" t="t" r="r" b="b"/>
            <a:pathLst>
              <a:path w="190500" h="30479">
                <a:moveTo>
                  <a:pt x="0" y="30480"/>
                </a:moveTo>
                <a:lnTo>
                  <a:pt x="159892" y="30480"/>
                </a:lnTo>
                <a:lnTo>
                  <a:pt x="190500" y="0"/>
                </a:lnTo>
              </a:path>
            </a:pathLst>
          </a:custGeom>
          <a:ln w="12700">
            <a:solidFill>
              <a:srgbClr val="FFFFFF"/>
            </a:solidFill>
          </a:ln>
        </p:spPr>
        <p:txBody>
          <a:bodyPr wrap="square" lIns="0" tIns="0" rIns="0" bIns="0" rtlCol="0">
            <a:noAutofit/>
          </a:bodyPr>
          <a:lstStyle/>
          <a:p>
            <a:endParaRPr/>
          </a:p>
        </p:txBody>
      </p:sp>
      <p:sp>
        <p:nvSpPr>
          <p:cNvPr id="579" name="object 579"/>
          <p:cNvSpPr/>
          <p:nvPr/>
        </p:nvSpPr>
        <p:spPr>
          <a:xfrm>
            <a:off x="7420546" y="5413757"/>
            <a:ext cx="0" cy="91693"/>
          </a:xfrm>
          <a:custGeom>
            <a:avLst/>
            <a:gdLst/>
            <a:ahLst/>
            <a:cxnLst/>
            <a:rect l="l" t="t" r="r" b="b"/>
            <a:pathLst>
              <a:path h="91694">
                <a:moveTo>
                  <a:pt x="0" y="0"/>
                </a:moveTo>
                <a:lnTo>
                  <a:pt x="0" y="91694"/>
                </a:lnTo>
              </a:path>
            </a:pathLst>
          </a:custGeom>
          <a:ln w="12700">
            <a:solidFill>
              <a:srgbClr val="FFFFFF"/>
            </a:solidFill>
          </a:ln>
        </p:spPr>
        <p:txBody>
          <a:bodyPr wrap="square" lIns="0" tIns="0" rIns="0" bIns="0" rtlCol="0">
            <a:noAutofit/>
          </a:bodyPr>
          <a:lstStyle/>
          <a:p>
            <a:endParaRPr/>
          </a:p>
        </p:txBody>
      </p:sp>
      <p:sp>
        <p:nvSpPr>
          <p:cNvPr id="580" name="object 580"/>
          <p:cNvSpPr/>
          <p:nvPr/>
        </p:nvSpPr>
        <p:spPr>
          <a:xfrm>
            <a:off x="7416800" y="5413765"/>
            <a:ext cx="156768" cy="91685"/>
          </a:xfrm>
          <a:custGeom>
            <a:avLst/>
            <a:gdLst/>
            <a:ahLst/>
            <a:cxnLst/>
            <a:rect l="l" t="t" r="r" b="b"/>
            <a:pathLst>
              <a:path w="156768" h="91685">
                <a:moveTo>
                  <a:pt x="0" y="91685"/>
                </a:moveTo>
                <a:lnTo>
                  <a:pt x="156768" y="91685"/>
                </a:lnTo>
                <a:lnTo>
                  <a:pt x="156768" y="0"/>
                </a:lnTo>
                <a:lnTo>
                  <a:pt x="0" y="0"/>
                </a:lnTo>
                <a:lnTo>
                  <a:pt x="0" y="91685"/>
                </a:lnTo>
                <a:close/>
              </a:path>
            </a:pathLst>
          </a:custGeom>
          <a:solidFill>
            <a:srgbClr val="00CC99"/>
          </a:solidFill>
        </p:spPr>
        <p:txBody>
          <a:bodyPr wrap="square" lIns="0" tIns="0" rIns="0" bIns="0" rtlCol="0">
            <a:noAutofit/>
          </a:bodyPr>
          <a:lstStyle/>
          <a:p>
            <a:endParaRPr/>
          </a:p>
        </p:txBody>
      </p:sp>
      <p:sp>
        <p:nvSpPr>
          <p:cNvPr id="581" name="object 581"/>
          <p:cNvSpPr/>
          <p:nvPr/>
        </p:nvSpPr>
        <p:spPr>
          <a:xfrm>
            <a:off x="7573519" y="5383276"/>
            <a:ext cx="30607" cy="122174"/>
          </a:xfrm>
          <a:custGeom>
            <a:avLst/>
            <a:gdLst/>
            <a:ahLst/>
            <a:cxnLst/>
            <a:rect l="l" t="t" r="r" b="b"/>
            <a:pathLst>
              <a:path w="30607" h="122174">
                <a:moveTo>
                  <a:pt x="0" y="30480"/>
                </a:moveTo>
                <a:lnTo>
                  <a:pt x="0" y="122174"/>
                </a:lnTo>
                <a:lnTo>
                  <a:pt x="30607" y="91567"/>
                </a:lnTo>
                <a:lnTo>
                  <a:pt x="30607" y="0"/>
                </a:lnTo>
                <a:lnTo>
                  <a:pt x="0" y="30480"/>
                </a:lnTo>
                <a:close/>
              </a:path>
            </a:pathLst>
          </a:custGeom>
          <a:solidFill>
            <a:srgbClr val="00A37A"/>
          </a:solidFill>
        </p:spPr>
        <p:txBody>
          <a:bodyPr wrap="square" lIns="0" tIns="0" rIns="0" bIns="0" rtlCol="0">
            <a:noAutofit/>
          </a:bodyPr>
          <a:lstStyle/>
          <a:p>
            <a:endParaRPr/>
          </a:p>
        </p:txBody>
      </p:sp>
      <p:sp>
        <p:nvSpPr>
          <p:cNvPr id="582" name="object 582"/>
          <p:cNvSpPr/>
          <p:nvPr/>
        </p:nvSpPr>
        <p:spPr>
          <a:xfrm>
            <a:off x="7416801" y="5383276"/>
            <a:ext cx="187325" cy="30480"/>
          </a:xfrm>
          <a:custGeom>
            <a:avLst/>
            <a:gdLst/>
            <a:ahLst/>
            <a:cxnLst/>
            <a:rect l="l" t="t" r="r" b="b"/>
            <a:pathLst>
              <a:path w="187325" h="30479">
                <a:moveTo>
                  <a:pt x="0" y="30480"/>
                </a:moveTo>
                <a:lnTo>
                  <a:pt x="156717" y="30480"/>
                </a:lnTo>
                <a:lnTo>
                  <a:pt x="187325" y="0"/>
                </a:lnTo>
                <a:lnTo>
                  <a:pt x="30607" y="0"/>
                </a:lnTo>
                <a:lnTo>
                  <a:pt x="0" y="30480"/>
                </a:lnTo>
                <a:close/>
              </a:path>
            </a:pathLst>
          </a:custGeom>
          <a:solidFill>
            <a:srgbClr val="31D5AC"/>
          </a:solidFill>
        </p:spPr>
        <p:txBody>
          <a:bodyPr wrap="square" lIns="0" tIns="0" rIns="0" bIns="0" rtlCol="0">
            <a:noAutofit/>
          </a:bodyPr>
          <a:lstStyle/>
          <a:p>
            <a:endParaRPr/>
          </a:p>
        </p:txBody>
      </p:sp>
      <p:sp>
        <p:nvSpPr>
          <p:cNvPr id="583" name="object 583"/>
          <p:cNvSpPr/>
          <p:nvPr/>
        </p:nvSpPr>
        <p:spPr>
          <a:xfrm>
            <a:off x="7416801" y="5383276"/>
            <a:ext cx="187325" cy="122174"/>
          </a:xfrm>
          <a:custGeom>
            <a:avLst/>
            <a:gdLst/>
            <a:ahLst/>
            <a:cxnLst/>
            <a:rect l="l" t="t" r="r" b="b"/>
            <a:pathLst>
              <a:path w="187325" h="122174">
                <a:moveTo>
                  <a:pt x="0" y="30480"/>
                </a:moveTo>
                <a:lnTo>
                  <a:pt x="30607" y="0"/>
                </a:lnTo>
                <a:lnTo>
                  <a:pt x="187325" y="0"/>
                </a:lnTo>
                <a:lnTo>
                  <a:pt x="187325" y="91567"/>
                </a:lnTo>
                <a:lnTo>
                  <a:pt x="156717" y="122174"/>
                </a:lnTo>
                <a:lnTo>
                  <a:pt x="0" y="122174"/>
                </a:lnTo>
                <a:lnTo>
                  <a:pt x="0" y="30480"/>
                </a:lnTo>
                <a:close/>
              </a:path>
            </a:pathLst>
          </a:custGeom>
          <a:ln w="12699">
            <a:solidFill>
              <a:srgbClr val="FFFFFF"/>
            </a:solidFill>
          </a:ln>
        </p:spPr>
        <p:txBody>
          <a:bodyPr wrap="square" lIns="0" tIns="0" rIns="0" bIns="0" rtlCol="0">
            <a:noAutofit/>
          </a:bodyPr>
          <a:lstStyle/>
          <a:p>
            <a:endParaRPr/>
          </a:p>
        </p:txBody>
      </p:sp>
      <p:sp>
        <p:nvSpPr>
          <p:cNvPr id="584" name="object 584"/>
          <p:cNvSpPr/>
          <p:nvPr/>
        </p:nvSpPr>
        <p:spPr>
          <a:xfrm>
            <a:off x="7416801" y="5383276"/>
            <a:ext cx="187325" cy="30480"/>
          </a:xfrm>
          <a:custGeom>
            <a:avLst/>
            <a:gdLst/>
            <a:ahLst/>
            <a:cxnLst/>
            <a:rect l="l" t="t" r="r" b="b"/>
            <a:pathLst>
              <a:path w="187325" h="30479">
                <a:moveTo>
                  <a:pt x="0" y="30480"/>
                </a:moveTo>
                <a:lnTo>
                  <a:pt x="156717" y="30480"/>
                </a:lnTo>
                <a:lnTo>
                  <a:pt x="187325" y="0"/>
                </a:lnTo>
              </a:path>
            </a:pathLst>
          </a:custGeom>
          <a:ln w="12700">
            <a:solidFill>
              <a:srgbClr val="FFFFFF"/>
            </a:solidFill>
          </a:ln>
        </p:spPr>
        <p:txBody>
          <a:bodyPr wrap="square" lIns="0" tIns="0" rIns="0" bIns="0" rtlCol="0">
            <a:noAutofit/>
          </a:bodyPr>
          <a:lstStyle/>
          <a:p>
            <a:endParaRPr/>
          </a:p>
        </p:txBody>
      </p:sp>
      <p:sp>
        <p:nvSpPr>
          <p:cNvPr id="585" name="object 585"/>
          <p:cNvSpPr/>
          <p:nvPr/>
        </p:nvSpPr>
        <p:spPr>
          <a:xfrm>
            <a:off x="7573518" y="5413757"/>
            <a:ext cx="0" cy="91693"/>
          </a:xfrm>
          <a:custGeom>
            <a:avLst/>
            <a:gdLst/>
            <a:ahLst/>
            <a:cxnLst/>
            <a:rect l="l" t="t" r="r" b="b"/>
            <a:pathLst>
              <a:path h="91694">
                <a:moveTo>
                  <a:pt x="0" y="0"/>
                </a:moveTo>
                <a:lnTo>
                  <a:pt x="0" y="91694"/>
                </a:lnTo>
              </a:path>
            </a:pathLst>
          </a:custGeom>
          <a:ln w="12700">
            <a:solidFill>
              <a:srgbClr val="FFFFFF"/>
            </a:solidFill>
          </a:ln>
        </p:spPr>
        <p:txBody>
          <a:bodyPr wrap="square" lIns="0" tIns="0" rIns="0" bIns="0" rtlCol="0">
            <a:noAutofit/>
          </a:bodyPr>
          <a:lstStyle/>
          <a:p>
            <a:endParaRPr/>
          </a:p>
        </p:txBody>
      </p:sp>
      <p:sp>
        <p:nvSpPr>
          <p:cNvPr id="586" name="object 586"/>
          <p:cNvSpPr/>
          <p:nvPr/>
        </p:nvSpPr>
        <p:spPr>
          <a:xfrm>
            <a:off x="7572375" y="5413765"/>
            <a:ext cx="158356" cy="91685"/>
          </a:xfrm>
          <a:custGeom>
            <a:avLst/>
            <a:gdLst/>
            <a:ahLst/>
            <a:cxnLst/>
            <a:rect l="l" t="t" r="r" b="b"/>
            <a:pathLst>
              <a:path w="158356" h="91685">
                <a:moveTo>
                  <a:pt x="0" y="91685"/>
                </a:moveTo>
                <a:lnTo>
                  <a:pt x="158356" y="91685"/>
                </a:lnTo>
                <a:lnTo>
                  <a:pt x="158356" y="0"/>
                </a:lnTo>
                <a:lnTo>
                  <a:pt x="0" y="0"/>
                </a:lnTo>
                <a:lnTo>
                  <a:pt x="0" y="91685"/>
                </a:lnTo>
                <a:close/>
              </a:path>
            </a:pathLst>
          </a:custGeom>
          <a:solidFill>
            <a:srgbClr val="00CC99"/>
          </a:solidFill>
        </p:spPr>
        <p:txBody>
          <a:bodyPr wrap="square" lIns="0" tIns="0" rIns="0" bIns="0" rtlCol="0">
            <a:noAutofit/>
          </a:bodyPr>
          <a:lstStyle/>
          <a:p>
            <a:endParaRPr/>
          </a:p>
        </p:txBody>
      </p:sp>
      <p:sp>
        <p:nvSpPr>
          <p:cNvPr id="587" name="object 587"/>
          <p:cNvSpPr/>
          <p:nvPr/>
        </p:nvSpPr>
        <p:spPr>
          <a:xfrm>
            <a:off x="7730744" y="5383276"/>
            <a:ext cx="30606" cy="122174"/>
          </a:xfrm>
          <a:custGeom>
            <a:avLst/>
            <a:gdLst/>
            <a:ahLst/>
            <a:cxnLst/>
            <a:rect l="l" t="t" r="r" b="b"/>
            <a:pathLst>
              <a:path w="30606" h="122174">
                <a:moveTo>
                  <a:pt x="0" y="30480"/>
                </a:moveTo>
                <a:lnTo>
                  <a:pt x="0" y="122174"/>
                </a:lnTo>
                <a:lnTo>
                  <a:pt x="30606" y="91567"/>
                </a:lnTo>
                <a:lnTo>
                  <a:pt x="30606" y="0"/>
                </a:lnTo>
                <a:lnTo>
                  <a:pt x="0" y="30480"/>
                </a:lnTo>
                <a:close/>
              </a:path>
            </a:pathLst>
          </a:custGeom>
          <a:solidFill>
            <a:srgbClr val="00A37A"/>
          </a:solidFill>
        </p:spPr>
        <p:txBody>
          <a:bodyPr wrap="square" lIns="0" tIns="0" rIns="0" bIns="0" rtlCol="0">
            <a:noAutofit/>
          </a:bodyPr>
          <a:lstStyle/>
          <a:p>
            <a:endParaRPr/>
          </a:p>
        </p:txBody>
      </p:sp>
      <p:sp>
        <p:nvSpPr>
          <p:cNvPr id="588" name="object 588"/>
          <p:cNvSpPr/>
          <p:nvPr/>
        </p:nvSpPr>
        <p:spPr>
          <a:xfrm>
            <a:off x="7572376" y="5383276"/>
            <a:ext cx="188975" cy="30480"/>
          </a:xfrm>
          <a:custGeom>
            <a:avLst/>
            <a:gdLst/>
            <a:ahLst/>
            <a:cxnLst/>
            <a:rect l="l" t="t" r="r" b="b"/>
            <a:pathLst>
              <a:path w="188975" h="30479">
                <a:moveTo>
                  <a:pt x="0" y="30480"/>
                </a:moveTo>
                <a:lnTo>
                  <a:pt x="158369" y="30480"/>
                </a:lnTo>
                <a:lnTo>
                  <a:pt x="188975" y="0"/>
                </a:lnTo>
                <a:lnTo>
                  <a:pt x="30607" y="0"/>
                </a:lnTo>
                <a:lnTo>
                  <a:pt x="0" y="30480"/>
                </a:lnTo>
                <a:close/>
              </a:path>
            </a:pathLst>
          </a:custGeom>
          <a:solidFill>
            <a:srgbClr val="31D5AC"/>
          </a:solidFill>
        </p:spPr>
        <p:txBody>
          <a:bodyPr wrap="square" lIns="0" tIns="0" rIns="0" bIns="0" rtlCol="0">
            <a:noAutofit/>
          </a:bodyPr>
          <a:lstStyle/>
          <a:p>
            <a:endParaRPr/>
          </a:p>
        </p:txBody>
      </p:sp>
      <p:sp>
        <p:nvSpPr>
          <p:cNvPr id="589" name="object 589"/>
          <p:cNvSpPr/>
          <p:nvPr/>
        </p:nvSpPr>
        <p:spPr>
          <a:xfrm>
            <a:off x="7572376" y="5383276"/>
            <a:ext cx="188975" cy="122174"/>
          </a:xfrm>
          <a:custGeom>
            <a:avLst/>
            <a:gdLst/>
            <a:ahLst/>
            <a:cxnLst/>
            <a:rect l="l" t="t" r="r" b="b"/>
            <a:pathLst>
              <a:path w="188975" h="122174">
                <a:moveTo>
                  <a:pt x="0" y="30480"/>
                </a:moveTo>
                <a:lnTo>
                  <a:pt x="30607" y="0"/>
                </a:lnTo>
                <a:lnTo>
                  <a:pt x="188975" y="0"/>
                </a:lnTo>
                <a:lnTo>
                  <a:pt x="188975" y="91567"/>
                </a:lnTo>
                <a:lnTo>
                  <a:pt x="158369" y="122174"/>
                </a:lnTo>
                <a:lnTo>
                  <a:pt x="0" y="122174"/>
                </a:lnTo>
                <a:lnTo>
                  <a:pt x="0" y="30480"/>
                </a:lnTo>
                <a:close/>
              </a:path>
            </a:pathLst>
          </a:custGeom>
          <a:ln w="12700">
            <a:solidFill>
              <a:srgbClr val="FFFFFF"/>
            </a:solidFill>
          </a:ln>
        </p:spPr>
        <p:txBody>
          <a:bodyPr wrap="square" lIns="0" tIns="0" rIns="0" bIns="0" rtlCol="0">
            <a:noAutofit/>
          </a:bodyPr>
          <a:lstStyle/>
          <a:p>
            <a:endParaRPr/>
          </a:p>
        </p:txBody>
      </p:sp>
      <p:sp>
        <p:nvSpPr>
          <p:cNvPr id="590" name="object 590"/>
          <p:cNvSpPr/>
          <p:nvPr/>
        </p:nvSpPr>
        <p:spPr>
          <a:xfrm>
            <a:off x="7572376" y="5383276"/>
            <a:ext cx="188975" cy="30480"/>
          </a:xfrm>
          <a:custGeom>
            <a:avLst/>
            <a:gdLst/>
            <a:ahLst/>
            <a:cxnLst/>
            <a:rect l="l" t="t" r="r" b="b"/>
            <a:pathLst>
              <a:path w="188975" h="30479">
                <a:moveTo>
                  <a:pt x="0" y="30480"/>
                </a:moveTo>
                <a:lnTo>
                  <a:pt x="158369" y="30480"/>
                </a:lnTo>
                <a:lnTo>
                  <a:pt x="188975" y="0"/>
                </a:lnTo>
              </a:path>
            </a:pathLst>
          </a:custGeom>
          <a:ln w="12700">
            <a:solidFill>
              <a:srgbClr val="FFFFFF"/>
            </a:solidFill>
          </a:ln>
        </p:spPr>
        <p:txBody>
          <a:bodyPr wrap="square" lIns="0" tIns="0" rIns="0" bIns="0" rtlCol="0">
            <a:noAutofit/>
          </a:bodyPr>
          <a:lstStyle/>
          <a:p>
            <a:endParaRPr/>
          </a:p>
        </p:txBody>
      </p:sp>
      <p:sp>
        <p:nvSpPr>
          <p:cNvPr id="591" name="object 591"/>
          <p:cNvSpPr/>
          <p:nvPr/>
        </p:nvSpPr>
        <p:spPr>
          <a:xfrm>
            <a:off x="7730744" y="5413757"/>
            <a:ext cx="0" cy="91693"/>
          </a:xfrm>
          <a:custGeom>
            <a:avLst/>
            <a:gdLst/>
            <a:ahLst/>
            <a:cxnLst/>
            <a:rect l="l" t="t" r="r" b="b"/>
            <a:pathLst>
              <a:path h="91694">
                <a:moveTo>
                  <a:pt x="0" y="0"/>
                </a:moveTo>
                <a:lnTo>
                  <a:pt x="0" y="91694"/>
                </a:lnTo>
              </a:path>
            </a:pathLst>
          </a:custGeom>
          <a:ln w="12700">
            <a:solidFill>
              <a:srgbClr val="FFFFFF"/>
            </a:solidFill>
          </a:ln>
        </p:spPr>
        <p:txBody>
          <a:bodyPr wrap="square" lIns="0" tIns="0" rIns="0" bIns="0" rtlCol="0">
            <a:noAutofit/>
          </a:bodyPr>
          <a:lstStyle/>
          <a:p>
            <a:endParaRPr/>
          </a:p>
        </p:txBody>
      </p:sp>
      <p:sp>
        <p:nvSpPr>
          <p:cNvPr id="592" name="object 592"/>
          <p:cNvSpPr/>
          <p:nvPr/>
        </p:nvSpPr>
        <p:spPr>
          <a:xfrm>
            <a:off x="8685276" y="4136136"/>
            <a:ext cx="1149096" cy="950976"/>
          </a:xfrm>
          <a:prstGeom prst="rect">
            <a:avLst/>
          </a:prstGeom>
          <a:blipFill>
            <a:blip r:embed="rId7" cstate="print"/>
            <a:stretch>
              <a:fillRect/>
            </a:stretch>
          </a:blipFill>
        </p:spPr>
        <p:txBody>
          <a:bodyPr wrap="square" lIns="0" tIns="0" rIns="0" bIns="0" rtlCol="0">
            <a:noAutofit/>
          </a:bodyPr>
          <a:lstStyle/>
          <a:p>
            <a:endParaRPr/>
          </a:p>
        </p:txBody>
      </p:sp>
      <p:sp>
        <p:nvSpPr>
          <p:cNvPr id="593" name="object 593"/>
          <p:cNvSpPr/>
          <p:nvPr/>
        </p:nvSpPr>
        <p:spPr>
          <a:xfrm>
            <a:off x="8667751" y="4117976"/>
            <a:ext cx="1133475" cy="936625"/>
          </a:xfrm>
          <a:custGeom>
            <a:avLst/>
            <a:gdLst/>
            <a:ahLst/>
            <a:cxnLst/>
            <a:rect l="l" t="t" r="r" b="b"/>
            <a:pathLst>
              <a:path w="1133475" h="936625">
                <a:moveTo>
                  <a:pt x="0" y="936625"/>
                </a:moveTo>
                <a:lnTo>
                  <a:pt x="1133475" y="936625"/>
                </a:lnTo>
                <a:lnTo>
                  <a:pt x="1133475" y="0"/>
                </a:lnTo>
                <a:lnTo>
                  <a:pt x="0" y="0"/>
                </a:lnTo>
                <a:lnTo>
                  <a:pt x="0" y="936625"/>
                </a:lnTo>
                <a:close/>
              </a:path>
            </a:pathLst>
          </a:custGeom>
          <a:solidFill>
            <a:srgbClr val="608FFC"/>
          </a:solidFill>
        </p:spPr>
        <p:txBody>
          <a:bodyPr wrap="square" lIns="0" tIns="0" rIns="0" bIns="0" rtlCol="0">
            <a:noAutofit/>
          </a:bodyPr>
          <a:lstStyle/>
          <a:p>
            <a:endParaRPr/>
          </a:p>
        </p:txBody>
      </p:sp>
      <p:sp>
        <p:nvSpPr>
          <p:cNvPr id="594" name="object 594"/>
          <p:cNvSpPr/>
          <p:nvPr/>
        </p:nvSpPr>
        <p:spPr>
          <a:xfrm>
            <a:off x="8667751" y="4117976"/>
            <a:ext cx="1133475" cy="936625"/>
          </a:xfrm>
          <a:custGeom>
            <a:avLst/>
            <a:gdLst/>
            <a:ahLst/>
            <a:cxnLst/>
            <a:rect l="l" t="t" r="r" b="b"/>
            <a:pathLst>
              <a:path w="1133475" h="936625">
                <a:moveTo>
                  <a:pt x="0" y="936625"/>
                </a:moveTo>
                <a:lnTo>
                  <a:pt x="1133475" y="936625"/>
                </a:lnTo>
                <a:lnTo>
                  <a:pt x="1133475" y="0"/>
                </a:lnTo>
                <a:lnTo>
                  <a:pt x="0" y="0"/>
                </a:lnTo>
                <a:lnTo>
                  <a:pt x="0" y="936625"/>
                </a:lnTo>
                <a:close/>
              </a:path>
            </a:pathLst>
          </a:custGeom>
          <a:ln w="12700">
            <a:solidFill>
              <a:srgbClr val="FFFFFF"/>
            </a:solidFill>
          </a:ln>
        </p:spPr>
        <p:txBody>
          <a:bodyPr wrap="square" lIns="0" tIns="0" rIns="0" bIns="0" rtlCol="0">
            <a:noAutofit/>
          </a:bodyPr>
          <a:lstStyle/>
          <a:p>
            <a:endParaRPr/>
          </a:p>
        </p:txBody>
      </p:sp>
      <p:sp>
        <p:nvSpPr>
          <p:cNvPr id="595" name="object 595"/>
          <p:cNvSpPr/>
          <p:nvPr/>
        </p:nvSpPr>
        <p:spPr>
          <a:xfrm>
            <a:off x="8829091" y="4222890"/>
            <a:ext cx="512800" cy="456232"/>
          </a:xfrm>
          <a:custGeom>
            <a:avLst/>
            <a:gdLst/>
            <a:ahLst/>
            <a:cxnLst/>
            <a:rect l="l" t="t" r="r" b="b"/>
            <a:pathLst>
              <a:path w="512800" h="456232">
                <a:moveTo>
                  <a:pt x="506764" y="407906"/>
                </a:moveTo>
                <a:lnTo>
                  <a:pt x="506338" y="399607"/>
                </a:lnTo>
                <a:lnTo>
                  <a:pt x="505912" y="391187"/>
                </a:lnTo>
                <a:lnTo>
                  <a:pt x="505486" y="382766"/>
                </a:lnTo>
                <a:lnTo>
                  <a:pt x="505060" y="374346"/>
                </a:lnTo>
                <a:lnTo>
                  <a:pt x="504563" y="365803"/>
                </a:lnTo>
                <a:lnTo>
                  <a:pt x="504137" y="357322"/>
                </a:lnTo>
                <a:lnTo>
                  <a:pt x="503711" y="348718"/>
                </a:lnTo>
                <a:lnTo>
                  <a:pt x="503214" y="340175"/>
                </a:lnTo>
                <a:lnTo>
                  <a:pt x="502788" y="331572"/>
                </a:lnTo>
                <a:lnTo>
                  <a:pt x="502291" y="322968"/>
                </a:lnTo>
                <a:lnTo>
                  <a:pt x="501794" y="314365"/>
                </a:lnTo>
                <a:lnTo>
                  <a:pt x="501368" y="305761"/>
                </a:lnTo>
                <a:lnTo>
                  <a:pt x="500871" y="297219"/>
                </a:lnTo>
                <a:lnTo>
                  <a:pt x="500374" y="288615"/>
                </a:lnTo>
                <a:lnTo>
                  <a:pt x="499877" y="280134"/>
                </a:lnTo>
                <a:lnTo>
                  <a:pt x="499380" y="271591"/>
                </a:lnTo>
                <a:lnTo>
                  <a:pt x="498883" y="263171"/>
                </a:lnTo>
                <a:lnTo>
                  <a:pt x="498386" y="254750"/>
                </a:lnTo>
                <a:lnTo>
                  <a:pt x="497889" y="246330"/>
                </a:lnTo>
                <a:lnTo>
                  <a:pt x="497392" y="238031"/>
                </a:lnTo>
                <a:lnTo>
                  <a:pt x="496895" y="229794"/>
                </a:lnTo>
                <a:lnTo>
                  <a:pt x="496398" y="221617"/>
                </a:lnTo>
                <a:lnTo>
                  <a:pt x="495901" y="213502"/>
                </a:lnTo>
                <a:lnTo>
                  <a:pt x="495404" y="205508"/>
                </a:lnTo>
                <a:lnTo>
                  <a:pt x="494907" y="197515"/>
                </a:lnTo>
                <a:lnTo>
                  <a:pt x="494410" y="189705"/>
                </a:lnTo>
                <a:lnTo>
                  <a:pt x="494126" y="185128"/>
                </a:lnTo>
                <a:lnTo>
                  <a:pt x="493842" y="180552"/>
                </a:lnTo>
                <a:lnTo>
                  <a:pt x="493557" y="176037"/>
                </a:lnTo>
                <a:lnTo>
                  <a:pt x="493344" y="171582"/>
                </a:lnTo>
                <a:lnTo>
                  <a:pt x="493131" y="167067"/>
                </a:lnTo>
                <a:lnTo>
                  <a:pt x="492918" y="162613"/>
                </a:lnTo>
                <a:lnTo>
                  <a:pt x="492776" y="158158"/>
                </a:lnTo>
                <a:lnTo>
                  <a:pt x="492634" y="153643"/>
                </a:lnTo>
                <a:lnTo>
                  <a:pt x="492563" y="149189"/>
                </a:lnTo>
                <a:lnTo>
                  <a:pt x="492563" y="140158"/>
                </a:lnTo>
                <a:lnTo>
                  <a:pt x="492634" y="135643"/>
                </a:lnTo>
                <a:lnTo>
                  <a:pt x="492776" y="131066"/>
                </a:lnTo>
                <a:lnTo>
                  <a:pt x="492989" y="126490"/>
                </a:lnTo>
                <a:lnTo>
                  <a:pt x="493273" y="121853"/>
                </a:lnTo>
                <a:lnTo>
                  <a:pt x="493628" y="117154"/>
                </a:lnTo>
                <a:lnTo>
                  <a:pt x="494055" y="112395"/>
                </a:lnTo>
                <a:lnTo>
                  <a:pt x="494552" y="107574"/>
                </a:lnTo>
                <a:lnTo>
                  <a:pt x="495120" y="102693"/>
                </a:lnTo>
                <a:lnTo>
                  <a:pt x="495830" y="97751"/>
                </a:lnTo>
                <a:lnTo>
                  <a:pt x="496611" y="92747"/>
                </a:lnTo>
                <a:lnTo>
                  <a:pt x="497463" y="87621"/>
                </a:lnTo>
                <a:lnTo>
                  <a:pt x="498457" y="82435"/>
                </a:lnTo>
                <a:lnTo>
                  <a:pt x="499593" y="77187"/>
                </a:lnTo>
                <a:lnTo>
                  <a:pt x="500800" y="71757"/>
                </a:lnTo>
                <a:lnTo>
                  <a:pt x="502078" y="66265"/>
                </a:lnTo>
                <a:lnTo>
                  <a:pt x="503569" y="60651"/>
                </a:lnTo>
                <a:lnTo>
                  <a:pt x="505131" y="54916"/>
                </a:lnTo>
                <a:lnTo>
                  <a:pt x="506835" y="49119"/>
                </a:lnTo>
                <a:lnTo>
                  <a:pt x="508682" y="43139"/>
                </a:lnTo>
                <a:lnTo>
                  <a:pt x="510670" y="36976"/>
                </a:lnTo>
                <a:lnTo>
                  <a:pt x="512800" y="30753"/>
                </a:lnTo>
                <a:lnTo>
                  <a:pt x="504279" y="30814"/>
                </a:lnTo>
                <a:lnTo>
                  <a:pt x="495759" y="30875"/>
                </a:lnTo>
                <a:lnTo>
                  <a:pt x="487238" y="30997"/>
                </a:lnTo>
                <a:lnTo>
                  <a:pt x="478717" y="31119"/>
                </a:lnTo>
                <a:lnTo>
                  <a:pt x="470197" y="31302"/>
                </a:lnTo>
                <a:lnTo>
                  <a:pt x="461676" y="31424"/>
                </a:lnTo>
                <a:lnTo>
                  <a:pt x="453226" y="31607"/>
                </a:lnTo>
                <a:lnTo>
                  <a:pt x="444706" y="31790"/>
                </a:lnTo>
                <a:lnTo>
                  <a:pt x="436185" y="32034"/>
                </a:lnTo>
                <a:lnTo>
                  <a:pt x="427665" y="32217"/>
                </a:lnTo>
                <a:lnTo>
                  <a:pt x="419144" y="32400"/>
                </a:lnTo>
                <a:lnTo>
                  <a:pt x="410694" y="32644"/>
                </a:lnTo>
                <a:lnTo>
                  <a:pt x="402174" y="32827"/>
                </a:lnTo>
                <a:lnTo>
                  <a:pt x="393653" y="33010"/>
                </a:lnTo>
                <a:lnTo>
                  <a:pt x="385203" y="33193"/>
                </a:lnTo>
                <a:lnTo>
                  <a:pt x="376683" y="33376"/>
                </a:lnTo>
                <a:lnTo>
                  <a:pt x="368162" y="33559"/>
                </a:lnTo>
                <a:lnTo>
                  <a:pt x="359712" y="33681"/>
                </a:lnTo>
                <a:lnTo>
                  <a:pt x="351192" y="33804"/>
                </a:lnTo>
                <a:lnTo>
                  <a:pt x="342671" y="33926"/>
                </a:lnTo>
                <a:lnTo>
                  <a:pt x="334151" y="33987"/>
                </a:lnTo>
                <a:lnTo>
                  <a:pt x="325701" y="34048"/>
                </a:lnTo>
                <a:lnTo>
                  <a:pt x="300210" y="34048"/>
                </a:lnTo>
                <a:lnTo>
                  <a:pt x="291689" y="33926"/>
                </a:lnTo>
                <a:lnTo>
                  <a:pt x="283169" y="33804"/>
                </a:lnTo>
                <a:lnTo>
                  <a:pt x="274719" y="33681"/>
                </a:lnTo>
                <a:lnTo>
                  <a:pt x="266198" y="33437"/>
                </a:lnTo>
                <a:lnTo>
                  <a:pt x="257678" y="33193"/>
                </a:lnTo>
                <a:lnTo>
                  <a:pt x="249228" y="32888"/>
                </a:lnTo>
                <a:lnTo>
                  <a:pt x="240708" y="32522"/>
                </a:lnTo>
                <a:lnTo>
                  <a:pt x="232968" y="32095"/>
                </a:lnTo>
                <a:lnTo>
                  <a:pt x="225228" y="31607"/>
                </a:lnTo>
                <a:lnTo>
                  <a:pt x="217560" y="31058"/>
                </a:lnTo>
                <a:lnTo>
                  <a:pt x="209891" y="30387"/>
                </a:lnTo>
                <a:lnTo>
                  <a:pt x="202294" y="29654"/>
                </a:lnTo>
                <a:lnTo>
                  <a:pt x="194696" y="28800"/>
                </a:lnTo>
                <a:lnTo>
                  <a:pt x="187170" y="27946"/>
                </a:lnTo>
                <a:lnTo>
                  <a:pt x="179643" y="27031"/>
                </a:lnTo>
                <a:lnTo>
                  <a:pt x="172187" y="25993"/>
                </a:lnTo>
                <a:lnTo>
                  <a:pt x="164732" y="24956"/>
                </a:lnTo>
                <a:lnTo>
                  <a:pt x="157276" y="23919"/>
                </a:lnTo>
                <a:lnTo>
                  <a:pt x="149821" y="22759"/>
                </a:lnTo>
                <a:lnTo>
                  <a:pt x="142436" y="21600"/>
                </a:lnTo>
                <a:lnTo>
                  <a:pt x="134981" y="20441"/>
                </a:lnTo>
                <a:lnTo>
                  <a:pt x="127596" y="19220"/>
                </a:lnTo>
                <a:lnTo>
                  <a:pt x="120212" y="18000"/>
                </a:lnTo>
                <a:lnTo>
                  <a:pt x="112827" y="16779"/>
                </a:lnTo>
                <a:lnTo>
                  <a:pt x="105371" y="15498"/>
                </a:lnTo>
                <a:lnTo>
                  <a:pt x="97987" y="14278"/>
                </a:lnTo>
                <a:lnTo>
                  <a:pt x="90602" y="12996"/>
                </a:lnTo>
                <a:lnTo>
                  <a:pt x="83147" y="11776"/>
                </a:lnTo>
                <a:lnTo>
                  <a:pt x="75691" y="10556"/>
                </a:lnTo>
                <a:lnTo>
                  <a:pt x="68236" y="9335"/>
                </a:lnTo>
                <a:lnTo>
                  <a:pt x="60780" y="8115"/>
                </a:lnTo>
                <a:lnTo>
                  <a:pt x="53324" y="6956"/>
                </a:lnTo>
                <a:lnTo>
                  <a:pt x="45798" y="5796"/>
                </a:lnTo>
                <a:lnTo>
                  <a:pt x="38271" y="4698"/>
                </a:lnTo>
                <a:lnTo>
                  <a:pt x="30674" y="3661"/>
                </a:lnTo>
                <a:lnTo>
                  <a:pt x="23076" y="2684"/>
                </a:lnTo>
                <a:lnTo>
                  <a:pt x="15408" y="1708"/>
                </a:lnTo>
                <a:lnTo>
                  <a:pt x="7739" y="854"/>
                </a:lnTo>
                <a:lnTo>
                  <a:pt x="0" y="0"/>
                </a:lnTo>
                <a:lnTo>
                  <a:pt x="1136" y="6773"/>
                </a:lnTo>
                <a:lnTo>
                  <a:pt x="2272" y="13546"/>
                </a:lnTo>
                <a:lnTo>
                  <a:pt x="3550" y="20319"/>
                </a:lnTo>
                <a:lnTo>
                  <a:pt x="4828" y="27214"/>
                </a:lnTo>
                <a:lnTo>
                  <a:pt x="6177" y="34109"/>
                </a:lnTo>
                <a:lnTo>
                  <a:pt x="7597" y="41004"/>
                </a:lnTo>
                <a:lnTo>
                  <a:pt x="9088" y="47899"/>
                </a:lnTo>
                <a:lnTo>
                  <a:pt x="10579" y="54855"/>
                </a:lnTo>
                <a:lnTo>
                  <a:pt x="12070" y="61872"/>
                </a:lnTo>
                <a:lnTo>
                  <a:pt x="13633" y="68828"/>
                </a:lnTo>
                <a:lnTo>
                  <a:pt x="15195" y="75845"/>
                </a:lnTo>
                <a:lnTo>
                  <a:pt x="16757" y="82862"/>
                </a:lnTo>
                <a:lnTo>
                  <a:pt x="18390" y="89879"/>
                </a:lnTo>
                <a:lnTo>
                  <a:pt x="20023" y="96957"/>
                </a:lnTo>
                <a:lnTo>
                  <a:pt x="21585" y="103974"/>
                </a:lnTo>
                <a:lnTo>
                  <a:pt x="23218" y="111052"/>
                </a:lnTo>
                <a:lnTo>
                  <a:pt x="24780" y="118070"/>
                </a:lnTo>
                <a:lnTo>
                  <a:pt x="26413" y="125148"/>
                </a:lnTo>
                <a:lnTo>
                  <a:pt x="27976" y="132165"/>
                </a:lnTo>
                <a:lnTo>
                  <a:pt x="29467" y="139182"/>
                </a:lnTo>
                <a:lnTo>
                  <a:pt x="30958" y="146199"/>
                </a:lnTo>
                <a:lnTo>
                  <a:pt x="32449" y="153216"/>
                </a:lnTo>
                <a:lnTo>
                  <a:pt x="33869" y="160233"/>
                </a:lnTo>
                <a:lnTo>
                  <a:pt x="35289" y="167189"/>
                </a:lnTo>
                <a:lnTo>
                  <a:pt x="36638" y="174145"/>
                </a:lnTo>
                <a:lnTo>
                  <a:pt x="37916" y="181101"/>
                </a:lnTo>
                <a:lnTo>
                  <a:pt x="39123" y="187996"/>
                </a:lnTo>
                <a:lnTo>
                  <a:pt x="40260" y="194891"/>
                </a:lnTo>
                <a:lnTo>
                  <a:pt x="41396" y="201725"/>
                </a:lnTo>
                <a:lnTo>
                  <a:pt x="42390" y="208559"/>
                </a:lnTo>
                <a:lnTo>
                  <a:pt x="43313" y="215332"/>
                </a:lnTo>
                <a:lnTo>
                  <a:pt x="44165" y="222105"/>
                </a:lnTo>
                <a:lnTo>
                  <a:pt x="44875" y="228390"/>
                </a:lnTo>
                <a:lnTo>
                  <a:pt x="45514" y="234736"/>
                </a:lnTo>
                <a:lnTo>
                  <a:pt x="46153" y="241143"/>
                </a:lnTo>
                <a:lnTo>
                  <a:pt x="46721" y="247611"/>
                </a:lnTo>
                <a:lnTo>
                  <a:pt x="47218" y="254079"/>
                </a:lnTo>
                <a:lnTo>
                  <a:pt x="47715" y="260608"/>
                </a:lnTo>
                <a:lnTo>
                  <a:pt x="48070" y="267198"/>
                </a:lnTo>
                <a:lnTo>
                  <a:pt x="48425" y="273788"/>
                </a:lnTo>
                <a:lnTo>
                  <a:pt x="48709" y="280439"/>
                </a:lnTo>
                <a:lnTo>
                  <a:pt x="48922" y="287151"/>
                </a:lnTo>
                <a:lnTo>
                  <a:pt x="49064" y="293924"/>
                </a:lnTo>
                <a:lnTo>
                  <a:pt x="49206" y="300697"/>
                </a:lnTo>
                <a:lnTo>
                  <a:pt x="49206" y="307531"/>
                </a:lnTo>
                <a:lnTo>
                  <a:pt x="49135" y="314365"/>
                </a:lnTo>
                <a:lnTo>
                  <a:pt x="49064" y="321260"/>
                </a:lnTo>
                <a:lnTo>
                  <a:pt x="48851" y="328216"/>
                </a:lnTo>
                <a:lnTo>
                  <a:pt x="48638" y="335233"/>
                </a:lnTo>
                <a:lnTo>
                  <a:pt x="48283" y="342250"/>
                </a:lnTo>
                <a:lnTo>
                  <a:pt x="47857" y="349267"/>
                </a:lnTo>
                <a:lnTo>
                  <a:pt x="47360" y="356406"/>
                </a:lnTo>
                <a:lnTo>
                  <a:pt x="46792" y="363484"/>
                </a:lnTo>
                <a:lnTo>
                  <a:pt x="46153" y="370684"/>
                </a:lnTo>
                <a:lnTo>
                  <a:pt x="45443" y="377885"/>
                </a:lnTo>
                <a:lnTo>
                  <a:pt x="44662" y="385146"/>
                </a:lnTo>
                <a:lnTo>
                  <a:pt x="43739" y="392407"/>
                </a:lnTo>
                <a:lnTo>
                  <a:pt x="42745" y="399729"/>
                </a:lnTo>
                <a:lnTo>
                  <a:pt x="41680" y="407051"/>
                </a:lnTo>
                <a:lnTo>
                  <a:pt x="40544" y="414434"/>
                </a:lnTo>
                <a:lnTo>
                  <a:pt x="39265" y="421818"/>
                </a:lnTo>
                <a:lnTo>
                  <a:pt x="37916" y="429262"/>
                </a:lnTo>
                <a:lnTo>
                  <a:pt x="36496" y="436767"/>
                </a:lnTo>
                <a:lnTo>
                  <a:pt x="34934" y="444272"/>
                </a:lnTo>
                <a:lnTo>
                  <a:pt x="41254" y="443113"/>
                </a:lnTo>
                <a:lnTo>
                  <a:pt x="47431" y="442076"/>
                </a:lnTo>
                <a:lnTo>
                  <a:pt x="53680" y="441099"/>
                </a:lnTo>
                <a:lnTo>
                  <a:pt x="59786" y="440245"/>
                </a:lnTo>
                <a:lnTo>
                  <a:pt x="65963" y="439452"/>
                </a:lnTo>
                <a:lnTo>
                  <a:pt x="71999" y="438781"/>
                </a:lnTo>
                <a:lnTo>
                  <a:pt x="78105" y="438232"/>
                </a:lnTo>
                <a:lnTo>
                  <a:pt x="84141" y="437682"/>
                </a:lnTo>
                <a:lnTo>
                  <a:pt x="90176" y="437255"/>
                </a:lnTo>
                <a:lnTo>
                  <a:pt x="96141" y="436889"/>
                </a:lnTo>
                <a:lnTo>
                  <a:pt x="102176" y="436645"/>
                </a:lnTo>
                <a:lnTo>
                  <a:pt x="108212" y="436401"/>
                </a:lnTo>
                <a:lnTo>
                  <a:pt x="114176" y="436279"/>
                </a:lnTo>
                <a:lnTo>
                  <a:pt x="120212" y="436157"/>
                </a:lnTo>
                <a:lnTo>
                  <a:pt x="132282" y="436157"/>
                </a:lnTo>
                <a:lnTo>
                  <a:pt x="138318" y="436218"/>
                </a:lnTo>
                <a:lnTo>
                  <a:pt x="144424" y="436340"/>
                </a:lnTo>
                <a:lnTo>
                  <a:pt x="150531" y="436462"/>
                </a:lnTo>
                <a:lnTo>
                  <a:pt x="156708" y="436706"/>
                </a:lnTo>
                <a:lnTo>
                  <a:pt x="162957" y="436950"/>
                </a:lnTo>
                <a:lnTo>
                  <a:pt x="169134" y="437194"/>
                </a:lnTo>
                <a:lnTo>
                  <a:pt x="175454" y="437499"/>
                </a:lnTo>
                <a:lnTo>
                  <a:pt x="181844" y="437804"/>
                </a:lnTo>
                <a:lnTo>
                  <a:pt x="188235" y="438109"/>
                </a:lnTo>
                <a:lnTo>
                  <a:pt x="194696" y="438476"/>
                </a:lnTo>
                <a:lnTo>
                  <a:pt x="201229" y="438842"/>
                </a:lnTo>
                <a:lnTo>
                  <a:pt x="207832" y="439269"/>
                </a:lnTo>
                <a:lnTo>
                  <a:pt x="214578" y="439635"/>
                </a:lnTo>
                <a:lnTo>
                  <a:pt x="221323" y="440001"/>
                </a:lnTo>
                <a:lnTo>
                  <a:pt x="228211" y="440428"/>
                </a:lnTo>
                <a:lnTo>
                  <a:pt x="235169" y="440794"/>
                </a:lnTo>
                <a:lnTo>
                  <a:pt x="243690" y="441282"/>
                </a:lnTo>
                <a:lnTo>
                  <a:pt x="252281" y="441771"/>
                </a:lnTo>
                <a:lnTo>
                  <a:pt x="260802" y="442259"/>
                </a:lnTo>
                <a:lnTo>
                  <a:pt x="269323" y="442747"/>
                </a:lnTo>
                <a:lnTo>
                  <a:pt x="277914" y="443235"/>
                </a:lnTo>
                <a:lnTo>
                  <a:pt x="286435" y="443723"/>
                </a:lnTo>
                <a:lnTo>
                  <a:pt x="295027" y="444272"/>
                </a:lnTo>
                <a:lnTo>
                  <a:pt x="303547" y="444760"/>
                </a:lnTo>
                <a:lnTo>
                  <a:pt x="312139" y="445249"/>
                </a:lnTo>
                <a:lnTo>
                  <a:pt x="320660" y="445798"/>
                </a:lnTo>
                <a:lnTo>
                  <a:pt x="329251" y="446286"/>
                </a:lnTo>
                <a:lnTo>
                  <a:pt x="337772" y="446835"/>
                </a:lnTo>
                <a:lnTo>
                  <a:pt x="346363" y="447323"/>
                </a:lnTo>
                <a:lnTo>
                  <a:pt x="354884" y="447872"/>
                </a:lnTo>
                <a:lnTo>
                  <a:pt x="363476" y="448361"/>
                </a:lnTo>
                <a:lnTo>
                  <a:pt x="372067" y="448910"/>
                </a:lnTo>
                <a:lnTo>
                  <a:pt x="380588" y="449398"/>
                </a:lnTo>
                <a:lnTo>
                  <a:pt x="389180" y="449947"/>
                </a:lnTo>
                <a:lnTo>
                  <a:pt x="397700" y="450435"/>
                </a:lnTo>
                <a:lnTo>
                  <a:pt x="406292" y="450923"/>
                </a:lnTo>
                <a:lnTo>
                  <a:pt x="414884" y="451411"/>
                </a:lnTo>
                <a:lnTo>
                  <a:pt x="423404" y="451900"/>
                </a:lnTo>
                <a:lnTo>
                  <a:pt x="431996" y="452388"/>
                </a:lnTo>
                <a:lnTo>
                  <a:pt x="440588" y="452876"/>
                </a:lnTo>
                <a:lnTo>
                  <a:pt x="449108" y="453303"/>
                </a:lnTo>
                <a:lnTo>
                  <a:pt x="457700" y="453791"/>
                </a:lnTo>
                <a:lnTo>
                  <a:pt x="466291" y="454218"/>
                </a:lnTo>
                <a:lnTo>
                  <a:pt x="474812" y="454645"/>
                </a:lnTo>
                <a:lnTo>
                  <a:pt x="483404" y="455073"/>
                </a:lnTo>
                <a:lnTo>
                  <a:pt x="491995" y="455439"/>
                </a:lnTo>
                <a:lnTo>
                  <a:pt x="500516" y="455866"/>
                </a:lnTo>
                <a:lnTo>
                  <a:pt x="509108" y="456232"/>
                </a:lnTo>
                <a:lnTo>
                  <a:pt x="508753" y="448422"/>
                </a:lnTo>
                <a:lnTo>
                  <a:pt x="508327" y="440428"/>
                </a:lnTo>
                <a:lnTo>
                  <a:pt x="507972" y="432435"/>
                </a:lnTo>
                <a:lnTo>
                  <a:pt x="507546" y="424319"/>
                </a:lnTo>
                <a:lnTo>
                  <a:pt x="507191" y="416143"/>
                </a:lnTo>
                <a:lnTo>
                  <a:pt x="506764" y="407906"/>
                </a:lnTo>
                <a:close/>
              </a:path>
            </a:pathLst>
          </a:custGeom>
          <a:solidFill>
            <a:srgbClr val="999999"/>
          </a:solidFill>
        </p:spPr>
        <p:txBody>
          <a:bodyPr wrap="square" lIns="0" tIns="0" rIns="0" bIns="0" rtlCol="0">
            <a:noAutofit/>
          </a:bodyPr>
          <a:lstStyle/>
          <a:p>
            <a:endParaRPr/>
          </a:p>
        </p:txBody>
      </p:sp>
      <p:sp>
        <p:nvSpPr>
          <p:cNvPr id="596" name="object 596"/>
          <p:cNvSpPr/>
          <p:nvPr/>
        </p:nvSpPr>
        <p:spPr>
          <a:xfrm>
            <a:off x="8829091" y="4222890"/>
            <a:ext cx="512800" cy="456232"/>
          </a:xfrm>
          <a:custGeom>
            <a:avLst/>
            <a:gdLst/>
            <a:ahLst/>
            <a:cxnLst/>
            <a:rect l="l" t="t" r="r" b="b"/>
            <a:pathLst>
              <a:path w="512800" h="456232">
                <a:moveTo>
                  <a:pt x="0" y="0"/>
                </a:moveTo>
                <a:lnTo>
                  <a:pt x="7739" y="854"/>
                </a:lnTo>
                <a:lnTo>
                  <a:pt x="15408" y="1708"/>
                </a:lnTo>
                <a:lnTo>
                  <a:pt x="23076" y="2684"/>
                </a:lnTo>
                <a:lnTo>
                  <a:pt x="30674" y="3661"/>
                </a:lnTo>
                <a:lnTo>
                  <a:pt x="38271" y="4698"/>
                </a:lnTo>
                <a:lnTo>
                  <a:pt x="45798" y="5796"/>
                </a:lnTo>
                <a:lnTo>
                  <a:pt x="53324" y="6956"/>
                </a:lnTo>
                <a:lnTo>
                  <a:pt x="60780" y="8115"/>
                </a:lnTo>
                <a:lnTo>
                  <a:pt x="68236" y="9335"/>
                </a:lnTo>
                <a:lnTo>
                  <a:pt x="75691" y="10556"/>
                </a:lnTo>
                <a:lnTo>
                  <a:pt x="83147" y="11776"/>
                </a:lnTo>
                <a:lnTo>
                  <a:pt x="90602" y="12996"/>
                </a:lnTo>
                <a:lnTo>
                  <a:pt x="97987" y="14278"/>
                </a:lnTo>
                <a:lnTo>
                  <a:pt x="105371" y="15498"/>
                </a:lnTo>
                <a:lnTo>
                  <a:pt x="112827" y="16779"/>
                </a:lnTo>
                <a:lnTo>
                  <a:pt x="120212" y="18000"/>
                </a:lnTo>
                <a:lnTo>
                  <a:pt x="127596" y="19220"/>
                </a:lnTo>
                <a:lnTo>
                  <a:pt x="134981" y="20441"/>
                </a:lnTo>
                <a:lnTo>
                  <a:pt x="142436" y="21600"/>
                </a:lnTo>
                <a:lnTo>
                  <a:pt x="149821" y="22759"/>
                </a:lnTo>
                <a:lnTo>
                  <a:pt x="157276" y="23919"/>
                </a:lnTo>
                <a:lnTo>
                  <a:pt x="164732" y="24956"/>
                </a:lnTo>
                <a:lnTo>
                  <a:pt x="172187" y="25993"/>
                </a:lnTo>
                <a:lnTo>
                  <a:pt x="179643" y="27031"/>
                </a:lnTo>
                <a:lnTo>
                  <a:pt x="187170" y="27946"/>
                </a:lnTo>
                <a:lnTo>
                  <a:pt x="194696" y="28800"/>
                </a:lnTo>
                <a:lnTo>
                  <a:pt x="202294" y="29654"/>
                </a:lnTo>
                <a:lnTo>
                  <a:pt x="209891" y="30387"/>
                </a:lnTo>
                <a:lnTo>
                  <a:pt x="217560" y="31058"/>
                </a:lnTo>
                <a:lnTo>
                  <a:pt x="225228" y="31607"/>
                </a:lnTo>
                <a:lnTo>
                  <a:pt x="232968" y="32095"/>
                </a:lnTo>
                <a:lnTo>
                  <a:pt x="240708" y="32522"/>
                </a:lnTo>
                <a:lnTo>
                  <a:pt x="249228" y="32888"/>
                </a:lnTo>
                <a:lnTo>
                  <a:pt x="257678" y="33193"/>
                </a:lnTo>
                <a:lnTo>
                  <a:pt x="266198" y="33437"/>
                </a:lnTo>
                <a:lnTo>
                  <a:pt x="274719" y="33681"/>
                </a:lnTo>
                <a:lnTo>
                  <a:pt x="283169" y="33804"/>
                </a:lnTo>
                <a:lnTo>
                  <a:pt x="291689" y="33926"/>
                </a:lnTo>
                <a:lnTo>
                  <a:pt x="300210" y="34048"/>
                </a:lnTo>
                <a:lnTo>
                  <a:pt x="308660" y="34048"/>
                </a:lnTo>
                <a:lnTo>
                  <a:pt x="317180" y="34048"/>
                </a:lnTo>
                <a:lnTo>
                  <a:pt x="325701" y="34048"/>
                </a:lnTo>
                <a:lnTo>
                  <a:pt x="334151" y="33987"/>
                </a:lnTo>
                <a:lnTo>
                  <a:pt x="342671" y="33926"/>
                </a:lnTo>
                <a:lnTo>
                  <a:pt x="351192" y="33804"/>
                </a:lnTo>
                <a:lnTo>
                  <a:pt x="359712" y="33681"/>
                </a:lnTo>
                <a:lnTo>
                  <a:pt x="368162" y="33559"/>
                </a:lnTo>
                <a:lnTo>
                  <a:pt x="376683" y="33376"/>
                </a:lnTo>
                <a:lnTo>
                  <a:pt x="385203" y="33193"/>
                </a:lnTo>
                <a:lnTo>
                  <a:pt x="393653" y="33010"/>
                </a:lnTo>
                <a:lnTo>
                  <a:pt x="402174" y="32827"/>
                </a:lnTo>
                <a:lnTo>
                  <a:pt x="410694" y="32644"/>
                </a:lnTo>
                <a:lnTo>
                  <a:pt x="419144" y="32400"/>
                </a:lnTo>
                <a:lnTo>
                  <a:pt x="427665" y="32217"/>
                </a:lnTo>
                <a:lnTo>
                  <a:pt x="436185" y="32034"/>
                </a:lnTo>
                <a:lnTo>
                  <a:pt x="444706" y="31790"/>
                </a:lnTo>
                <a:lnTo>
                  <a:pt x="453226" y="31607"/>
                </a:lnTo>
                <a:lnTo>
                  <a:pt x="461676" y="31424"/>
                </a:lnTo>
                <a:lnTo>
                  <a:pt x="470197" y="31302"/>
                </a:lnTo>
                <a:lnTo>
                  <a:pt x="478717" y="31119"/>
                </a:lnTo>
                <a:lnTo>
                  <a:pt x="487238" y="30997"/>
                </a:lnTo>
                <a:lnTo>
                  <a:pt x="495759" y="30875"/>
                </a:lnTo>
                <a:lnTo>
                  <a:pt x="504279" y="30814"/>
                </a:lnTo>
                <a:lnTo>
                  <a:pt x="512800" y="30753"/>
                </a:lnTo>
                <a:lnTo>
                  <a:pt x="510670" y="36976"/>
                </a:lnTo>
                <a:lnTo>
                  <a:pt x="508682" y="43139"/>
                </a:lnTo>
                <a:lnTo>
                  <a:pt x="506835" y="49119"/>
                </a:lnTo>
                <a:lnTo>
                  <a:pt x="505131" y="54916"/>
                </a:lnTo>
                <a:lnTo>
                  <a:pt x="503569" y="60651"/>
                </a:lnTo>
                <a:lnTo>
                  <a:pt x="502078" y="66265"/>
                </a:lnTo>
                <a:lnTo>
                  <a:pt x="500800" y="71757"/>
                </a:lnTo>
                <a:lnTo>
                  <a:pt x="499593" y="77187"/>
                </a:lnTo>
                <a:lnTo>
                  <a:pt x="498457" y="82435"/>
                </a:lnTo>
                <a:lnTo>
                  <a:pt x="497463" y="87621"/>
                </a:lnTo>
                <a:lnTo>
                  <a:pt x="496611" y="92747"/>
                </a:lnTo>
                <a:lnTo>
                  <a:pt x="495830" y="97751"/>
                </a:lnTo>
                <a:lnTo>
                  <a:pt x="495120" y="102693"/>
                </a:lnTo>
                <a:lnTo>
                  <a:pt x="494552" y="107574"/>
                </a:lnTo>
                <a:lnTo>
                  <a:pt x="494055" y="112395"/>
                </a:lnTo>
                <a:lnTo>
                  <a:pt x="493628" y="117154"/>
                </a:lnTo>
                <a:lnTo>
                  <a:pt x="493273" y="121853"/>
                </a:lnTo>
                <a:lnTo>
                  <a:pt x="492989" y="126490"/>
                </a:lnTo>
                <a:lnTo>
                  <a:pt x="492776" y="131066"/>
                </a:lnTo>
                <a:lnTo>
                  <a:pt x="492634" y="135643"/>
                </a:lnTo>
                <a:lnTo>
                  <a:pt x="492563" y="140158"/>
                </a:lnTo>
                <a:lnTo>
                  <a:pt x="492563" y="144673"/>
                </a:lnTo>
                <a:lnTo>
                  <a:pt x="492563" y="149189"/>
                </a:lnTo>
                <a:lnTo>
                  <a:pt x="492634" y="153643"/>
                </a:lnTo>
                <a:lnTo>
                  <a:pt x="492776" y="158158"/>
                </a:lnTo>
                <a:lnTo>
                  <a:pt x="492918" y="162613"/>
                </a:lnTo>
                <a:lnTo>
                  <a:pt x="493131" y="167067"/>
                </a:lnTo>
                <a:lnTo>
                  <a:pt x="493344" y="171582"/>
                </a:lnTo>
                <a:lnTo>
                  <a:pt x="493557" y="176037"/>
                </a:lnTo>
                <a:lnTo>
                  <a:pt x="493842" y="180552"/>
                </a:lnTo>
                <a:lnTo>
                  <a:pt x="494126" y="185128"/>
                </a:lnTo>
                <a:lnTo>
                  <a:pt x="494410" y="189705"/>
                </a:lnTo>
                <a:lnTo>
                  <a:pt x="494907" y="197515"/>
                </a:lnTo>
                <a:lnTo>
                  <a:pt x="495404" y="205508"/>
                </a:lnTo>
                <a:lnTo>
                  <a:pt x="495901" y="213502"/>
                </a:lnTo>
                <a:lnTo>
                  <a:pt x="496398" y="221617"/>
                </a:lnTo>
                <a:lnTo>
                  <a:pt x="496895" y="229794"/>
                </a:lnTo>
                <a:lnTo>
                  <a:pt x="497392" y="238031"/>
                </a:lnTo>
                <a:lnTo>
                  <a:pt x="497889" y="246330"/>
                </a:lnTo>
                <a:lnTo>
                  <a:pt x="498386" y="254750"/>
                </a:lnTo>
                <a:lnTo>
                  <a:pt x="498883" y="263171"/>
                </a:lnTo>
                <a:lnTo>
                  <a:pt x="499380" y="271591"/>
                </a:lnTo>
                <a:lnTo>
                  <a:pt x="499877" y="280134"/>
                </a:lnTo>
                <a:lnTo>
                  <a:pt x="500374" y="288615"/>
                </a:lnTo>
                <a:lnTo>
                  <a:pt x="500871" y="297219"/>
                </a:lnTo>
                <a:lnTo>
                  <a:pt x="501368" y="305761"/>
                </a:lnTo>
                <a:lnTo>
                  <a:pt x="501794" y="314365"/>
                </a:lnTo>
                <a:lnTo>
                  <a:pt x="502291" y="322968"/>
                </a:lnTo>
                <a:lnTo>
                  <a:pt x="502788" y="331572"/>
                </a:lnTo>
                <a:lnTo>
                  <a:pt x="503214" y="340175"/>
                </a:lnTo>
                <a:lnTo>
                  <a:pt x="503711" y="348718"/>
                </a:lnTo>
                <a:lnTo>
                  <a:pt x="504137" y="357322"/>
                </a:lnTo>
                <a:lnTo>
                  <a:pt x="504563" y="365803"/>
                </a:lnTo>
                <a:lnTo>
                  <a:pt x="505060" y="374346"/>
                </a:lnTo>
                <a:lnTo>
                  <a:pt x="505486" y="382766"/>
                </a:lnTo>
                <a:lnTo>
                  <a:pt x="505912" y="391187"/>
                </a:lnTo>
                <a:lnTo>
                  <a:pt x="506338" y="399607"/>
                </a:lnTo>
                <a:lnTo>
                  <a:pt x="506764" y="407906"/>
                </a:lnTo>
                <a:lnTo>
                  <a:pt x="507191" y="416143"/>
                </a:lnTo>
                <a:lnTo>
                  <a:pt x="507546" y="424319"/>
                </a:lnTo>
                <a:lnTo>
                  <a:pt x="507972" y="432435"/>
                </a:lnTo>
                <a:lnTo>
                  <a:pt x="508327" y="440428"/>
                </a:lnTo>
                <a:lnTo>
                  <a:pt x="508753" y="448422"/>
                </a:lnTo>
                <a:lnTo>
                  <a:pt x="509108" y="456232"/>
                </a:lnTo>
                <a:lnTo>
                  <a:pt x="500516" y="455866"/>
                </a:lnTo>
                <a:lnTo>
                  <a:pt x="491995" y="455439"/>
                </a:lnTo>
                <a:lnTo>
                  <a:pt x="483404" y="455073"/>
                </a:lnTo>
                <a:lnTo>
                  <a:pt x="474812" y="454645"/>
                </a:lnTo>
                <a:lnTo>
                  <a:pt x="466291" y="454218"/>
                </a:lnTo>
                <a:lnTo>
                  <a:pt x="457700" y="453791"/>
                </a:lnTo>
                <a:lnTo>
                  <a:pt x="449108" y="453303"/>
                </a:lnTo>
                <a:lnTo>
                  <a:pt x="440588" y="452876"/>
                </a:lnTo>
                <a:lnTo>
                  <a:pt x="431996" y="452388"/>
                </a:lnTo>
                <a:lnTo>
                  <a:pt x="423404" y="451900"/>
                </a:lnTo>
                <a:lnTo>
                  <a:pt x="414884" y="451411"/>
                </a:lnTo>
                <a:lnTo>
                  <a:pt x="406292" y="450923"/>
                </a:lnTo>
                <a:lnTo>
                  <a:pt x="397700" y="450435"/>
                </a:lnTo>
                <a:lnTo>
                  <a:pt x="389180" y="449947"/>
                </a:lnTo>
                <a:lnTo>
                  <a:pt x="380588" y="449398"/>
                </a:lnTo>
                <a:lnTo>
                  <a:pt x="372067" y="448910"/>
                </a:lnTo>
                <a:lnTo>
                  <a:pt x="363476" y="448361"/>
                </a:lnTo>
                <a:lnTo>
                  <a:pt x="354884" y="447872"/>
                </a:lnTo>
                <a:lnTo>
                  <a:pt x="346363" y="447323"/>
                </a:lnTo>
                <a:lnTo>
                  <a:pt x="337772" y="446835"/>
                </a:lnTo>
                <a:lnTo>
                  <a:pt x="329251" y="446286"/>
                </a:lnTo>
                <a:lnTo>
                  <a:pt x="320660" y="445798"/>
                </a:lnTo>
                <a:lnTo>
                  <a:pt x="312139" y="445249"/>
                </a:lnTo>
                <a:lnTo>
                  <a:pt x="303547" y="444760"/>
                </a:lnTo>
                <a:lnTo>
                  <a:pt x="295027" y="444272"/>
                </a:lnTo>
                <a:lnTo>
                  <a:pt x="286435" y="443723"/>
                </a:lnTo>
                <a:lnTo>
                  <a:pt x="277914" y="443235"/>
                </a:lnTo>
                <a:lnTo>
                  <a:pt x="269323" y="442747"/>
                </a:lnTo>
                <a:lnTo>
                  <a:pt x="260802" y="442259"/>
                </a:lnTo>
                <a:lnTo>
                  <a:pt x="252281" y="441771"/>
                </a:lnTo>
                <a:lnTo>
                  <a:pt x="243690" y="441282"/>
                </a:lnTo>
                <a:lnTo>
                  <a:pt x="235169" y="440794"/>
                </a:lnTo>
                <a:lnTo>
                  <a:pt x="228211" y="440428"/>
                </a:lnTo>
                <a:lnTo>
                  <a:pt x="221323" y="440001"/>
                </a:lnTo>
                <a:lnTo>
                  <a:pt x="214578" y="439635"/>
                </a:lnTo>
                <a:lnTo>
                  <a:pt x="207832" y="439269"/>
                </a:lnTo>
                <a:lnTo>
                  <a:pt x="201229" y="438842"/>
                </a:lnTo>
                <a:lnTo>
                  <a:pt x="194696" y="438476"/>
                </a:lnTo>
                <a:lnTo>
                  <a:pt x="188235" y="438109"/>
                </a:lnTo>
                <a:lnTo>
                  <a:pt x="181844" y="437804"/>
                </a:lnTo>
                <a:lnTo>
                  <a:pt x="175454" y="437499"/>
                </a:lnTo>
                <a:lnTo>
                  <a:pt x="169134" y="437194"/>
                </a:lnTo>
                <a:lnTo>
                  <a:pt x="162957" y="436950"/>
                </a:lnTo>
                <a:lnTo>
                  <a:pt x="156708" y="436706"/>
                </a:lnTo>
                <a:lnTo>
                  <a:pt x="150531" y="436462"/>
                </a:lnTo>
                <a:lnTo>
                  <a:pt x="144424" y="436340"/>
                </a:lnTo>
                <a:lnTo>
                  <a:pt x="138318" y="436218"/>
                </a:lnTo>
                <a:lnTo>
                  <a:pt x="132282" y="436157"/>
                </a:lnTo>
                <a:lnTo>
                  <a:pt x="126247" y="436157"/>
                </a:lnTo>
                <a:lnTo>
                  <a:pt x="120212" y="436157"/>
                </a:lnTo>
                <a:lnTo>
                  <a:pt x="114176" y="436279"/>
                </a:lnTo>
                <a:lnTo>
                  <a:pt x="108212" y="436401"/>
                </a:lnTo>
                <a:lnTo>
                  <a:pt x="102176" y="436645"/>
                </a:lnTo>
                <a:lnTo>
                  <a:pt x="96141" y="436889"/>
                </a:lnTo>
                <a:lnTo>
                  <a:pt x="90176" y="437255"/>
                </a:lnTo>
                <a:lnTo>
                  <a:pt x="84141" y="437682"/>
                </a:lnTo>
                <a:lnTo>
                  <a:pt x="78105" y="438232"/>
                </a:lnTo>
                <a:lnTo>
                  <a:pt x="71999" y="438781"/>
                </a:lnTo>
                <a:lnTo>
                  <a:pt x="65963" y="439452"/>
                </a:lnTo>
                <a:lnTo>
                  <a:pt x="59786" y="440245"/>
                </a:lnTo>
                <a:lnTo>
                  <a:pt x="53680" y="441099"/>
                </a:lnTo>
                <a:lnTo>
                  <a:pt x="47431" y="442076"/>
                </a:lnTo>
                <a:lnTo>
                  <a:pt x="41254" y="443113"/>
                </a:lnTo>
                <a:lnTo>
                  <a:pt x="34934" y="444272"/>
                </a:lnTo>
                <a:lnTo>
                  <a:pt x="36496" y="436767"/>
                </a:lnTo>
                <a:lnTo>
                  <a:pt x="37916" y="429262"/>
                </a:lnTo>
                <a:lnTo>
                  <a:pt x="39265" y="421818"/>
                </a:lnTo>
                <a:lnTo>
                  <a:pt x="40544" y="414434"/>
                </a:lnTo>
                <a:lnTo>
                  <a:pt x="41680" y="407051"/>
                </a:lnTo>
                <a:lnTo>
                  <a:pt x="42745" y="399729"/>
                </a:lnTo>
                <a:lnTo>
                  <a:pt x="43739" y="392407"/>
                </a:lnTo>
                <a:lnTo>
                  <a:pt x="44662" y="385146"/>
                </a:lnTo>
                <a:lnTo>
                  <a:pt x="45443" y="377885"/>
                </a:lnTo>
                <a:lnTo>
                  <a:pt x="46153" y="370684"/>
                </a:lnTo>
                <a:lnTo>
                  <a:pt x="46792" y="363484"/>
                </a:lnTo>
                <a:lnTo>
                  <a:pt x="47360" y="356406"/>
                </a:lnTo>
                <a:lnTo>
                  <a:pt x="47857" y="349267"/>
                </a:lnTo>
                <a:lnTo>
                  <a:pt x="48283" y="342250"/>
                </a:lnTo>
                <a:lnTo>
                  <a:pt x="48638" y="335233"/>
                </a:lnTo>
                <a:lnTo>
                  <a:pt x="48851" y="328216"/>
                </a:lnTo>
                <a:lnTo>
                  <a:pt x="49064" y="321260"/>
                </a:lnTo>
                <a:lnTo>
                  <a:pt x="49135" y="314365"/>
                </a:lnTo>
                <a:lnTo>
                  <a:pt x="49206" y="307531"/>
                </a:lnTo>
                <a:lnTo>
                  <a:pt x="49206" y="300697"/>
                </a:lnTo>
                <a:lnTo>
                  <a:pt x="49064" y="293924"/>
                </a:lnTo>
                <a:lnTo>
                  <a:pt x="48922" y="287151"/>
                </a:lnTo>
                <a:lnTo>
                  <a:pt x="48709" y="280439"/>
                </a:lnTo>
                <a:lnTo>
                  <a:pt x="48425" y="273788"/>
                </a:lnTo>
                <a:lnTo>
                  <a:pt x="48070" y="267198"/>
                </a:lnTo>
                <a:lnTo>
                  <a:pt x="47715" y="260608"/>
                </a:lnTo>
                <a:lnTo>
                  <a:pt x="47218" y="254079"/>
                </a:lnTo>
                <a:lnTo>
                  <a:pt x="46721" y="247611"/>
                </a:lnTo>
                <a:lnTo>
                  <a:pt x="46153" y="241143"/>
                </a:lnTo>
                <a:lnTo>
                  <a:pt x="45514" y="234736"/>
                </a:lnTo>
                <a:lnTo>
                  <a:pt x="44875" y="228390"/>
                </a:lnTo>
                <a:lnTo>
                  <a:pt x="44165" y="222105"/>
                </a:lnTo>
                <a:lnTo>
                  <a:pt x="43313" y="215332"/>
                </a:lnTo>
                <a:lnTo>
                  <a:pt x="42390" y="208559"/>
                </a:lnTo>
                <a:lnTo>
                  <a:pt x="41396" y="201725"/>
                </a:lnTo>
                <a:lnTo>
                  <a:pt x="40260" y="194891"/>
                </a:lnTo>
                <a:lnTo>
                  <a:pt x="39123" y="187996"/>
                </a:lnTo>
                <a:lnTo>
                  <a:pt x="37916" y="181101"/>
                </a:lnTo>
                <a:lnTo>
                  <a:pt x="36638" y="174145"/>
                </a:lnTo>
                <a:lnTo>
                  <a:pt x="35289" y="167189"/>
                </a:lnTo>
                <a:lnTo>
                  <a:pt x="33869" y="160233"/>
                </a:lnTo>
                <a:lnTo>
                  <a:pt x="32449" y="153216"/>
                </a:lnTo>
                <a:lnTo>
                  <a:pt x="30958" y="146199"/>
                </a:lnTo>
                <a:lnTo>
                  <a:pt x="29467" y="139182"/>
                </a:lnTo>
                <a:lnTo>
                  <a:pt x="27976" y="132165"/>
                </a:lnTo>
                <a:lnTo>
                  <a:pt x="26413" y="125148"/>
                </a:lnTo>
                <a:lnTo>
                  <a:pt x="24780" y="118070"/>
                </a:lnTo>
                <a:lnTo>
                  <a:pt x="23218" y="111052"/>
                </a:lnTo>
                <a:lnTo>
                  <a:pt x="21585" y="103974"/>
                </a:lnTo>
                <a:lnTo>
                  <a:pt x="20023" y="96957"/>
                </a:lnTo>
                <a:lnTo>
                  <a:pt x="18390" y="89879"/>
                </a:lnTo>
                <a:lnTo>
                  <a:pt x="16757" y="82862"/>
                </a:lnTo>
                <a:lnTo>
                  <a:pt x="15195" y="75845"/>
                </a:lnTo>
                <a:lnTo>
                  <a:pt x="13633" y="68828"/>
                </a:lnTo>
                <a:lnTo>
                  <a:pt x="12070" y="61872"/>
                </a:lnTo>
                <a:lnTo>
                  <a:pt x="10579" y="54855"/>
                </a:lnTo>
                <a:lnTo>
                  <a:pt x="9088" y="47899"/>
                </a:lnTo>
                <a:lnTo>
                  <a:pt x="7597" y="41004"/>
                </a:lnTo>
                <a:lnTo>
                  <a:pt x="6177" y="34109"/>
                </a:lnTo>
                <a:lnTo>
                  <a:pt x="4828" y="27214"/>
                </a:lnTo>
                <a:lnTo>
                  <a:pt x="3550" y="20319"/>
                </a:lnTo>
                <a:lnTo>
                  <a:pt x="2272" y="13546"/>
                </a:lnTo>
                <a:lnTo>
                  <a:pt x="1136" y="6773"/>
                </a:lnTo>
                <a:lnTo>
                  <a:pt x="0" y="0"/>
                </a:lnTo>
              </a:path>
            </a:pathLst>
          </a:custGeom>
          <a:ln w="65">
            <a:solidFill>
              <a:srgbClr val="000000"/>
            </a:solidFill>
          </a:ln>
        </p:spPr>
        <p:txBody>
          <a:bodyPr wrap="square" lIns="0" tIns="0" rIns="0" bIns="0" rtlCol="0">
            <a:noAutofit/>
          </a:bodyPr>
          <a:lstStyle/>
          <a:p>
            <a:endParaRPr/>
          </a:p>
        </p:txBody>
      </p:sp>
      <p:sp>
        <p:nvSpPr>
          <p:cNvPr id="597" name="object 597"/>
          <p:cNvSpPr/>
          <p:nvPr/>
        </p:nvSpPr>
        <p:spPr>
          <a:xfrm>
            <a:off x="8802039" y="4230761"/>
            <a:ext cx="575143" cy="617564"/>
          </a:xfrm>
          <a:custGeom>
            <a:avLst/>
            <a:gdLst/>
            <a:ahLst/>
            <a:cxnLst/>
            <a:rect l="l" t="t" r="r" b="b"/>
            <a:pathLst>
              <a:path w="575143" h="617564">
                <a:moveTo>
                  <a:pt x="86129" y="562403"/>
                </a:moveTo>
                <a:lnTo>
                  <a:pt x="86981" y="573692"/>
                </a:lnTo>
                <a:lnTo>
                  <a:pt x="88046" y="584797"/>
                </a:lnTo>
                <a:lnTo>
                  <a:pt x="89395" y="595841"/>
                </a:lnTo>
                <a:lnTo>
                  <a:pt x="91028" y="606764"/>
                </a:lnTo>
                <a:lnTo>
                  <a:pt x="92946" y="617564"/>
                </a:lnTo>
                <a:lnTo>
                  <a:pt x="101679" y="614696"/>
                </a:lnTo>
                <a:lnTo>
                  <a:pt x="110271" y="611950"/>
                </a:lnTo>
                <a:lnTo>
                  <a:pt x="118792" y="609326"/>
                </a:lnTo>
                <a:lnTo>
                  <a:pt x="127170" y="606825"/>
                </a:lnTo>
                <a:lnTo>
                  <a:pt x="135407" y="604384"/>
                </a:lnTo>
                <a:lnTo>
                  <a:pt x="143572" y="602126"/>
                </a:lnTo>
                <a:lnTo>
                  <a:pt x="151667" y="599930"/>
                </a:lnTo>
                <a:lnTo>
                  <a:pt x="159620" y="597855"/>
                </a:lnTo>
                <a:lnTo>
                  <a:pt x="167501" y="595841"/>
                </a:lnTo>
                <a:lnTo>
                  <a:pt x="175312" y="593889"/>
                </a:lnTo>
                <a:lnTo>
                  <a:pt x="183051" y="592058"/>
                </a:lnTo>
                <a:lnTo>
                  <a:pt x="190791" y="590289"/>
                </a:lnTo>
                <a:lnTo>
                  <a:pt x="198460" y="588641"/>
                </a:lnTo>
                <a:lnTo>
                  <a:pt x="206057" y="586994"/>
                </a:lnTo>
                <a:lnTo>
                  <a:pt x="213584" y="585407"/>
                </a:lnTo>
                <a:lnTo>
                  <a:pt x="221110" y="583943"/>
                </a:lnTo>
                <a:lnTo>
                  <a:pt x="228637" y="582478"/>
                </a:lnTo>
                <a:lnTo>
                  <a:pt x="236163" y="581075"/>
                </a:lnTo>
                <a:lnTo>
                  <a:pt x="243690" y="579733"/>
                </a:lnTo>
                <a:lnTo>
                  <a:pt x="251145" y="578390"/>
                </a:lnTo>
                <a:lnTo>
                  <a:pt x="258672" y="577109"/>
                </a:lnTo>
                <a:lnTo>
                  <a:pt x="266199" y="575888"/>
                </a:lnTo>
                <a:lnTo>
                  <a:pt x="273725" y="574607"/>
                </a:lnTo>
                <a:lnTo>
                  <a:pt x="281323" y="573387"/>
                </a:lnTo>
                <a:lnTo>
                  <a:pt x="288920" y="572227"/>
                </a:lnTo>
                <a:lnTo>
                  <a:pt x="296589" y="571007"/>
                </a:lnTo>
                <a:lnTo>
                  <a:pt x="304328" y="569848"/>
                </a:lnTo>
                <a:lnTo>
                  <a:pt x="312068" y="568627"/>
                </a:lnTo>
                <a:lnTo>
                  <a:pt x="319950" y="567468"/>
                </a:lnTo>
                <a:lnTo>
                  <a:pt x="327831" y="566248"/>
                </a:lnTo>
                <a:lnTo>
                  <a:pt x="335855" y="565027"/>
                </a:lnTo>
                <a:lnTo>
                  <a:pt x="343949" y="563807"/>
                </a:lnTo>
                <a:lnTo>
                  <a:pt x="351547" y="562586"/>
                </a:lnTo>
                <a:lnTo>
                  <a:pt x="358790" y="561366"/>
                </a:lnTo>
                <a:lnTo>
                  <a:pt x="365819" y="560024"/>
                </a:lnTo>
                <a:lnTo>
                  <a:pt x="372636" y="558742"/>
                </a:lnTo>
                <a:lnTo>
                  <a:pt x="379239" y="557339"/>
                </a:lnTo>
                <a:lnTo>
                  <a:pt x="385630" y="555996"/>
                </a:lnTo>
                <a:lnTo>
                  <a:pt x="391878" y="554593"/>
                </a:lnTo>
                <a:lnTo>
                  <a:pt x="397984" y="553129"/>
                </a:lnTo>
                <a:lnTo>
                  <a:pt x="403949" y="551725"/>
                </a:lnTo>
                <a:lnTo>
                  <a:pt x="409913" y="550261"/>
                </a:lnTo>
                <a:lnTo>
                  <a:pt x="415736" y="548857"/>
                </a:lnTo>
                <a:lnTo>
                  <a:pt x="421629" y="547393"/>
                </a:lnTo>
                <a:lnTo>
                  <a:pt x="427452" y="545989"/>
                </a:lnTo>
                <a:lnTo>
                  <a:pt x="433345" y="544586"/>
                </a:lnTo>
                <a:lnTo>
                  <a:pt x="439310" y="543183"/>
                </a:lnTo>
                <a:lnTo>
                  <a:pt x="445345" y="541779"/>
                </a:lnTo>
                <a:lnTo>
                  <a:pt x="451522" y="540437"/>
                </a:lnTo>
                <a:lnTo>
                  <a:pt x="457771" y="539094"/>
                </a:lnTo>
                <a:lnTo>
                  <a:pt x="464232" y="537813"/>
                </a:lnTo>
                <a:lnTo>
                  <a:pt x="470836" y="536593"/>
                </a:lnTo>
                <a:lnTo>
                  <a:pt x="477723" y="535372"/>
                </a:lnTo>
                <a:lnTo>
                  <a:pt x="484824" y="534213"/>
                </a:lnTo>
                <a:lnTo>
                  <a:pt x="492209" y="533115"/>
                </a:lnTo>
                <a:lnTo>
                  <a:pt x="499877" y="532077"/>
                </a:lnTo>
                <a:lnTo>
                  <a:pt x="507830" y="531101"/>
                </a:lnTo>
                <a:lnTo>
                  <a:pt x="516208" y="530247"/>
                </a:lnTo>
                <a:lnTo>
                  <a:pt x="524942" y="529393"/>
                </a:lnTo>
                <a:lnTo>
                  <a:pt x="534031" y="528660"/>
                </a:lnTo>
                <a:lnTo>
                  <a:pt x="543616" y="527989"/>
                </a:lnTo>
                <a:lnTo>
                  <a:pt x="553628" y="527379"/>
                </a:lnTo>
                <a:lnTo>
                  <a:pt x="564137" y="526891"/>
                </a:lnTo>
                <a:lnTo>
                  <a:pt x="575143" y="526525"/>
                </a:lnTo>
                <a:lnTo>
                  <a:pt x="569675" y="517372"/>
                </a:lnTo>
                <a:lnTo>
                  <a:pt x="564634" y="508097"/>
                </a:lnTo>
                <a:lnTo>
                  <a:pt x="559806" y="498761"/>
                </a:lnTo>
                <a:lnTo>
                  <a:pt x="555403" y="489365"/>
                </a:lnTo>
                <a:lnTo>
                  <a:pt x="551285" y="479907"/>
                </a:lnTo>
                <a:lnTo>
                  <a:pt x="547380" y="470388"/>
                </a:lnTo>
                <a:lnTo>
                  <a:pt x="543829" y="460869"/>
                </a:lnTo>
                <a:lnTo>
                  <a:pt x="540421" y="451228"/>
                </a:lnTo>
                <a:lnTo>
                  <a:pt x="537368" y="441649"/>
                </a:lnTo>
                <a:lnTo>
                  <a:pt x="534457" y="431947"/>
                </a:lnTo>
                <a:lnTo>
                  <a:pt x="531758" y="422306"/>
                </a:lnTo>
                <a:lnTo>
                  <a:pt x="529273" y="412604"/>
                </a:lnTo>
                <a:lnTo>
                  <a:pt x="526930" y="402963"/>
                </a:lnTo>
                <a:lnTo>
                  <a:pt x="524800" y="393261"/>
                </a:lnTo>
                <a:lnTo>
                  <a:pt x="522741" y="383559"/>
                </a:lnTo>
                <a:lnTo>
                  <a:pt x="520824" y="373918"/>
                </a:lnTo>
                <a:lnTo>
                  <a:pt x="518978" y="364278"/>
                </a:lnTo>
                <a:lnTo>
                  <a:pt x="517273" y="354698"/>
                </a:lnTo>
                <a:lnTo>
                  <a:pt x="515640" y="345118"/>
                </a:lnTo>
                <a:lnTo>
                  <a:pt x="514078" y="335599"/>
                </a:lnTo>
                <a:lnTo>
                  <a:pt x="512516" y="326141"/>
                </a:lnTo>
                <a:lnTo>
                  <a:pt x="510954" y="316744"/>
                </a:lnTo>
                <a:lnTo>
                  <a:pt x="509463" y="307409"/>
                </a:lnTo>
                <a:lnTo>
                  <a:pt x="507901" y="298134"/>
                </a:lnTo>
                <a:lnTo>
                  <a:pt x="506339" y="288920"/>
                </a:lnTo>
                <a:lnTo>
                  <a:pt x="504776" y="279768"/>
                </a:lnTo>
                <a:lnTo>
                  <a:pt x="503072" y="270798"/>
                </a:lnTo>
                <a:lnTo>
                  <a:pt x="501368" y="261828"/>
                </a:lnTo>
                <a:lnTo>
                  <a:pt x="499522" y="253042"/>
                </a:lnTo>
                <a:lnTo>
                  <a:pt x="497605" y="244316"/>
                </a:lnTo>
                <a:lnTo>
                  <a:pt x="495546" y="235773"/>
                </a:lnTo>
                <a:lnTo>
                  <a:pt x="493345" y="227292"/>
                </a:lnTo>
                <a:lnTo>
                  <a:pt x="491498" y="219787"/>
                </a:lnTo>
                <a:lnTo>
                  <a:pt x="490007" y="212098"/>
                </a:lnTo>
                <a:lnTo>
                  <a:pt x="488800" y="204288"/>
                </a:lnTo>
                <a:lnTo>
                  <a:pt x="487948" y="196295"/>
                </a:lnTo>
                <a:lnTo>
                  <a:pt x="487380" y="188240"/>
                </a:lnTo>
                <a:lnTo>
                  <a:pt x="487025" y="180064"/>
                </a:lnTo>
                <a:lnTo>
                  <a:pt x="486954" y="171826"/>
                </a:lnTo>
                <a:lnTo>
                  <a:pt x="487096" y="163589"/>
                </a:lnTo>
                <a:lnTo>
                  <a:pt x="487522" y="155291"/>
                </a:lnTo>
                <a:lnTo>
                  <a:pt x="488161" y="147053"/>
                </a:lnTo>
                <a:lnTo>
                  <a:pt x="488942" y="138877"/>
                </a:lnTo>
                <a:lnTo>
                  <a:pt x="489936" y="130700"/>
                </a:lnTo>
                <a:lnTo>
                  <a:pt x="491143" y="122646"/>
                </a:lnTo>
                <a:lnTo>
                  <a:pt x="492422" y="114653"/>
                </a:lnTo>
                <a:lnTo>
                  <a:pt x="493913" y="106842"/>
                </a:lnTo>
                <a:lnTo>
                  <a:pt x="495475" y="99215"/>
                </a:lnTo>
                <a:lnTo>
                  <a:pt x="497179" y="91710"/>
                </a:lnTo>
                <a:lnTo>
                  <a:pt x="498954" y="84449"/>
                </a:lnTo>
                <a:lnTo>
                  <a:pt x="500871" y="77431"/>
                </a:lnTo>
                <a:lnTo>
                  <a:pt x="502788" y="70658"/>
                </a:lnTo>
                <a:lnTo>
                  <a:pt x="504776" y="64191"/>
                </a:lnTo>
                <a:lnTo>
                  <a:pt x="508895" y="52170"/>
                </a:lnTo>
                <a:lnTo>
                  <a:pt x="513013" y="41553"/>
                </a:lnTo>
                <a:lnTo>
                  <a:pt x="517060" y="32583"/>
                </a:lnTo>
                <a:lnTo>
                  <a:pt x="520966" y="25444"/>
                </a:lnTo>
                <a:lnTo>
                  <a:pt x="526149" y="18549"/>
                </a:lnTo>
                <a:lnTo>
                  <a:pt x="519901" y="14827"/>
                </a:lnTo>
                <a:lnTo>
                  <a:pt x="513368" y="11532"/>
                </a:lnTo>
                <a:lnTo>
                  <a:pt x="506481" y="8725"/>
                </a:lnTo>
                <a:lnTo>
                  <a:pt x="499380" y="6345"/>
                </a:lnTo>
                <a:lnTo>
                  <a:pt x="492067" y="4393"/>
                </a:lnTo>
                <a:lnTo>
                  <a:pt x="484469" y="2806"/>
                </a:lnTo>
                <a:lnTo>
                  <a:pt x="476658" y="1647"/>
                </a:lnTo>
                <a:lnTo>
                  <a:pt x="468706" y="793"/>
                </a:lnTo>
                <a:lnTo>
                  <a:pt x="460469" y="244"/>
                </a:lnTo>
                <a:lnTo>
                  <a:pt x="452162" y="0"/>
                </a:lnTo>
                <a:lnTo>
                  <a:pt x="443712" y="61"/>
                </a:lnTo>
                <a:lnTo>
                  <a:pt x="435120" y="305"/>
                </a:lnTo>
                <a:lnTo>
                  <a:pt x="426387" y="854"/>
                </a:lnTo>
                <a:lnTo>
                  <a:pt x="417582" y="1586"/>
                </a:lnTo>
                <a:lnTo>
                  <a:pt x="408706" y="2501"/>
                </a:lnTo>
                <a:lnTo>
                  <a:pt x="399831" y="3600"/>
                </a:lnTo>
                <a:lnTo>
                  <a:pt x="390813" y="4881"/>
                </a:lnTo>
                <a:lnTo>
                  <a:pt x="381866" y="6223"/>
                </a:lnTo>
                <a:lnTo>
                  <a:pt x="372920" y="7688"/>
                </a:lnTo>
                <a:lnTo>
                  <a:pt x="363902" y="9213"/>
                </a:lnTo>
                <a:lnTo>
                  <a:pt x="355026" y="10800"/>
                </a:lnTo>
                <a:lnTo>
                  <a:pt x="346151" y="12447"/>
                </a:lnTo>
                <a:lnTo>
                  <a:pt x="337346" y="14095"/>
                </a:lnTo>
                <a:lnTo>
                  <a:pt x="328612" y="15681"/>
                </a:lnTo>
                <a:lnTo>
                  <a:pt x="320021" y="17329"/>
                </a:lnTo>
                <a:lnTo>
                  <a:pt x="311571" y="18854"/>
                </a:lnTo>
                <a:lnTo>
                  <a:pt x="303192" y="20319"/>
                </a:lnTo>
                <a:lnTo>
                  <a:pt x="295027" y="21661"/>
                </a:lnTo>
                <a:lnTo>
                  <a:pt x="287003" y="22881"/>
                </a:lnTo>
                <a:lnTo>
                  <a:pt x="279193" y="23980"/>
                </a:lnTo>
                <a:lnTo>
                  <a:pt x="271666" y="24895"/>
                </a:lnTo>
                <a:lnTo>
                  <a:pt x="264281" y="25627"/>
                </a:lnTo>
                <a:lnTo>
                  <a:pt x="256755" y="25932"/>
                </a:lnTo>
                <a:lnTo>
                  <a:pt x="248944" y="26115"/>
                </a:lnTo>
                <a:lnTo>
                  <a:pt x="240921" y="26298"/>
                </a:lnTo>
                <a:lnTo>
                  <a:pt x="232755" y="26359"/>
                </a:lnTo>
                <a:lnTo>
                  <a:pt x="224447" y="26359"/>
                </a:lnTo>
                <a:lnTo>
                  <a:pt x="215927" y="26298"/>
                </a:lnTo>
                <a:lnTo>
                  <a:pt x="207264" y="26176"/>
                </a:lnTo>
                <a:lnTo>
                  <a:pt x="198531" y="25932"/>
                </a:lnTo>
                <a:lnTo>
                  <a:pt x="189655" y="25688"/>
                </a:lnTo>
                <a:lnTo>
                  <a:pt x="180708" y="25322"/>
                </a:lnTo>
                <a:lnTo>
                  <a:pt x="171691" y="24895"/>
                </a:lnTo>
                <a:lnTo>
                  <a:pt x="162673" y="24407"/>
                </a:lnTo>
                <a:lnTo>
                  <a:pt x="153584" y="23858"/>
                </a:lnTo>
                <a:lnTo>
                  <a:pt x="144495" y="23247"/>
                </a:lnTo>
                <a:lnTo>
                  <a:pt x="135407" y="22576"/>
                </a:lnTo>
                <a:lnTo>
                  <a:pt x="126389" y="21783"/>
                </a:lnTo>
                <a:lnTo>
                  <a:pt x="117371" y="20990"/>
                </a:lnTo>
                <a:lnTo>
                  <a:pt x="108425" y="20074"/>
                </a:lnTo>
                <a:lnTo>
                  <a:pt x="99549" y="19098"/>
                </a:lnTo>
                <a:lnTo>
                  <a:pt x="90815" y="18061"/>
                </a:lnTo>
                <a:lnTo>
                  <a:pt x="82153" y="16963"/>
                </a:lnTo>
                <a:lnTo>
                  <a:pt x="73632" y="15803"/>
                </a:lnTo>
                <a:lnTo>
                  <a:pt x="65254" y="14583"/>
                </a:lnTo>
                <a:lnTo>
                  <a:pt x="57088" y="13240"/>
                </a:lnTo>
                <a:lnTo>
                  <a:pt x="49135" y="11898"/>
                </a:lnTo>
                <a:lnTo>
                  <a:pt x="41325" y="10495"/>
                </a:lnTo>
                <a:lnTo>
                  <a:pt x="33798" y="8969"/>
                </a:lnTo>
                <a:lnTo>
                  <a:pt x="26485" y="7383"/>
                </a:lnTo>
                <a:lnTo>
                  <a:pt x="19384" y="5796"/>
                </a:lnTo>
                <a:lnTo>
                  <a:pt x="12639" y="4088"/>
                </a:lnTo>
                <a:lnTo>
                  <a:pt x="6177" y="2318"/>
                </a:lnTo>
                <a:lnTo>
                  <a:pt x="0" y="488"/>
                </a:lnTo>
                <a:lnTo>
                  <a:pt x="1420" y="5247"/>
                </a:lnTo>
                <a:lnTo>
                  <a:pt x="3124" y="10373"/>
                </a:lnTo>
                <a:lnTo>
                  <a:pt x="4970" y="15864"/>
                </a:lnTo>
                <a:lnTo>
                  <a:pt x="7029" y="21722"/>
                </a:lnTo>
                <a:lnTo>
                  <a:pt x="9301" y="27946"/>
                </a:lnTo>
                <a:lnTo>
                  <a:pt x="11716" y="34414"/>
                </a:lnTo>
                <a:lnTo>
                  <a:pt x="14272" y="41187"/>
                </a:lnTo>
                <a:lnTo>
                  <a:pt x="16899" y="48265"/>
                </a:lnTo>
                <a:lnTo>
                  <a:pt x="19739" y="55587"/>
                </a:lnTo>
                <a:lnTo>
                  <a:pt x="22650" y="63153"/>
                </a:lnTo>
                <a:lnTo>
                  <a:pt x="25633" y="70903"/>
                </a:lnTo>
                <a:lnTo>
                  <a:pt x="28686" y="78896"/>
                </a:lnTo>
                <a:lnTo>
                  <a:pt x="31810" y="87072"/>
                </a:lnTo>
                <a:lnTo>
                  <a:pt x="34934" y="95371"/>
                </a:lnTo>
                <a:lnTo>
                  <a:pt x="41396" y="112395"/>
                </a:lnTo>
                <a:lnTo>
                  <a:pt x="47786" y="129907"/>
                </a:lnTo>
                <a:lnTo>
                  <a:pt x="54106" y="147663"/>
                </a:lnTo>
                <a:lnTo>
                  <a:pt x="60141" y="165542"/>
                </a:lnTo>
                <a:lnTo>
                  <a:pt x="65893" y="183420"/>
                </a:lnTo>
                <a:lnTo>
                  <a:pt x="71076" y="201115"/>
                </a:lnTo>
                <a:lnTo>
                  <a:pt x="75762" y="218505"/>
                </a:lnTo>
                <a:lnTo>
                  <a:pt x="79739" y="235407"/>
                </a:lnTo>
                <a:lnTo>
                  <a:pt x="82863" y="251699"/>
                </a:lnTo>
                <a:lnTo>
                  <a:pt x="84567" y="262560"/>
                </a:lnTo>
                <a:lnTo>
                  <a:pt x="85987" y="273544"/>
                </a:lnTo>
                <a:lnTo>
                  <a:pt x="87123" y="284588"/>
                </a:lnTo>
                <a:lnTo>
                  <a:pt x="87975" y="295754"/>
                </a:lnTo>
                <a:lnTo>
                  <a:pt x="88685" y="307043"/>
                </a:lnTo>
                <a:lnTo>
                  <a:pt x="89182" y="318392"/>
                </a:lnTo>
                <a:lnTo>
                  <a:pt x="89466" y="329802"/>
                </a:lnTo>
                <a:lnTo>
                  <a:pt x="89608" y="341274"/>
                </a:lnTo>
                <a:lnTo>
                  <a:pt x="89537" y="352867"/>
                </a:lnTo>
                <a:lnTo>
                  <a:pt x="89395" y="364461"/>
                </a:lnTo>
                <a:lnTo>
                  <a:pt x="89182" y="376115"/>
                </a:lnTo>
                <a:lnTo>
                  <a:pt x="88827" y="387831"/>
                </a:lnTo>
                <a:lnTo>
                  <a:pt x="88401" y="399546"/>
                </a:lnTo>
                <a:lnTo>
                  <a:pt x="87975" y="411262"/>
                </a:lnTo>
                <a:lnTo>
                  <a:pt x="87478" y="423038"/>
                </a:lnTo>
                <a:lnTo>
                  <a:pt x="86981" y="434815"/>
                </a:lnTo>
                <a:lnTo>
                  <a:pt x="86484" y="446591"/>
                </a:lnTo>
                <a:lnTo>
                  <a:pt x="85987" y="458306"/>
                </a:lnTo>
                <a:lnTo>
                  <a:pt x="85561" y="470083"/>
                </a:lnTo>
                <a:lnTo>
                  <a:pt x="85206" y="481798"/>
                </a:lnTo>
                <a:lnTo>
                  <a:pt x="84922" y="493453"/>
                </a:lnTo>
                <a:lnTo>
                  <a:pt x="84780" y="505107"/>
                </a:lnTo>
                <a:lnTo>
                  <a:pt x="84709" y="516701"/>
                </a:lnTo>
                <a:lnTo>
                  <a:pt x="84851" y="528233"/>
                </a:lnTo>
                <a:lnTo>
                  <a:pt x="85064" y="539705"/>
                </a:lnTo>
                <a:lnTo>
                  <a:pt x="85490" y="551115"/>
                </a:lnTo>
                <a:lnTo>
                  <a:pt x="86129" y="562403"/>
                </a:lnTo>
                <a:close/>
              </a:path>
            </a:pathLst>
          </a:custGeom>
          <a:solidFill>
            <a:srgbClr val="CCCCCC"/>
          </a:solidFill>
        </p:spPr>
        <p:txBody>
          <a:bodyPr wrap="square" lIns="0" tIns="0" rIns="0" bIns="0" rtlCol="0">
            <a:noAutofit/>
          </a:bodyPr>
          <a:lstStyle/>
          <a:p>
            <a:endParaRPr/>
          </a:p>
        </p:txBody>
      </p:sp>
      <p:sp>
        <p:nvSpPr>
          <p:cNvPr id="598" name="object 598"/>
          <p:cNvSpPr/>
          <p:nvPr/>
        </p:nvSpPr>
        <p:spPr>
          <a:xfrm>
            <a:off x="8802039" y="4230761"/>
            <a:ext cx="575143" cy="617564"/>
          </a:xfrm>
          <a:custGeom>
            <a:avLst/>
            <a:gdLst/>
            <a:ahLst/>
            <a:cxnLst/>
            <a:rect l="l" t="t" r="r" b="b"/>
            <a:pathLst>
              <a:path w="575143" h="617564">
                <a:moveTo>
                  <a:pt x="0" y="488"/>
                </a:moveTo>
                <a:lnTo>
                  <a:pt x="6177" y="2318"/>
                </a:lnTo>
                <a:lnTo>
                  <a:pt x="12639" y="4088"/>
                </a:lnTo>
                <a:lnTo>
                  <a:pt x="19384" y="5796"/>
                </a:lnTo>
                <a:lnTo>
                  <a:pt x="26485" y="7383"/>
                </a:lnTo>
                <a:lnTo>
                  <a:pt x="33798" y="8969"/>
                </a:lnTo>
                <a:lnTo>
                  <a:pt x="41325" y="10495"/>
                </a:lnTo>
                <a:lnTo>
                  <a:pt x="49135" y="11898"/>
                </a:lnTo>
                <a:lnTo>
                  <a:pt x="57088" y="13240"/>
                </a:lnTo>
                <a:lnTo>
                  <a:pt x="65254" y="14583"/>
                </a:lnTo>
                <a:lnTo>
                  <a:pt x="73632" y="15803"/>
                </a:lnTo>
                <a:lnTo>
                  <a:pt x="82153" y="16963"/>
                </a:lnTo>
                <a:lnTo>
                  <a:pt x="90815" y="18061"/>
                </a:lnTo>
                <a:lnTo>
                  <a:pt x="99549" y="19098"/>
                </a:lnTo>
                <a:lnTo>
                  <a:pt x="108425" y="20074"/>
                </a:lnTo>
                <a:lnTo>
                  <a:pt x="117371" y="20990"/>
                </a:lnTo>
                <a:lnTo>
                  <a:pt x="126389" y="21783"/>
                </a:lnTo>
                <a:lnTo>
                  <a:pt x="135407" y="22576"/>
                </a:lnTo>
                <a:lnTo>
                  <a:pt x="144495" y="23247"/>
                </a:lnTo>
                <a:lnTo>
                  <a:pt x="153584" y="23858"/>
                </a:lnTo>
                <a:lnTo>
                  <a:pt x="162673" y="24407"/>
                </a:lnTo>
                <a:lnTo>
                  <a:pt x="171691" y="24895"/>
                </a:lnTo>
                <a:lnTo>
                  <a:pt x="180708" y="25322"/>
                </a:lnTo>
                <a:lnTo>
                  <a:pt x="189655" y="25688"/>
                </a:lnTo>
                <a:lnTo>
                  <a:pt x="198531" y="25932"/>
                </a:lnTo>
                <a:lnTo>
                  <a:pt x="207264" y="26176"/>
                </a:lnTo>
                <a:lnTo>
                  <a:pt x="215927" y="26298"/>
                </a:lnTo>
                <a:lnTo>
                  <a:pt x="224447" y="26359"/>
                </a:lnTo>
                <a:lnTo>
                  <a:pt x="232755" y="26359"/>
                </a:lnTo>
                <a:lnTo>
                  <a:pt x="240921" y="26298"/>
                </a:lnTo>
                <a:lnTo>
                  <a:pt x="248944" y="26115"/>
                </a:lnTo>
                <a:lnTo>
                  <a:pt x="256755" y="25932"/>
                </a:lnTo>
                <a:lnTo>
                  <a:pt x="264281" y="25627"/>
                </a:lnTo>
                <a:lnTo>
                  <a:pt x="271666" y="24895"/>
                </a:lnTo>
                <a:lnTo>
                  <a:pt x="279193" y="23980"/>
                </a:lnTo>
                <a:lnTo>
                  <a:pt x="287003" y="22881"/>
                </a:lnTo>
                <a:lnTo>
                  <a:pt x="295027" y="21661"/>
                </a:lnTo>
                <a:lnTo>
                  <a:pt x="303192" y="20319"/>
                </a:lnTo>
                <a:lnTo>
                  <a:pt x="311571" y="18854"/>
                </a:lnTo>
                <a:lnTo>
                  <a:pt x="320021" y="17329"/>
                </a:lnTo>
                <a:lnTo>
                  <a:pt x="328612" y="15681"/>
                </a:lnTo>
                <a:lnTo>
                  <a:pt x="337346" y="14095"/>
                </a:lnTo>
                <a:lnTo>
                  <a:pt x="346151" y="12447"/>
                </a:lnTo>
                <a:lnTo>
                  <a:pt x="355026" y="10800"/>
                </a:lnTo>
                <a:lnTo>
                  <a:pt x="363902" y="9213"/>
                </a:lnTo>
                <a:lnTo>
                  <a:pt x="372920" y="7688"/>
                </a:lnTo>
                <a:lnTo>
                  <a:pt x="381866" y="6223"/>
                </a:lnTo>
                <a:lnTo>
                  <a:pt x="390813" y="4881"/>
                </a:lnTo>
                <a:lnTo>
                  <a:pt x="399831" y="3600"/>
                </a:lnTo>
                <a:lnTo>
                  <a:pt x="408706" y="2501"/>
                </a:lnTo>
                <a:lnTo>
                  <a:pt x="417582" y="1586"/>
                </a:lnTo>
                <a:lnTo>
                  <a:pt x="426387" y="854"/>
                </a:lnTo>
                <a:lnTo>
                  <a:pt x="435120" y="305"/>
                </a:lnTo>
                <a:lnTo>
                  <a:pt x="443712" y="61"/>
                </a:lnTo>
                <a:lnTo>
                  <a:pt x="452162" y="0"/>
                </a:lnTo>
                <a:lnTo>
                  <a:pt x="460469" y="244"/>
                </a:lnTo>
                <a:lnTo>
                  <a:pt x="468706" y="793"/>
                </a:lnTo>
                <a:lnTo>
                  <a:pt x="476658" y="1647"/>
                </a:lnTo>
                <a:lnTo>
                  <a:pt x="484469" y="2806"/>
                </a:lnTo>
                <a:lnTo>
                  <a:pt x="492067" y="4393"/>
                </a:lnTo>
                <a:lnTo>
                  <a:pt x="499380" y="6345"/>
                </a:lnTo>
                <a:lnTo>
                  <a:pt x="506481" y="8725"/>
                </a:lnTo>
                <a:lnTo>
                  <a:pt x="513368" y="11532"/>
                </a:lnTo>
                <a:lnTo>
                  <a:pt x="519901" y="14827"/>
                </a:lnTo>
                <a:lnTo>
                  <a:pt x="526149" y="18549"/>
                </a:lnTo>
                <a:lnTo>
                  <a:pt x="520966" y="25444"/>
                </a:lnTo>
                <a:lnTo>
                  <a:pt x="517060" y="32583"/>
                </a:lnTo>
                <a:lnTo>
                  <a:pt x="513013" y="41553"/>
                </a:lnTo>
                <a:lnTo>
                  <a:pt x="508895" y="52170"/>
                </a:lnTo>
                <a:lnTo>
                  <a:pt x="504776" y="64191"/>
                </a:lnTo>
                <a:lnTo>
                  <a:pt x="500871" y="77431"/>
                </a:lnTo>
                <a:lnTo>
                  <a:pt x="498954" y="84449"/>
                </a:lnTo>
                <a:lnTo>
                  <a:pt x="497179" y="91710"/>
                </a:lnTo>
                <a:lnTo>
                  <a:pt x="495475" y="99215"/>
                </a:lnTo>
                <a:lnTo>
                  <a:pt x="493913" y="106842"/>
                </a:lnTo>
                <a:lnTo>
                  <a:pt x="492422" y="114653"/>
                </a:lnTo>
                <a:lnTo>
                  <a:pt x="491143" y="122646"/>
                </a:lnTo>
                <a:lnTo>
                  <a:pt x="489936" y="130700"/>
                </a:lnTo>
                <a:lnTo>
                  <a:pt x="488942" y="138877"/>
                </a:lnTo>
                <a:lnTo>
                  <a:pt x="488161" y="147053"/>
                </a:lnTo>
                <a:lnTo>
                  <a:pt x="487522" y="155291"/>
                </a:lnTo>
                <a:lnTo>
                  <a:pt x="487096" y="163589"/>
                </a:lnTo>
                <a:lnTo>
                  <a:pt x="486954" y="171826"/>
                </a:lnTo>
                <a:lnTo>
                  <a:pt x="487025" y="180064"/>
                </a:lnTo>
                <a:lnTo>
                  <a:pt x="487380" y="188240"/>
                </a:lnTo>
                <a:lnTo>
                  <a:pt x="487948" y="196295"/>
                </a:lnTo>
                <a:lnTo>
                  <a:pt x="488800" y="204288"/>
                </a:lnTo>
                <a:lnTo>
                  <a:pt x="490007" y="212098"/>
                </a:lnTo>
                <a:lnTo>
                  <a:pt x="491498" y="219787"/>
                </a:lnTo>
                <a:lnTo>
                  <a:pt x="493345" y="227292"/>
                </a:lnTo>
                <a:lnTo>
                  <a:pt x="495546" y="235773"/>
                </a:lnTo>
                <a:lnTo>
                  <a:pt x="497605" y="244316"/>
                </a:lnTo>
                <a:lnTo>
                  <a:pt x="499522" y="253042"/>
                </a:lnTo>
                <a:lnTo>
                  <a:pt x="501368" y="261828"/>
                </a:lnTo>
                <a:lnTo>
                  <a:pt x="503072" y="270798"/>
                </a:lnTo>
                <a:lnTo>
                  <a:pt x="504776" y="279768"/>
                </a:lnTo>
                <a:lnTo>
                  <a:pt x="506339" y="288920"/>
                </a:lnTo>
                <a:lnTo>
                  <a:pt x="507901" y="298134"/>
                </a:lnTo>
                <a:lnTo>
                  <a:pt x="509463" y="307409"/>
                </a:lnTo>
                <a:lnTo>
                  <a:pt x="510954" y="316744"/>
                </a:lnTo>
                <a:lnTo>
                  <a:pt x="512516" y="326141"/>
                </a:lnTo>
                <a:lnTo>
                  <a:pt x="514078" y="335599"/>
                </a:lnTo>
                <a:lnTo>
                  <a:pt x="515640" y="345118"/>
                </a:lnTo>
                <a:lnTo>
                  <a:pt x="517273" y="354698"/>
                </a:lnTo>
                <a:lnTo>
                  <a:pt x="518978" y="364278"/>
                </a:lnTo>
                <a:lnTo>
                  <a:pt x="520824" y="373918"/>
                </a:lnTo>
                <a:lnTo>
                  <a:pt x="522741" y="383559"/>
                </a:lnTo>
                <a:lnTo>
                  <a:pt x="524800" y="393261"/>
                </a:lnTo>
                <a:lnTo>
                  <a:pt x="526930" y="402963"/>
                </a:lnTo>
                <a:lnTo>
                  <a:pt x="529273" y="412604"/>
                </a:lnTo>
                <a:lnTo>
                  <a:pt x="531758" y="422306"/>
                </a:lnTo>
                <a:lnTo>
                  <a:pt x="534457" y="431947"/>
                </a:lnTo>
                <a:lnTo>
                  <a:pt x="537368" y="441649"/>
                </a:lnTo>
                <a:lnTo>
                  <a:pt x="540421" y="451228"/>
                </a:lnTo>
                <a:lnTo>
                  <a:pt x="543829" y="460869"/>
                </a:lnTo>
                <a:lnTo>
                  <a:pt x="547380" y="470388"/>
                </a:lnTo>
                <a:lnTo>
                  <a:pt x="551285" y="479907"/>
                </a:lnTo>
                <a:lnTo>
                  <a:pt x="555403" y="489365"/>
                </a:lnTo>
                <a:lnTo>
                  <a:pt x="559806" y="498761"/>
                </a:lnTo>
                <a:lnTo>
                  <a:pt x="564634" y="508097"/>
                </a:lnTo>
                <a:lnTo>
                  <a:pt x="569675" y="517372"/>
                </a:lnTo>
                <a:lnTo>
                  <a:pt x="575143" y="526525"/>
                </a:lnTo>
                <a:lnTo>
                  <a:pt x="564137" y="526891"/>
                </a:lnTo>
                <a:lnTo>
                  <a:pt x="553628" y="527379"/>
                </a:lnTo>
                <a:lnTo>
                  <a:pt x="543616" y="527989"/>
                </a:lnTo>
                <a:lnTo>
                  <a:pt x="534031" y="528660"/>
                </a:lnTo>
                <a:lnTo>
                  <a:pt x="524942" y="529393"/>
                </a:lnTo>
                <a:lnTo>
                  <a:pt x="516208" y="530247"/>
                </a:lnTo>
                <a:lnTo>
                  <a:pt x="507830" y="531101"/>
                </a:lnTo>
                <a:lnTo>
                  <a:pt x="499877" y="532077"/>
                </a:lnTo>
                <a:lnTo>
                  <a:pt x="492209" y="533115"/>
                </a:lnTo>
                <a:lnTo>
                  <a:pt x="484824" y="534213"/>
                </a:lnTo>
                <a:lnTo>
                  <a:pt x="477723" y="535372"/>
                </a:lnTo>
                <a:lnTo>
                  <a:pt x="470836" y="536593"/>
                </a:lnTo>
                <a:lnTo>
                  <a:pt x="464232" y="537813"/>
                </a:lnTo>
                <a:lnTo>
                  <a:pt x="457771" y="539094"/>
                </a:lnTo>
                <a:lnTo>
                  <a:pt x="451522" y="540437"/>
                </a:lnTo>
                <a:lnTo>
                  <a:pt x="445345" y="541779"/>
                </a:lnTo>
                <a:lnTo>
                  <a:pt x="439310" y="543183"/>
                </a:lnTo>
                <a:lnTo>
                  <a:pt x="433345" y="544586"/>
                </a:lnTo>
                <a:lnTo>
                  <a:pt x="427452" y="545989"/>
                </a:lnTo>
                <a:lnTo>
                  <a:pt x="421629" y="547393"/>
                </a:lnTo>
                <a:lnTo>
                  <a:pt x="415736" y="548857"/>
                </a:lnTo>
                <a:lnTo>
                  <a:pt x="409913" y="550261"/>
                </a:lnTo>
                <a:lnTo>
                  <a:pt x="403949" y="551725"/>
                </a:lnTo>
                <a:lnTo>
                  <a:pt x="397984" y="553129"/>
                </a:lnTo>
                <a:lnTo>
                  <a:pt x="391878" y="554593"/>
                </a:lnTo>
                <a:lnTo>
                  <a:pt x="385630" y="555996"/>
                </a:lnTo>
                <a:lnTo>
                  <a:pt x="379239" y="557339"/>
                </a:lnTo>
                <a:lnTo>
                  <a:pt x="372636" y="558742"/>
                </a:lnTo>
                <a:lnTo>
                  <a:pt x="365819" y="560024"/>
                </a:lnTo>
                <a:lnTo>
                  <a:pt x="358790" y="561366"/>
                </a:lnTo>
                <a:lnTo>
                  <a:pt x="351547" y="562586"/>
                </a:lnTo>
                <a:lnTo>
                  <a:pt x="343949" y="563807"/>
                </a:lnTo>
                <a:lnTo>
                  <a:pt x="335855" y="565027"/>
                </a:lnTo>
                <a:lnTo>
                  <a:pt x="327831" y="566248"/>
                </a:lnTo>
                <a:lnTo>
                  <a:pt x="319950" y="567468"/>
                </a:lnTo>
                <a:lnTo>
                  <a:pt x="312068" y="568627"/>
                </a:lnTo>
                <a:lnTo>
                  <a:pt x="304328" y="569848"/>
                </a:lnTo>
                <a:lnTo>
                  <a:pt x="296589" y="571007"/>
                </a:lnTo>
                <a:lnTo>
                  <a:pt x="288920" y="572227"/>
                </a:lnTo>
                <a:lnTo>
                  <a:pt x="281323" y="573387"/>
                </a:lnTo>
                <a:lnTo>
                  <a:pt x="273725" y="574607"/>
                </a:lnTo>
                <a:lnTo>
                  <a:pt x="266199" y="575888"/>
                </a:lnTo>
                <a:lnTo>
                  <a:pt x="258672" y="577109"/>
                </a:lnTo>
                <a:lnTo>
                  <a:pt x="251145" y="578390"/>
                </a:lnTo>
                <a:lnTo>
                  <a:pt x="243690" y="579733"/>
                </a:lnTo>
                <a:lnTo>
                  <a:pt x="236163" y="581075"/>
                </a:lnTo>
                <a:lnTo>
                  <a:pt x="228637" y="582478"/>
                </a:lnTo>
                <a:lnTo>
                  <a:pt x="221110" y="583943"/>
                </a:lnTo>
                <a:lnTo>
                  <a:pt x="213584" y="585407"/>
                </a:lnTo>
                <a:lnTo>
                  <a:pt x="206057" y="586994"/>
                </a:lnTo>
                <a:lnTo>
                  <a:pt x="198460" y="588641"/>
                </a:lnTo>
                <a:lnTo>
                  <a:pt x="190791" y="590289"/>
                </a:lnTo>
                <a:lnTo>
                  <a:pt x="183051" y="592058"/>
                </a:lnTo>
                <a:lnTo>
                  <a:pt x="175312" y="593889"/>
                </a:lnTo>
                <a:lnTo>
                  <a:pt x="167501" y="595841"/>
                </a:lnTo>
                <a:lnTo>
                  <a:pt x="159620" y="597855"/>
                </a:lnTo>
                <a:lnTo>
                  <a:pt x="151667" y="599930"/>
                </a:lnTo>
                <a:lnTo>
                  <a:pt x="143572" y="602126"/>
                </a:lnTo>
                <a:lnTo>
                  <a:pt x="135407" y="604384"/>
                </a:lnTo>
                <a:lnTo>
                  <a:pt x="127170" y="606825"/>
                </a:lnTo>
                <a:lnTo>
                  <a:pt x="118792" y="609326"/>
                </a:lnTo>
                <a:lnTo>
                  <a:pt x="110271" y="611950"/>
                </a:lnTo>
                <a:lnTo>
                  <a:pt x="101679" y="614696"/>
                </a:lnTo>
                <a:lnTo>
                  <a:pt x="92946" y="617564"/>
                </a:lnTo>
                <a:lnTo>
                  <a:pt x="91028" y="606764"/>
                </a:lnTo>
                <a:lnTo>
                  <a:pt x="89395" y="595841"/>
                </a:lnTo>
                <a:lnTo>
                  <a:pt x="88046" y="584797"/>
                </a:lnTo>
                <a:lnTo>
                  <a:pt x="86981" y="573692"/>
                </a:lnTo>
                <a:lnTo>
                  <a:pt x="86129" y="562403"/>
                </a:lnTo>
                <a:lnTo>
                  <a:pt x="85490" y="551115"/>
                </a:lnTo>
                <a:lnTo>
                  <a:pt x="85064" y="539705"/>
                </a:lnTo>
                <a:lnTo>
                  <a:pt x="84851" y="528233"/>
                </a:lnTo>
                <a:lnTo>
                  <a:pt x="84709" y="516701"/>
                </a:lnTo>
                <a:lnTo>
                  <a:pt x="84780" y="505107"/>
                </a:lnTo>
                <a:lnTo>
                  <a:pt x="84922" y="493453"/>
                </a:lnTo>
                <a:lnTo>
                  <a:pt x="85206" y="481798"/>
                </a:lnTo>
                <a:lnTo>
                  <a:pt x="85561" y="470083"/>
                </a:lnTo>
                <a:lnTo>
                  <a:pt x="85987" y="458306"/>
                </a:lnTo>
                <a:lnTo>
                  <a:pt x="86484" y="446591"/>
                </a:lnTo>
                <a:lnTo>
                  <a:pt x="86981" y="434815"/>
                </a:lnTo>
                <a:lnTo>
                  <a:pt x="87478" y="423038"/>
                </a:lnTo>
                <a:lnTo>
                  <a:pt x="87975" y="411262"/>
                </a:lnTo>
                <a:lnTo>
                  <a:pt x="88401" y="399546"/>
                </a:lnTo>
                <a:lnTo>
                  <a:pt x="88827" y="387831"/>
                </a:lnTo>
                <a:lnTo>
                  <a:pt x="89182" y="376115"/>
                </a:lnTo>
                <a:lnTo>
                  <a:pt x="89395" y="364461"/>
                </a:lnTo>
                <a:lnTo>
                  <a:pt x="89537" y="352867"/>
                </a:lnTo>
                <a:lnTo>
                  <a:pt x="89608" y="341274"/>
                </a:lnTo>
                <a:lnTo>
                  <a:pt x="89466" y="329802"/>
                </a:lnTo>
                <a:lnTo>
                  <a:pt x="89182" y="318392"/>
                </a:lnTo>
                <a:lnTo>
                  <a:pt x="88685" y="307043"/>
                </a:lnTo>
                <a:lnTo>
                  <a:pt x="87975" y="295754"/>
                </a:lnTo>
                <a:lnTo>
                  <a:pt x="87123" y="284588"/>
                </a:lnTo>
                <a:lnTo>
                  <a:pt x="85987" y="273544"/>
                </a:lnTo>
                <a:lnTo>
                  <a:pt x="84567" y="262560"/>
                </a:lnTo>
                <a:lnTo>
                  <a:pt x="82863" y="251699"/>
                </a:lnTo>
                <a:lnTo>
                  <a:pt x="81372" y="243645"/>
                </a:lnTo>
                <a:lnTo>
                  <a:pt x="79739" y="235407"/>
                </a:lnTo>
                <a:lnTo>
                  <a:pt x="77821" y="226987"/>
                </a:lnTo>
                <a:lnTo>
                  <a:pt x="75762" y="218505"/>
                </a:lnTo>
                <a:lnTo>
                  <a:pt x="73490" y="209841"/>
                </a:lnTo>
                <a:lnTo>
                  <a:pt x="71076" y="201115"/>
                </a:lnTo>
                <a:lnTo>
                  <a:pt x="68520" y="192268"/>
                </a:lnTo>
                <a:lnTo>
                  <a:pt x="65893" y="183420"/>
                </a:lnTo>
                <a:lnTo>
                  <a:pt x="63052" y="174450"/>
                </a:lnTo>
                <a:lnTo>
                  <a:pt x="60141" y="165542"/>
                </a:lnTo>
                <a:lnTo>
                  <a:pt x="57159" y="156572"/>
                </a:lnTo>
                <a:lnTo>
                  <a:pt x="54106" y="147663"/>
                </a:lnTo>
                <a:lnTo>
                  <a:pt x="50981" y="138755"/>
                </a:lnTo>
                <a:lnTo>
                  <a:pt x="47786" y="129907"/>
                </a:lnTo>
                <a:lnTo>
                  <a:pt x="44591" y="121120"/>
                </a:lnTo>
                <a:lnTo>
                  <a:pt x="41396" y="112395"/>
                </a:lnTo>
                <a:lnTo>
                  <a:pt x="38201" y="103852"/>
                </a:lnTo>
                <a:lnTo>
                  <a:pt x="34934" y="95371"/>
                </a:lnTo>
                <a:lnTo>
                  <a:pt x="31810" y="87072"/>
                </a:lnTo>
                <a:lnTo>
                  <a:pt x="28686" y="78896"/>
                </a:lnTo>
                <a:lnTo>
                  <a:pt x="25633" y="70903"/>
                </a:lnTo>
                <a:lnTo>
                  <a:pt x="22650" y="63153"/>
                </a:lnTo>
                <a:lnTo>
                  <a:pt x="19739" y="55587"/>
                </a:lnTo>
                <a:lnTo>
                  <a:pt x="16899" y="48265"/>
                </a:lnTo>
                <a:lnTo>
                  <a:pt x="14272" y="41187"/>
                </a:lnTo>
                <a:lnTo>
                  <a:pt x="11716" y="34414"/>
                </a:lnTo>
                <a:lnTo>
                  <a:pt x="9301" y="27946"/>
                </a:lnTo>
                <a:lnTo>
                  <a:pt x="7029" y="21722"/>
                </a:lnTo>
                <a:lnTo>
                  <a:pt x="4970" y="15864"/>
                </a:lnTo>
                <a:lnTo>
                  <a:pt x="3124" y="10373"/>
                </a:lnTo>
                <a:lnTo>
                  <a:pt x="1420" y="5247"/>
                </a:lnTo>
                <a:lnTo>
                  <a:pt x="0" y="488"/>
                </a:lnTo>
              </a:path>
            </a:pathLst>
          </a:custGeom>
          <a:ln w="66">
            <a:solidFill>
              <a:srgbClr val="000000"/>
            </a:solidFill>
          </a:ln>
        </p:spPr>
        <p:txBody>
          <a:bodyPr wrap="square" lIns="0" tIns="0" rIns="0" bIns="0" rtlCol="0">
            <a:noAutofit/>
          </a:bodyPr>
          <a:lstStyle/>
          <a:p>
            <a:endParaRPr/>
          </a:p>
        </p:txBody>
      </p:sp>
      <p:sp>
        <p:nvSpPr>
          <p:cNvPr id="599" name="object 599"/>
          <p:cNvSpPr/>
          <p:nvPr/>
        </p:nvSpPr>
        <p:spPr>
          <a:xfrm>
            <a:off x="9251277" y="4250702"/>
            <a:ext cx="93738" cy="215710"/>
          </a:xfrm>
          <a:custGeom>
            <a:avLst/>
            <a:gdLst/>
            <a:ahLst/>
            <a:cxnLst/>
            <a:rect l="l" t="t" r="r" b="b"/>
            <a:pathLst>
              <a:path w="93738" h="215710">
                <a:moveTo>
                  <a:pt x="18828" y="61395"/>
                </a:moveTo>
                <a:lnTo>
                  <a:pt x="23514" y="64202"/>
                </a:lnTo>
                <a:lnTo>
                  <a:pt x="28626" y="67558"/>
                </a:lnTo>
                <a:lnTo>
                  <a:pt x="34094" y="71646"/>
                </a:lnTo>
                <a:lnTo>
                  <a:pt x="39774" y="76467"/>
                </a:lnTo>
                <a:lnTo>
                  <a:pt x="45668" y="82141"/>
                </a:lnTo>
                <a:lnTo>
                  <a:pt x="51561" y="88792"/>
                </a:lnTo>
                <a:lnTo>
                  <a:pt x="57455" y="96481"/>
                </a:lnTo>
                <a:lnTo>
                  <a:pt x="60366" y="100752"/>
                </a:lnTo>
                <a:lnTo>
                  <a:pt x="63206" y="105267"/>
                </a:lnTo>
                <a:lnTo>
                  <a:pt x="66046" y="110149"/>
                </a:lnTo>
                <a:lnTo>
                  <a:pt x="68816" y="115274"/>
                </a:lnTo>
                <a:lnTo>
                  <a:pt x="71443" y="120766"/>
                </a:lnTo>
                <a:lnTo>
                  <a:pt x="74070" y="126563"/>
                </a:lnTo>
                <a:lnTo>
                  <a:pt x="76555" y="132725"/>
                </a:lnTo>
                <a:lnTo>
                  <a:pt x="78969" y="139254"/>
                </a:lnTo>
                <a:lnTo>
                  <a:pt x="81241" y="146149"/>
                </a:lnTo>
                <a:lnTo>
                  <a:pt x="83372" y="153411"/>
                </a:lnTo>
                <a:lnTo>
                  <a:pt x="85360" y="161038"/>
                </a:lnTo>
                <a:lnTo>
                  <a:pt x="87206" y="169092"/>
                </a:lnTo>
                <a:lnTo>
                  <a:pt x="88910" y="177574"/>
                </a:lnTo>
                <a:lnTo>
                  <a:pt x="90401" y="186421"/>
                </a:lnTo>
                <a:lnTo>
                  <a:pt x="91679" y="195757"/>
                </a:lnTo>
                <a:lnTo>
                  <a:pt x="92815" y="205520"/>
                </a:lnTo>
                <a:lnTo>
                  <a:pt x="93738" y="215710"/>
                </a:lnTo>
                <a:lnTo>
                  <a:pt x="92673" y="203567"/>
                </a:lnTo>
                <a:lnTo>
                  <a:pt x="91537" y="191791"/>
                </a:lnTo>
                <a:lnTo>
                  <a:pt x="90330" y="180198"/>
                </a:lnTo>
                <a:lnTo>
                  <a:pt x="89052" y="168970"/>
                </a:lnTo>
                <a:lnTo>
                  <a:pt x="87703" y="158048"/>
                </a:lnTo>
                <a:lnTo>
                  <a:pt x="86283" y="147370"/>
                </a:lnTo>
                <a:lnTo>
                  <a:pt x="84721" y="137058"/>
                </a:lnTo>
                <a:lnTo>
                  <a:pt x="83017" y="127051"/>
                </a:lnTo>
                <a:lnTo>
                  <a:pt x="81170" y="117349"/>
                </a:lnTo>
                <a:lnTo>
                  <a:pt x="79182" y="108013"/>
                </a:lnTo>
                <a:lnTo>
                  <a:pt x="76981" y="98921"/>
                </a:lnTo>
                <a:lnTo>
                  <a:pt x="74638" y="90257"/>
                </a:lnTo>
                <a:lnTo>
                  <a:pt x="72082" y="81897"/>
                </a:lnTo>
                <a:lnTo>
                  <a:pt x="69313" y="73843"/>
                </a:lnTo>
                <a:lnTo>
                  <a:pt x="66330" y="66155"/>
                </a:lnTo>
                <a:lnTo>
                  <a:pt x="63135" y="58833"/>
                </a:lnTo>
                <a:lnTo>
                  <a:pt x="59656" y="51876"/>
                </a:lnTo>
                <a:lnTo>
                  <a:pt x="55893" y="45287"/>
                </a:lnTo>
                <a:lnTo>
                  <a:pt x="51845" y="39002"/>
                </a:lnTo>
                <a:lnTo>
                  <a:pt x="47514" y="33144"/>
                </a:lnTo>
                <a:lnTo>
                  <a:pt x="42828" y="27652"/>
                </a:lnTo>
                <a:lnTo>
                  <a:pt x="37857" y="22527"/>
                </a:lnTo>
                <a:lnTo>
                  <a:pt x="32603" y="17828"/>
                </a:lnTo>
                <a:lnTo>
                  <a:pt x="26922" y="13496"/>
                </a:lnTo>
                <a:lnTo>
                  <a:pt x="20887" y="9530"/>
                </a:lnTo>
                <a:lnTo>
                  <a:pt x="14496" y="5991"/>
                </a:lnTo>
                <a:lnTo>
                  <a:pt x="7680" y="2818"/>
                </a:lnTo>
                <a:lnTo>
                  <a:pt x="437" y="133"/>
                </a:lnTo>
                <a:lnTo>
                  <a:pt x="0" y="0"/>
                </a:lnTo>
                <a:lnTo>
                  <a:pt x="1076" y="499"/>
                </a:lnTo>
                <a:lnTo>
                  <a:pt x="4272" y="2330"/>
                </a:lnTo>
                <a:lnTo>
                  <a:pt x="7112" y="4343"/>
                </a:lnTo>
                <a:lnTo>
                  <a:pt x="9668" y="6418"/>
                </a:lnTo>
                <a:lnTo>
                  <a:pt x="11798" y="8676"/>
                </a:lnTo>
                <a:lnTo>
                  <a:pt x="13715" y="11055"/>
                </a:lnTo>
                <a:lnTo>
                  <a:pt x="15348" y="13496"/>
                </a:lnTo>
                <a:lnTo>
                  <a:pt x="16627" y="16059"/>
                </a:lnTo>
                <a:lnTo>
                  <a:pt x="17763" y="18683"/>
                </a:lnTo>
                <a:lnTo>
                  <a:pt x="18615" y="21306"/>
                </a:lnTo>
                <a:lnTo>
                  <a:pt x="19254" y="24052"/>
                </a:lnTo>
                <a:lnTo>
                  <a:pt x="19751" y="26798"/>
                </a:lnTo>
                <a:lnTo>
                  <a:pt x="20035" y="29544"/>
                </a:lnTo>
                <a:lnTo>
                  <a:pt x="20177" y="32290"/>
                </a:lnTo>
                <a:lnTo>
                  <a:pt x="20177" y="35035"/>
                </a:lnTo>
                <a:lnTo>
                  <a:pt x="20035" y="37781"/>
                </a:lnTo>
                <a:lnTo>
                  <a:pt x="19893" y="40405"/>
                </a:lnTo>
                <a:lnTo>
                  <a:pt x="19609" y="43029"/>
                </a:lnTo>
                <a:lnTo>
                  <a:pt x="19254" y="45592"/>
                </a:lnTo>
                <a:lnTo>
                  <a:pt x="18828" y="48032"/>
                </a:lnTo>
                <a:lnTo>
                  <a:pt x="18473" y="50412"/>
                </a:lnTo>
                <a:lnTo>
                  <a:pt x="18047" y="52670"/>
                </a:lnTo>
                <a:lnTo>
                  <a:pt x="17621" y="54805"/>
                </a:lnTo>
                <a:lnTo>
                  <a:pt x="17266" y="56758"/>
                </a:lnTo>
                <a:lnTo>
                  <a:pt x="16911" y="58588"/>
                </a:lnTo>
                <a:lnTo>
                  <a:pt x="16698" y="60236"/>
                </a:lnTo>
                <a:lnTo>
                  <a:pt x="18828" y="61395"/>
                </a:lnTo>
                <a:close/>
              </a:path>
            </a:pathLst>
          </a:custGeom>
          <a:solidFill>
            <a:srgbClr val="E4E4E4"/>
          </a:solidFill>
        </p:spPr>
        <p:txBody>
          <a:bodyPr wrap="square" lIns="0" tIns="0" rIns="0" bIns="0" rtlCol="0">
            <a:noAutofit/>
          </a:bodyPr>
          <a:lstStyle/>
          <a:p>
            <a:endParaRPr/>
          </a:p>
        </p:txBody>
      </p:sp>
      <p:sp>
        <p:nvSpPr>
          <p:cNvPr id="600" name="object 600"/>
          <p:cNvSpPr/>
          <p:nvPr/>
        </p:nvSpPr>
        <p:spPr>
          <a:xfrm>
            <a:off x="9218485" y="4244064"/>
            <a:ext cx="32792" cy="6639"/>
          </a:xfrm>
          <a:custGeom>
            <a:avLst/>
            <a:gdLst/>
            <a:ahLst/>
            <a:cxnLst/>
            <a:rect l="l" t="t" r="r" b="b"/>
            <a:pathLst>
              <a:path w="32792" h="6639">
                <a:moveTo>
                  <a:pt x="9017" y="1037"/>
                </a:moveTo>
                <a:lnTo>
                  <a:pt x="17538" y="2501"/>
                </a:lnTo>
                <a:lnTo>
                  <a:pt x="25632" y="4454"/>
                </a:lnTo>
                <a:lnTo>
                  <a:pt x="32792" y="6639"/>
                </a:lnTo>
                <a:lnTo>
                  <a:pt x="30319" y="5491"/>
                </a:lnTo>
                <a:lnTo>
                  <a:pt x="26342" y="4027"/>
                </a:lnTo>
                <a:lnTo>
                  <a:pt x="22011" y="2806"/>
                </a:lnTo>
                <a:lnTo>
                  <a:pt x="17183" y="1708"/>
                </a:lnTo>
                <a:lnTo>
                  <a:pt x="11928" y="915"/>
                </a:lnTo>
                <a:lnTo>
                  <a:pt x="6177" y="305"/>
                </a:lnTo>
                <a:lnTo>
                  <a:pt x="0" y="0"/>
                </a:lnTo>
                <a:lnTo>
                  <a:pt x="9017" y="1037"/>
                </a:lnTo>
                <a:close/>
              </a:path>
            </a:pathLst>
          </a:custGeom>
          <a:solidFill>
            <a:srgbClr val="E4E4E4"/>
          </a:solidFill>
        </p:spPr>
        <p:txBody>
          <a:bodyPr wrap="square" lIns="0" tIns="0" rIns="0" bIns="0" rtlCol="0">
            <a:noAutofit/>
          </a:bodyPr>
          <a:lstStyle/>
          <a:p>
            <a:endParaRPr/>
          </a:p>
        </p:txBody>
      </p:sp>
      <p:sp>
        <p:nvSpPr>
          <p:cNvPr id="601" name="object 601"/>
          <p:cNvSpPr/>
          <p:nvPr/>
        </p:nvSpPr>
        <p:spPr>
          <a:xfrm>
            <a:off x="9218486" y="4244064"/>
            <a:ext cx="126531" cy="222349"/>
          </a:xfrm>
          <a:custGeom>
            <a:avLst/>
            <a:gdLst/>
            <a:ahLst/>
            <a:cxnLst/>
            <a:rect l="l" t="t" r="r" b="b"/>
            <a:pathLst>
              <a:path w="126531" h="222349">
                <a:moveTo>
                  <a:pt x="126531" y="222349"/>
                </a:moveTo>
                <a:lnTo>
                  <a:pt x="125466" y="210207"/>
                </a:lnTo>
                <a:lnTo>
                  <a:pt x="124330" y="198430"/>
                </a:lnTo>
                <a:lnTo>
                  <a:pt x="123123" y="186837"/>
                </a:lnTo>
                <a:lnTo>
                  <a:pt x="121845" y="175610"/>
                </a:lnTo>
                <a:lnTo>
                  <a:pt x="120496" y="164687"/>
                </a:lnTo>
                <a:lnTo>
                  <a:pt x="119075" y="154009"/>
                </a:lnTo>
                <a:lnTo>
                  <a:pt x="117513" y="143697"/>
                </a:lnTo>
                <a:lnTo>
                  <a:pt x="115809" y="133690"/>
                </a:lnTo>
                <a:lnTo>
                  <a:pt x="113963" y="123988"/>
                </a:lnTo>
                <a:lnTo>
                  <a:pt x="111975" y="114653"/>
                </a:lnTo>
                <a:lnTo>
                  <a:pt x="109774" y="105561"/>
                </a:lnTo>
                <a:lnTo>
                  <a:pt x="107431" y="96896"/>
                </a:lnTo>
                <a:lnTo>
                  <a:pt x="104874" y="88537"/>
                </a:lnTo>
                <a:lnTo>
                  <a:pt x="102105" y="80482"/>
                </a:lnTo>
                <a:lnTo>
                  <a:pt x="99123" y="72794"/>
                </a:lnTo>
                <a:lnTo>
                  <a:pt x="95928" y="65472"/>
                </a:lnTo>
                <a:lnTo>
                  <a:pt x="92448" y="58516"/>
                </a:lnTo>
                <a:lnTo>
                  <a:pt x="88685" y="51926"/>
                </a:lnTo>
                <a:lnTo>
                  <a:pt x="84638" y="45641"/>
                </a:lnTo>
                <a:lnTo>
                  <a:pt x="80307" y="39783"/>
                </a:lnTo>
                <a:lnTo>
                  <a:pt x="75620" y="34292"/>
                </a:lnTo>
                <a:lnTo>
                  <a:pt x="70650" y="29166"/>
                </a:lnTo>
                <a:lnTo>
                  <a:pt x="65395" y="24468"/>
                </a:lnTo>
                <a:lnTo>
                  <a:pt x="59715" y="20135"/>
                </a:lnTo>
                <a:lnTo>
                  <a:pt x="53680" y="16169"/>
                </a:lnTo>
                <a:lnTo>
                  <a:pt x="47289" y="12630"/>
                </a:lnTo>
                <a:lnTo>
                  <a:pt x="40473" y="9457"/>
                </a:lnTo>
                <a:lnTo>
                  <a:pt x="33230" y="6773"/>
                </a:lnTo>
                <a:lnTo>
                  <a:pt x="25632" y="4454"/>
                </a:lnTo>
                <a:lnTo>
                  <a:pt x="17538" y="2501"/>
                </a:lnTo>
                <a:lnTo>
                  <a:pt x="9017" y="1037"/>
                </a:lnTo>
                <a:lnTo>
                  <a:pt x="0" y="0"/>
                </a:lnTo>
                <a:lnTo>
                  <a:pt x="6177" y="305"/>
                </a:lnTo>
                <a:lnTo>
                  <a:pt x="11928" y="915"/>
                </a:lnTo>
                <a:lnTo>
                  <a:pt x="17183" y="1708"/>
                </a:lnTo>
                <a:lnTo>
                  <a:pt x="22011" y="2806"/>
                </a:lnTo>
                <a:lnTo>
                  <a:pt x="26342" y="4027"/>
                </a:lnTo>
                <a:lnTo>
                  <a:pt x="30319" y="5491"/>
                </a:lnTo>
                <a:lnTo>
                  <a:pt x="33869" y="7139"/>
                </a:lnTo>
                <a:lnTo>
                  <a:pt x="37064" y="8969"/>
                </a:lnTo>
                <a:lnTo>
                  <a:pt x="39904" y="10983"/>
                </a:lnTo>
                <a:lnTo>
                  <a:pt x="42461" y="13057"/>
                </a:lnTo>
                <a:lnTo>
                  <a:pt x="44591" y="15315"/>
                </a:lnTo>
                <a:lnTo>
                  <a:pt x="46508" y="17695"/>
                </a:lnTo>
                <a:lnTo>
                  <a:pt x="48141" y="20135"/>
                </a:lnTo>
                <a:lnTo>
                  <a:pt x="49419" y="22698"/>
                </a:lnTo>
                <a:lnTo>
                  <a:pt x="50555" y="25322"/>
                </a:lnTo>
                <a:lnTo>
                  <a:pt x="51407" y="27946"/>
                </a:lnTo>
                <a:lnTo>
                  <a:pt x="52046" y="30692"/>
                </a:lnTo>
                <a:lnTo>
                  <a:pt x="52543" y="33437"/>
                </a:lnTo>
                <a:lnTo>
                  <a:pt x="52827" y="36183"/>
                </a:lnTo>
                <a:lnTo>
                  <a:pt x="52969" y="38929"/>
                </a:lnTo>
                <a:lnTo>
                  <a:pt x="52969" y="41675"/>
                </a:lnTo>
                <a:lnTo>
                  <a:pt x="52827" y="44421"/>
                </a:lnTo>
                <a:lnTo>
                  <a:pt x="52685" y="47044"/>
                </a:lnTo>
                <a:lnTo>
                  <a:pt x="52401" y="49668"/>
                </a:lnTo>
                <a:lnTo>
                  <a:pt x="52046" y="52231"/>
                </a:lnTo>
                <a:lnTo>
                  <a:pt x="51620" y="54672"/>
                </a:lnTo>
                <a:lnTo>
                  <a:pt x="51265" y="57051"/>
                </a:lnTo>
                <a:lnTo>
                  <a:pt x="50839" y="59309"/>
                </a:lnTo>
                <a:lnTo>
                  <a:pt x="50413" y="61445"/>
                </a:lnTo>
                <a:lnTo>
                  <a:pt x="50058" y="63397"/>
                </a:lnTo>
                <a:lnTo>
                  <a:pt x="49703" y="65228"/>
                </a:lnTo>
                <a:lnTo>
                  <a:pt x="49490" y="66875"/>
                </a:lnTo>
                <a:lnTo>
                  <a:pt x="53893" y="69377"/>
                </a:lnTo>
                <a:lnTo>
                  <a:pt x="58863" y="72428"/>
                </a:lnTo>
                <a:lnTo>
                  <a:pt x="64117" y="76150"/>
                </a:lnTo>
                <a:lnTo>
                  <a:pt x="69727" y="80604"/>
                </a:lnTo>
                <a:lnTo>
                  <a:pt x="75478" y="85852"/>
                </a:lnTo>
                <a:lnTo>
                  <a:pt x="81372" y="92015"/>
                </a:lnTo>
                <a:lnTo>
                  <a:pt x="87336" y="99154"/>
                </a:lnTo>
                <a:lnTo>
                  <a:pt x="90247" y="103120"/>
                </a:lnTo>
                <a:lnTo>
                  <a:pt x="93158" y="107391"/>
                </a:lnTo>
                <a:lnTo>
                  <a:pt x="95999" y="111907"/>
                </a:lnTo>
                <a:lnTo>
                  <a:pt x="98839" y="116788"/>
                </a:lnTo>
                <a:lnTo>
                  <a:pt x="101608" y="121914"/>
                </a:lnTo>
                <a:lnTo>
                  <a:pt x="104235" y="127405"/>
                </a:lnTo>
                <a:lnTo>
                  <a:pt x="106863" y="133202"/>
                </a:lnTo>
                <a:lnTo>
                  <a:pt x="109348" y="139365"/>
                </a:lnTo>
                <a:lnTo>
                  <a:pt x="111762" y="145894"/>
                </a:lnTo>
                <a:lnTo>
                  <a:pt x="114034" y="152789"/>
                </a:lnTo>
                <a:lnTo>
                  <a:pt x="116164" y="160050"/>
                </a:lnTo>
                <a:lnTo>
                  <a:pt x="118152" y="167677"/>
                </a:lnTo>
                <a:lnTo>
                  <a:pt x="119998" y="175732"/>
                </a:lnTo>
                <a:lnTo>
                  <a:pt x="121703" y="184213"/>
                </a:lnTo>
                <a:lnTo>
                  <a:pt x="123194" y="193061"/>
                </a:lnTo>
                <a:lnTo>
                  <a:pt x="124472" y="202397"/>
                </a:lnTo>
                <a:lnTo>
                  <a:pt x="125608" y="212159"/>
                </a:lnTo>
                <a:lnTo>
                  <a:pt x="126531" y="222349"/>
                </a:lnTo>
              </a:path>
            </a:pathLst>
          </a:custGeom>
          <a:ln w="68">
            <a:solidFill>
              <a:srgbClr val="000000"/>
            </a:solidFill>
          </a:ln>
        </p:spPr>
        <p:txBody>
          <a:bodyPr wrap="square" lIns="0" tIns="0" rIns="0" bIns="0" rtlCol="0">
            <a:noAutofit/>
          </a:bodyPr>
          <a:lstStyle/>
          <a:p>
            <a:endParaRPr/>
          </a:p>
        </p:txBody>
      </p:sp>
      <p:sp>
        <p:nvSpPr>
          <p:cNvPr id="602" name="object 602"/>
          <p:cNvSpPr/>
          <p:nvPr/>
        </p:nvSpPr>
        <p:spPr>
          <a:xfrm>
            <a:off x="8853801" y="4199277"/>
            <a:ext cx="531900" cy="636479"/>
          </a:xfrm>
          <a:custGeom>
            <a:avLst/>
            <a:gdLst/>
            <a:ahLst/>
            <a:cxnLst/>
            <a:rect l="l" t="t" r="r" b="b"/>
            <a:pathLst>
              <a:path w="531900" h="636479">
                <a:moveTo>
                  <a:pt x="487167" y="232417"/>
                </a:moveTo>
                <a:lnTo>
                  <a:pt x="485676" y="224485"/>
                </a:lnTo>
                <a:lnTo>
                  <a:pt x="483972" y="216797"/>
                </a:lnTo>
                <a:lnTo>
                  <a:pt x="482126" y="209231"/>
                </a:lnTo>
                <a:lnTo>
                  <a:pt x="480066" y="201847"/>
                </a:lnTo>
                <a:lnTo>
                  <a:pt x="477794" y="194647"/>
                </a:lnTo>
                <a:lnTo>
                  <a:pt x="475380" y="187691"/>
                </a:lnTo>
                <a:lnTo>
                  <a:pt x="472682" y="180857"/>
                </a:lnTo>
                <a:lnTo>
                  <a:pt x="469842" y="174328"/>
                </a:lnTo>
                <a:lnTo>
                  <a:pt x="466788" y="167921"/>
                </a:lnTo>
                <a:lnTo>
                  <a:pt x="463522" y="161820"/>
                </a:lnTo>
                <a:lnTo>
                  <a:pt x="460114" y="155901"/>
                </a:lnTo>
                <a:lnTo>
                  <a:pt x="456422" y="150287"/>
                </a:lnTo>
                <a:lnTo>
                  <a:pt x="452587" y="144856"/>
                </a:lnTo>
                <a:lnTo>
                  <a:pt x="448469" y="139731"/>
                </a:lnTo>
                <a:lnTo>
                  <a:pt x="444209" y="134850"/>
                </a:lnTo>
                <a:lnTo>
                  <a:pt x="439735" y="130273"/>
                </a:lnTo>
                <a:lnTo>
                  <a:pt x="435049" y="125941"/>
                </a:lnTo>
                <a:lnTo>
                  <a:pt x="430150" y="121914"/>
                </a:lnTo>
                <a:lnTo>
                  <a:pt x="425037" y="118192"/>
                </a:lnTo>
                <a:lnTo>
                  <a:pt x="419712" y="114775"/>
                </a:lnTo>
                <a:lnTo>
                  <a:pt x="414174" y="111663"/>
                </a:lnTo>
                <a:lnTo>
                  <a:pt x="415949" y="103852"/>
                </a:lnTo>
                <a:lnTo>
                  <a:pt x="417156" y="96652"/>
                </a:lnTo>
                <a:lnTo>
                  <a:pt x="417724" y="90062"/>
                </a:lnTo>
                <a:lnTo>
                  <a:pt x="417795" y="83960"/>
                </a:lnTo>
                <a:lnTo>
                  <a:pt x="417298" y="78408"/>
                </a:lnTo>
                <a:lnTo>
                  <a:pt x="416304" y="73343"/>
                </a:lnTo>
                <a:lnTo>
                  <a:pt x="414742" y="68767"/>
                </a:lnTo>
                <a:lnTo>
                  <a:pt x="412682" y="64679"/>
                </a:lnTo>
                <a:lnTo>
                  <a:pt x="407215" y="57784"/>
                </a:lnTo>
                <a:lnTo>
                  <a:pt x="399830" y="52536"/>
                </a:lnTo>
                <a:lnTo>
                  <a:pt x="395570" y="50461"/>
                </a:lnTo>
                <a:lnTo>
                  <a:pt x="390884" y="48753"/>
                </a:lnTo>
                <a:lnTo>
                  <a:pt x="385771" y="47350"/>
                </a:lnTo>
                <a:lnTo>
                  <a:pt x="380304" y="46251"/>
                </a:lnTo>
                <a:lnTo>
                  <a:pt x="374482" y="45458"/>
                </a:lnTo>
                <a:lnTo>
                  <a:pt x="368304" y="44909"/>
                </a:lnTo>
                <a:lnTo>
                  <a:pt x="361843" y="44665"/>
                </a:lnTo>
                <a:lnTo>
                  <a:pt x="355026" y="44604"/>
                </a:lnTo>
                <a:lnTo>
                  <a:pt x="347926" y="44726"/>
                </a:lnTo>
                <a:lnTo>
                  <a:pt x="340541" y="45031"/>
                </a:lnTo>
                <a:lnTo>
                  <a:pt x="332943" y="45519"/>
                </a:lnTo>
                <a:lnTo>
                  <a:pt x="325062" y="46129"/>
                </a:lnTo>
                <a:lnTo>
                  <a:pt x="316967" y="46922"/>
                </a:lnTo>
                <a:lnTo>
                  <a:pt x="308660" y="47777"/>
                </a:lnTo>
                <a:lnTo>
                  <a:pt x="300139" y="48692"/>
                </a:lnTo>
                <a:lnTo>
                  <a:pt x="291405" y="49668"/>
                </a:lnTo>
                <a:lnTo>
                  <a:pt x="282530" y="50767"/>
                </a:lnTo>
                <a:lnTo>
                  <a:pt x="273512" y="51804"/>
                </a:lnTo>
                <a:lnTo>
                  <a:pt x="264352" y="52902"/>
                </a:lnTo>
                <a:lnTo>
                  <a:pt x="255051" y="53940"/>
                </a:lnTo>
                <a:lnTo>
                  <a:pt x="240566" y="54977"/>
                </a:lnTo>
                <a:lnTo>
                  <a:pt x="233110" y="55160"/>
                </a:lnTo>
                <a:lnTo>
                  <a:pt x="225370" y="55038"/>
                </a:lnTo>
                <a:lnTo>
                  <a:pt x="209607" y="54184"/>
                </a:lnTo>
                <a:lnTo>
                  <a:pt x="193418" y="52536"/>
                </a:lnTo>
                <a:lnTo>
                  <a:pt x="176874" y="50156"/>
                </a:lnTo>
                <a:lnTo>
                  <a:pt x="160188" y="47105"/>
                </a:lnTo>
                <a:lnTo>
                  <a:pt x="143501" y="43505"/>
                </a:lnTo>
                <a:lnTo>
                  <a:pt x="126957" y="39478"/>
                </a:lnTo>
                <a:lnTo>
                  <a:pt x="110697" y="35024"/>
                </a:lnTo>
                <a:lnTo>
                  <a:pt x="94792" y="30264"/>
                </a:lnTo>
                <a:lnTo>
                  <a:pt x="79525" y="25261"/>
                </a:lnTo>
                <a:lnTo>
                  <a:pt x="64969" y="20135"/>
                </a:lnTo>
                <a:lnTo>
                  <a:pt x="51194" y="14949"/>
                </a:lnTo>
                <a:lnTo>
                  <a:pt x="38484" y="9823"/>
                </a:lnTo>
                <a:lnTo>
                  <a:pt x="26840" y="4820"/>
                </a:lnTo>
                <a:lnTo>
                  <a:pt x="16544" y="0"/>
                </a:lnTo>
                <a:lnTo>
                  <a:pt x="12922" y="8908"/>
                </a:lnTo>
                <a:lnTo>
                  <a:pt x="9869" y="18061"/>
                </a:lnTo>
                <a:lnTo>
                  <a:pt x="7242" y="27397"/>
                </a:lnTo>
                <a:lnTo>
                  <a:pt x="5041" y="36854"/>
                </a:lnTo>
                <a:lnTo>
                  <a:pt x="3266" y="46556"/>
                </a:lnTo>
                <a:lnTo>
                  <a:pt x="1917" y="56319"/>
                </a:lnTo>
                <a:lnTo>
                  <a:pt x="923" y="66326"/>
                </a:lnTo>
                <a:lnTo>
                  <a:pt x="284" y="76394"/>
                </a:lnTo>
                <a:lnTo>
                  <a:pt x="0" y="86584"/>
                </a:lnTo>
                <a:lnTo>
                  <a:pt x="71" y="96896"/>
                </a:lnTo>
                <a:lnTo>
                  <a:pt x="355" y="107330"/>
                </a:lnTo>
                <a:lnTo>
                  <a:pt x="923" y="117825"/>
                </a:lnTo>
                <a:lnTo>
                  <a:pt x="1775" y="128382"/>
                </a:lnTo>
                <a:lnTo>
                  <a:pt x="2840" y="138999"/>
                </a:lnTo>
                <a:lnTo>
                  <a:pt x="4118" y="149677"/>
                </a:lnTo>
                <a:lnTo>
                  <a:pt x="5538" y="160416"/>
                </a:lnTo>
                <a:lnTo>
                  <a:pt x="7100" y="171155"/>
                </a:lnTo>
                <a:lnTo>
                  <a:pt x="8875" y="181894"/>
                </a:lnTo>
                <a:lnTo>
                  <a:pt x="10650" y="192695"/>
                </a:lnTo>
                <a:lnTo>
                  <a:pt x="12638" y="203434"/>
                </a:lnTo>
                <a:lnTo>
                  <a:pt x="14627" y="214173"/>
                </a:lnTo>
                <a:lnTo>
                  <a:pt x="16686" y="224912"/>
                </a:lnTo>
                <a:lnTo>
                  <a:pt x="18745" y="235590"/>
                </a:lnTo>
                <a:lnTo>
                  <a:pt x="20804" y="246208"/>
                </a:lnTo>
                <a:lnTo>
                  <a:pt x="22863" y="256764"/>
                </a:lnTo>
                <a:lnTo>
                  <a:pt x="24922" y="267259"/>
                </a:lnTo>
                <a:lnTo>
                  <a:pt x="26840" y="277632"/>
                </a:lnTo>
                <a:lnTo>
                  <a:pt x="28686" y="287944"/>
                </a:lnTo>
                <a:lnTo>
                  <a:pt x="30461" y="298134"/>
                </a:lnTo>
                <a:lnTo>
                  <a:pt x="32094" y="308202"/>
                </a:lnTo>
                <a:lnTo>
                  <a:pt x="33585" y="318148"/>
                </a:lnTo>
                <a:lnTo>
                  <a:pt x="34863" y="327911"/>
                </a:lnTo>
                <a:lnTo>
                  <a:pt x="35857" y="336636"/>
                </a:lnTo>
                <a:lnTo>
                  <a:pt x="36567" y="345423"/>
                </a:lnTo>
                <a:lnTo>
                  <a:pt x="37135" y="354271"/>
                </a:lnTo>
                <a:lnTo>
                  <a:pt x="37419" y="363179"/>
                </a:lnTo>
                <a:lnTo>
                  <a:pt x="37632" y="372149"/>
                </a:lnTo>
                <a:lnTo>
                  <a:pt x="37632" y="381180"/>
                </a:lnTo>
                <a:lnTo>
                  <a:pt x="37419" y="390332"/>
                </a:lnTo>
                <a:lnTo>
                  <a:pt x="37064" y="399485"/>
                </a:lnTo>
                <a:lnTo>
                  <a:pt x="36638" y="408699"/>
                </a:lnTo>
                <a:lnTo>
                  <a:pt x="35999" y="418035"/>
                </a:lnTo>
                <a:lnTo>
                  <a:pt x="35289" y="427370"/>
                </a:lnTo>
                <a:lnTo>
                  <a:pt x="34508" y="436767"/>
                </a:lnTo>
                <a:lnTo>
                  <a:pt x="33585" y="446225"/>
                </a:lnTo>
                <a:lnTo>
                  <a:pt x="32520" y="455805"/>
                </a:lnTo>
                <a:lnTo>
                  <a:pt x="31455" y="465385"/>
                </a:lnTo>
                <a:lnTo>
                  <a:pt x="30319" y="474964"/>
                </a:lnTo>
                <a:lnTo>
                  <a:pt x="29112" y="484666"/>
                </a:lnTo>
                <a:lnTo>
                  <a:pt x="27834" y="494429"/>
                </a:lnTo>
                <a:lnTo>
                  <a:pt x="26555" y="504192"/>
                </a:lnTo>
                <a:lnTo>
                  <a:pt x="25277" y="514016"/>
                </a:lnTo>
                <a:lnTo>
                  <a:pt x="23928" y="523901"/>
                </a:lnTo>
                <a:lnTo>
                  <a:pt x="22579" y="533786"/>
                </a:lnTo>
                <a:lnTo>
                  <a:pt x="21301" y="543793"/>
                </a:lnTo>
                <a:lnTo>
                  <a:pt x="20023" y="553800"/>
                </a:lnTo>
                <a:lnTo>
                  <a:pt x="18745" y="563807"/>
                </a:lnTo>
                <a:lnTo>
                  <a:pt x="17538" y="573936"/>
                </a:lnTo>
                <a:lnTo>
                  <a:pt x="16331" y="584065"/>
                </a:lnTo>
                <a:lnTo>
                  <a:pt x="15266" y="594194"/>
                </a:lnTo>
                <a:lnTo>
                  <a:pt x="14201" y="604384"/>
                </a:lnTo>
                <a:lnTo>
                  <a:pt x="13277" y="614635"/>
                </a:lnTo>
                <a:lnTo>
                  <a:pt x="12425" y="624886"/>
                </a:lnTo>
                <a:lnTo>
                  <a:pt x="11644" y="635198"/>
                </a:lnTo>
                <a:lnTo>
                  <a:pt x="21656" y="632940"/>
                </a:lnTo>
                <a:lnTo>
                  <a:pt x="31455" y="630866"/>
                </a:lnTo>
                <a:lnTo>
                  <a:pt x="41112" y="628974"/>
                </a:lnTo>
                <a:lnTo>
                  <a:pt x="50626" y="627144"/>
                </a:lnTo>
                <a:lnTo>
                  <a:pt x="60070" y="625496"/>
                </a:lnTo>
                <a:lnTo>
                  <a:pt x="69301" y="623971"/>
                </a:lnTo>
                <a:lnTo>
                  <a:pt x="78389" y="622567"/>
                </a:lnTo>
                <a:lnTo>
                  <a:pt x="87407" y="621286"/>
                </a:lnTo>
                <a:lnTo>
                  <a:pt x="96283" y="620126"/>
                </a:lnTo>
                <a:lnTo>
                  <a:pt x="105016" y="619089"/>
                </a:lnTo>
                <a:lnTo>
                  <a:pt x="113608" y="618174"/>
                </a:lnTo>
                <a:lnTo>
                  <a:pt x="122058" y="617320"/>
                </a:lnTo>
                <a:lnTo>
                  <a:pt x="130436" y="616587"/>
                </a:lnTo>
                <a:lnTo>
                  <a:pt x="138744" y="615977"/>
                </a:lnTo>
                <a:lnTo>
                  <a:pt x="146910" y="615428"/>
                </a:lnTo>
                <a:lnTo>
                  <a:pt x="154933" y="614940"/>
                </a:lnTo>
                <a:lnTo>
                  <a:pt x="162886" y="614574"/>
                </a:lnTo>
                <a:lnTo>
                  <a:pt x="170767" y="614269"/>
                </a:lnTo>
                <a:lnTo>
                  <a:pt x="178578" y="614025"/>
                </a:lnTo>
                <a:lnTo>
                  <a:pt x="186246" y="613842"/>
                </a:lnTo>
                <a:lnTo>
                  <a:pt x="193844" y="613720"/>
                </a:lnTo>
                <a:lnTo>
                  <a:pt x="201371" y="613659"/>
                </a:lnTo>
                <a:lnTo>
                  <a:pt x="216140" y="613659"/>
                </a:lnTo>
                <a:lnTo>
                  <a:pt x="230696" y="613842"/>
                </a:lnTo>
                <a:lnTo>
                  <a:pt x="244968" y="614147"/>
                </a:lnTo>
                <a:lnTo>
                  <a:pt x="251997" y="614330"/>
                </a:lnTo>
                <a:lnTo>
                  <a:pt x="259027" y="614513"/>
                </a:lnTo>
                <a:lnTo>
                  <a:pt x="265985" y="614696"/>
                </a:lnTo>
                <a:lnTo>
                  <a:pt x="272873" y="614940"/>
                </a:lnTo>
                <a:lnTo>
                  <a:pt x="280755" y="615245"/>
                </a:lnTo>
                <a:lnTo>
                  <a:pt x="288636" y="615550"/>
                </a:lnTo>
                <a:lnTo>
                  <a:pt x="296589" y="615916"/>
                </a:lnTo>
                <a:lnTo>
                  <a:pt x="304541" y="616282"/>
                </a:lnTo>
                <a:lnTo>
                  <a:pt x="312565" y="616770"/>
                </a:lnTo>
                <a:lnTo>
                  <a:pt x="320660" y="617259"/>
                </a:lnTo>
                <a:lnTo>
                  <a:pt x="328683" y="617747"/>
                </a:lnTo>
                <a:lnTo>
                  <a:pt x="336778" y="618296"/>
                </a:lnTo>
                <a:lnTo>
                  <a:pt x="344943" y="618906"/>
                </a:lnTo>
                <a:lnTo>
                  <a:pt x="353109" y="619516"/>
                </a:lnTo>
                <a:lnTo>
                  <a:pt x="361275" y="620188"/>
                </a:lnTo>
                <a:lnTo>
                  <a:pt x="369440" y="620859"/>
                </a:lnTo>
                <a:lnTo>
                  <a:pt x="377606" y="621530"/>
                </a:lnTo>
                <a:lnTo>
                  <a:pt x="385842" y="622262"/>
                </a:lnTo>
                <a:lnTo>
                  <a:pt x="394008" y="622994"/>
                </a:lnTo>
                <a:lnTo>
                  <a:pt x="402245" y="623727"/>
                </a:lnTo>
                <a:lnTo>
                  <a:pt x="410410" y="624520"/>
                </a:lnTo>
                <a:lnTo>
                  <a:pt x="418647" y="625313"/>
                </a:lnTo>
                <a:lnTo>
                  <a:pt x="426883" y="626106"/>
                </a:lnTo>
                <a:lnTo>
                  <a:pt x="435049" y="626900"/>
                </a:lnTo>
                <a:lnTo>
                  <a:pt x="443215" y="627693"/>
                </a:lnTo>
                <a:lnTo>
                  <a:pt x="451451" y="628486"/>
                </a:lnTo>
                <a:lnTo>
                  <a:pt x="459546" y="629340"/>
                </a:lnTo>
                <a:lnTo>
                  <a:pt x="467712" y="630133"/>
                </a:lnTo>
                <a:lnTo>
                  <a:pt x="475877" y="630988"/>
                </a:lnTo>
                <a:lnTo>
                  <a:pt x="483972" y="631781"/>
                </a:lnTo>
                <a:lnTo>
                  <a:pt x="491995" y="632574"/>
                </a:lnTo>
                <a:lnTo>
                  <a:pt x="500090" y="633367"/>
                </a:lnTo>
                <a:lnTo>
                  <a:pt x="508043" y="634161"/>
                </a:lnTo>
                <a:lnTo>
                  <a:pt x="516066" y="634954"/>
                </a:lnTo>
                <a:lnTo>
                  <a:pt x="524019" y="635747"/>
                </a:lnTo>
                <a:lnTo>
                  <a:pt x="531900" y="636479"/>
                </a:lnTo>
                <a:lnTo>
                  <a:pt x="526149" y="627876"/>
                </a:lnTo>
                <a:lnTo>
                  <a:pt x="520824" y="619089"/>
                </a:lnTo>
                <a:lnTo>
                  <a:pt x="515924" y="610120"/>
                </a:lnTo>
                <a:lnTo>
                  <a:pt x="511451" y="600967"/>
                </a:lnTo>
                <a:lnTo>
                  <a:pt x="507404" y="591692"/>
                </a:lnTo>
                <a:lnTo>
                  <a:pt x="503711" y="582295"/>
                </a:lnTo>
                <a:lnTo>
                  <a:pt x="500445" y="572715"/>
                </a:lnTo>
                <a:lnTo>
                  <a:pt x="497534" y="563075"/>
                </a:lnTo>
                <a:lnTo>
                  <a:pt x="494907" y="553312"/>
                </a:lnTo>
                <a:lnTo>
                  <a:pt x="492634" y="543427"/>
                </a:lnTo>
                <a:lnTo>
                  <a:pt x="490717" y="533542"/>
                </a:lnTo>
                <a:lnTo>
                  <a:pt x="489013" y="523535"/>
                </a:lnTo>
                <a:lnTo>
                  <a:pt x="487593" y="513467"/>
                </a:lnTo>
                <a:lnTo>
                  <a:pt x="486457" y="503399"/>
                </a:lnTo>
                <a:lnTo>
                  <a:pt x="485605" y="493270"/>
                </a:lnTo>
                <a:lnTo>
                  <a:pt x="484895" y="483080"/>
                </a:lnTo>
                <a:lnTo>
                  <a:pt x="484469" y="472951"/>
                </a:lnTo>
                <a:lnTo>
                  <a:pt x="484185" y="462822"/>
                </a:lnTo>
                <a:lnTo>
                  <a:pt x="484043" y="452693"/>
                </a:lnTo>
                <a:lnTo>
                  <a:pt x="484114" y="442564"/>
                </a:lnTo>
                <a:lnTo>
                  <a:pt x="484327" y="432496"/>
                </a:lnTo>
                <a:lnTo>
                  <a:pt x="484611" y="422489"/>
                </a:lnTo>
                <a:lnTo>
                  <a:pt x="485037" y="412604"/>
                </a:lnTo>
                <a:lnTo>
                  <a:pt x="485534" y="402719"/>
                </a:lnTo>
                <a:lnTo>
                  <a:pt x="486173" y="392956"/>
                </a:lnTo>
                <a:lnTo>
                  <a:pt x="486812" y="383254"/>
                </a:lnTo>
                <a:lnTo>
                  <a:pt x="487522" y="373735"/>
                </a:lnTo>
                <a:lnTo>
                  <a:pt x="488232" y="364278"/>
                </a:lnTo>
                <a:lnTo>
                  <a:pt x="489652" y="345850"/>
                </a:lnTo>
                <a:lnTo>
                  <a:pt x="490362" y="336819"/>
                </a:lnTo>
                <a:lnTo>
                  <a:pt x="491001" y="328033"/>
                </a:lnTo>
                <a:lnTo>
                  <a:pt x="491569" y="318819"/>
                </a:lnTo>
                <a:lnTo>
                  <a:pt x="491924" y="309666"/>
                </a:lnTo>
                <a:lnTo>
                  <a:pt x="492137" y="300636"/>
                </a:lnTo>
                <a:lnTo>
                  <a:pt x="492208" y="291727"/>
                </a:lnTo>
                <a:lnTo>
                  <a:pt x="491995" y="282879"/>
                </a:lnTo>
                <a:lnTo>
                  <a:pt x="491711" y="274154"/>
                </a:lnTo>
                <a:lnTo>
                  <a:pt x="491143" y="265489"/>
                </a:lnTo>
                <a:lnTo>
                  <a:pt x="490433" y="257008"/>
                </a:lnTo>
                <a:lnTo>
                  <a:pt x="489510" y="248648"/>
                </a:lnTo>
                <a:lnTo>
                  <a:pt x="488445" y="240472"/>
                </a:lnTo>
                <a:lnTo>
                  <a:pt x="487167" y="232417"/>
                </a:lnTo>
                <a:close/>
              </a:path>
            </a:pathLst>
          </a:custGeom>
          <a:solidFill>
            <a:srgbClr val="FFFFFF"/>
          </a:solidFill>
        </p:spPr>
        <p:txBody>
          <a:bodyPr wrap="square" lIns="0" tIns="0" rIns="0" bIns="0" rtlCol="0">
            <a:noAutofit/>
          </a:bodyPr>
          <a:lstStyle/>
          <a:p>
            <a:endParaRPr/>
          </a:p>
        </p:txBody>
      </p:sp>
      <p:sp>
        <p:nvSpPr>
          <p:cNvPr id="603" name="object 603"/>
          <p:cNvSpPr/>
          <p:nvPr/>
        </p:nvSpPr>
        <p:spPr>
          <a:xfrm>
            <a:off x="8853801" y="4199277"/>
            <a:ext cx="531900" cy="636479"/>
          </a:xfrm>
          <a:custGeom>
            <a:avLst/>
            <a:gdLst/>
            <a:ahLst/>
            <a:cxnLst/>
            <a:rect l="l" t="t" r="r" b="b"/>
            <a:pathLst>
              <a:path w="531900" h="636479">
                <a:moveTo>
                  <a:pt x="16544" y="0"/>
                </a:moveTo>
                <a:lnTo>
                  <a:pt x="21514" y="2379"/>
                </a:lnTo>
                <a:lnTo>
                  <a:pt x="26840" y="4820"/>
                </a:lnTo>
                <a:lnTo>
                  <a:pt x="38484" y="9823"/>
                </a:lnTo>
                <a:lnTo>
                  <a:pt x="51194" y="14949"/>
                </a:lnTo>
                <a:lnTo>
                  <a:pt x="64969" y="20135"/>
                </a:lnTo>
                <a:lnTo>
                  <a:pt x="72141" y="22698"/>
                </a:lnTo>
                <a:lnTo>
                  <a:pt x="79525" y="25261"/>
                </a:lnTo>
                <a:lnTo>
                  <a:pt x="87123" y="27763"/>
                </a:lnTo>
                <a:lnTo>
                  <a:pt x="94792" y="30264"/>
                </a:lnTo>
                <a:lnTo>
                  <a:pt x="102673" y="32644"/>
                </a:lnTo>
                <a:lnTo>
                  <a:pt x="110697" y="35024"/>
                </a:lnTo>
                <a:lnTo>
                  <a:pt x="118791" y="37282"/>
                </a:lnTo>
                <a:lnTo>
                  <a:pt x="126957" y="39478"/>
                </a:lnTo>
                <a:lnTo>
                  <a:pt x="135194" y="41553"/>
                </a:lnTo>
                <a:lnTo>
                  <a:pt x="143501" y="43505"/>
                </a:lnTo>
                <a:lnTo>
                  <a:pt x="151880" y="45397"/>
                </a:lnTo>
                <a:lnTo>
                  <a:pt x="160188" y="47105"/>
                </a:lnTo>
                <a:lnTo>
                  <a:pt x="168566" y="48692"/>
                </a:lnTo>
                <a:lnTo>
                  <a:pt x="176874" y="50156"/>
                </a:lnTo>
                <a:lnTo>
                  <a:pt x="185181" y="51438"/>
                </a:lnTo>
                <a:lnTo>
                  <a:pt x="193418" y="52536"/>
                </a:lnTo>
                <a:lnTo>
                  <a:pt x="201584" y="53451"/>
                </a:lnTo>
                <a:lnTo>
                  <a:pt x="209607" y="54184"/>
                </a:lnTo>
                <a:lnTo>
                  <a:pt x="217560" y="54733"/>
                </a:lnTo>
                <a:lnTo>
                  <a:pt x="225370" y="55038"/>
                </a:lnTo>
                <a:lnTo>
                  <a:pt x="233110" y="55160"/>
                </a:lnTo>
                <a:lnTo>
                  <a:pt x="240566" y="54977"/>
                </a:lnTo>
                <a:lnTo>
                  <a:pt x="247950" y="54611"/>
                </a:lnTo>
                <a:lnTo>
                  <a:pt x="255051" y="53940"/>
                </a:lnTo>
                <a:lnTo>
                  <a:pt x="264352" y="52902"/>
                </a:lnTo>
                <a:lnTo>
                  <a:pt x="273512" y="51804"/>
                </a:lnTo>
                <a:lnTo>
                  <a:pt x="282530" y="50767"/>
                </a:lnTo>
                <a:lnTo>
                  <a:pt x="291405" y="49668"/>
                </a:lnTo>
                <a:lnTo>
                  <a:pt x="300139" y="48692"/>
                </a:lnTo>
                <a:lnTo>
                  <a:pt x="308660" y="47777"/>
                </a:lnTo>
                <a:lnTo>
                  <a:pt x="316967" y="46922"/>
                </a:lnTo>
                <a:lnTo>
                  <a:pt x="325062" y="46129"/>
                </a:lnTo>
                <a:lnTo>
                  <a:pt x="332943" y="45519"/>
                </a:lnTo>
                <a:lnTo>
                  <a:pt x="340541" y="45031"/>
                </a:lnTo>
                <a:lnTo>
                  <a:pt x="347926" y="44726"/>
                </a:lnTo>
                <a:lnTo>
                  <a:pt x="355026" y="44604"/>
                </a:lnTo>
                <a:lnTo>
                  <a:pt x="361843" y="44665"/>
                </a:lnTo>
                <a:lnTo>
                  <a:pt x="368304" y="44909"/>
                </a:lnTo>
                <a:lnTo>
                  <a:pt x="374482" y="45458"/>
                </a:lnTo>
                <a:lnTo>
                  <a:pt x="380304" y="46251"/>
                </a:lnTo>
                <a:lnTo>
                  <a:pt x="385771" y="47350"/>
                </a:lnTo>
                <a:lnTo>
                  <a:pt x="390884" y="48753"/>
                </a:lnTo>
                <a:lnTo>
                  <a:pt x="395570" y="50461"/>
                </a:lnTo>
                <a:lnTo>
                  <a:pt x="399830" y="52536"/>
                </a:lnTo>
                <a:lnTo>
                  <a:pt x="403736" y="54977"/>
                </a:lnTo>
                <a:lnTo>
                  <a:pt x="410197" y="61018"/>
                </a:lnTo>
                <a:lnTo>
                  <a:pt x="414742" y="68767"/>
                </a:lnTo>
                <a:lnTo>
                  <a:pt x="416304" y="73343"/>
                </a:lnTo>
                <a:lnTo>
                  <a:pt x="417298" y="78408"/>
                </a:lnTo>
                <a:lnTo>
                  <a:pt x="417795" y="83960"/>
                </a:lnTo>
                <a:lnTo>
                  <a:pt x="417724" y="90062"/>
                </a:lnTo>
                <a:lnTo>
                  <a:pt x="417156" y="96652"/>
                </a:lnTo>
                <a:lnTo>
                  <a:pt x="415949" y="103852"/>
                </a:lnTo>
                <a:lnTo>
                  <a:pt x="414174" y="111663"/>
                </a:lnTo>
                <a:lnTo>
                  <a:pt x="425037" y="118192"/>
                </a:lnTo>
                <a:lnTo>
                  <a:pt x="435049" y="125941"/>
                </a:lnTo>
                <a:lnTo>
                  <a:pt x="444209" y="134850"/>
                </a:lnTo>
                <a:lnTo>
                  <a:pt x="452587" y="144856"/>
                </a:lnTo>
                <a:lnTo>
                  <a:pt x="460114" y="155901"/>
                </a:lnTo>
                <a:lnTo>
                  <a:pt x="466788" y="167921"/>
                </a:lnTo>
                <a:lnTo>
                  <a:pt x="472682" y="180857"/>
                </a:lnTo>
                <a:lnTo>
                  <a:pt x="475380" y="187691"/>
                </a:lnTo>
                <a:lnTo>
                  <a:pt x="477794" y="194647"/>
                </a:lnTo>
                <a:lnTo>
                  <a:pt x="480066" y="201847"/>
                </a:lnTo>
                <a:lnTo>
                  <a:pt x="482126" y="209231"/>
                </a:lnTo>
                <a:lnTo>
                  <a:pt x="483972" y="216797"/>
                </a:lnTo>
                <a:lnTo>
                  <a:pt x="485676" y="224485"/>
                </a:lnTo>
                <a:lnTo>
                  <a:pt x="487167" y="232417"/>
                </a:lnTo>
                <a:lnTo>
                  <a:pt x="488445" y="240472"/>
                </a:lnTo>
                <a:lnTo>
                  <a:pt x="489510" y="248648"/>
                </a:lnTo>
                <a:lnTo>
                  <a:pt x="490433" y="257008"/>
                </a:lnTo>
                <a:lnTo>
                  <a:pt x="491143" y="265489"/>
                </a:lnTo>
                <a:lnTo>
                  <a:pt x="491711" y="274154"/>
                </a:lnTo>
                <a:lnTo>
                  <a:pt x="491995" y="282879"/>
                </a:lnTo>
                <a:lnTo>
                  <a:pt x="492208" y="291727"/>
                </a:lnTo>
                <a:lnTo>
                  <a:pt x="492137" y="300636"/>
                </a:lnTo>
                <a:lnTo>
                  <a:pt x="491924" y="309666"/>
                </a:lnTo>
                <a:lnTo>
                  <a:pt x="491569" y="318819"/>
                </a:lnTo>
                <a:lnTo>
                  <a:pt x="491001" y="328033"/>
                </a:lnTo>
                <a:lnTo>
                  <a:pt x="490362" y="336819"/>
                </a:lnTo>
                <a:lnTo>
                  <a:pt x="489652" y="345850"/>
                </a:lnTo>
                <a:lnTo>
                  <a:pt x="488942" y="355003"/>
                </a:lnTo>
                <a:lnTo>
                  <a:pt x="487522" y="373735"/>
                </a:lnTo>
                <a:lnTo>
                  <a:pt x="486812" y="383254"/>
                </a:lnTo>
                <a:lnTo>
                  <a:pt x="486173" y="392956"/>
                </a:lnTo>
                <a:lnTo>
                  <a:pt x="485534" y="402719"/>
                </a:lnTo>
                <a:lnTo>
                  <a:pt x="485037" y="412604"/>
                </a:lnTo>
                <a:lnTo>
                  <a:pt x="484611" y="422489"/>
                </a:lnTo>
                <a:lnTo>
                  <a:pt x="484327" y="432496"/>
                </a:lnTo>
                <a:lnTo>
                  <a:pt x="484114" y="442564"/>
                </a:lnTo>
                <a:lnTo>
                  <a:pt x="484043" y="452693"/>
                </a:lnTo>
                <a:lnTo>
                  <a:pt x="484185" y="462822"/>
                </a:lnTo>
                <a:lnTo>
                  <a:pt x="484469" y="472951"/>
                </a:lnTo>
                <a:lnTo>
                  <a:pt x="484895" y="483080"/>
                </a:lnTo>
                <a:lnTo>
                  <a:pt x="485605" y="493270"/>
                </a:lnTo>
                <a:lnTo>
                  <a:pt x="486457" y="503399"/>
                </a:lnTo>
                <a:lnTo>
                  <a:pt x="487593" y="513467"/>
                </a:lnTo>
                <a:lnTo>
                  <a:pt x="489013" y="523535"/>
                </a:lnTo>
                <a:lnTo>
                  <a:pt x="490717" y="533542"/>
                </a:lnTo>
                <a:lnTo>
                  <a:pt x="492634" y="543427"/>
                </a:lnTo>
                <a:lnTo>
                  <a:pt x="494907" y="553312"/>
                </a:lnTo>
                <a:lnTo>
                  <a:pt x="497534" y="563075"/>
                </a:lnTo>
                <a:lnTo>
                  <a:pt x="500445" y="572715"/>
                </a:lnTo>
                <a:lnTo>
                  <a:pt x="503711" y="582295"/>
                </a:lnTo>
                <a:lnTo>
                  <a:pt x="507404" y="591692"/>
                </a:lnTo>
                <a:lnTo>
                  <a:pt x="511451" y="600967"/>
                </a:lnTo>
                <a:lnTo>
                  <a:pt x="515924" y="610120"/>
                </a:lnTo>
                <a:lnTo>
                  <a:pt x="520824" y="619089"/>
                </a:lnTo>
                <a:lnTo>
                  <a:pt x="526149" y="627876"/>
                </a:lnTo>
                <a:lnTo>
                  <a:pt x="531900" y="636479"/>
                </a:lnTo>
                <a:lnTo>
                  <a:pt x="524019" y="635747"/>
                </a:lnTo>
                <a:lnTo>
                  <a:pt x="516066" y="634954"/>
                </a:lnTo>
                <a:lnTo>
                  <a:pt x="508043" y="634161"/>
                </a:lnTo>
                <a:lnTo>
                  <a:pt x="500090" y="633367"/>
                </a:lnTo>
                <a:lnTo>
                  <a:pt x="491995" y="632574"/>
                </a:lnTo>
                <a:lnTo>
                  <a:pt x="483972" y="631781"/>
                </a:lnTo>
                <a:lnTo>
                  <a:pt x="475877" y="630988"/>
                </a:lnTo>
                <a:lnTo>
                  <a:pt x="467712" y="630133"/>
                </a:lnTo>
                <a:lnTo>
                  <a:pt x="459546" y="629340"/>
                </a:lnTo>
                <a:lnTo>
                  <a:pt x="451451" y="628486"/>
                </a:lnTo>
                <a:lnTo>
                  <a:pt x="443215" y="627693"/>
                </a:lnTo>
                <a:lnTo>
                  <a:pt x="435049" y="626900"/>
                </a:lnTo>
                <a:lnTo>
                  <a:pt x="426883" y="626106"/>
                </a:lnTo>
                <a:lnTo>
                  <a:pt x="418647" y="625313"/>
                </a:lnTo>
                <a:lnTo>
                  <a:pt x="410410" y="624520"/>
                </a:lnTo>
                <a:lnTo>
                  <a:pt x="402245" y="623727"/>
                </a:lnTo>
                <a:lnTo>
                  <a:pt x="394008" y="622994"/>
                </a:lnTo>
                <a:lnTo>
                  <a:pt x="385842" y="622262"/>
                </a:lnTo>
                <a:lnTo>
                  <a:pt x="377606" y="621530"/>
                </a:lnTo>
                <a:lnTo>
                  <a:pt x="369440" y="620859"/>
                </a:lnTo>
                <a:lnTo>
                  <a:pt x="361275" y="620188"/>
                </a:lnTo>
                <a:lnTo>
                  <a:pt x="353109" y="619516"/>
                </a:lnTo>
                <a:lnTo>
                  <a:pt x="344943" y="618906"/>
                </a:lnTo>
                <a:lnTo>
                  <a:pt x="336778" y="618296"/>
                </a:lnTo>
                <a:lnTo>
                  <a:pt x="328683" y="617747"/>
                </a:lnTo>
                <a:lnTo>
                  <a:pt x="320660" y="617259"/>
                </a:lnTo>
                <a:lnTo>
                  <a:pt x="312565" y="616770"/>
                </a:lnTo>
                <a:lnTo>
                  <a:pt x="304541" y="616282"/>
                </a:lnTo>
                <a:lnTo>
                  <a:pt x="296589" y="615916"/>
                </a:lnTo>
                <a:lnTo>
                  <a:pt x="288636" y="615550"/>
                </a:lnTo>
                <a:lnTo>
                  <a:pt x="280755" y="615245"/>
                </a:lnTo>
                <a:lnTo>
                  <a:pt x="272873" y="614940"/>
                </a:lnTo>
                <a:lnTo>
                  <a:pt x="265985" y="614696"/>
                </a:lnTo>
                <a:lnTo>
                  <a:pt x="259027" y="614513"/>
                </a:lnTo>
                <a:lnTo>
                  <a:pt x="251997" y="614330"/>
                </a:lnTo>
                <a:lnTo>
                  <a:pt x="244968" y="614147"/>
                </a:lnTo>
                <a:lnTo>
                  <a:pt x="237867" y="613964"/>
                </a:lnTo>
                <a:lnTo>
                  <a:pt x="230696" y="613842"/>
                </a:lnTo>
                <a:lnTo>
                  <a:pt x="223453" y="613720"/>
                </a:lnTo>
                <a:lnTo>
                  <a:pt x="216140" y="613659"/>
                </a:lnTo>
                <a:lnTo>
                  <a:pt x="208826" y="613659"/>
                </a:lnTo>
                <a:lnTo>
                  <a:pt x="201371" y="613659"/>
                </a:lnTo>
                <a:lnTo>
                  <a:pt x="193844" y="613720"/>
                </a:lnTo>
                <a:lnTo>
                  <a:pt x="186246" y="613842"/>
                </a:lnTo>
                <a:lnTo>
                  <a:pt x="178578" y="614025"/>
                </a:lnTo>
                <a:lnTo>
                  <a:pt x="170767" y="614269"/>
                </a:lnTo>
                <a:lnTo>
                  <a:pt x="162886" y="614574"/>
                </a:lnTo>
                <a:lnTo>
                  <a:pt x="154933" y="614940"/>
                </a:lnTo>
                <a:lnTo>
                  <a:pt x="146910" y="615428"/>
                </a:lnTo>
                <a:lnTo>
                  <a:pt x="138744" y="615977"/>
                </a:lnTo>
                <a:lnTo>
                  <a:pt x="130436" y="616587"/>
                </a:lnTo>
                <a:lnTo>
                  <a:pt x="122058" y="617320"/>
                </a:lnTo>
                <a:lnTo>
                  <a:pt x="113608" y="618174"/>
                </a:lnTo>
                <a:lnTo>
                  <a:pt x="105016" y="619089"/>
                </a:lnTo>
                <a:lnTo>
                  <a:pt x="96283" y="620126"/>
                </a:lnTo>
                <a:lnTo>
                  <a:pt x="87407" y="621286"/>
                </a:lnTo>
                <a:lnTo>
                  <a:pt x="78389" y="622567"/>
                </a:lnTo>
                <a:lnTo>
                  <a:pt x="69301" y="623971"/>
                </a:lnTo>
                <a:lnTo>
                  <a:pt x="60070" y="625496"/>
                </a:lnTo>
                <a:lnTo>
                  <a:pt x="50626" y="627144"/>
                </a:lnTo>
                <a:lnTo>
                  <a:pt x="41112" y="628974"/>
                </a:lnTo>
                <a:lnTo>
                  <a:pt x="31455" y="630866"/>
                </a:lnTo>
                <a:lnTo>
                  <a:pt x="21656" y="632940"/>
                </a:lnTo>
                <a:lnTo>
                  <a:pt x="11644" y="635198"/>
                </a:lnTo>
                <a:lnTo>
                  <a:pt x="12425" y="624886"/>
                </a:lnTo>
                <a:lnTo>
                  <a:pt x="13277" y="614635"/>
                </a:lnTo>
                <a:lnTo>
                  <a:pt x="14201" y="604384"/>
                </a:lnTo>
                <a:lnTo>
                  <a:pt x="15266" y="594194"/>
                </a:lnTo>
                <a:lnTo>
                  <a:pt x="16331" y="584065"/>
                </a:lnTo>
                <a:lnTo>
                  <a:pt x="17538" y="573936"/>
                </a:lnTo>
                <a:lnTo>
                  <a:pt x="18745" y="563807"/>
                </a:lnTo>
                <a:lnTo>
                  <a:pt x="20023" y="553800"/>
                </a:lnTo>
                <a:lnTo>
                  <a:pt x="21301" y="543793"/>
                </a:lnTo>
                <a:lnTo>
                  <a:pt x="22579" y="533786"/>
                </a:lnTo>
                <a:lnTo>
                  <a:pt x="23928" y="523901"/>
                </a:lnTo>
                <a:lnTo>
                  <a:pt x="25277" y="514016"/>
                </a:lnTo>
                <a:lnTo>
                  <a:pt x="26555" y="504192"/>
                </a:lnTo>
                <a:lnTo>
                  <a:pt x="27834" y="494429"/>
                </a:lnTo>
                <a:lnTo>
                  <a:pt x="29112" y="484666"/>
                </a:lnTo>
                <a:lnTo>
                  <a:pt x="30319" y="474964"/>
                </a:lnTo>
                <a:lnTo>
                  <a:pt x="31455" y="465385"/>
                </a:lnTo>
                <a:lnTo>
                  <a:pt x="32520" y="455805"/>
                </a:lnTo>
                <a:lnTo>
                  <a:pt x="33585" y="446225"/>
                </a:lnTo>
                <a:lnTo>
                  <a:pt x="34508" y="436767"/>
                </a:lnTo>
                <a:lnTo>
                  <a:pt x="35289" y="427370"/>
                </a:lnTo>
                <a:lnTo>
                  <a:pt x="35999" y="418035"/>
                </a:lnTo>
                <a:lnTo>
                  <a:pt x="36638" y="408699"/>
                </a:lnTo>
                <a:lnTo>
                  <a:pt x="37064" y="399485"/>
                </a:lnTo>
                <a:lnTo>
                  <a:pt x="37419" y="390332"/>
                </a:lnTo>
                <a:lnTo>
                  <a:pt x="37632" y="381180"/>
                </a:lnTo>
                <a:lnTo>
                  <a:pt x="37632" y="372149"/>
                </a:lnTo>
                <a:lnTo>
                  <a:pt x="37419" y="363179"/>
                </a:lnTo>
                <a:lnTo>
                  <a:pt x="37135" y="354271"/>
                </a:lnTo>
                <a:lnTo>
                  <a:pt x="36567" y="345423"/>
                </a:lnTo>
                <a:lnTo>
                  <a:pt x="35857" y="336636"/>
                </a:lnTo>
                <a:lnTo>
                  <a:pt x="34863" y="327911"/>
                </a:lnTo>
                <a:lnTo>
                  <a:pt x="33585" y="318148"/>
                </a:lnTo>
                <a:lnTo>
                  <a:pt x="32094" y="308202"/>
                </a:lnTo>
                <a:lnTo>
                  <a:pt x="30461" y="298134"/>
                </a:lnTo>
                <a:lnTo>
                  <a:pt x="28686" y="287944"/>
                </a:lnTo>
                <a:lnTo>
                  <a:pt x="26840" y="277632"/>
                </a:lnTo>
                <a:lnTo>
                  <a:pt x="24922" y="267259"/>
                </a:lnTo>
                <a:lnTo>
                  <a:pt x="22863" y="256764"/>
                </a:lnTo>
                <a:lnTo>
                  <a:pt x="20804" y="246208"/>
                </a:lnTo>
                <a:lnTo>
                  <a:pt x="18745" y="235590"/>
                </a:lnTo>
                <a:lnTo>
                  <a:pt x="16686" y="224912"/>
                </a:lnTo>
                <a:lnTo>
                  <a:pt x="14627" y="214173"/>
                </a:lnTo>
                <a:lnTo>
                  <a:pt x="12638" y="203434"/>
                </a:lnTo>
                <a:lnTo>
                  <a:pt x="10650" y="192695"/>
                </a:lnTo>
                <a:lnTo>
                  <a:pt x="8875" y="181894"/>
                </a:lnTo>
                <a:lnTo>
                  <a:pt x="7100" y="171155"/>
                </a:lnTo>
                <a:lnTo>
                  <a:pt x="5538" y="160416"/>
                </a:lnTo>
                <a:lnTo>
                  <a:pt x="4118" y="149677"/>
                </a:lnTo>
                <a:lnTo>
                  <a:pt x="2840" y="138999"/>
                </a:lnTo>
                <a:lnTo>
                  <a:pt x="1775" y="128382"/>
                </a:lnTo>
                <a:lnTo>
                  <a:pt x="923" y="117825"/>
                </a:lnTo>
                <a:lnTo>
                  <a:pt x="355" y="107330"/>
                </a:lnTo>
                <a:lnTo>
                  <a:pt x="71" y="96896"/>
                </a:lnTo>
                <a:lnTo>
                  <a:pt x="0" y="86584"/>
                </a:lnTo>
                <a:lnTo>
                  <a:pt x="284" y="76394"/>
                </a:lnTo>
                <a:lnTo>
                  <a:pt x="923" y="66326"/>
                </a:lnTo>
                <a:lnTo>
                  <a:pt x="1917" y="56319"/>
                </a:lnTo>
                <a:lnTo>
                  <a:pt x="3266" y="46556"/>
                </a:lnTo>
                <a:lnTo>
                  <a:pt x="5041" y="36854"/>
                </a:lnTo>
                <a:lnTo>
                  <a:pt x="7242" y="27397"/>
                </a:lnTo>
                <a:lnTo>
                  <a:pt x="9869" y="18061"/>
                </a:lnTo>
                <a:lnTo>
                  <a:pt x="12922" y="8908"/>
                </a:lnTo>
                <a:lnTo>
                  <a:pt x="16544" y="0"/>
                </a:lnTo>
              </a:path>
            </a:pathLst>
          </a:custGeom>
          <a:ln w="66">
            <a:solidFill>
              <a:srgbClr val="000000"/>
            </a:solidFill>
          </a:ln>
        </p:spPr>
        <p:txBody>
          <a:bodyPr wrap="square" lIns="0" tIns="0" rIns="0" bIns="0" rtlCol="0">
            <a:noAutofit/>
          </a:bodyPr>
          <a:lstStyle/>
          <a:p>
            <a:endParaRPr/>
          </a:p>
        </p:txBody>
      </p:sp>
      <p:sp>
        <p:nvSpPr>
          <p:cNvPr id="604" name="object 604"/>
          <p:cNvSpPr/>
          <p:nvPr/>
        </p:nvSpPr>
        <p:spPr>
          <a:xfrm>
            <a:off x="8876594" y="4253582"/>
            <a:ext cx="178436" cy="59492"/>
          </a:xfrm>
          <a:custGeom>
            <a:avLst/>
            <a:gdLst/>
            <a:ahLst/>
            <a:cxnLst/>
            <a:rect l="l" t="t" r="r" b="b"/>
            <a:pathLst>
              <a:path w="178436" h="59492">
                <a:moveTo>
                  <a:pt x="1420" y="49302"/>
                </a:moveTo>
                <a:lnTo>
                  <a:pt x="1420" y="50400"/>
                </a:lnTo>
                <a:lnTo>
                  <a:pt x="1491" y="51499"/>
                </a:lnTo>
                <a:lnTo>
                  <a:pt x="1491" y="52536"/>
                </a:lnTo>
                <a:lnTo>
                  <a:pt x="4047" y="51926"/>
                </a:lnTo>
                <a:lnTo>
                  <a:pt x="6603" y="51438"/>
                </a:lnTo>
                <a:lnTo>
                  <a:pt x="9159" y="51133"/>
                </a:lnTo>
                <a:lnTo>
                  <a:pt x="11715" y="50950"/>
                </a:lnTo>
                <a:lnTo>
                  <a:pt x="14272" y="50889"/>
                </a:lnTo>
                <a:lnTo>
                  <a:pt x="16828" y="50950"/>
                </a:lnTo>
                <a:lnTo>
                  <a:pt x="19384" y="51133"/>
                </a:lnTo>
                <a:lnTo>
                  <a:pt x="21869" y="51377"/>
                </a:lnTo>
                <a:lnTo>
                  <a:pt x="24425" y="51682"/>
                </a:lnTo>
                <a:lnTo>
                  <a:pt x="26982" y="52109"/>
                </a:lnTo>
                <a:lnTo>
                  <a:pt x="29467" y="52597"/>
                </a:lnTo>
                <a:lnTo>
                  <a:pt x="32023" y="53085"/>
                </a:lnTo>
                <a:lnTo>
                  <a:pt x="34508" y="53634"/>
                </a:lnTo>
                <a:lnTo>
                  <a:pt x="36993" y="54245"/>
                </a:lnTo>
                <a:lnTo>
                  <a:pt x="39478" y="54794"/>
                </a:lnTo>
                <a:lnTo>
                  <a:pt x="41964" y="55404"/>
                </a:lnTo>
                <a:lnTo>
                  <a:pt x="44378" y="56014"/>
                </a:lnTo>
                <a:lnTo>
                  <a:pt x="46863" y="56624"/>
                </a:lnTo>
                <a:lnTo>
                  <a:pt x="49277" y="57173"/>
                </a:lnTo>
                <a:lnTo>
                  <a:pt x="51691" y="57662"/>
                </a:lnTo>
                <a:lnTo>
                  <a:pt x="54035" y="58150"/>
                </a:lnTo>
                <a:lnTo>
                  <a:pt x="56449" y="58577"/>
                </a:lnTo>
                <a:lnTo>
                  <a:pt x="58792" y="58943"/>
                </a:lnTo>
                <a:lnTo>
                  <a:pt x="61135" y="59187"/>
                </a:lnTo>
                <a:lnTo>
                  <a:pt x="63407" y="59370"/>
                </a:lnTo>
                <a:lnTo>
                  <a:pt x="65750" y="59492"/>
                </a:lnTo>
                <a:lnTo>
                  <a:pt x="67952" y="59431"/>
                </a:lnTo>
                <a:lnTo>
                  <a:pt x="70224" y="59309"/>
                </a:lnTo>
                <a:lnTo>
                  <a:pt x="72425" y="59004"/>
                </a:lnTo>
                <a:lnTo>
                  <a:pt x="74626" y="58638"/>
                </a:lnTo>
                <a:lnTo>
                  <a:pt x="76756" y="58028"/>
                </a:lnTo>
                <a:lnTo>
                  <a:pt x="78886" y="57295"/>
                </a:lnTo>
                <a:lnTo>
                  <a:pt x="82792" y="55892"/>
                </a:lnTo>
                <a:lnTo>
                  <a:pt x="86555" y="54672"/>
                </a:lnTo>
                <a:lnTo>
                  <a:pt x="90389" y="53695"/>
                </a:lnTo>
                <a:lnTo>
                  <a:pt x="94082" y="52902"/>
                </a:lnTo>
                <a:lnTo>
                  <a:pt x="97703" y="52292"/>
                </a:lnTo>
                <a:lnTo>
                  <a:pt x="101324" y="51865"/>
                </a:lnTo>
                <a:lnTo>
                  <a:pt x="104874" y="51499"/>
                </a:lnTo>
                <a:lnTo>
                  <a:pt x="108354" y="51316"/>
                </a:lnTo>
                <a:lnTo>
                  <a:pt x="111833" y="51194"/>
                </a:lnTo>
                <a:lnTo>
                  <a:pt x="115241" y="51133"/>
                </a:lnTo>
                <a:lnTo>
                  <a:pt x="118578" y="51194"/>
                </a:lnTo>
                <a:lnTo>
                  <a:pt x="121845" y="51316"/>
                </a:lnTo>
                <a:lnTo>
                  <a:pt x="125111" y="51438"/>
                </a:lnTo>
                <a:lnTo>
                  <a:pt x="128306" y="51560"/>
                </a:lnTo>
                <a:lnTo>
                  <a:pt x="131430" y="51682"/>
                </a:lnTo>
                <a:lnTo>
                  <a:pt x="134555" y="51804"/>
                </a:lnTo>
                <a:lnTo>
                  <a:pt x="137608" y="51926"/>
                </a:lnTo>
                <a:lnTo>
                  <a:pt x="143572" y="51926"/>
                </a:lnTo>
                <a:lnTo>
                  <a:pt x="146483" y="51804"/>
                </a:lnTo>
                <a:lnTo>
                  <a:pt x="149395" y="51560"/>
                </a:lnTo>
                <a:lnTo>
                  <a:pt x="152235" y="51194"/>
                </a:lnTo>
                <a:lnTo>
                  <a:pt x="155004" y="50706"/>
                </a:lnTo>
                <a:lnTo>
                  <a:pt x="157773" y="50034"/>
                </a:lnTo>
                <a:lnTo>
                  <a:pt x="160472" y="49241"/>
                </a:lnTo>
                <a:lnTo>
                  <a:pt x="163170" y="48204"/>
                </a:lnTo>
                <a:lnTo>
                  <a:pt x="165797" y="46983"/>
                </a:lnTo>
                <a:lnTo>
                  <a:pt x="168424" y="45580"/>
                </a:lnTo>
                <a:lnTo>
                  <a:pt x="170980" y="43872"/>
                </a:lnTo>
                <a:lnTo>
                  <a:pt x="173466" y="41919"/>
                </a:lnTo>
                <a:lnTo>
                  <a:pt x="175951" y="39661"/>
                </a:lnTo>
                <a:lnTo>
                  <a:pt x="178436" y="37160"/>
                </a:lnTo>
                <a:lnTo>
                  <a:pt x="178436" y="35878"/>
                </a:lnTo>
                <a:lnTo>
                  <a:pt x="178365" y="34658"/>
                </a:lnTo>
                <a:lnTo>
                  <a:pt x="178365" y="31058"/>
                </a:lnTo>
                <a:lnTo>
                  <a:pt x="178294" y="29898"/>
                </a:lnTo>
                <a:lnTo>
                  <a:pt x="178294" y="25322"/>
                </a:lnTo>
                <a:lnTo>
                  <a:pt x="178223" y="24163"/>
                </a:lnTo>
                <a:lnTo>
                  <a:pt x="178223" y="20624"/>
                </a:lnTo>
                <a:lnTo>
                  <a:pt x="178152" y="19403"/>
                </a:lnTo>
                <a:lnTo>
                  <a:pt x="178152" y="18183"/>
                </a:lnTo>
                <a:lnTo>
                  <a:pt x="178081" y="17024"/>
                </a:lnTo>
                <a:lnTo>
                  <a:pt x="178081" y="15864"/>
                </a:lnTo>
                <a:lnTo>
                  <a:pt x="178010" y="14644"/>
                </a:lnTo>
                <a:lnTo>
                  <a:pt x="177939" y="13485"/>
                </a:lnTo>
                <a:lnTo>
                  <a:pt x="177868" y="12386"/>
                </a:lnTo>
                <a:lnTo>
                  <a:pt x="177868" y="11227"/>
                </a:lnTo>
                <a:lnTo>
                  <a:pt x="177797" y="10067"/>
                </a:lnTo>
                <a:lnTo>
                  <a:pt x="177726" y="8908"/>
                </a:lnTo>
                <a:lnTo>
                  <a:pt x="177655" y="7810"/>
                </a:lnTo>
                <a:lnTo>
                  <a:pt x="177584" y="6650"/>
                </a:lnTo>
                <a:lnTo>
                  <a:pt x="177513" y="5552"/>
                </a:lnTo>
                <a:lnTo>
                  <a:pt x="177442" y="4454"/>
                </a:lnTo>
                <a:lnTo>
                  <a:pt x="177371" y="3294"/>
                </a:lnTo>
                <a:lnTo>
                  <a:pt x="177371" y="2196"/>
                </a:lnTo>
                <a:lnTo>
                  <a:pt x="177300" y="1098"/>
                </a:lnTo>
                <a:lnTo>
                  <a:pt x="177229" y="0"/>
                </a:lnTo>
                <a:lnTo>
                  <a:pt x="174744" y="2623"/>
                </a:lnTo>
                <a:lnTo>
                  <a:pt x="172187" y="4942"/>
                </a:lnTo>
                <a:lnTo>
                  <a:pt x="169560" y="7017"/>
                </a:lnTo>
                <a:lnTo>
                  <a:pt x="166933" y="8725"/>
                </a:lnTo>
                <a:lnTo>
                  <a:pt x="164235" y="10251"/>
                </a:lnTo>
                <a:lnTo>
                  <a:pt x="161466" y="11471"/>
                </a:lnTo>
                <a:lnTo>
                  <a:pt x="158625" y="12508"/>
                </a:lnTo>
                <a:lnTo>
                  <a:pt x="155785" y="13301"/>
                </a:lnTo>
                <a:lnTo>
                  <a:pt x="152874" y="13973"/>
                </a:lnTo>
                <a:lnTo>
                  <a:pt x="149963" y="14461"/>
                </a:lnTo>
                <a:lnTo>
                  <a:pt x="146981" y="14766"/>
                </a:lnTo>
                <a:lnTo>
                  <a:pt x="143927" y="14949"/>
                </a:lnTo>
                <a:lnTo>
                  <a:pt x="140874" y="15071"/>
                </a:lnTo>
                <a:lnTo>
                  <a:pt x="137750" y="15071"/>
                </a:lnTo>
                <a:lnTo>
                  <a:pt x="134626" y="14949"/>
                </a:lnTo>
                <a:lnTo>
                  <a:pt x="131430" y="14827"/>
                </a:lnTo>
                <a:lnTo>
                  <a:pt x="128235" y="14705"/>
                </a:lnTo>
                <a:lnTo>
                  <a:pt x="124969" y="14522"/>
                </a:lnTo>
                <a:lnTo>
                  <a:pt x="121703" y="14339"/>
                </a:lnTo>
                <a:lnTo>
                  <a:pt x="118365" y="14217"/>
                </a:lnTo>
                <a:lnTo>
                  <a:pt x="115028" y="14095"/>
                </a:lnTo>
                <a:lnTo>
                  <a:pt x="111691" y="14034"/>
                </a:lnTo>
                <a:lnTo>
                  <a:pt x="108283" y="14095"/>
                </a:lnTo>
                <a:lnTo>
                  <a:pt x="104874" y="14217"/>
                </a:lnTo>
                <a:lnTo>
                  <a:pt x="101466" y="14461"/>
                </a:lnTo>
                <a:lnTo>
                  <a:pt x="98058" y="14827"/>
                </a:lnTo>
                <a:lnTo>
                  <a:pt x="94579" y="15376"/>
                </a:lnTo>
                <a:lnTo>
                  <a:pt x="91099" y="16108"/>
                </a:lnTo>
                <a:lnTo>
                  <a:pt x="87549" y="17024"/>
                </a:lnTo>
                <a:lnTo>
                  <a:pt x="84070" y="18122"/>
                </a:lnTo>
                <a:lnTo>
                  <a:pt x="80520" y="19464"/>
                </a:lnTo>
                <a:lnTo>
                  <a:pt x="76969" y="21051"/>
                </a:lnTo>
                <a:lnTo>
                  <a:pt x="75052" y="21905"/>
                </a:lnTo>
                <a:lnTo>
                  <a:pt x="73064" y="22576"/>
                </a:lnTo>
                <a:lnTo>
                  <a:pt x="71005" y="23125"/>
                </a:lnTo>
                <a:lnTo>
                  <a:pt x="68875" y="23491"/>
                </a:lnTo>
                <a:lnTo>
                  <a:pt x="66745" y="23736"/>
                </a:lnTo>
                <a:lnTo>
                  <a:pt x="64543" y="23919"/>
                </a:lnTo>
                <a:lnTo>
                  <a:pt x="62271" y="23919"/>
                </a:lnTo>
                <a:lnTo>
                  <a:pt x="59999" y="23858"/>
                </a:lnTo>
                <a:lnTo>
                  <a:pt x="57656" y="23675"/>
                </a:lnTo>
                <a:lnTo>
                  <a:pt x="55242" y="23430"/>
                </a:lnTo>
                <a:lnTo>
                  <a:pt x="52898" y="23125"/>
                </a:lnTo>
                <a:lnTo>
                  <a:pt x="50413" y="22759"/>
                </a:lnTo>
                <a:lnTo>
                  <a:pt x="47999" y="22271"/>
                </a:lnTo>
                <a:lnTo>
                  <a:pt x="45514" y="21844"/>
                </a:lnTo>
                <a:lnTo>
                  <a:pt x="42958" y="21295"/>
                </a:lnTo>
                <a:lnTo>
                  <a:pt x="40473" y="20746"/>
                </a:lnTo>
                <a:lnTo>
                  <a:pt x="37916" y="20258"/>
                </a:lnTo>
                <a:lnTo>
                  <a:pt x="35360" y="19647"/>
                </a:lnTo>
                <a:lnTo>
                  <a:pt x="32804" y="19159"/>
                </a:lnTo>
                <a:lnTo>
                  <a:pt x="30248" y="18610"/>
                </a:lnTo>
                <a:lnTo>
                  <a:pt x="27692" y="18122"/>
                </a:lnTo>
                <a:lnTo>
                  <a:pt x="25064" y="17634"/>
                </a:lnTo>
                <a:lnTo>
                  <a:pt x="22508" y="17207"/>
                </a:lnTo>
                <a:lnTo>
                  <a:pt x="19952" y="16840"/>
                </a:lnTo>
                <a:lnTo>
                  <a:pt x="17396" y="16535"/>
                </a:lnTo>
                <a:lnTo>
                  <a:pt x="14840" y="16291"/>
                </a:lnTo>
                <a:lnTo>
                  <a:pt x="12354" y="16169"/>
                </a:lnTo>
                <a:lnTo>
                  <a:pt x="9798" y="16108"/>
                </a:lnTo>
                <a:lnTo>
                  <a:pt x="7313" y="16169"/>
                </a:lnTo>
                <a:lnTo>
                  <a:pt x="4828" y="16291"/>
                </a:lnTo>
                <a:lnTo>
                  <a:pt x="2414" y="16596"/>
                </a:lnTo>
                <a:lnTo>
                  <a:pt x="0" y="17024"/>
                </a:lnTo>
                <a:lnTo>
                  <a:pt x="71" y="18122"/>
                </a:lnTo>
                <a:lnTo>
                  <a:pt x="71" y="19220"/>
                </a:lnTo>
                <a:lnTo>
                  <a:pt x="142" y="20319"/>
                </a:lnTo>
                <a:lnTo>
                  <a:pt x="213" y="21417"/>
                </a:lnTo>
                <a:lnTo>
                  <a:pt x="213" y="22515"/>
                </a:lnTo>
                <a:lnTo>
                  <a:pt x="284" y="23675"/>
                </a:lnTo>
                <a:lnTo>
                  <a:pt x="355" y="24773"/>
                </a:lnTo>
                <a:lnTo>
                  <a:pt x="426" y="25871"/>
                </a:lnTo>
                <a:lnTo>
                  <a:pt x="426" y="27031"/>
                </a:lnTo>
                <a:lnTo>
                  <a:pt x="497" y="28129"/>
                </a:lnTo>
                <a:lnTo>
                  <a:pt x="568" y="29288"/>
                </a:lnTo>
                <a:lnTo>
                  <a:pt x="568" y="30387"/>
                </a:lnTo>
                <a:lnTo>
                  <a:pt x="639" y="31546"/>
                </a:lnTo>
                <a:lnTo>
                  <a:pt x="710" y="32705"/>
                </a:lnTo>
                <a:lnTo>
                  <a:pt x="710" y="33865"/>
                </a:lnTo>
                <a:lnTo>
                  <a:pt x="781" y="35024"/>
                </a:lnTo>
                <a:lnTo>
                  <a:pt x="852" y="36122"/>
                </a:lnTo>
                <a:lnTo>
                  <a:pt x="852" y="37282"/>
                </a:lnTo>
                <a:lnTo>
                  <a:pt x="923" y="38380"/>
                </a:lnTo>
                <a:lnTo>
                  <a:pt x="994" y="39478"/>
                </a:lnTo>
                <a:lnTo>
                  <a:pt x="1065" y="40577"/>
                </a:lnTo>
                <a:lnTo>
                  <a:pt x="1065" y="41675"/>
                </a:lnTo>
                <a:lnTo>
                  <a:pt x="1136" y="42773"/>
                </a:lnTo>
                <a:lnTo>
                  <a:pt x="1207" y="43872"/>
                </a:lnTo>
                <a:lnTo>
                  <a:pt x="1207" y="44970"/>
                </a:lnTo>
                <a:lnTo>
                  <a:pt x="1278" y="46068"/>
                </a:lnTo>
                <a:lnTo>
                  <a:pt x="1349" y="47166"/>
                </a:lnTo>
                <a:lnTo>
                  <a:pt x="1349" y="48265"/>
                </a:lnTo>
                <a:lnTo>
                  <a:pt x="1420" y="49302"/>
                </a:lnTo>
                <a:close/>
              </a:path>
            </a:pathLst>
          </a:custGeom>
          <a:solidFill>
            <a:srgbClr val="E4E4E4"/>
          </a:solidFill>
        </p:spPr>
        <p:txBody>
          <a:bodyPr wrap="square" lIns="0" tIns="0" rIns="0" bIns="0" rtlCol="0">
            <a:noAutofit/>
          </a:bodyPr>
          <a:lstStyle/>
          <a:p>
            <a:endParaRPr/>
          </a:p>
        </p:txBody>
      </p:sp>
      <p:sp>
        <p:nvSpPr>
          <p:cNvPr id="605" name="object 605"/>
          <p:cNvSpPr/>
          <p:nvPr/>
        </p:nvSpPr>
        <p:spPr>
          <a:xfrm>
            <a:off x="8876594" y="4253582"/>
            <a:ext cx="178436" cy="59492"/>
          </a:xfrm>
          <a:custGeom>
            <a:avLst/>
            <a:gdLst/>
            <a:ahLst/>
            <a:cxnLst/>
            <a:rect l="l" t="t" r="r" b="b"/>
            <a:pathLst>
              <a:path w="178436" h="59492">
                <a:moveTo>
                  <a:pt x="0" y="17024"/>
                </a:moveTo>
                <a:lnTo>
                  <a:pt x="2414" y="16596"/>
                </a:lnTo>
                <a:lnTo>
                  <a:pt x="4828" y="16291"/>
                </a:lnTo>
                <a:lnTo>
                  <a:pt x="7313" y="16169"/>
                </a:lnTo>
                <a:lnTo>
                  <a:pt x="9798" y="16108"/>
                </a:lnTo>
                <a:lnTo>
                  <a:pt x="12354" y="16169"/>
                </a:lnTo>
                <a:lnTo>
                  <a:pt x="14840" y="16291"/>
                </a:lnTo>
                <a:lnTo>
                  <a:pt x="17396" y="16535"/>
                </a:lnTo>
                <a:lnTo>
                  <a:pt x="19952" y="16840"/>
                </a:lnTo>
                <a:lnTo>
                  <a:pt x="22508" y="17207"/>
                </a:lnTo>
                <a:lnTo>
                  <a:pt x="25064" y="17634"/>
                </a:lnTo>
                <a:lnTo>
                  <a:pt x="27692" y="18122"/>
                </a:lnTo>
                <a:lnTo>
                  <a:pt x="30248" y="18610"/>
                </a:lnTo>
                <a:lnTo>
                  <a:pt x="32804" y="19159"/>
                </a:lnTo>
                <a:lnTo>
                  <a:pt x="35360" y="19647"/>
                </a:lnTo>
                <a:lnTo>
                  <a:pt x="37916" y="20258"/>
                </a:lnTo>
                <a:lnTo>
                  <a:pt x="40473" y="20746"/>
                </a:lnTo>
                <a:lnTo>
                  <a:pt x="42958" y="21295"/>
                </a:lnTo>
                <a:lnTo>
                  <a:pt x="45514" y="21844"/>
                </a:lnTo>
                <a:lnTo>
                  <a:pt x="47999" y="22271"/>
                </a:lnTo>
                <a:lnTo>
                  <a:pt x="50413" y="22759"/>
                </a:lnTo>
                <a:lnTo>
                  <a:pt x="52898" y="23125"/>
                </a:lnTo>
                <a:lnTo>
                  <a:pt x="55242" y="23430"/>
                </a:lnTo>
                <a:lnTo>
                  <a:pt x="57656" y="23675"/>
                </a:lnTo>
                <a:lnTo>
                  <a:pt x="59999" y="23858"/>
                </a:lnTo>
                <a:lnTo>
                  <a:pt x="62271" y="23919"/>
                </a:lnTo>
                <a:lnTo>
                  <a:pt x="64543" y="23919"/>
                </a:lnTo>
                <a:lnTo>
                  <a:pt x="66745" y="23736"/>
                </a:lnTo>
                <a:lnTo>
                  <a:pt x="68875" y="23491"/>
                </a:lnTo>
                <a:lnTo>
                  <a:pt x="71005" y="23125"/>
                </a:lnTo>
                <a:lnTo>
                  <a:pt x="73064" y="22576"/>
                </a:lnTo>
                <a:lnTo>
                  <a:pt x="75052" y="21905"/>
                </a:lnTo>
                <a:lnTo>
                  <a:pt x="76969" y="21051"/>
                </a:lnTo>
                <a:lnTo>
                  <a:pt x="80520" y="19464"/>
                </a:lnTo>
                <a:lnTo>
                  <a:pt x="84070" y="18122"/>
                </a:lnTo>
                <a:lnTo>
                  <a:pt x="87549" y="17024"/>
                </a:lnTo>
                <a:lnTo>
                  <a:pt x="91099" y="16108"/>
                </a:lnTo>
                <a:lnTo>
                  <a:pt x="94579" y="15376"/>
                </a:lnTo>
                <a:lnTo>
                  <a:pt x="98058" y="14827"/>
                </a:lnTo>
                <a:lnTo>
                  <a:pt x="101466" y="14461"/>
                </a:lnTo>
                <a:lnTo>
                  <a:pt x="104874" y="14217"/>
                </a:lnTo>
                <a:lnTo>
                  <a:pt x="108283" y="14095"/>
                </a:lnTo>
                <a:lnTo>
                  <a:pt x="111691" y="14034"/>
                </a:lnTo>
                <a:lnTo>
                  <a:pt x="115028" y="14095"/>
                </a:lnTo>
                <a:lnTo>
                  <a:pt x="118365" y="14217"/>
                </a:lnTo>
                <a:lnTo>
                  <a:pt x="121703" y="14339"/>
                </a:lnTo>
                <a:lnTo>
                  <a:pt x="124969" y="14522"/>
                </a:lnTo>
                <a:lnTo>
                  <a:pt x="128235" y="14705"/>
                </a:lnTo>
                <a:lnTo>
                  <a:pt x="131430" y="14827"/>
                </a:lnTo>
                <a:lnTo>
                  <a:pt x="134626" y="14949"/>
                </a:lnTo>
                <a:lnTo>
                  <a:pt x="137750" y="15071"/>
                </a:lnTo>
                <a:lnTo>
                  <a:pt x="140874" y="15071"/>
                </a:lnTo>
                <a:lnTo>
                  <a:pt x="143927" y="14949"/>
                </a:lnTo>
                <a:lnTo>
                  <a:pt x="146981" y="14766"/>
                </a:lnTo>
                <a:lnTo>
                  <a:pt x="149963" y="14461"/>
                </a:lnTo>
                <a:lnTo>
                  <a:pt x="152874" y="13973"/>
                </a:lnTo>
                <a:lnTo>
                  <a:pt x="155785" y="13301"/>
                </a:lnTo>
                <a:lnTo>
                  <a:pt x="158625" y="12508"/>
                </a:lnTo>
                <a:lnTo>
                  <a:pt x="161466" y="11471"/>
                </a:lnTo>
                <a:lnTo>
                  <a:pt x="164235" y="10251"/>
                </a:lnTo>
                <a:lnTo>
                  <a:pt x="166933" y="8725"/>
                </a:lnTo>
                <a:lnTo>
                  <a:pt x="169560" y="7017"/>
                </a:lnTo>
                <a:lnTo>
                  <a:pt x="172187" y="4942"/>
                </a:lnTo>
                <a:lnTo>
                  <a:pt x="174744" y="2623"/>
                </a:lnTo>
                <a:lnTo>
                  <a:pt x="177229" y="0"/>
                </a:lnTo>
                <a:lnTo>
                  <a:pt x="177300" y="1098"/>
                </a:lnTo>
                <a:lnTo>
                  <a:pt x="177371" y="2196"/>
                </a:lnTo>
                <a:lnTo>
                  <a:pt x="177371" y="3294"/>
                </a:lnTo>
                <a:lnTo>
                  <a:pt x="177442" y="4454"/>
                </a:lnTo>
                <a:lnTo>
                  <a:pt x="177513" y="5552"/>
                </a:lnTo>
                <a:lnTo>
                  <a:pt x="177584" y="6650"/>
                </a:lnTo>
                <a:lnTo>
                  <a:pt x="177655" y="7810"/>
                </a:lnTo>
                <a:lnTo>
                  <a:pt x="177726" y="8908"/>
                </a:lnTo>
                <a:lnTo>
                  <a:pt x="177797" y="10067"/>
                </a:lnTo>
                <a:lnTo>
                  <a:pt x="177868" y="11227"/>
                </a:lnTo>
                <a:lnTo>
                  <a:pt x="177868" y="12386"/>
                </a:lnTo>
                <a:lnTo>
                  <a:pt x="177939" y="13485"/>
                </a:lnTo>
                <a:lnTo>
                  <a:pt x="178010" y="14644"/>
                </a:lnTo>
                <a:lnTo>
                  <a:pt x="178081" y="15864"/>
                </a:lnTo>
                <a:lnTo>
                  <a:pt x="178081" y="17024"/>
                </a:lnTo>
                <a:lnTo>
                  <a:pt x="178152" y="18183"/>
                </a:lnTo>
                <a:lnTo>
                  <a:pt x="178152" y="19403"/>
                </a:lnTo>
                <a:lnTo>
                  <a:pt x="178223" y="20624"/>
                </a:lnTo>
                <a:lnTo>
                  <a:pt x="178223" y="21783"/>
                </a:lnTo>
                <a:lnTo>
                  <a:pt x="178223" y="23003"/>
                </a:lnTo>
                <a:lnTo>
                  <a:pt x="178223" y="24163"/>
                </a:lnTo>
                <a:lnTo>
                  <a:pt x="178294" y="25322"/>
                </a:lnTo>
                <a:lnTo>
                  <a:pt x="178294" y="26420"/>
                </a:lnTo>
                <a:lnTo>
                  <a:pt x="178294" y="27580"/>
                </a:lnTo>
                <a:lnTo>
                  <a:pt x="178294" y="28739"/>
                </a:lnTo>
                <a:lnTo>
                  <a:pt x="178294" y="29898"/>
                </a:lnTo>
                <a:lnTo>
                  <a:pt x="178365" y="31058"/>
                </a:lnTo>
                <a:lnTo>
                  <a:pt x="178365" y="32278"/>
                </a:lnTo>
                <a:lnTo>
                  <a:pt x="178365" y="33437"/>
                </a:lnTo>
                <a:lnTo>
                  <a:pt x="178365" y="34658"/>
                </a:lnTo>
                <a:lnTo>
                  <a:pt x="178436" y="35878"/>
                </a:lnTo>
                <a:lnTo>
                  <a:pt x="178436" y="37160"/>
                </a:lnTo>
                <a:lnTo>
                  <a:pt x="175951" y="39661"/>
                </a:lnTo>
                <a:lnTo>
                  <a:pt x="173466" y="41919"/>
                </a:lnTo>
                <a:lnTo>
                  <a:pt x="170980" y="43872"/>
                </a:lnTo>
                <a:lnTo>
                  <a:pt x="168424" y="45580"/>
                </a:lnTo>
                <a:lnTo>
                  <a:pt x="165797" y="46983"/>
                </a:lnTo>
                <a:lnTo>
                  <a:pt x="163170" y="48204"/>
                </a:lnTo>
                <a:lnTo>
                  <a:pt x="160472" y="49241"/>
                </a:lnTo>
                <a:lnTo>
                  <a:pt x="157773" y="50034"/>
                </a:lnTo>
                <a:lnTo>
                  <a:pt x="155004" y="50706"/>
                </a:lnTo>
                <a:lnTo>
                  <a:pt x="152235" y="51194"/>
                </a:lnTo>
                <a:lnTo>
                  <a:pt x="149395" y="51560"/>
                </a:lnTo>
                <a:lnTo>
                  <a:pt x="146483" y="51804"/>
                </a:lnTo>
                <a:lnTo>
                  <a:pt x="143572" y="51926"/>
                </a:lnTo>
                <a:lnTo>
                  <a:pt x="140590" y="51926"/>
                </a:lnTo>
                <a:lnTo>
                  <a:pt x="137608" y="51926"/>
                </a:lnTo>
                <a:lnTo>
                  <a:pt x="134555" y="51804"/>
                </a:lnTo>
                <a:lnTo>
                  <a:pt x="131430" y="51682"/>
                </a:lnTo>
                <a:lnTo>
                  <a:pt x="128306" y="51560"/>
                </a:lnTo>
                <a:lnTo>
                  <a:pt x="125111" y="51438"/>
                </a:lnTo>
                <a:lnTo>
                  <a:pt x="121845" y="51316"/>
                </a:lnTo>
                <a:lnTo>
                  <a:pt x="118578" y="51194"/>
                </a:lnTo>
                <a:lnTo>
                  <a:pt x="115241" y="51133"/>
                </a:lnTo>
                <a:lnTo>
                  <a:pt x="111833" y="51194"/>
                </a:lnTo>
                <a:lnTo>
                  <a:pt x="108354" y="51316"/>
                </a:lnTo>
                <a:lnTo>
                  <a:pt x="104874" y="51499"/>
                </a:lnTo>
                <a:lnTo>
                  <a:pt x="101324" y="51865"/>
                </a:lnTo>
                <a:lnTo>
                  <a:pt x="97703" y="52292"/>
                </a:lnTo>
                <a:lnTo>
                  <a:pt x="94082" y="52902"/>
                </a:lnTo>
                <a:lnTo>
                  <a:pt x="90389" y="53695"/>
                </a:lnTo>
                <a:lnTo>
                  <a:pt x="86555" y="54672"/>
                </a:lnTo>
                <a:lnTo>
                  <a:pt x="82792" y="55892"/>
                </a:lnTo>
                <a:lnTo>
                  <a:pt x="78886" y="57295"/>
                </a:lnTo>
                <a:lnTo>
                  <a:pt x="76756" y="58028"/>
                </a:lnTo>
                <a:lnTo>
                  <a:pt x="74626" y="58638"/>
                </a:lnTo>
                <a:lnTo>
                  <a:pt x="72425" y="59004"/>
                </a:lnTo>
                <a:lnTo>
                  <a:pt x="70224" y="59309"/>
                </a:lnTo>
                <a:lnTo>
                  <a:pt x="67952" y="59431"/>
                </a:lnTo>
                <a:lnTo>
                  <a:pt x="65750" y="59492"/>
                </a:lnTo>
                <a:lnTo>
                  <a:pt x="63407" y="59370"/>
                </a:lnTo>
                <a:lnTo>
                  <a:pt x="61135" y="59187"/>
                </a:lnTo>
                <a:lnTo>
                  <a:pt x="58792" y="58943"/>
                </a:lnTo>
                <a:lnTo>
                  <a:pt x="56449" y="58577"/>
                </a:lnTo>
                <a:lnTo>
                  <a:pt x="54035" y="58150"/>
                </a:lnTo>
                <a:lnTo>
                  <a:pt x="51691" y="57662"/>
                </a:lnTo>
                <a:lnTo>
                  <a:pt x="49277" y="57173"/>
                </a:lnTo>
                <a:lnTo>
                  <a:pt x="46863" y="56624"/>
                </a:lnTo>
                <a:lnTo>
                  <a:pt x="44378" y="56014"/>
                </a:lnTo>
                <a:lnTo>
                  <a:pt x="41964" y="55404"/>
                </a:lnTo>
                <a:lnTo>
                  <a:pt x="39478" y="54794"/>
                </a:lnTo>
                <a:lnTo>
                  <a:pt x="36993" y="54245"/>
                </a:lnTo>
                <a:lnTo>
                  <a:pt x="34508" y="53634"/>
                </a:lnTo>
                <a:lnTo>
                  <a:pt x="32023" y="53085"/>
                </a:lnTo>
                <a:lnTo>
                  <a:pt x="29467" y="52597"/>
                </a:lnTo>
                <a:lnTo>
                  <a:pt x="26982" y="52109"/>
                </a:lnTo>
                <a:lnTo>
                  <a:pt x="24425" y="51682"/>
                </a:lnTo>
                <a:lnTo>
                  <a:pt x="21869" y="51377"/>
                </a:lnTo>
                <a:lnTo>
                  <a:pt x="19384" y="51133"/>
                </a:lnTo>
                <a:lnTo>
                  <a:pt x="16828" y="50950"/>
                </a:lnTo>
                <a:lnTo>
                  <a:pt x="14272" y="50889"/>
                </a:lnTo>
                <a:lnTo>
                  <a:pt x="11715" y="50950"/>
                </a:lnTo>
                <a:lnTo>
                  <a:pt x="9159" y="51133"/>
                </a:lnTo>
                <a:lnTo>
                  <a:pt x="6603" y="51438"/>
                </a:lnTo>
                <a:lnTo>
                  <a:pt x="4047" y="51926"/>
                </a:lnTo>
                <a:lnTo>
                  <a:pt x="1491" y="52536"/>
                </a:lnTo>
                <a:lnTo>
                  <a:pt x="1491" y="51499"/>
                </a:lnTo>
                <a:lnTo>
                  <a:pt x="1420" y="50400"/>
                </a:lnTo>
                <a:lnTo>
                  <a:pt x="1420" y="49302"/>
                </a:lnTo>
                <a:lnTo>
                  <a:pt x="1349" y="48265"/>
                </a:lnTo>
                <a:lnTo>
                  <a:pt x="1349" y="47166"/>
                </a:lnTo>
                <a:lnTo>
                  <a:pt x="1278" y="46068"/>
                </a:lnTo>
                <a:lnTo>
                  <a:pt x="1207" y="44970"/>
                </a:lnTo>
                <a:lnTo>
                  <a:pt x="1207" y="43872"/>
                </a:lnTo>
                <a:lnTo>
                  <a:pt x="1136" y="42773"/>
                </a:lnTo>
                <a:lnTo>
                  <a:pt x="1065" y="41675"/>
                </a:lnTo>
                <a:lnTo>
                  <a:pt x="1065" y="40577"/>
                </a:lnTo>
                <a:lnTo>
                  <a:pt x="994" y="39478"/>
                </a:lnTo>
                <a:lnTo>
                  <a:pt x="923" y="38380"/>
                </a:lnTo>
                <a:lnTo>
                  <a:pt x="852" y="37282"/>
                </a:lnTo>
                <a:lnTo>
                  <a:pt x="852" y="36122"/>
                </a:lnTo>
                <a:lnTo>
                  <a:pt x="781" y="35024"/>
                </a:lnTo>
                <a:lnTo>
                  <a:pt x="710" y="33865"/>
                </a:lnTo>
                <a:lnTo>
                  <a:pt x="710" y="32705"/>
                </a:lnTo>
                <a:lnTo>
                  <a:pt x="639" y="31546"/>
                </a:lnTo>
                <a:lnTo>
                  <a:pt x="568" y="30387"/>
                </a:lnTo>
                <a:lnTo>
                  <a:pt x="568" y="29288"/>
                </a:lnTo>
                <a:lnTo>
                  <a:pt x="497" y="28129"/>
                </a:lnTo>
                <a:lnTo>
                  <a:pt x="426" y="27031"/>
                </a:lnTo>
                <a:lnTo>
                  <a:pt x="426" y="25871"/>
                </a:lnTo>
                <a:lnTo>
                  <a:pt x="355" y="24773"/>
                </a:lnTo>
                <a:lnTo>
                  <a:pt x="284" y="23675"/>
                </a:lnTo>
                <a:lnTo>
                  <a:pt x="213" y="22515"/>
                </a:lnTo>
                <a:lnTo>
                  <a:pt x="213" y="21417"/>
                </a:lnTo>
                <a:lnTo>
                  <a:pt x="142" y="20319"/>
                </a:lnTo>
                <a:lnTo>
                  <a:pt x="71" y="19220"/>
                </a:lnTo>
                <a:lnTo>
                  <a:pt x="71" y="18122"/>
                </a:lnTo>
                <a:lnTo>
                  <a:pt x="0" y="17024"/>
                </a:lnTo>
              </a:path>
            </a:pathLst>
          </a:custGeom>
          <a:ln w="62">
            <a:solidFill>
              <a:srgbClr val="000000"/>
            </a:solidFill>
          </a:ln>
        </p:spPr>
        <p:txBody>
          <a:bodyPr wrap="square" lIns="0" tIns="0" rIns="0" bIns="0" rtlCol="0">
            <a:noAutofit/>
          </a:bodyPr>
          <a:lstStyle/>
          <a:p>
            <a:endParaRPr/>
          </a:p>
        </p:txBody>
      </p:sp>
      <p:sp>
        <p:nvSpPr>
          <p:cNvPr id="606" name="object 606"/>
          <p:cNvSpPr/>
          <p:nvPr/>
        </p:nvSpPr>
        <p:spPr>
          <a:xfrm>
            <a:off x="8985516" y="4276036"/>
            <a:ext cx="22082" cy="22698"/>
          </a:xfrm>
          <a:custGeom>
            <a:avLst/>
            <a:gdLst/>
            <a:ahLst/>
            <a:cxnLst/>
            <a:rect l="l" t="t" r="r" b="b"/>
            <a:pathLst>
              <a:path w="22082" h="22698">
                <a:moveTo>
                  <a:pt x="21585" y="16169"/>
                </a:moveTo>
                <a:lnTo>
                  <a:pt x="21514" y="15742"/>
                </a:lnTo>
                <a:lnTo>
                  <a:pt x="21514" y="14766"/>
                </a:lnTo>
                <a:lnTo>
                  <a:pt x="22082" y="7017"/>
                </a:lnTo>
                <a:lnTo>
                  <a:pt x="22082" y="5064"/>
                </a:lnTo>
                <a:lnTo>
                  <a:pt x="22011" y="4454"/>
                </a:lnTo>
                <a:lnTo>
                  <a:pt x="21940" y="3905"/>
                </a:lnTo>
                <a:lnTo>
                  <a:pt x="21798" y="3355"/>
                </a:lnTo>
                <a:lnTo>
                  <a:pt x="21656" y="2806"/>
                </a:lnTo>
                <a:lnTo>
                  <a:pt x="21514" y="2318"/>
                </a:lnTo>
                <a:lnTo>
                  <a:pt x="21372" y="1830"/>
                </a:lnTo>
                <a:lnTo>
                  <a:pt x="21088" y="1403"/>
                </a:lnTo>
                <a:lnTo>
                  <a:pt x="20804" y="1037"/>
                </a:lnTo>
                <a:lnTo>
                  <a:pt x="20449" y="732"/>
                </a:lnTo>
                <a:lnTo>
                  <a:pt x="20023" y="488"/>
                </a:lnTo>
                <a:lnTo>
                  <a:pt x="19526" y="244"/>
                </a:lnTo>
                <a:lnTo>
                  <a:pt x="18958" y="122"/>
                </a:lnTo>
                <a:lnTo>
                  <a:pt x="18390" y="61"/>
                </a:lnTo>
                <a:lnTo>
                  <a:pt x="17822" y="61"/>
                </a:lnTo>
                <a:lnTo>
                  <a:pt x="17254" y="122"/>
                </a:lnTo>
                <a:lnTo>
                  <a:pt x="16686" y="244"/>
                </a:lnTo>
                <a:lnTo>
                  <a:pt x="16189" y="488"/>
                </a:lnTo>
                <a:lnTo>
                  <a:pt x="15621" y="732"/>
                </a:lnTo>
                <a:lnTo>
                  <a:pt x="15053" y="1098"/>
                </a:lnTo>
                <a:lnTo>
                  <a:pt x="14556" y="1525"/>
                </a:lnTo>
                <a:lnTo>
                  <a:pt x="13988" y="2013"/>
                </a:lnTo>
                <a:lnTo>
                  <a:pt x="13704" y="1525"/>
                </a:lnTo>
                <a:lnTo>
                  <a:pt x="13349" y="1159"/>
                </a:lnTo>
                <a:lnTo>
                  <a:pt x="12993" y="793"/>
                </a:lnTo>
                <a:lnTo>
                  <a:pt x="12638" y="549"/>
                </a:lnTo>
                <a:lnTo>
                  <a:pt x="12212" y="305"/>
                </a:lnTo>
                <a:lnTo>
                  <a:pt x="11786" y="122"/>
                </a:lnTo>
                <a:lnTo>
                  <a:pt x="11289" y="61"/>
                </a:lnTo>
                <a:lnTo>
                  <a:pt x="10792" y="0"/>
                </a:lnTo>
                <a:lnTo>
                  <a:pt x="10437" y="0"/>
                </a:lnTo>
                <a:lnTo>
                  <a:pt x="10011" y="122"/>
                </a:lnTo>
                <a:lnTo>
                  <a:pt x="9514" y="183"/>
                </a:lnTo>
                <a:lnTo>
                  <a:pt x="9088" y="366"/>
                </a:lnTo>
                <a:lnTo>
                  <a:pt x="8591" y="610"/>
                </a:lnTo>
                <a:lnTo>
                  <a:pt x="8094" y="854"/>
                </a:lnTo>
                <a:lnTo>
                  <a:pt x="7526" y="1159"/>
                </a:lnTo>
                <a:lnTo>
                  <a:pt x="7029" y="1525"/>
                </a:lnTo>
                <a:lnTo>
                  <a:pt x="7029" y="244"/>
                </a:lnTo>
                <a:lnTo>
                  <a:pt x="1207" y="122"/>
                </a:lnTo>
                <a:lnTo>
                  <a:pt x="923" y="5003"/>
                </a:lnTo>
                <a:lnTo>
                  <a:pt x="1136" y="5186"/>
                </a:lnTo>
                <a:lnTo>
                  <a:pt x="1278" y="5369"/>
                </a:lnTo>
                <a:lnTo>
                  <a:pt x="1349" y="5613"/>
                </a:lnTo>
                <a:lnTo>
                  <a:pt x="1491" y="5918"/>
                </a:lnTo>
                <a:lnTo>
                  <a:pt x="1562" y="6284"/>
                </a:lnTo>
                <a:lnTo>
                  <a:pt x="1562" y="7139"/>
                </a:lnTo>
                <a:lnTo>
                  <a:pt x="1491" y="7566"/>
                </a:lnTo>
                <a:lnTo>
                  <a:pt x="1420" y="8237"/>
                </a:lnTo>
                <a:lnTo>
                  <a:pt x="1065" y="14339"/>
                </a:lnTo>
                <a:lnTo>
                  <a:pt x="1065" y="15620"/>
                </a:lnTo>
                <a:lnTo>
                  <a:pt x="994" y="15986"/>
                </a:lnTo>
                <a:lnTo>
                  <a:pt x="852" y="16230"/>
                </a:lnTo>
                <a:lnTo>
                  <a:pt x="781" y="16535"/>
                </a:lnTo>
                <a:lnTo>
                  <a:pt x="639" y="16779"/>
                </a:lnTo>
                <a:lnTo>
                  <a:pt x="497" y="17024"/>
                </a:lnTo>
                <a:lnTo>
                  <a:pt x="213" y="17207"/>
                </a:lnTo>
                <a:lnTo>
                  <a:pt x="0" y="22027"/>
                </a:lnTo>
                <a:lnTo>
                  <a:pt x="6816" y="22210"/>
                </a:lnTo>
                <a:lnTo>
                  <a:pt x="6958" y="17390"/>
                </a:lnTo>
                <a:lnTo>
                  <a:pt x="6816" y="17146"/>
                </a:lnTo>
                <a:lnTo>
                  <a:pt x="6745" y="16840"/>
                </a:lnTo>
                <a:lnTo>
                  <a:pt x="6603" y="16596"/>
                </a:lnTo>
                <a:lnTo>
                  <a:pt x="6532" y="16352"/>
                </a:lnTo>
                <a:lnTo>
                  <a:pt x="6532" y="14766"/>
                </a:lnTo>
                <a:lnTo>
                  <a:pt x="7029" y="6162"/>
                </a:lnTo>
                <a:lnTo>
                  <a:pt x="7313" y="6040"/>
                </a:lnTo>
                <a:lnTo>
                  <a:pt x="7526" y="5979"/>
                </a:lnTo>
                <a:lnTo>
                  <a:pt x="7739" y="5918"/>
                </a:lnTo>
                <a:lnTo>
                  <a:pt x="7881" y="5918"/>
                </a:lnTo>
                <a:lnTo>
                  <a:pt x="8236" y="5979"/>
                </a:lnTo>
                <a:lnTo>
                  <a:pt x="8520" y="6101"/>
                </a:lnTo>
                <a:lnTo>
                  <a:pt x="8733" y="6345"/>
                </a:lnTo>
                <a:lnTo>
                  <a:pt x="8804" y="6711"/>
                </a:lnTo>
                <a:lnTo>
                  <a:pt x="8875" y="6895"/>
                </a:lnTo>
                <a:lnTo>
                  <a:pt x="8875" y="7078"/>
                </a:lnTo>
                <a:lnTo>
                  <a:pt x="8946" y="7322"/>
                </a:lnTo>
                <a:lnTo>
                  <a:pt x="8946" y="8420"/>
                </a:lnTo>
                <a:lnTo>
                  <a:pt x="8875" y="8725"/>
                </a:lnTo>
                <a:lnTo>
                  <a:pt x="8875" y="10678"/>
                </a:lnTo>
                <a:lnTo>
                  <a:pt x="8520" y="16230"/>
                </a:lnTo>
                <a:lnTo>
                  <a:pt x="8449" y="16535"/>
                </a:lnTo>
                <a:lnTo>
                  <a:pt x="8449" y="16840"/>
                </a:lnTo>
                <a:lnTo>
                  <a:pt x="8378" y="17146"/>
                </a:lnTo>
                <a:lnTo>
                  <a:pt x="8307" y="17451"/>
                </a:lnTo>
                <a:lnTo>
                  <a:pt x="8307" y="20929"/>
                </a:lnTo>
                <a:lnTo>
                  <a:pt x="8378" y="21417"/>
                </a:lnTo>
                <a:lnTo>
                  <a:pt x="8378" y="21844"/>
                </a:lnTo>
                <a:lnTo>
                  <a:pt x="8449" y="22210"/>
                </a:lnTo>
                <a:lnTo>
                  <a:pt x="14272" y="22393"/>
                </a:lnTo>
                <a:lnTo>
                  <a:pt x="14485" y="17573"/>
                </a:lnTo>
                <a:lnTo>
                  <a:pt x="14343" y="17390"/>
                </a:lnTo>
                <a:lnTo>
                  <a:pt x="14272" y="17207"/>
                </a:lnTo>
                <a:lnTo>
                  <a:pt x="14130" y="16963"/>
                </a:lnTo>
                <a:lnTo>
                  <a:pt x="14059" y="16718"/>
                </a:lnTo>
                <a:lnTo>
                  <a:pt x="13988" y="16413"/>
                </a:lnTo>
                <a:lnTo>
                  <a:pt x="13988" y="16047"/>
                </a:lnTo>
                <a:lnTo>
                  <a:pt x="13917" y="15681"/>
                </a:lnTo>
                <a:lnTo>
                  <a:pt x="13917" y="15254"/>
                </a:lnTo>
                <a:lnTo>
                  <a:pt x="13988" y="15071"/>
                </a:lnTo>
                <a:lnTo>
                  <a:pt x="13988" y="14644"/>
                </a:lnTo>
                <a:lnTo>
                  <a:pt x="14556" y="6345"/>
                </a:lnTo>
                <a:lnTo>
                  <a:pt x="14840" y="6284"/>
                </a:lnTo>
                <a:lnTo>
                  <a:pt x="15053" y="6223"/>
                </a:lnTo>
                <a:lnTo>
                  <a:pt x="15266" y="6162"/>
                </a:lnTo>
                <a:lnTo>
                  <a:pt x="15692" y="6223"/>
                </a:lnTo>
                <a:lnTo>
                  <a:pt x="15976" y="6345"/>
                </a:lnTo>
                <a:lnTo>
                  <a:pt x="16189" y="6589"/>
                </a:lnTo>
                <a:lnTo>
                  <a:pt x="16331" y="6956"/>
                </a:lnTo>
                <a:lnTo>
                  <a:pt x="16402" y="7139"/>
                </a:lnTo>
                <a:lnTo>
                  <a:pt x="16402" y="7566"/>
                </a:lnTo>
                <a:lnTo>
                  <a:pt x="16473" y="7810"/>
                </a:lnTo>
                <a:lnTo>
                  <a:pt x="16473" y="8420"/>
                </a:lnTo>
                <a:lnTo>
                  <a:pt x="16402" y="8725"/>
                </a:lnTo>
                <a:lnTo>
                  <a:pt x="16402" y="9030"/>
                </a:lnTo>
                <a:lnTo>
                  <a:pt x="16331" y="10922"/>
                </a:lnTo>
                <a:lnTo>
                  <a:pt x="15976" y="17024"/>
                </a:lnTo>
                <a:lnTo>
                  <a:pt x="15905" y="17756"/>
                </a:lnTo>
                <a:lnTo>
                  <a:pt x="15905" y="21173"/>
                </a:lnTo>
                <a:lnTo>
                  <a:pt x="15976" y="21783"/>
                </a:lnTo>
                <a:lnTo>
                  <a:pt x="15976" y="22393"/>
                </a:lnTo>
                <a:lnTo>
                  <a:pt x="21798" y="22698"/>
                </a:lnTo>
                <a:lnTo>
                  <a:pt x="22011" y="17878"/>
                </a:lnTo>
                <a:lnTo>
                  <a:pt x="21869" y="17573"/>
                </a:lnTo>
                <a:lnTo>
                  <a:pt x="21798" y="17268"/>
                </a:lnTo>
                <a:lnTo>
                  <a:pt x="21656" y="17024"/>
                </a:lnTo>
                <a:lnTo>
                  <a:pt x="21585" y="16779"/>
                </a:lnTo>
                <a:lnTo>
                  <a:pt x="21585" y="16169"/>
                </a:lnTo>
                <a:close/>
              </a:path>
            </a:pathLst>
          </a:custGeom>
          <a:solidFill>
            <a:srgbClr val="000000"/>
          </a:solidFill>
        </p:spPr>
        <p:txBody>
          <a:bodyPr wrap="square" lIns="0" tIns="0" rIns="0" bIns="0" rtlCol="0">
            <a:noAutofit/>
          </a:bodyPr>
          <a:lstStyle/>
          <a:p>
            <a:endParaRPr/>
          </a:p>
        </p:txBody>
      </p:sp>
      <p:sp>
        <p:nvSpPr>
          <p:cNvPr id="607" name="object 607"/>
          <p:cNvSpPr/>
          <p:nvPr/>
        </p:nvSpPr>
        <p:spPr>
          <a:xfrm>
            <a:off x="9009019" y="4276464"/>
            <a:ext cx="13420" cy="22698"/>
          </a:xfrm>
          <a:custGeom>
            <a:avLst/>
            <a:gdLst/>
            <a:ahLst/>
            <a:cxnLst/>
            <a:rect l="l" t="t" r="r" b="b"/>
            <a:pathLst>
              <a:path w="13420" h="22698">
                <a:moveTo>
                  <a:pt x="7810" y="22576"/>
                </a:moveTo>
                <a:lnTo>
                  <a:pt x="8236" y="22515"/>
                </a:lnTo>
                <a:lnTo>
                  <a:pt x="8662" y="22454"/>
                </a:lnTo>
                <a:lnTo>
                  <a:pt x="9017" y="22393"/>
                </a:lnTo>
                <a:lnTo>
                  <a:pt x="9372" y="22271"/>
                </a:lnTo>
                <a:lnTo>
                  <a:pt x="9727" y="22210"/>
                </a:lnTo>
                <a:lnTo>
                  <a:pt x="10082" y="22027"/>
                </a:lnTo>
                <a:lnTo>
                  <a:pt x="10437" y="21844"/>
                </a:lnTo>
                <a:lnTo>
                  <a:pt x="10721" y="21600"/>
                </a:lnTo>
                <a:lnTo>
                  <a:pt x="11076" y="21295"/>
                </a:lnTo>
                <a:lnTo>
                  <a:pt x="11289" y="20990"/>
                </a:lnTo>
                <a:lnTo>
                  <a:pt x="11573" y="20624"/>
                </a:lnTo>
                <a:lnTo>
                  <a:pt x="11786" y="20258"/>
                </a:lnTo>
                <a:lnTo>
                  <a:pt x="11928" y="19830"/>
                </a:lnTo>
                <a:lnTo>
                  <a:pt x="12070" y="19403"/>
                </a:lnTo>
                <a:lnTo>
                  <a:pt x="12212" y="18915"/>
                </a:lnTo>
                <a:lnTo>
                  <a:pt x="12354" y="18427"/>
                </a:lnTo>
                <a:lnTo>
                  <a:pt x="12496" y="17878"/>
                </a:lnTo>
                <a:lnTo>
                  <a:pt x="12638" y="17329"/>
                </a:lnTo>
                <a:lnTo>
                  <a:pt x="12709" y="16718"/>
                </a:lnTo>
                <a:lnTo>
                  <a:pt x="12780" y="16108"/>
                </a:lnTo>
                <a:lnTo>
                  <a:pt x="12851" y="15437"/>
                </a:lnTo>
                <a:lnTo>
                  <a:pt x="13349" y="7749"/>
                </a:lnTo>
                <a:lnTo>
                  <a:pt x="13420" y="7017"/>
                </a:lnTo>
                <a:lnTo>
                  <a:pt x="13420" y="6284"/>
                </a:lnTo>
                <a:lnTo>
                  <a:pt x="13349" y="5674"/>
                </a:lnTo>
                <a:lnTo>
                  <a:pt x="13349" y="5064"/>
                </a:lnTo>
                <a:lnTo>
                  <a:pt x="13277" y="4515"/>
                </a:lnTo>
                <a:lnTo>
                  <a:pt x="13135" y="4027"/>
                </a:lnTo>
                <a:lnTo>
                  <a:pt x="13064" y="3539"/>
                </a:lnTo>
                <a:lnTo>
                  <a:pt x="12922" y="3111"/>
                </a:lnTo>
                <a:lnTo>
                  <a:pt x="12780" y="2745"/>
                </a:lnTo>
                <a:lnTo>
                  <a:pt x="12567" y="2379"/>
                </a:lnTo>
                <a:lnTo>
                  <a:pt x="12354" y="2074"/>
                </a:lnTo>
                <a:lnTo>
                  <a:pt x="12141" y="1769"/>
                </a:lnTo>
                <a:lnTo>
                  <a:pt x="11857" y="1525"/>
                </a:lnTo>
                <a:lnTo>
                  <a:pt x="11573" y="1281"/>
                </a:lnTo>
                <a:lnTo>
                  <a:pt x="11289" y="1037"/>
                </a:lnTo>
                <a:lnTo>
                  <a:pt x="10934" y="854"/>
                </a:lnTo>
                <a:lnTo>
                  <a:pt x="10579" y="671"/>
                </a:lnTo>
                <a:lnTo>
                  <a:pt x="10224" y="488"/>
                </a:lnTo>
                <a:lnTo>
                  <a:pt x="9798" y="366"/>
                </a:lnTo>
                <a:lnTo>
                  <a:pt x="9372" y="244"/>
                </a:lnTo>
                <a:lnTo>
                  <a:pt x="8946" y="122"/>
                </a:lnTo>
                <a:lnTo>
                  <a:pt x="8449" y="61"/>
                </a:lnTo>
                <a:lnTo>
                  <a:pt x="7881" y="0"/>
                </a:lnTo>
                <a:lnTo>
                  <a:pt x="6177" y="0"/>
                </a:lnTo>
                <a:lnTo>
                  <a:pt x="5609" y="61"/>
                </a:lnTo>
                <a:lnTo>
                  <a:pt x="5112" y="122"/>
                </a:lnTo>
                <a:lnTo>
                  <a:pt x="4615" y="244"/>
                </a:lnTo>
                <a:lnTo>
                  <a:pt x="4189" y="366"/>
                </a:lnTo>
                <a:lnTo>
                  <a:pt x="3763" y="488"/>
                </a:lnTo>
                <a:lnTo>
                  <a:pt x="3408" y="671"/>
                </a:lnTo>
                <a:lnTo>
                  <a:pt x="3053" y="854"/>
                </a:lnTo>
                <a:lnTo>
                  <a:pt x="2698" y="1098"/>
                </a:lnTo>
                <a:lnTo>
                  <a:pt x="2414" y="1342"/>
                </a:lnTo>
                <a:lnTo>
                  <a:pt x="2130" y="1647"/>
                </a:lnTo>
                <a:lnTo>
                  <a:pt x="1917" y="1952"/>
                </a:lnTo>
                <a:lnTo>
                  <a:pt x="1704" y="2257"/>
                </a:lnTo>
                <a:lnTo>
                  <a:pt x="1491" y="2623"/>
                </a:lnTo>
                <a:lnTo>
                  <a:pt x="1278" y="2989"/>
                </a:lnTo>
                <a:lnTo>
                  <a:pt x="1136" y="3417"/>
                </a:lnTo>
                <a:lnTo>
                  <a:pt x="994" y="3844"/>
                </a:lnTo>
                <a:lnTo>
                  <a:pt x="852" y="4332"/>
                </a:lnTo>
                <a:lnTo>
                  <a:pt x="781" y="4820"/>
                </a:lnTo>
                <a:lnTo>
                  <a:pt x="639" y="5369"/>
                </a:lnTo>
                <a:lnTo>
                  <a:pt x="568" y="5979"/>
                </a:lnTo>
                <a:lnTo>
                  <a:pt x="497" y="6589"/>
                </a:lnTo>
                <a:lnTo>
                  <a:pt x="426" y="7200"/>
                </a:lnTo>
                <a:lnTo>
                  <a:pt x="71" y="14888"/>
                </a:lnTo>
                <a:lnTo>
                  <a:pt x="0" y="15559"/>
                </a:lnTo>
                <a:lnTo>
                  <a:pt x="0" y="16840"/>
                </a:lnTo>
                <a:lnTo>
                  <a:pt x="71" y="17390"/>
                </a:lnTo>
                <a:lnTo>
                  <a:pt x="142" y="17939"/>
                </a:lnTo>
                <a:lnTo>
                  <a:pt x="213" y="18488"/>
                </a:lnTo>
                <a:lnTo>
                  <a:pt x="284" y="18976"/>
                </a:lnTo>
                <a:lnTo>
                  <a:pt x="426" y="19403"/>
                </a:lnTo>
                <a:lnTo>
                  <a:pt x="568" y="19830"/>
                </a:lnTo>
                <a:lnTo>
                  <a:pt x="781" y="20258"/>
                </a:lnTo>
                <a:lnTo>
                  <a:pt x="923" y="20624"/>
                </a:lnTo>
                <a:lnTo>
                  <a:pt x="1207" y="20990"/>
                </a:lnTo>
                <a:lnTo>
                  <a:pt x="1420" y="21295"/>
                </a:lnTo>
                <a:lnTo>
                  <a:pt x="1704" y="21539"/>
                </a:lnTo>
                <a:lnTo>
                  <a:pt x="1988" y="21783"/>
                </a:lnTo>
                <a:lnTo>
                  <a:pt x="2343" y="22027"/>
                </a:lnTo>
                <a:lnTo>
                  <a:pt x="2698" y="22088"/>
                </a:lnTo>
                <a:lnTo>
                  <a:pt x="3124" y="22210"/>
                </a:lnTo>
                <a:lnTo>
                  <a:pt x="3621" y="22271"/>
                </a:lnTo>
                <a:lnTo>
                  <a:pt x="4118" y="22393"/>
                </a:lnTo>
                <a:lnTo>
                  <a:pt x="4615" y="22454"/>
                </a:lnTo>
                <a:lnTo>
                  <a:pt x="5183" y="22576"/>
                </a:lnTo>
                <a:lnTo>
                  <a:pt x="5751" y="22637"/>
                </a:lnTo>
                <a:lnTo>
                  <a:pt x="6319" y="22698"/>
                </a:lnTo>
                <a:lnTo>
                  <a:pt x="6319" y="17512"/>
                </a:lnTo>
                <a:lnTo>
                  <a:pt x="6106" y="17451"/>
                </a:lnTo>
                <a:lnTo>
                  <a:pt x="5893" y="17329"/>
                </a:lnTo>
                <a:lnTo>
                  <a:pt x="5680" y="17146"/>
                </a:lnTo>
                <a:lnTo>
                  <a:pt x="5609" y="16840"/>
                </a:lnTo>
                <a:lnTo>
                  <a:pt x="5538" y="16596"/>
                </a:lnTo>
                <a:lnTo>
                  <a:pt x="5538" y="15010"/>
                </a:lnTo>
                <a:lnTo>
                  <a:pt x="5893" y="7200"/>
                </a:lnTo>
                <a:lnTo>
                  <a:pt x="5964" y="6711"/>
                </a:lnTo>
                <a:lnTo>
                  <a:pt x="6035" y="6284"/>
                </a:lnTo>
                <a:lnTo>
                  <a:pt x="6248" y="5674"/>
                </a:lnTo>
                <a:lnTo>
                  <a:pt x="6532" y="5369"/>
                </a:lnTo>
                <a:lnTo>
                  <a:pt x="6745" y="5247"/>
                </a:lnTo>
                <a:lnTo>
                  <a:pt x="6958" y="5247"/>
                </a:lnTo>
                <a:lnTo>
                  <a:pt x="7242" y="5308"/>
                </a:lnTo>
                <a:lnTo>
                  <a:pt x="7455" y="5369"/>
                </a:lnTo>
                <a:lnTo>
                  <a:pt x="7597" y="5552"/>
                </a:lnTo>
                <a:lnTo>
                  <a:pt x="7739" y="5735"/>
                </a:lnTo>
                <a:lnTo>
                  <a:pt x="7881" y="6040"/>
                </a:lnTo>
                <a:lnTo>
                  <a:pt x="7952" y="6345"/>
                </a:lnTo>
                <a:lnTo>
                  <a:pt x="7952" y="7261"/>
                </a:lnTo>
                <a:lnTo>
                  <a:pt x="7455" y="15071"/>
                </a:lnTo>
                <a:lnTo>
                  <a:pt x="7455" y="15742"/>
                </a:lnTo>
                <a:lnTo>
                  <a:pt x="7384" y="16047"/>
                </a:lnTo>
                <a:lnTo>
                  <a:pt x="7313" y="16291"/>
                </a:lnTo>
                <a:lnTo>
                  <a:pt x="7242" y="16474"/>
                </a:lnTo>
                <a:lnTo>
                  <a:pt x="7242" y="16718"/>
                </a:lnTo>
                <a:lnTo>
                  <a:pt x="7171" y="16902"/>
                </a:lnTo>
                <a:lnTo>
                  <a:pt x="6958" y="17268"/>
                </a:lnTo>
                <a:lnTo>
                  <a:pt x="6816" y="22698"/>
                </a:lnTo>
                <a:lnTo>
                  <a:pt x="7313" y="22637"/>
                </a:lnTo>
                <a:lnTo>
                  <a:pt x="7810" y="22576"/>
                </a:lnTo>
                <a:close/>
              </a:path>
            </a:pathLst>
          </a:custGeom>
          <a:solidFill>
            <a:srgbClr val="000000"/>
          </a:solidFill>
        </p:spPr>
        <p:txBody>
          <a:bodyPr wrap="square" lIns="0" tIns="0" rIns="0" bIns="0" rtlCol="0">
            <a:noAutofit/>
          </a:bodyPr>
          <a:lstStyle/>
          <a:p>
            <a:endParaRPr/>
          </a:p>
        </p:txBody>
      </p:sp>
      <p:sp>
        <p:nvSpPr>
          <p:cNvPr id="608" name="object 608"/>
          <p:cNvSpPr/>
          <p:nvPr/>
        </p:nvSpPr>
        <p:spPr>
          <a:xfrm>
            <a:off x="9015339" y="4293732"/>
            <a:ext cx="639" cy="5430"/>
          </a:xfrm>
          <a:custGeom>
            <a:avLst/>
            <a:gdLst/>
            <a:ahLst/>
            <a:cxnLst/>
            <a:rect l="l" t="t" r="r" b="b"/>
            <a:pathLst>
              <a:path w="639" h="5430">
                <a:moveTo>
                  <a:pt x="497" y="5430"/>
                </a:moveTo>
                <a:lnTo>
                  <a:pt x="639" y="0"/>
                </a:lnTo>
                <a:lnTo>
                  <a:pt x="426" y="122"/>
                </a:lnTo>
                <a:lnTo>
                  <a:pt x="213" y="244"/>
                </a:lnTo>
                <a:lnTo>
                  <a:pt x="0" y="244"/>
                </a:lnTo>
                <a:lnTo>
                  <a:pt x="0" y="5430"/>
                </a:lnTo>
                <a:lnTo>
                  <a:pt x="497" y="5430"/>
                </a:lnTo>
                <a:close/>
              </a:path>
            </a:pathLst>
          </a:custGeom>
          <a:solidFill>
            <a:srgbClr val="000000"/>
          </a:solidFill>
        </p:spPr>
        <p:txBody>
          <a:bodyPr wrap="square" lIns="0" tIns="0" rIns="0" bIns="0" rtlCol="0">
            <a:noAutofit/>
          </a:bodyPr>
          <a:lstStyle/>
          <a:p>
            <a:endParaRPr/>
          </a:p>
        </p:txBody>
      </p:sp>
      <p:sp>
        <p:nvSpPr>
          <p:cNvPr id="609" name="object 609"/>
          <p:cNvSpPr/>
          <p:nvPr/>
        </p:nvSpPr>
        <p:spPr>
          <a:xfrm>
            <a:off x="8976712" y="4276953"/>
            <a:ext cx="7455" cy="13485"/>
          </a:xfrm>
          <a:custGeom>
            <a:avLst/>
            <a:gdLst/>
            <a:ahLst/>
            <a:cxnLst/>
            <a:rect l="l" t="t" r="r" b="b"/>
            <a:pathLst>
              <a:path w="7455" h="13485">
                <a:moveTo>
                  <a:pt x="7384" y="5186"/>
                </a:moveTo>
                <a:lnTo>
                  <a:pt x="7313" y="4820"/>
                </a:lnTo>
                <a:lnTo>
                  <a:pt x="7313" y="4454"/>
                </a:lnTo>
                <a:lnTo>
                  <a:pt x="7242" y="4088"/>
                </a:lnTo>
                <a:lnTo>
                  <a:pt x="7171" y="3783"/>
                </a:lnTo>
                <a:lnTo>
                  <a:pt x="7100" y="3478"/>
                </a:lnTo>
                <a:lnTo>
                  <a:pt x="7029" y="3172"/>
                </a:lnTo>
                <a:lnTo>
                  <a:pt x="6887" y="2867"/>
                </a:lnTo>
                <a:lnTo>
                  <a:pt x="6745" y="2562"/>
                </a:lnTo>
                <a:lnTo>
                  <a:pt x="6603" y="2257"/>
                </a:lnTo>
                <a:lnTo>
                  <a:pt x="6461" y="2013"/>
                </a:lnTo>
                <a:lnTo>
                  <a:pt x="6319" y="1708"/>
                </a:lnTo>
                <a:lnTo>
                  <a:pt x="5964" y="1281"/>
                </a:lnTo>
                <a:lnTo>
                  <a:pt x="5538" y="915"/>
                </a:lnTo>
                <a:lnTo>
                  <a:pt x="5041" y="549"/>
                </a:lnTo>
                <a:lnTo>
                  <a:pt x="4402" y="366"/>
                </a:lnTo>
                <a:lnTo>
                  <a:pt x="4047" y="244"/>
                </a:lnTo>
                <a:lnTo>
                  <a:pt x="3692" y="122"/>
                </a:lnTo>
                <a:lnTo>
                  <a:pt x="3266" y="61"/>
                </a:lnTo>
                <a:lnTo>
                  <a:pt x="2911" y="0"/>
                </a:lnTo>
                <a:lnTo>
                  <a:pt x="1491" y="0"/>
                </a:lnTo>
                <a:lnTo>
                  <a:pt x="994" y="61"/>
                </a:lnTo>
                <a:lnTo>
                  <a:pt x="710" y="5369"/>
                </a:lnTo>
                <a:lnTo>
                  <a:pt x="994" y="5308"/>
                </a:lnTo>
                <a:lnTo>
                  <a:pt x="1349" y="5369"/>
                </a:lnTo>
                <a:lnTo>
                  <a:pt x="1633" y="5430"/>
                </a:lnTo>
                <a:lnTo>
                  <a:pt x="1846" y="5674"/>
                </a:lnTo>
                <a:lnTo>
                  <a:pt x="1988" y="5979"/>
                </a:lnTo>
                <a:lnTo>
                  <a:pt x="2059" y="6223"/>
                </a:lnTo>
                <a:lnTo>
                  <a:pt x="2059" y="6406"/>
                </a:lnTo>
                <a:lnTo>
                  <a:pt x="2130" y="6650"/>
                </a:lnTo>
                <a:lnTo>
                  <a:pt x="2130" y="6956"/>
                </a:lnTo>
                <a:lnTo>
                  <a:pt x="2201" y="7200"/>
                </a:lnTo>
                <a:lnTo>
                  <a:pt x="2201" y="8176"/>
                </a:lnTo>
                <a:lnTo>
                  <a:pt x="0" y="8359"/>
                </a:lnTo>
                <a:lnTo>
                  <a:pt x="0" y="13485"/>
                </a:lnTo>
                <a:lnTo>
                  <a:pt x="7455" y="12752"/>
                </a:lnTo>
                <a:lnTo>
                  <a:pt x="7455" y="5979"/>
                </a:lnTo>
                <a:lnTo>
                  <a:pt x="7384" y="5552"/>
                </a:lnTo>
                <a:lnTo>
                  <a:pt x="7384" y="5186"/>
                </a:lnTo>
                <a:close/>
              </a:path>
            </a:pathLst>
          </a:custGeom>
          <a:solidFill>
            <a:srgbClr val="000000"/>
          </a:solidFill>
        </p:spPr>
        <p:txBody>
          <a:bodyPr wrap="square" lIns="0" tIns="0" rIns="0" bIns="0" rtlCol="0">
            <a:noAutofit/>
          </a:bodyPr>
          <a:lstStyle/>
          <a:p>
            <a:endParaRPr/>
          </a:p>
        </p:txBody>
      </p:sp>
      <p:sp>
        <p:nvSpPr>
          <p:cNvPr id="610" name="object 610"/>
          <p:cNvSpPr/>
          <p:nvPr/>
        </p:nvSpPr>
        <p:spPr>
          <a:xfrm>
            <a:off x="8947315" y="4270485"/>
            <a:ext cx="22082" cy="35207"/>
          </a:xfrm>
          <a:custGeom>
            <a:avLst/>
            <a:gdLst/>
            <a:ahLst/>
            <a:cxnLst/>
            <a:rect l="l" t="t" r="r" b="b"/>
            <a:pathLst>
              <a:path w="22082" h="35207">
                <a:moveTo>
                  <a:pt x="1278" y="13240"/>
                </a:moveTo>
                <a:lnTo>
                  <a:pt x="1349" y="13851"/>
                </a:lnTo>
                <a:lnTo>
                  <a:pt x="2627" y="27214"/>
                </a:lnTo>
                <a:lnTo>
                  <a:pt x="2698" y="27885"/>
                </a:lnTo>
                <a:lnTo>
                  <a:pt x="2698" y="29227"/>
                </a:lnTo>
                <a:lnTo>
                  <a:pt x="2627" y="29532"/>
                </a:lnTo>
                <a:lnTo>
                  <a:pt x="2556" y="29776"/>
                </a:lnTo>
                <a:lnTo>
                  <a:pt x="2414" y="29959"/>
                </a:lnTo>
                <a:lnTo>
                  <a:pt x="2272" y="30203"/>
                </a:lnTo>
                <a:lnTo>
                  <a:pt x="2769" y="35207"/>
                </a:lnTo>
                <a:lnTo>
                  <a:pt x="8733" y="33437"/>
                </a:lnTo>
                <a:lnTo>
                  <a:pt x="8236" y="28434"/>
                </a:lnTo>
                <a:lnTo>
                  <a:pt x="8023" y="28251"/>
                </a:lnTo>
                <a:lnTo>
                  <a:pt x="7810" y="28129"/>
                </a:lnTo>
                <a:lnTo>
                  <a:pt x="7668" y="27885"/>
                </a:lnTo>
                <a:lnTo>
                  <a:pt x="7526" y="27641"/>
                </a:lnTo>
                <a:lnTo>
                  <a:pt x="7455" y="27397"/>
                </a:lnTo>
                <a:lnTo>
                  <a:pt x="7384" y="27092"/>
                </a:lnTo>
                <a:lnTo>
                  <a:pt x="7313" y="26725"/>
                </a:lnTo>
                <a:lnTo>
                  <a:pt x="7242" y="26237"/>
                </a:lnTo>
                <a:lnTo>
                  <a:pt x="7242" y="25871"/>
                </a:lnTo>
                <a:lnTo>
                  <a:pt x="6461" y="17817"/>
                </a:lnTo>
                <a:lnTo>
                  <a:pt x="10934" y="32705"/>
                </a:lnTo>
                <a:lnTo>
                  <a:pt x="12851" y="32156"/>
                </a:lnTo>
                <a:lnTo>
                  <a:pt x="13917" y="15559"/>
                </a:lnTo>
                <a:lnTo>
                  <a:pt x="14627" y="22393"/>
                </a:lnTo>
                <a:lnTo>
                  <a:pt x="14769" y="23614"/>
                </a:lnTo>
                <a:lnTo>
                  <a:pt x="14769" y="25322"/>
                </a:lnTo>
                <a:lnTo>
                  <a:pt x="14698" y="25627"/>
                </a:lnTo>
                <a:lnTo>
                  <a:pt x="14627" y="25932"/>
                </a:lnTo>
                <a:lnTo>
                  <a:pt x="14485" y="26176"/>
                </a:lnTo>
                <a:lnTo>
                  <a:pt x="14343" y="26481"/>
                </a:lnTo>
                <a:lnTo>
                  <a:pt x="14840" y="31485"/>
                </a:lnTo>
                <a:lnTo>
                  <a:pt x="22082" y="29227"/>
                </a:lnTo>
                <a:lnTo>
                  <a:pt x="21656" y="24163"/>
                </a:lnTo>
                <a:lnTo>
                  <a:pt x="21443" y="23980"/>
                </a:lnTo>
                <a:lnTo>
                  <a:pt x="21230" y="23736"/>
                </a:lnTo>
                <a:lnTo>
                  <a:pt x="21017" y="23552"/>
                </a:lnTo>
                <a:lnTo>
                  <a:pt x="20875" y="23369"/>
                </a:lnTo>
                <a:lnTo>
                  <a:pt x="20875" y="23186"/>
                </a:lnTo>
                <a:lnTo>
                  <a:pt x="20804" y="23003"/>
                </a:lnTo>
                <a:lnTo>
                  <a:pt x="20804" y="22820"/>
                </a:lnTo>
                <a:lnTo>
                  <a:pt x="20733" y="22576"/>
                </a:lnTo>
                <a:lnTo>
                  <a:pt x="20662" y="22332"/>
                </a:lnTo>
                <a:lnTo>
                  <a:pt x="20662" y="22088"/>
                </a:lnTo>
                <a:lnTo>
                  <a:pt x="20591" y="21783"/>
                </a:lnTo>
                <a:lnTo>
                  <a:pt x="20591" y="21478"/>
                </a:lnTo>
                <a:lnTo>
                  <a:pt x="19313" y="7566"/>
                </a:lnTo>
                <a:lnTo>
                  <a:pt x="19242" y="7139"/>
                </a:lnTo>
                <a:lnTo>
                  <a:pt x="19242" y="6467"/>
                </a:lnTo>
                <a:lnTo>
                  <a:pt x="19313" y="6162"/>
                </a:lnTo>
                <a:lnTo>
                  <a:pt x="19384" y="5918"/>
                </a:lnTo>
                <a:lnTo>
                  <a:pt x="19455" y="5674"/>
                </a:lnTo>
                <a:lnTo>
                  <a:pt x="19597" y="5491"/>
                </a:lnTo>
                <a:lnTo>
                  <a:pt x="19739" y="5247"/>
                </a:lnTo>
                <a:lnTo>
                  <a:pt x="19313" y="0"/>
                </a:lnTo>
                <a:lnTo>
                  <a:pt x="11786" y="2318"/>
                </a:lnTo>
                <a:lnTo>
                  <a:pt x="10863" y="15132"/>
                </a:lnTo>
                <a:lnTo>
                  <a:pt x="7597" y="3661"/>
                </a:lnTo>
                <a:lnTo>
                  <a:pt x="0" y="6040"/>
                </a:lnTo>
                <a:lnTo>
                  <a:pt x="426" y="11288"/>
                </a:lnTo>
                <a:lnTo>
                  <a:pt x="568" y="11410"/>
                </a:lnTo>
                <a:lnTo>
                  <a:pt x="710" y="11593"/>
                </a:lnTo>
                <a:lnTo>
                  <a:pt x="852" y="11776"/>
                </a:lnTo>
                <a:lnTo>
                  <a:pt x="994" y="11959"/>
                </a:lnTo>
                <a:lnTo>
                  <a:pt x="1065" y="12264"/>
                </a:lnTo>
                <a:lnTo>
                  <a:pt x="1207" y="12569"/>
                </a:lnTo>
                <a:lnTo>
                  <a:pt x="1207" y="12874"/>
                </a:lnTo>
                <a:lnTo>
                  <a:pt x="1278" y="13240"/>
                </a:lnTo>
                <a:close/>
              </a:path>
            </a:pathLst>
          </a:custGeom>
          <a:solidFill>
            <a:srgbClr val="000000"/>
          </a:solidFill>
        </p:spPr>
        <p:txBody>
          <a:bodyPr wrap="square" lIns="0" tIns="0" rIns="0" bIns="0" rtlCol="0">
            <a:noAutofit/>
          </a:bodyPr>
          <a:lstStyle/>
          <a:p>
            <a:endParaRPr/>
          </a:p>
        </p:txBody>
      </p:sp>
      <p:sp>
        <p:nvSpPr>
          <p:cNvPr id="611" name="object 611"/>
          <p:cNvSpPr/>
          <p:nvPr/>
        </p:nvSpPr>
        <p:spPr>
          <a:xfrm>
            <a:off x="8971244" y="4277014"/>
            <a:ext cx="12922" cy="22637"/>
          </a:xfrm>
          <a:custGeom>
            <a:avLst/>
            <a:gdLst/>
            <a:ahLst/>
            <a:cxnLst/>
            <a:rect l="l" t="t" r="r" b="b"/>
            <a:pathLst>
              <a:path w="12922" h="22637">
                <a:moveTo>
                  <a:pt x="71" y="17024"/>
                </a:moveTo>
                <a:lnTo>
                  <a:pt x="71" y="17634"/>
                </a:lnTo>
                <a:lnTo>
                  <a:pt x="142" y="18122"/>
                </a:lnTo>
                <a:lnTo>
                  <a:pt x="284" y="18671"/>
                </a:lnTo>
                <a:lnTo>
                  <a:pt x="355" y="19159"/>
                </a:lnTo>
                <a:lnTo>
                  <a:pt x="497" y="19647"/>
                </a:lnTo>
                <a:lnTo>
                  <a:pt x="639" y="20074"/>
                </a:lnTo>
                <a:lnTo>
                  <a:pt x="781" y="20441"/>
                </a:lnTo>
                <a:lnTo>
                  <a:pt x="994" y="20807"/>
                </a:lnTo>
                <a:lnTo>
                  <a:pt x="1207" y="21173"/>
                </a:lnTo>
                <a:lnTo>
                  <a:pt x="1420" y="21478"/>
                </a:lnTo>
                <a:lnTo>
                  <a:pt x="1704" y="21722"/>
                </a:lnTo>
                <a:lnTo>
                  <a:pt x="1988" y="21966"/>
                </a:lnTo>
                <a:lnTo>
                  <a:pt x="2343" y="22149"/>
                </a:lnTo>
                <a:lnTo>
                  <a:pt x="2698" y="22332"/>
                </a:lnTo>
                <a:lnTo>
                  <a:pt x="3053" y="22393"/>
                </a:lnTo>
                <a:lnTo>
                  <a:pt x="3479" y="22515"/>
                </a:lnTo>
                <a:lnTo>
                  <a:pt x="3905" y="22576"/>
                </a:lnTo>
                <a:lnTo>
                  <a:pt x="4402" y="22637"/>
                </a:lnTo>
                <a:lnTo>
                  <a:pt x="6035" y="22637"/>
                </a:lnTo>
                <a:lnTo>
                  <a:pt x="6603" y="22576"/>
                </a:lnTo>
                <a:lnTo>
                  <a:pt x="7029" y="22515"/>
                </a:lnTo>
                <a:lnTo>
                  <a:pt x="7455" y="22454"/>
                </a:lnTo>
                <a:lnTo>
                  <a:pt x="7881" y="22332"/>
                </a:lnTo>
                <a:lnTo>
                  <a:pt x="8378" y="22210"/>
                </a:lnTo>
                <a:lnTo>
                  <a:pt x="8804" y="22088"/>
                </a:lnTo>
                <a:lnTo>
                  <a:pt x="9301" y="21966"/>
                </a:lnTo>
                <a:lnTo>
                  <a:pt x="9727" y="21783"/>
                </a:lnTo>
                <a:lnTo>
                  <a:pt x="10224" y="21661"/>
                </a:lnTo>
                <a:lnTo>
                  <a:pt x="10650" y="21417"/>
                </a:lnTo>
                <a:lnTo>
                  <a:pt x="11076" y="21173"/>
                </a:lnTo>
                <a:lnTo>
                  <a:pt x="11431" y="20868"/>
                </a:lnTo>
                <a:lnTo>
                  <a:pt x="11786" y="20563"/>
                </a:lnTo>
                <a:lnTo>
                  <a:pt x="12141" y="20196"/>
                </a:lnTo>
                <a:lnTo>
                  <a:pt x="12425" y="19891"/>
                </a:lnTo>
                <a:lnTo>
                  <a:pt x="12709" y="19586"/>
                </a:lnTo>
                <a:lnTo>
                  <a:pt x="12922" y="19281"/>
                </a:lnTo>
                <a:lnTo>
                  <a:pt x="12851" y="13973"/>
                </a:lnTo>
                <a:lnTo>
                  <a:pt x="7526" y="14522"/>
                </a:lnTo>
                <a:lnTo>
                  <a:pt x="7597" y="15254"/>
                </a:lnTo>
                <a:lnTo>
                  <a:pt x="7597" y="15742"/>
                </a:lnTo>
                <a:lnTo>
                  <a:pt x="7526" y="16230"/>
                </a:lnTo>
                <a:lnTo>
                  <a:pt x="7455" y="16596"/>
                </a:lnTo>
                <a:lnTo>
                  <a:pt x="7384" y="16963"/>
                </a:lnTo>
                <a:lnTo>
                  <a:pt x="7242" y="17207"/>
                </a:lnTo>
                <a:lnTo>
                  <a:pt x="7100" y="17451"/>
                </a:lnTo>
                <a:lnTo>
                  <a:pt x="6816" y="17634"/>
                </a:lnTo>
                <a:lnTo>
                  <a:pt x="6532" y="17695"/>
                </a:lnTo>
                <a:lnTo>
                  <a:pt x="6248" y="17695"/>
                </a:lnTo>
                <a:lnTo>
                  <a:pt x="5964" y="17573"/>
                </a:lnTo>
                <a:lnTo>
                  <a:pt x="5822" y="17390"/>
                </a:lnTo>
                <a:lnTo>
                  <a:pt x="5751" y="17146"/>
                </a:lnTo>
                <a:lnTo>
                  <a:pt x="5609" y="16779"/>
                </a:lnTo>
                <a:lnTo>
                  <a:pt x="5538" y="16413"/>
                </a:lnTo>
                <a:lnTo>
                  <a:pt x="5538" y="15376"/>
                </a:lnTo>
                <a:lnTo>
                  <a:pt x="5467" y="13423"/>
                </a:lnTo>
                <a:lnTo>
                  <a:pt x="5467" y="7322"/>
                </a:lnTo>
                <a:lnTo>
                  <a:pt x="5538" y="7017"/>
                </a:lnTo>
                <a:lnTo>
                  <a:pt x="5538" y="6773"/>
                </a:lnTo>
                <a:lnTo>
                  <a:pt x="5609" y="6528"/>
                </a:lnTo>
                <a:lnTo>
                  <a:pt x="5680" y="6284"/>
                </a:lnTo>
                <a:lnTo>
                  <a:pt x="5751" y="6101"/>
                </a:lnTo>
                <a:lnTo>
                  <a:pt x="5822" y="5735"/>
                </a:lnTo>
                <a:lnTo>
                  <a:pt x="5964" y="5491"/>
                </a:lnTo>
                <a:lnTo>
                  <a:pt x="6177" y="5308"/>
                </a:lnTo>
                <a:lnTo>
                  <a:pt x="6461" y="0"/>
                </a:lnTo>
                <a:lnTo>
                  <a:pt x="5964" y="61"/>
                </a:lnTo>
                <a:lnTo>
                  <a:pt x="5396" y="122"/>
                </a:lnTo>
                <a:lnTo>
                  <a:pt x="4970" y="244"/>
                </a:lnTo>
                <a:lnTo>
                  <a:pt x="4473" y="366"/>
                </a:lnTo>
                <a:lnTo>
                  <a:pt x="4047" y="488"/>
                </a:lnTo>
                <a:lnTo>
                  <a:pt x="3621" y="671"/>
                </a:lnTo>
                <a:lnTo>
                  <a:pt x="3266" y="854"/>
                </a:lnTo>
                <a:lnTo>
                  <a:pt x="2911" y="1037"/>
                </a:lnTo>
                <a:lnTo>
                  <a:pt x="2556" y="1220"/>
                </a:lnTo>
                <a:lnTo>
                  <a:pt x="2201" y="1403"/>
                </a:lnTo>
                <a:lnTo>
                  <a:pt x="1917" y="1647"/>
                </a:lnTo>
                <a:lnTo>
                  <a:pt x="1633" y="1952"/>
                </a:lnTo>
                <a:lnTo>
                  <a:pt x="1420" y="2257"/>
                </a:lnTo>
                <a:lnTo>
                  <a:pt x="1207" y="2562"/>
                </a:lnTo>
                <a:lnTo>
                  <a:pt x="994" y="2928"/>
                </a:lnTo>
                <a:lnTo>
                  <a:pt x="781" y="3294"/>
                </a:lnTo>
                <a:lnTo>
                  <a:pt x="639" y="3661"/>
                </a:lnTo>
                <a:lnTo>
                  <a:pt x="497" y="4149"/>
                </a:lnTo>
                <a:lnTo>
                  <a:pt x="355" y="4637"/>
                </a:lnTo>
                <a:lnTo>
                  <a:pt x="284" y="5186"/>
                </a:lnTo>
                <a:lnTo>
                  <a:pt x="142" y="5735"/>
                </a:lnTo>
                <a:lnTo>
                  <a:pt x="71" y="6345"/>
                </a:lnTo>
                <a:lnTo>
                  <a:pt x="71" y="7017"/>
                </a:lnTo>
                <a:lnTo>
                  <a:pt x="0" y="7688"/>
                </a:lnTo>
                <a:lnTo>
                  <a:pt x="0" y="16474"/>
                </a:lnTo>
                <a:lnTo>
                  <a:pt x="71" y="17024"/>
                </a:lnTo>
                <a:close/>
              </a:path>
            </a:pathLst>
          </a:custGeom>
          <a:solidFill>
            <a:srgbClr val="000000"/>
          </a:solidFill>
        </p:spPr>
        <p:txBody>
          <a:bodyPr wrap="square" lIns="0" tIns="0" rIns="0" bIns="0" rtlCol="0">
            <a:noAutofit/>
          </a:bodyPr>
          <a:lstStyle/>
          <a:p>
            <a:endParaRPr/>
          </a:p>
        </p:txBody>
      </p:sp>
      <p:sp>
        <p:nvSpPr>
          <p:cNvPr id="612" name="object 612"/>
          <p:cNvSpPr/>
          <p:nvPr/>
        </p:nvSpPr>
        <p:spPr>
          <a:xfrm>
            <a:off x="8909611" y="4257670"/>
            <a:ext cx="6816" cy="14034"/>
          </a:xfrm>
          <a:custGeom>
            <a:avLst/>
            <a:gdLst/>
            <a:ahLst/>
            <a:cxnLst/>
            <a:rect l="l" t="t" r="r" b="b"/>
            <a:pathLst>
              <a:path w="6816" h="14034">
                <a:moveTo>
                  <a:pt x="6816" y="305"/>
                </a:moveTo>
                <a:lnTo>
                  <a:pt x="5822" y="0"/>
                </a:lnTo>
                <a:lnTo>
                  <a:pt x="0" y="14034"/>
                </a:lnTo>
                <a:lnTo>
                  <a:pt x="6816" y="305"/>
                </a:lnTo>
                <a:close/>
              </a:path>
            </a:pathLst>
          </a:custGeom>
          <a:solidFill>
            <a:srgbClr val="4F4F4F"/>
          </a:solidFill>
        </p:spPr>
        <p:txBody>
          <a:bodyPr wrap="square" lIns="0" tIns="0" rIns="0" bIns="0" rtlCol="0">
            <a:noAutofit/>
          </a:bodyPr>
          <a:lstStyle/>
          <a:p>
            <a:endParaRPr/>
          </a:p>
        </p:txBody>
      </p:sp>
      <p:sp>
        <p:nvSpPr>
          <p:cNvPr id="613" name="object 613"/>
          <p:cNvSpPr/>
          <p:nvPr/>
        </p:nvSpPr>
        <p:spPr>
          <a:xfrm>
            <a:off x="8902795" y="4257670"/>
            <a:ext cx="14840" cy="30264"/>
          </a:xfrm>
          <a:custGeom>
            <a:avLst/>
            <a:gdLst/>
            <a:ahLst/>
            <a:cxnLst/>
            <a:rect l="l" t="t" r="r" b="b"/>
            <a:pathLst>
              <a:path w="14840" h="30264">
                <a:moveTo>
                  <a:pt x="14840" y="671"/>
                </a:moveTo>
                <a:lnTo>
                  <a:pt x="12638" y="0"/>
                </a:lnTo>
                <a:lnTo>
                  <a:pt x="0" y="30264"/>
                </a:lnTo>
                <a:lnTo>
                  <a:pt x="14840" y="671"/>
                </a:lnTo>
                <a:close/>
              </a:path>
            </a:pathLst>
          </a:custGeom>
          <a:solidFill>
            <a:srgbClr val="5C5C5C"/>
          </a:solidFill>
        </p:spPr>
        <p:txBody>
          <a:bodyPr wrap="square" lIns="0" tIns="0" rIns="0" bIns="0" rtlCol="0">
            <a:noAutofit/>
          </a:bodyPr>
          <a:lstStyle/>
          <a:p>
            <a:endParaRPr/>
          </a:p>
        </p:txBody>
      </p:sp>
      <p:sp>
        <p:nvSpPr>
          <p:cNvPr id="614" name="object 614"/>
          <p:cNvSpPr/>
          <p:nvPr/>
        </p:nvSpPr>
        <p:spPr>
          <a:xfrm>
            <a:off x="8902795" y="4257975"/>
            <a:ext cx="16118" cy="30936"/>
          </a:xfrm>
          <a:custGeom>
            <a:avLst/>
            <a:gdLst/>
            <a:ahLst/>
            <a:cxnLst/>
            <a:rect l="l" t="t" r="r" b="b"/>
            <a:pathLst>
              <a:path w="16118" h="30936">
                <a:moveTo>
                  <a:pt x="13633" y="0"/>
                </a:moveTo>
                <a:lnTo>
                  <a:pt x="6816" y="13729"/>
                </a:lnTo>
                <a:lnTo>
                  <a:pt x="0" y="29959"/>
                </a:lnTo>
                <a:lnTo>
                  <a:pt x="213" y="30264"/>
                </a:lnTo>
                <a:lnTo>
                  <a:pt x="497" y="30509"/>
                </a:lnTo>
                <a:lnTo>
                  <a:pt x="710" y="30753"/>
                </a:lnTo>
                <a:lnTo>
                  <a:pt x="994" y="30936"/>
                </a:lnTo>
                <a:lnTo>
                  <a:pt x="16118" y="793"/>
                </a:lnTo>
                <a:lnTo>
                  <a:pt x="13633" y="0"/>
                </a:lnTo>
                <a:close/>
              </a:path>
            </a:pathLst>
          </a:custGeom>
          <a:solidFill>
            <a:srgbClr val="6B6B6B"/>
          </a:solidFill>
        </p:spPr>
        <p:txBody>
          <a:bodyPr wrap="square" lIns="0" tIns="0" rIns="0" bIns="0" rtlCol="0">
            <a:noAutofit/>
          </a:bodyPr>
          <a:lstStyle/>
          <a:p>
            <a:endParaRPr/>
          </a:p>
        </p:txBody>
      </p:sp>
      <p:sp>
        <p:nvSpPr>
          <p:cNvPr id="615" name="object 615"/>
          <p:cNvSpPr/>
          <p:nvPr/>
        </p:nvSpPr>
        <p:spPr>
          <a:xfrm>
            <a:off x="8902866" y="4258341"/>
            <a:ext cx="17112" cy="30936"/>
          </a:xfrm>
          <a:custGeom>
            <a:avLst/>
            <a:gdLst/>
            <a:ahLst/>
            <a:cxnLst/>
            <a:rect l="l" t="t" r="r" b="b"/>
            <a:pathLst>
              <a:path w="17112" h="30936">
                <a:moveTo>
                  <a:pt x="16970" y="1281"/>
                </a:moveTo>
                <a:lnTo>
                  <a:pt x="17112" y="793"/>
                </a:lnTo>
                <a:lnTo>
                  <a:pt x="14769" y="0"/>
                </a:lnTo>
                <a:lnTo>
                  <a:pt x="0" y="29593"/>
                </a:lnTo>
                <a:lnTo>
                  <a:pt x="710" y="30387"/>
                </a:lnTo>
                <a:lnTo>
                  <a:pt x="1278" y="30692"/>
                </a:lnTo>
                <a:lnTo>
                  <a:pt x="1562" y="30814"/>
                </a:lnTo>
                <a:lnTo>
                  <a:pt x="1917" y="30875"/>
                </a:lnTo>
                <a:lnTo>
                  <a:pt x="2201" y="30936"/>
                </a:lnTo>
                <a:lnTo>
                  <a:pt x="16970" y="1281"/>
                </a:lnTo>
                <a:close/>
              </a:path>
            </a:pathLst>
          </a:custGeom>
          <a:solidFill>
            <a:srgbClr val="787878"/>
          </a:solidFill>
        </p:spPr>
        <p:txBody>
          <a:bodyPr wrap="square" lIns="0" tIns="0" rIns="0" bIns="0" rtlCol="0">
            <a:noAutofit/>
          </a:bodyPr>
          <a:lstStyle/>
          <a:p>
            <a:endParaRPr/>
          </a:p>
        </p:txBody>
      </p:sp>
      <p:sp>
        <p:nvSpPr>
          <p:cNvPr id="616" name="object 616"/>
          <p:cNvSpPr/>
          <p:nvPr/>
        </p:nvSpPr>
        <p:spPr>
          <a:xfrm>
            <a:off x="8903790" y="4258769"/>
            <a:ext cx="16189" cy="30631"/>
          </a:xfrm>
          <a:custGeom>
            <a:avLst/>
            <a:gdLst/>
            <a:ahLst/>
            <a:cxnLst/>
            <a:rect l="l" t="t" r="r" b="b"/>
            <a:pathLst>
              <a:path w="16189" h="30631">
                <a:moveTo>
                  <a:pt x="9159" y="17390"/>
                </a:moveTo>
                <a:lnTo>
                  <a:pt x="16189" y="366"/>
                </a:lnTo>
                <a:lnTo>
                  <a:pt x="15124" y="0"/>
                </a:lnTo>
                <a:lnTo>
                  <a:pt x="0" y="30142"/>
                </a:lnTo>
                <a:lnTo>
                  <a:pt x="284" y="30264"/>
                </a:lnTo>
                <a:lnTo>
                  <a:pt x="639" y="30387"/>
                </a:lnTo>
                <a:lnTo>
                  <a:pt x="923" y="30448"/>
                </a:lnTo>
                <a:lnTo>
                  <a:pt x="1278" y="30509"/>
                </a:lnTo>
                <a:lnTo>
                  <a:pt x="1562" y="30509"/>
                </a:lnTo>
                <a:lnTo>
                  <a:pt x="1917" y="30570"/>
                </a:lnTo>
                <a:lnTo>
                  <a:pt x="2201" y="30570"/>
                </a:lnTo>
                <a:lnTo>
                  <a:pt x="2556" y="30631"/>
                </a:lnTo>
                <a:lnTo>
                  <a:pt x="9159" y="17390"/>
                </a:lnTo>
                <a:close/>
              </a:path>
            </a:pathLst>
          </a:custGeom>
          <a:solidFill>
            <a:srgbClr val="868686"/>
          </a:solidFill>
        </p:spPr>
        <p:txBody>
          <a:bodyPr wrap="square" lIns="0" tIns="0" rIns="0" bIns="0" rtlCol="0">
            <a:noAutofit/>
          </a:bodyPr>
          <a:lstStyle/>
          <a:p>
            <a:endParaRPr/>
          </a:p>
        </p:txBody>
      </p:sp>
      <p:sp>
        <p:nvSpPr>
          <p:cNvPr id="617" name="object 617"/>
          <p:cNvSpPr/>
          <p:nvPr/>
        </p:nvSpPr>
        <p:spPr>
          <a:xfrm>
            <a:off x="8905068" y="4259623"/>
            <a:ext cx="14769" cy="30020"/>
          </a:xfrm>
          <a:custGeom>
            <a:avLst/>
            <a:gdLst/>
            <a:ahLst/>
            <a:cxnLst/>
            <a:rect l="l" t="t" r="r" b="b"/>
            <a:pathLst>
              <a:path w="14769" h="30020">
                <a:moveTo>
                  <a:pt x="14769" y="0"/>
                </a:moveTo>
                <a:lnTo>
                  <a:pt x="0" y="29654"/>
                </a:lnTo>
                <a:lnTo>
                  <a:pt x="284" y="29654"/>
                </a:lnTo>
                <a:lnTo>
                  <a:pt x="568" y="29715"/>
                </a:lnTo>
                <a:lnTo>
                  <a:pt x="1207" y="29715"/>
                </a:lnTo>
                <a:lnTo>
                  <a:pt x="1491" y="29776"/>
                </a:lnTo>
                <a:lnTo>
                  <a:pt x="1775" y="29837"/>
                </a:lnTo>
                <a:lnTo>
                  <a:pt x="1988" y="29898"/>
                </a:lnTo>
                <a:lnTo>
                  <a:pt x="2272" y="30020"/>
                </a:lnTo>
                <a:lnTo>
                  <a:pt x="14769" y="0"/>
                </a:lnTo>
                <a:close/>
              </a:path>
            </a:pathLst>
          </a:custGeom>
          <a:solidFill>
            <a:srgbClr val="939393"/>
          </a:solidFill>
        </p:spPr>
        <p:txBody>
          <a:bodyPr wrap="square" lIns="0" tIns="0" rIns="0" bIns="0" rtlCol="0">
            <a:noAutofit/>
          </a:bodyPr>
          <a:lstStyle/>
          <a:p>
            <a:endParaRPr/>
          </a:p>
        </p:txBody>
      </p:sp>
      <p:sp>
        <p:nvSpPr>
          <p:cNvPr id="618" name="object 618"/>
          <p:cNvSpPr/>
          <p:nvPr/>
        </p:nvSpPr>
        <p:spPr>
          <a:xfrm>
            <a:off x="8906346" y="4276159"/>
            <a:ext cx="6603" cy="13485"/>
          </a:xfrm>
          <a:custGeom>
            <a:avLst/>
            <a:gdLst/>
            <a:ahLst/>
            <a:cxnLst/>
            <a:rect l="l" t="t" r="r" b="b"/>
            <a:pathLst>
              <a:path w="6603" h="13485">
                <a:moveTo>
                  <a:pt x="6603" y="0"/>
                </a:moveTo>
                <a:lnTo>
                  <a:pt x="0" y="13240"/>
                </a:lnTo>
                <a:lnTo>
                  <a:pt x="284" y="13240"/>
                </a:lnTo>
                <a:lnTo>
                  <a:pt x="497" y="13301"/>
                </a:lnTo>
                <a:lnTo>
                  <a:pt x="781" y="13362"/>
                </a:lnTo>
                <a:lnTo>
                  <a:pt x="994" y="13485"/>
                </a:lnTo>
                <a:lnTo>
                  <a:pt x="6603" y="0"/>
                </a:lnTo>
                <a:close/>
              </a:path>
            </a:pathLst>
          </a:custGeom>
          <a:solidFill>
            <a:srgbClr val="A0A0A0"/>
          </a:solidFill>
        </p:spPr>
        <p:txBody>
          <a:bodyPr wrap="square" lIns="0" tIns="0" rIns="0" bIns="0" rtlCol="0">
            <a:noAutofit/>
          </a:bodyPr>
          <a:lstStyle/>
          <a:p>
            <a:endParaRPr/>
          </a:p>
        </p:txBody>
      </p:sp>
      <p:sp>
        <p:nvSpPr>
          <p:cNvPr id="619" name="object 619"/>
          <p:cNvSpPr/>
          <p:nvPr/>
        </p:nvSpPr>
        <p:spPr>
          <a:xfrm>
            <a:off x="8917919" y="4260234"/>
            <a:ext cx="994" cy="549"/>
          </a:xfrm>
          <a:custGeom>
            <a:avLst/>
            <a:gdLst/>
            <a:ahLst/>
            <a:cxnLst/>
            <a:rect l="l" t="t" r="r" b="b"/>
            <a:pathLst>
              <a:path w="994" h="549">
                <a:moveTo>
                  <a:pt x="994" y="549"/>
                </a:moveTo>
                <a:lnTo>
                  <a:pt x="923" y="183"/>
                </a:lnTo>
                <a:lnTo>
                  <a:pt x="639" y="0"/>
                </a:lnTo>
                <a:lnTo>
                  <a:pt x="213" y="61"/>
                </a:lnTo>
                <a:lnTo>
                  <a:pt x="0" y="305"/>
                </a:lnTo>
                <a:lnTo>
                  <a:pt x="994" y="549"/>
                </a:lnTo>
                <a:close/>
              </a:path>
            </a:pathLst>
          </a:custGeom>
          <a:solidFill>
            <a:srgbClr val="FFFFFF"/>
          </a:solidFill>
        </p:spPr>
        <p:txBody>
          <a:bodyPr wrap="square" lIns="0" tIns="0" rIns="0" bIns="0" rtlCol="0">
            <a:noAutofit/>
          </a:bodyPr>
          <a:lstStyle/>
          <a:p>
            <a:endParaRPr/>
          </a:p>
        </p:txBody>
      </p:sp>
      <p:sp>
        <p:nvSpPr>
          <p:cNvPr id="620" name="object 620"/>
          <p:cNvSpPr/>
          <p:nvPr/>
        </p:nvSpPr>
        <p:spPr>
          <a:xfrm>
            <a:off x="8906204" y="4260538"/>
            <a:ext cx="12709" cy="28312"/>
          </a:xfrm>
          <a:custGeom>
            <a:avLst/>
            <a:gdLst/>
            <a:ahLst/>
            <a:cxnLst/>
            <a:rect l="l" t="t" r="r" b="b"/>
            <a:pathLst>
              <a:path w="12709" h="28312">
                <a:moveTo>
                  <a:pt x="497" y="28190"/>
                </a:moveTo>
                <a:lnTo>
                  <a:pt x="994" y="28312"/>
                </a:lnTo>
                <a:lnTo>
                  <a:pt x="12709" y="244"/>
                </a:lnTo>
                <a:lnTo>
                  <a:pt x="11715" y="0"/>
                </a:lnTo>
                <a:lnTo>
                  <a:pt x="0" y="28068"/>
                </a:lnTo>
                <a:lnTo>
                  <a:pt x="497" y="28190"/>
                </a:lnTo>
                <a:close/>
              </a:path>
            </a:pathLst>
          </a:custGeom>
          <a:solidFill>
            <a:srgbClr val="FFFFFF"/>
          </a:solidFill>
        </p:spPr>
        <p:txBody>
          <a:bodyPr wrap="square" lIns="0" tIns="0" rIns="0" bIns="0" rtlCol="0">
            <a:noAutofit/>
          </a:bodyPr>
          <a:lstStyle/>
          <a:p>
            <a:endParaRPr/>
          </a:p>
        </p:txBody>
      </p:sp>
      <p:sp>
        <p:nvSpPr>
          <p:cNvPr id="621" name="object 621"/>
          <p:cNvSpPr/>
          <p:nvPr/>
        </p:nvSpPr>
        <p:spPr>
          <a:xfrm>
            <a:off x="8906203" y="4288607"/>
            <a:ext cx="994" cy="549"/>
          </a:xfrm>
          <a:custGeom>
            <a:avLst/>
            <a:gdLst/>
            <a:ahLst/>
            <a:cxnLst/>
            <a:rect l="l" t="t" r="r" b="b"/>
            <a:pathLst>
              <a:path w="994" h="549">
                <a:moveTo>
                  <a:pt x="0" y="0"/>
                </a:moveTo>
                <a:lnTo>
                  <a:pt x="71" y="366"/>
                </a:lnTo>
                <a:lnTo>
                  <a:pt x="426" y="549"/>
                </a:lnTo>
                <a:lnTo>
                  <a:pt x="781" y="488"/>
                </a:lnTo>
                <a:lnTo>
                  <a:pt x="994" y="244"/>
                </a:lnTo>
                <a:lnTo>
                  <a:pt x="0" y="0"/>
                </a:lnTo>
                <a:close/>
              </a:path>
            </a:pathLst>
          </a:custGeom>
          <a:solidFill>
            <a:srgbClr val="FFFFFF"/>
          </a:solidFill>
        </p:spPr>
        <p:txBody>
          <a:bodyPr wrap="square" lIns="0" tIns="0" rIns="0" bIns="0" rtlCol="0">
            <a:noAutofit/>
          </a:bodyPr>
          <a:lstStyle/>
          <a:p>
            <a:endParaRPr/>
          </a:p>
        </p:txBody>
      </p:sp>
      <p:sp>
        <p:nvSpPr>
          <p:cNvPr id="622" name="object 622"/>
          <p:cNvSpPr/>
          <p:nvPr/>
        </p:nvSpPr>
        <p:spPr>
          <a:xfrm>
            <a:off x="8894416" y="4242355"/>
            <a:ext cx="50626" cy="26481"/>
          </a:xfrm>
          <a:custGeom>
            <a:avLst/>
            <a:gdLst/>
            <a:ahLst/>
            <a:cxnLst/>
            <a:rect l="l" t="t" r="r" b="b"/>
            <a:pathLst>
              <a:path w="50626" h="26481">
                <a:moveTo>
                  <a:pt x="20307" y="22942"/>
                </a:moveTo>
                <a:lnTo>
                  <a:pt x="22792" y="23797"/>
                </a:lnTo>
                <a:lnTo>
                  <a:pt x="25277" y="24529"/>
                </a:lnTo>
                <a:lnTo>
                  <a:pt x="27692" y="25200"/>
                </a:lnTo>
                <a:lnTo>
                  <a:pt x="30106" y="25688"/>
                </a:lnTo>
                <a:lnTo>
                  <a:pt x="32378" y="26054"/>
                </a:lnTo>
                <a:lnTo>
                  <a:pt x="34579" y="26298"/>
                </a:lnTo>
                <a:lnTo>
                  <a:pt x="36709" y="26481"/>
                </a:lnTo>
                <a:lnTo>
                  <a:pt x="38697" y="26481"/>
                </a:lnTo>
                <a:lnTo>
                  <a:pt x="40544" y="26359"/>
                </a:lnTo>
                <a:lnTo>
                  <a:pt x="42248" y="26176"/>
                </a:lnTo>
                <a:lnTo>
                  <a:pt x="43810" y="25810"/>
                </a:lnTo>
                <a:lnTo>
                  <a:pt x="45230" y="25383"/>
                </a:lnTo>
                <a:lnTo>
                  <a:pt x="46366" y="24773"/>
                </a:lnTo>
                <a:lnTo>
                  <a:pt x="47360" y="24102"/>
                </a:lnTo>
                <a:lnTo>
                  <a:pt x="48141" y="23247"/>
                </a:lnTo>
                <a:lnTo>
                  <a:pt x="48638" y="22332"/>
                </a:lnTo>
                <a:lnTo>
                  <a:pt x="50626" y="18854"/>
                </a:lnTo>
                <a:lnTo>
                  <a:pt x="50200" y="17878"/>
                </a:lnTo>
                <a:lnTo>
                  <a:pt x="49561" y="16902"/>
                </a:lnTo>
                <a:lnTo>
                  <a:pt x="48780" y="15925"/>
                </a:lnTo>
                <a:lnTo>
                  <a:pt x="47857" y="14888"/>
                </a:lnTo>
                <a:lnTo>
                  <a:pt x="46792" y="13912"/>
                </a:lnTo>
                <a:lnTo>
                  <a:pt x="45514" y="12874"/>
                </a:lnTo>
                <a:lnTo>
                  <a:pt x="44165" y="11837"/>
                </a:lnTo>
                <a:lnTo>
                  <a:pt x="42745" y="10861"/>
                </a:lnTo>
                <a:lnTo>
                  <a:pt x="41183" y="9884"/>
                </a:lnTo>
                <a:lnTo>
                  <a:pt x="39478" y="8908"/>
                </a:lnTo>
                <a:lnTo>
                  <a:pt x="37774" y="7993"/>
                </a:lnTo>
                <a:lnTo>
                  <a:pt x="35928" y="7078"/>
                </a:lnTo>
                <a:lnTo>
                  <a:pt x="34082" y="6223"/>
                </a:lnTo>
                <a:lnTo>
                  <a:pt x="32165" y="5369"/>
                </a:lnTo>
                <a:lnTo>
                  <a:pt x="30248" y="4576"/>
                </a:lnTo>
                <a:lnTo>
                  <a:pt x="28260" y="3844"/>
                </a:lnTo>
                <a:lnTo>
                  <a:pt x="26271" y="3172"/>
                </a:lnTo>
                <a:lnTo>
                  <a:pt x="24283" y="2501"/>
                </a:lnTo>
                <a:lnTo>
                  <a:pt x="22295" y="1952"/>
                </a:lnTo>
                <a:lnTo>
                  <a:pt x="20378" y="1464"/>
                </a:lnTo>
                <a:lnTo>
                  <a:pt x="18461" y="1037"/>
                </a:lnTo>
                <a:lnTo>
                  <a:pt x="16544" y="671"/>
                </a:lnTo>
                <a:lnTo>
                  <a:pt x="14769" y="427"/>
                </a:lnTo>
                <a:lnTo>
                  <a:pt x="12993" y="183"/>
                </a:lnTo>
                <a:lnTo>
                  <a:pt x="11289" y="61"/>
                </a:lnTo>
                <a:lnTo>
                  <a:pt x="9656" y="0"/>
                </a:lnTo>
                <a:lnTo>
                  <a:pt x="8165" y="0"/>
                </a:lnTo>
                <a:lnTo>
                  <a:pt x="6674" y="122"/>
                </a:lnTo>
                <a:lnTo>
                  <a:pt x="5325" y="305"/>
                </a:lnTo>
                <a:lnTo>
                  <a:pt x="4118" y="549"/>
                </a:lnTo>
                <a:lnTo>
                  <a:pt x="3053" y="915"/>
                </a:lnTo>
                <a:lnTo>
                  <a:pt x="2059" y="1342"/>
                </a:lnTo>
                <a:lnTo>
                  <a:pt x="355" y="5125"/>
                </a:lnTo>
                <a:lnTo>
                  <a:pt x="71" y="6162"/>
                </a:lnTo>
                <a:lnTo>
                  <a:pt x="0" y="7200"/>
                </a:lnTo>
                <a:lnTo>
                  <a:pt x="213" y="8298"/>
                </a:lnTo>
                <a:lnTo>
                  <a:pt x="639" y="9457"/>
                </a:lnTo>
                <a:lnTo>
                  <a:pt x="1278" y="10617"/>
                </a:lnTo>
                <a:lnTo>
                  <a:pt x="2130" y="11776"/>
                </a:lnTo>
                <a:lnTo>
                  <a:pt x="3195" y="12935"/>
                </a:lnTo>
                <a:lnTo>
                  <a:pt x="4473" y="14156"/>
                </a:lnTo>
                <a:lnTo>
                  <a:pt x="5893" y="15315"/>
                </a:lnTo>
                <a:lnTo>
                  <a:pt x="7526" y="16535"/>
                </a:lnTo>
                <a:lnTo>
                  <a:pt x="9301" y="17695"/>
                </a:lnTo>
                <a:lnTo>
                  <a:pt x="11218" y="18793"/>
                </a:lnTo>
                <a:lnTo>
                  <a:pt x="13277" y="19891"/>
                </a:lnTo>
                <a:lnTo>
                  <a:pt x="15479" y="20990"/>
                </a:lnTo>
                <a:lnTo>
                  <a:pt x="17822" y="21966"/>
                </a:lnTo>
                <a:lnTo>
                  <a:pt x="20307" y="22942"/>
                </a:lnTo>
                <a:close/>
              </a:path>
            </a:pathLst>
          </a:custGeom>
          <a:solidFill>
            <a:srgbClr val="666666"/>
          </a:solidFill>
        </p:spPr>
        <p:txBody>
          <a:bodyPr wrap="square" lIns="0" tIns="0" rIns="0" bIns="0" rtlCol="0">
            <a:noAutofit/>
          </a:bodyPr>
          <a:lstStyle/>
          <a:p>
            <a:endParaRPr/>
          </a:p>
        </p:txBody>
      </p:sp>
      <p:sp>
        <p:nvSpPr>
          <p:cNvPr id="623" name="object 623"/>
          <p:cNvSpPr/>
          <p:nvPr/>
        </p:nvSpPr>
        <p:spPr>
          <a:xfrm>
            <a:off x="8894416" y="4242355"/>
            <a:ext cx="50626" cy="26481"/>
          </a:xfrm>
          <a:custGeom>
            <a:avLst/>
            <a:gdLst/>
            <a:ahLst/>
            <a:cxnLst/>
            <a:rect l="l" t="t" r="r" b="b"/>
            <a:pathLst>
              <a:path w="50626" h="26481">
                <a:moveTo>
                  <a:pt x="20307" y="22942"/>
                </a:moveTo>
                <a:lnTo>
                  <a:pt x="22792" y="23797"/>
                </a:lnTo>
                <a:lnTo>
                  <a:pt x="25277" y="24529"/>
                </a:lnTo>
                <a:lnTo>
                  <a:pt x="27692" y="25200"/>
                </a:lnTo>
                <a:lnTo>
                  <a:pt x="30106" y="25688"/>
                </a:lnTo>
                <a:lnTo>
                  <a:pt x="32378" y="26054"/>
                </a:lnTo>
                <a:lnTo>
                  <a:pt x="34579" y="26298"/>
                </a:lnTo>
                <a:lnTo>
                  <a:pt x="36709" y="26481"/>
                </a:lnTo>
                <a:lnTo>
                  <a:pt x="38697" y="26481"/>
                </a:lnTo>
                <a:lnTo>
                  <a:pt x="40544" y="26359"/>
                </a:lnTo>
                <a:lnTo>
                  <a:pt x="42248" y="26176"/>
                </a:lnTo>
                <a:lnTo>
                  <a:pt x="43810" y="25810"/>
                </a:lnTo>
                <a:lnTo>
                  <a:pt x="45230" y="25383"/>
                </a:lnTo>
                <a:lnTo>
                  <a:pt x="46366" y="24773"/>
                </a:lnTo>
                <a:lnTo>
                  <a:pt x="47360" y="24102"/>
                </a:lnTo>
                <a:lnTo>
                  <a:pt x="48141" y="23247"/>
                </a:lnTo>
                <a:lnTo>
                  <a:pt x="48638" y="22332"/>
                </a:lnTo>
                <a:lnTo>
                  <a:pt x="50626" y="18854"/>
                </a:lnTo>
                <a:lnTo>
                  <a:pt x="50200" y="17878"/>
                </a:lnTo>
                <a:lnTo>
                  <a:pt x="49561" y="16902"/>
                </a:lnTo>
                <a:lnTo>
                  <a:pt x="48780" y="15925"/>
                </a:lnTo>
                <a:lnTo>
                  <a:pt x="47857" y="14888"/>
                </a:lnTo>
                <a:lnTo>
                  <a:pt x="46792" y="13912"/>
                </a:lnTo>
                <a:lnTo>
                  <a:pt x="45514" y="12874"/>
                </a:lnTo>
                <a:lnTo>
                  <a:pt x="44165" y="11837"/>
                </a:lnTo>
                <a:lnTo>
                  <a:pt x="42745" y="10861"/>
                </a:lnTo>
                <a:lnTo>
                  <a:pt x="41183" y="9884"/>
                </a:lnTo>
                <a:lnTo>
                  <a:pt x="39478" y="8908"/>
                </a:lnTo>
                <a:lnTo>
                  <a:pt x="37774" y="7993"/>
                </a:lnTo>
                <a:lnTo>
                  <a:pt x="35928" y="7078"/>
                </a:lnTo>
                <a:lnTo>
                  <a:pt x="34082" y="6223"/>
                </a:lnTo>
                <a:lnTo>
                  <a:pt x="32165" y="5369"/>
                </a:lnTo>
                <a:lnTo>
                  <a:pt x="30248" y="4576"/>
                </a:lnTo>
                <a:lnTo>
                  <a:pt x="28260" y="3844"/>
                </a:lnTo>
                <a:lnTo>
                  <a:pt x="26271" y="3172"/>
                </a:lnTo>
                <a:lnTo>
                  <a:pt x="24283" y="2501"/>
                </a:lnTo>
                <a:lnTo>
                  <a:pt x="22295" y="1952"/>
                </a:lnTo>
                <a:lnTo>
                  <a:pt x="20378" y="1464"/>
                </a:lnTo>
                <a:lnTo>
                  <a:pt x="18461" y="1037"/>
                </a:lnTo>
                <a:lnTo>
                  <a:pt x="16544" y="671"/>
                </a:lnTo>
                <a:lnTo>
                  <a:pt x="14769" y="427"/>
                </a:lnTo>
                <a:lnTo>
                  <a:pt x="12993" y="183"/>
                </a:lnTo>
                <a:lnTo>
                  <a:pt x="11289" y="61"/>
                </a:lnTo>
                <a:lnTo>
                  <a:pt x="9656" y="0"/>
                </a:lnTo>
                <a:lnTo>
                  <a:pt x="8165" y="0"/>
                </a:lnTo>
                <a:lnTo>
                  <a:pt x="6674" y="122"/>
                </a:lnTo>
                <a:lnTo>
                  <a:pt x="5325" y="305"/>
                </a:lnTo>
                <a:lnTo>
                  <a:pt x="4118" y="549"/>
                </a:lnTo>
                <a:lnTo>
                  <a:pt x="3053" y="915"/>
                </a:lnTo>
                <a:lnTo>
                  <a:pt x="2059" y="1342"/>
                </a:lnTo>
                <a:lnTo>
                  <a:pt x="355" y="5125"/>
                </a:lnTo>
                <a:lnTo>
                  <a:pt x="71" y="6162"/>
                </a:lnTo>
                <a:lnTo>
                  <a:pt x="0" y="7200"/>
                </a:lnTo>
                <a:lnTo>
                  <a:pt x="213" y="8298"/>
                </a:lnTo>
                <a:lnTo>
                  <a:pt x="639" y="9457"/>
                </a:lnTo>
                <a:lnTo>
                  <a:pt x="1278" y="10617"/>
                </a:lnTo>
                <a:lnTo>
                  <a:pt x="2130" y="11776"/>
                </a:lnTo>
                <a:lnTo>
                  <a:pt x="3195" y="12935"/>
                </a:lnTo>
                <a:lnTo>
                  <a:pt x="4473" y="14156"/>
                </a:lnTo>
                <a:lnTo>
                  <a:pt x="5893" y="15315"/>
                </a:lnTo>
                <a:lnTo>
                  <a:pt x="7526" y="16535"/>
                </a:lnTo>
                <a:lnTo>
                  <a:pt x="9301" y="17695"/>
                </a:lnTo>
                <a:lnTo>
                  <a:pt x="11218" y="18793"/>
                </a:lnTo>
                <a:lnTo>
                  <a:pt x="13277" y="19891"/>
                </a:lnTo>
                <a:lnTo>
                  <a:pt x="15479" y="20990"/>
                </a:lnTo>
                <a:lnTo>
                  <a:pt x="17822" y="21966"/>
                </a:lnTo>
                <a:lnTo>
                  <a:pt x="20307" y="22942"/>
                </a:lnTo>
              </a:path>
            </a:pathLst>
          </a:custGeom>
          <a:ln w="63">
            <a:solidFill>
              <a:srgbClr val="000000"/>
            </a:solidFill>
          </a:ln>
        </p:spPr>
        <p:txBody>
          <a:bodyPr wrap="square" lIns="0" tIns="0" rIns="0" bIns="0" rtlCol="0">
            <a:noAutofit/>
          </a:bodyPr>
          <a:lstStyle/>
          <a:p>
            <a:endParaRPr/>
          </a:p>
        </p:txBody>
      </p:sp>
      <p:sp>
        <p:nvSpPr>
          <p:cNvPr id="624" name="object 624"/>
          <p:cNvSpPr/>
          <p:nvPr/>
        </p:nvSpPr>
        <p:spPr>
          <a:xfrm>
            <a:off x="8895695" y="4236254"/>
            <a:ext cx="50129" cy="29471"/>
          </a:xfrm>
          <a:custGeom>
            <a:avLst/>
            <a:gdLst/>
            <a:ahLst/>
            <a:cxnLst/>
            <a:rect l="l" t="t" r="r" b="b"/>
            <a:pathLst>
              <a:path w="50129" h="29471">
                <a:moveTo>
                  <a:pt x="43242" y="8908"/>
                </a:moveTo>
                <a:lnTo>
                  <a:pt x="17822" y="183"/>
                </a:lnTo>
                <a:lnTo>
                  <a:pt x="17680" y="183"/>
                </a:lnTo>
                <a:lnTo>
                  <a:pt x="17325" y="122"/>
                </a:lnTo>
                <a:lnTo>
                  <a:pt x="16686" y="61"/>
                </a:lnTo>
                <a:lnTo>
                  <a:pt x="15834" y="0"/>
                </a:lnTo>
                <a:lnTo>
                  <a:pt x="14911" y="0"/>
                </a:lnTo>
                <a:lnTo>
                  <a:pt x="13775" y="61"/>
                </a:lnTo>
                <a:lnTo>
                  <a:pt x="12496" y="183"/>
                </a:lnTo>
                <a:lnTo>
                  <a:pt x="11147" y="366"/>
                </a:lnTo>
                <a:lnTo>
                  <a:pt x="9798" y="671"/>
                </a:lnTo>
                <a:lnTo>
                  <a:pt x="8378" y="1159"/>
                </a:lnTo>
                <a:lnTo>
                  <a:pt x="6887" y="1769"/>
                </a:lnTo>
                <a:lnTo>
                  <a:pt x="5538" y="2501"/>
                </a:lnTo>
                <a:lnTo>
                  <a:pt x="4118" y="3478"/>
                </a:lnTo>
                <a:lnTo>
                  <a:pt x="2840" y="4698"/>
                </a:lnTo>
                <a:lnTo>
                  <a:pt x="1704" y="6101"/>
                </a:lnTo>
                <a:lnTo>
                  <a:pt x="639" y="7749"/>
                </a:lnTo>
                <a:lnTo>
                  <a:pt x="0" y="9518"/>
                </a:lnTo>
                <a:lnTo>
                  <a:pt x="71" y="11288"/>
                </a:lnTo>
                <a:lnTo>
                  <a:pt x="639" y="12996"/>
                </a:lnTo>
                <a:lnTo>
                  <a:pt x="1704" y="14644"/>
                </a:lnTo>
                <a:lnTo>
                  <a:pt x="3124" y="16230"/>
                </a:lnTo>
                <a:lnTo>
                  <a:pt x="4899" y="17756"/>
                </a:lnTo>
                <a:lnTo>
                  <a:pt x="6887" y="19220"/>
                </a:lnTo>
                <a:lnTo>
                  <a:pt x="9017" y="20502"/>
                </a:lnTo>
                <a:lnTo>
                  <a:pt x="11218" y="21783"/>
                </a:lnTo>
                <a:lnTo>
                  <a:pt x="13420" y="22881"/>
                </a:lnTo>
                <a:lnTo>
                  <a:pt x="15479" y="23797"/>
                </a:lnTo>
                <a:lnTo>
                  <a:pt x="17325" y="24651"/>
                </a:lnTo>
                <a:lnTo>
                  <a:pt x="18958" y="25261"/>
                </a:lnTo>
                <a:lnTo>
                  <a:pt x="20236" y="25749"/>
                </a:lnTo>
                <a:lnTo>
                  <a:pt x="21017" y="26054"/>
                </a:lnTo>
                <a:lnTo>
                  <a:pt x="21301" y="26176"/>
                </a:lnTo>
                <a:lnTo>
                  <a:pt x="22366" y="26542"/>
                </a:lnTo>
                <a:lnTo>
                  <a:pt x="23573" y="26908"/>
                </a:lnTo>
                <a:lnTo>
                  <a:pt x="25206" y="27336"/>
                </a:lnTo>
                <a:lnTo>
                  <a:pt x="27124" y="27824"/>
                </a:lnTo>
                <a:lnTo>
                  <a:pt x="29254" y="28312"/>
                </a:lnTo>
                <a:lnTo>
                  <a:pt x="31597" y="28739"/>
                </a:lnTo>
                <a:lnTo>
                  <a:pt x="34011" y="29105"/>
                </a:lnTo>
                <a:lnTo>
                  <a:pt x="36496" y="29349"/>
                </a:lnTo>
                <a:lnTo>
                  <a:pt x="38910" y="29471"/>
                </a:lnTo>
                <a:lnTo>
                  <a:pt x="41254" y="29349"/>
                </a:lnTo>
                <a:lnTo>
                  <a:pt x="43455" y="28983"/>
                </a:lnTo>
                <a:lnTo>
                  <a:pt x="45443" y="28373"/>
                </a:lnTo>
                <a:lnTo>
                  <a:pt x="47147" y="27458"/>
                </a:lnTo>
                <a:lnTo>
                  <a:pt x="48425" y="26176"/>
                </a:lnTo>
                <a:lnTo>
                  <a:pt x="49348" y="24468"/>
                </a:lnTo>
                <a:lnTo>
                  <a:pt x="49845" y="22637"/>
                </a:lnTo>
                <a:lnTo>
                  <a:pt x="50129" y="20929"/>
                </a:lnTo>
                <a:lnTo>
                  <a:pt x="50129" y="19281"/>
                </a:lnTo>
                <a:lnTo>
                  <a:pt x="49916" y="17817"/>
                </a:lnTo>
                <a:lnTo>
                  <a:pt x="49561" y="16413"/>
                </a:lnTo>
                <a:lnTo>
                  <a:pt x="48993" y="15132"/>
                </a:lnTo>
                <a:lnTo>
                  <a:pt x="48354" y="13973"/>
                </a:lnTo>
                <a:lnTo>
                  <a:pt x="47644" y="12935"/>
                </a:lnTo>
                <a:lnTo>
                  <a:pt x="46863" y="11959"/>
                </a:lnTo>
                <a:lnTo>
                  <a:pt x="46153" y="11166"/>
                </a:lnTo>
                <a:lnTo>
                  <a:pt x="45372" y="10495"/>
                </a:lnTo>
                <a:lnTo>
                  <a:pt x="44094" y="9457"/>
                </a:lnTo>
                <a:lnTo>
                  <a:pt x="43384" y="8969"/>
                </a:lnTo>
                <a:lnTo>
                  <a:pt x="43242" y="8908"/>
                </a:lnTo>
                <a:close/>
              </a:path>
            </a:pathLst>
          </a:custGeom>
          <a:solidFill>
            <a:srgbClr val="7E7E7E"/>
          </a:solidFill>
        </p:spPr>
        <p:txBody>
          <a:bodyPr wrap="square" lIns="0" tIns="0" rIns="0" bIns="0" rtlCol="0">
            <a:noAutofit/>
          </a:bodyPr>
          <a:lstStyle/>
          <a:p>
            <a:endParaRPr/>
          </a:p>
        </p:txBody>
      </p:sp>
      <p:sp>
        <p:nvSpPr>
          <p:cNvPr id="625" name="object 625"/>
          <p:cNvSpPr/>
          <p:nvPr/>
        </p:nvSpPr>
        <p:spPr>
          <a:xfrm>
            <a:off x="8895695" y="4236254"/>
            <a:ext cx="50129" cy="29471"/>
          </a:xfrm>
          <a:custGeom>
            <a:avLst/>
            <a:gdLst/>
            <a:ahLst/>
            <a:cxnLst/>
            <a:rect l="l" t="t" r="r" b="b"/>
            <a:pathLst>
              <a:path w="50129" h="29471">
                <a:moveTo>
                  <a:pt x="43242" y="8908"/>
                </a:moveTo>
                <a:lnTo>
                  <a:pt x="43384" y="8969"/>
                </a:lnTo>
                <a:lnTo>
                  <a:pt x="43668" y="9152"/>
                </a:lnTo>
                <a:lnTo>
                  <a:pt x="44094" y="9457"/>
                </a:lnTo>
                <a:lnTo>
                  <a:pt x="44733" y="9945"/>
                </a:lnTo>
                <a:lnTo>
                  <a:pt x="45372" y="10495"/>
                </a:lnTo>
                <a:lnTo>
                  <a:pt x="46153" y="11166"/>
                </a:lnTo>
                <a:lnTo>
                  <a:pt x="46863" y="11959"/>
                </a:lnTo>
                <a:lnTo>
                  <a:pt x="47644" y="12935"/>
                </a:lnTo>
                <a:lnTo>
                  <a:pt x="48354" y="13973"/>
                </a:lnTo>
                <a:lnTo>
                  <a:pt x="48993" y="15132"/>
                </a:lnTo>
                <a:lnTo>
                  <a:pt x="49561" y="16413"/>
                </a:lnTo>
                <a:lnTo>
                  <a:pt x="49916" y="17817"/>
                </a:lnTo>
                <a:lnTo>
                  <a:pt x="50129" y="19281"/>
                </a:lnTo>
                <a:lnTo>
                  <a:pt x="50129" y="20929"/>
                </a:lnTo>
                <a:lnTo>
                  <a:pt x="49845" y="22637"/>
                </a:lnTo>
                <a:lnTo>
                  <a:pt x="49348" y="24468"/>
                </a:lnTo>
                <a:lnTo>
                  <a:pt x="48425" y="26176"/>
                </a:lnTo>
                <a:lnTo>
                  <a:pt x="47147" y="27458"/>
                </a:lnTo>
                <a:lnTo>
                  <a:pt x="45443" y="28373"/>
                </a:lnTo>
                <a:lnTo>
                  <a:pt x="43455" y="28983"/>
                </a:lnTo>
                <a:lnTo>
                  <a:pt x="41254" y="29349"/>
                </a:lnTo>
                <a:lnTo>
                  <a:pt x="38910" y="29471"/>
                </a:lnTo>
                <a:lnTo>
                  <a:pt x="36496" y="29349"/>
                </a:lnTo>
                <a:lnTo>
                  <a:pt x="34011" y="29105"/>
                </a:lnTo>
                <a:lnTo>
                  <a:pt x="31597" y="28739"/>
                </a:lnTo>
                <a:lnTo>
                  <a:pt x="29254" y="28312"/>
                </a:lnTo>
                <a:lnTo>
                  <a:pt x="27124" y="27824"/>
                </a:lnTo>
                <a:lnTo>
                  <a:pt x="25206" y="27336"/>
                </a:lnTo>
                <a:lnTo>
                  <a:pt x="23573" y="26908"/>
                </a:lnTo>
                <a:lnTo>
                  <a:pt x="22366" y="26542"/>
                </a:lnTo>
                <a:lnTo>
                  <a:pt x="21301" y="26176"/>
                </a:lnTo>
                <a:lnTo>
                  <a:pt x="21017" y="26054"/>
                </a:lnTo>
                <a:lnTo>
                  <a:pt x="20236" y="25749"/>
                </a:lnTo>
                <a:lnTo>
                  <a:pt x="18958" y="25261"/>
                </a:lnTo>
                <a:lnTo>
                  <a:pt x="17325" y="24651"/>
                </a:lnTo>
                <a:lnTo>
                  <a:pt x="15479" y="23797"/>
                </a:lnTo>
                <a:lnTo>
                  <a:pt x="13420" y="22881"/>
                </a:lnTo>
                <a:lnTo>
                  <a:pt x="11218" y="21783"/>
                </a:lnTo>
                <a:lnTo>
                  <a:pt x="9017" y="20502"/>
                </a:lnTo>
                <a:lnTo>
                  <a:pt x="6887" y="19220"/>
                </a:lnTo>
                <a:lnTo>
                  <a:pt x="4899" y="17756"/>
                </a:lnTo>
                <a:lnTo>
                  <a:pt x="3124" y="16230"/>
                </a:lnTo>
                <a:lnTo>
                  <a:pt x="1704" y="14644"/>
                </a:lnTo>
                <a:lnTo>
                  <a:pt x="639" y="12996"/>
                </a:lnTo>
                <a:lnTo>
                  <a:pt x="71" y="11288"/>
                </a:lnTo>
                <a:lnTo>
                  <a:pt x="0" y="9518"/>
                </a:lnTo>
                <a:lnTo>
                  <a:pt x="639" y="7749"/>
                </a:lnTo>
                <a:lnTo>
                  <a:pt x="1704" y="6101"/>
                </a:lnTo>
                <a:lnTo>
                  <a:pt x="2840" y="4698"/>
                </a:lnTo>
                <a:lnTo>
                  <a:pt x="4118" y="3478"/>
                </a:lnTo>
                <a:lnTo>
                  <a:pt x="5538" y="2501"/>
                </a:lnTo>
                <a:lnTo>
                  <a:pt x="6887" y="1769"/>
                </a:lnTo>
                <a:lnTo>
                  <a:pt x="8378" y="1159"/>
                </a:lnTo>
                <a:lnTo>
                  <a:pt x="9798" y="671"/>
                </a:lnTo>
                <a:lnTo>
                  <a:pt x="11147" y="366"/>
                </a:lnTo>
                <a:lnTo>
                  <a:pt x="12496" y="183"/>
                </a:lnTo>
                <a:lnTo>
                  <a:pt x="13775" y="61"/>
                </a:lnTo>
                <a:lnTo>
                  <a:pt x="14911" y="0"/>
                </a:lnTo>
                <a:lnTo>
                  <a:pt x="15834" y="0"/>
                </a:lnTo>
                <a:lnTo>
                  <a:pt x="16686" y="61"/>
                </a:lnTo>
                <a:lnTo>
                  <a:pt x="17325" y="122"/>
                </a:lnTo>
                <a:lnTo>
                  <a:pt x="17680" y="183"/>
                </a:lnTo>
                <a:lnTo>
                  <a:pt x="17822" y="183"/>
                </a:lnTo>
                <a:lnTo>
                  <a:pt x="43242" y="8908"/>
                </a:lnTo>
              </a:path>
            </a:pathLst>
          </a:custGeom>
          <a:ln w="63">
            <a:solidFill>
              <a:srgbClr val="000000"/>
            </a:solidFill>
          </a:ln>
        </p:spPr>
        <p:txBody>
          <a:bodyPr wrap="square" lIns="0" tIns="0" rIns="0" bIns="0" rtlCol="0">
            <a:noAutofit/>
          </a:bodyPr>
          <a:lstStyle/>
          <a:p>
            <a:endParaRPr/>
          </a:p>
        </p:txBody>
      </p:sp>
      <p:sp>
        <p:nvSpPr>
          <p:cNvPr id="626" name="object 626"/>
          <p:cNvSpPr/>
          <p:nvPr/>
        </p:nvSpPr>
        <p:spPr>
          <a:xfrm>
            <a:off x="8921612" y="4216606"/>
            <a:ext cx="24993" cy="11105"/>
          </a:xfrm>
          <a:custGeom>
            <a:avLst/>
            <a:gdLst/>
            <a:ahLst/>
            <a:cxnLst/>
            <a:rect l="l" t="t" r="r" b="b"/>
            <a:pathLst>
              <a:path w="24993" h="11105">
                <a:moveTo>
                  <a:pt x="0" y="1342"/>
                </a:moveTo>
                <a:lnTo>
                  <a:pt x="71" y="1708"/>
                </a:lnTo>
                <a:lnTo>
                  <a:pt x="213" y="2135"/>
                </a:lnTo>
                <a:lnTo>
                  <a:pt x="497" y="2562"/>
                </a:lnTo>
                <a:lnTo>
                  <a:pt x="923" y="3050"/>
                </a:lnTo>
                <a:lnTo>
                  <a:pt x="1420" y="3539"/>
                </a:lnTo>
                <a:lnTo>
                  <a:pt x="2059" y="4027"/>
                </a:lnTo>
                <a:lnTo>
                  <a:pt x="2769" y="4576"/>
                </a:lnTo>
                <a:lnTo>
                  <a:pt x="3550" y="5125"/>
                </a:lnTo>
                <a:lnTo>
                  <a:pt x="4473" y="5613"/>
                </a:lnTo>
                <a:lnTo>
                  <a:pt x="5396" y="6162"/>
                </a:lnTo>
                <a:lnTo>
                  <a:pt x="6461" y="6711"/>
                </a:lnTo>
                <a:lnTo>
                  <a:pt x="7526" y="7261"/>
                </a:lnTo>
                <a:lnTo>
                  <a:pt x="8662" y="7749"/>
                </a:lnTo>
                <a:lnTo>
                  <a:pt x="9869" y="8237"/>
                </a:lnTo>
                <a:lnTo>
                  <a:pt x="11147" y="8725"/>
                </a:lnTo>
                <a:lnTo>
                  <a:pt x="12425" y="9152"/>
                </a:lnTo>
                <a:lnTo>
                  <a:pt x="13633" y="9579"/>
                </a:lnTo>
                <a:lnTo>
                  <a:pt x="14911" y="9945"/>
                </a:lnTo>
                <a:lnTo>
                  <a:pt x="16047" y="10251"/>
                </a:lnTo>
                <a:lnTo>
                  <a:pt x="17183" y="10495"/>
                </a:lnTo>
                <a:lnTo>
                  <a:pt x="18319" y="10739"/>
                </a:lnTo>
                <a:lnTo>
                  <a:pt x="19313" y="10861"/>
                </a:lnTo>
                <a:lnTo>
                  <a:pt x="20307" y="10983"/>
                </a:lnTo>
                <a:lnTo>
                  <a:pt x="21230" y="11105"/>
                </a:lnTo>
                <a:lnTo>
                  <a:pt x="22011" y="11105"/>
                </a:lnTo>
                <a:lnTo>
                  <a:pt x="22721" y="11044"/>
                </a:lnTo>
                <a:lnTo>
                  <a:pt x="23431" y="10983"/>
                </a:lnTo>
                <a:lnTo>
                  <a:pt x="23928" y="10861"/>
                </a:lnTo>
                <a:lnTo>
                  <a:pt x="24354" y="10678"/>
                </a:lnTo>
                <a:lnTo>
                  <a:pt x="24709" y="10434"/>
                </a:lnTo>
                <a:lnTo>
                  <a:pt x="24922" y="10129"/>
                </a:lnTo>
                <a:lnTo>
                  <a:pt x="24993" y="9762"/>
                </a:lnTo>
                <a:lnTo>
                  <a:pt x="24922" y="9396"/>
                </a:lnTo>
                <a:lnTo>
                  <a:pt x="24780" y="8969"/>
                </a:lnTo>
                <a:lnTo>
                  <a:pt x="24425" y="8542"/>
                </a:lnTo>
                <a:lnTo>
                  <a:pt x="24070" y="8054"/>
                </a:lnTo>
                <a:lnTo>
                  <a:pt x="23502" y="7566"/>
                </a:lnTo>
                <a:lnTo>
                  <a:pt x="22934" y="7078"/>
                </a:lnTo>
                <a:lnTo>
                  <a:pt x="22224" y="6528"/>
                </a:lnTo>
                <a:lnTo>
                  <a:pt x="21372" y="5979"/>
                </a:lnTo>
                <a:lnTo>
                  <a:pt x="20520" y="5491"/>
                </a:lnTo>
                <a:lnTo>
                  <a:pt x="19526" y="4942"/>
                </a:lnTo>
                <a:lnTo>
                  <a:pt x="18532" y="4393"/>
                </a:lnTo>
                <a:lnTo>
                  <a:pt x="17396" y="3844"/>
                </a:lnTo>
                <a:lnTo>
                  <a:pt x="16260" y="3355"/>
                </a:lnTo>
                <a:lnTo>
                  <a:pt x="15053" y="2867"/>
                </a:lnTo>
                <a:lnTo>
                  <a:pt x="13775" y="2379"/>
                </a:lnTo>
                <a:lnTo>
                  <a:pt x="12496" y="1952"/>
                </a:lnTo>
                <a:lnTo>
                  <a:pt x="11289" y="1525"/>
                </a:lnTo>
                <a:lnTo>
                  <a:pt x="10011" y="1159"/>
                </a:lnTo>
                <a:lnTo>
                  <a:pt x="8875" y="854"/>
                </a:lnTo>
                <a:lnTo>
                  <a:pt x="7739" y="610"/>
                </a:lnTo>
                <a:lnTo>
                  <a:pt x="6603" y="366"/>
                </a:lnTo>
                <a:lnTo>
                  <a:pt x="5609" y="183"/>
                </a:lnTo>
                <a:lnTo>
                  <a:pt x="4615" y="61"/>
                </a:lnTo>
                <a:lnTo>
                  <a:pt x="3763" y="0"/>
                </a:lnTo>
                <a:lnTo>
                  <a:pt x="2201" y="0"/>
                </a:lnTo>
                <a:lnTo>
                  <a:pt x="1562" y="122"/>
                </a:lnTo>
                <a:lnTo>
                  <a:pt x="994" y="244"/>
                </a:lnTo>
                <a:lnTo>
                  <a:pt x="568" y="427"/>
                </a:lnTo>
                <a:lnTo>
                  <a:pt x="284" y="671"/>
                </a:lnTo>
                <a:lnTo>
                  <a:pt x="71" y="976"/>
                </a:lnTo>
                <a:lnTo>
                  <a:pt x="0" y="1342"/>
                </a:lnTo>
                <a:close/>
              </a:path>
            </a:pathLst>
          </a:custGeom>
          <a:solidFill>
            <a:srgbClr val="FFFFFF"/>
          </a:solidFill>
        </p:spPr>
        <p:txBody>
          <a:bodyPr wrap="square" lIns="0" tIns="0" rIns="0" bIns="0" rtlCol="0">
            <a:noAutofit/>
          </a:bodyPr>
          <a:lstStyle/>
          <a:p>
            <a:endParaRPr/>
          </a:p>
        </p:txBody>
      </p:sp>
      <p:sp>
        <p:nvSpPr>
          <p:cNvPr id="627" name="object 627"/>
          <p:cNvSpPr/>
          <p:nvPr/>
        </p:nvSpPr>
        <p:spPr>
          <a:xfrm>
            <a:off x="8921612" y="4216606"/>
            <a:ext cx="24993" cy="11105"/>
          </a:xfrm>
          <a:custGeom>
            <a:avLst/>
            <a:gdLst/>
            <a:ahLst/>
            <a:cxnLst/>
            <a:rect l="l" t="t" r="r" b="b"/>
            <a:pathLst>
              <a:path w="24993" h="11105">
                <a:moveTo>
                  <a:pt x="11147" y="8725"/>
                </a:moveTo>
                <a:lnTo>
                  <a:pt x="12425" y="9152"/>
                </a:lnTo>
                <a:lnTo>
                  <a:pt x="13633" y="9579"/>
                </a:lnTo>
                <a:lnTo>
                  <a:pt x="14911" y="9945"/>
                </a:lnTo>
                <a:lnTo>
                  <a:pt x="16047" y="10251"/>
                </a:lnTo>
                <a:lnTo>
                  <a:pt x="17183" y="10495"/>
                </a:lnTo>
                <a:lnTo>
                  <a:pt x="18319" y="10739"/>
                </a:lnTo>
                <a:lnTo>
                  <a:pt x="19313" y="10861"/>
                </a:lnTo>
                <a:lnTo>
                  <a:pt x="20307" y="10983"/>
                </a:lnTo>
                <a:lnTo>
                  <a:pt x="21230" y="11105"/>
                </a:lnTo>
                <a:lnTo>
                  <a:pt x="22011" y="11105"/>
                </a:lnTo>
                <a:lnTo>
                  <a:pt x="22721" y="11044"/>
                </a:lnTo>
                <a:lnTo>
                  <a:pt x="23431" y="10983"/>
                </a:lnTo>
                <a:lnTo>
                  <a:pt x="23928" y="10861"/>
                </a:lnTo>
                <a:lnTo>
                  <a:pt x="24354" y="10678"/>
                </a:lnTo>
                <a:lnTo>
                  <a:pt x="24709" y="10434"/>
                </a:lnTo>
                <a:lnTo>
                  <a:pt x="24922" y="10129"/>
                </a:lnTo>
                <a:lnTo>
                  <a:pt x="24993" y="9762"/>
                </a:lnTo>
                <a:lnTo>
                  <a:pt x="24922" y="9396"/>
                </a:lnTo>
                <a:lnTo>
                  <a:pt x="24780" y="8969"/>
                </a:lnTo>
                <a:lnTo>
                  <a:pt x="24425" y="8542"/>
                </a:lnTo>
                <a:lnTo>
                  <a:pt x="24070" y="8054"/>
                </a:lnTo>
                <a:lnTo>
                  <a:pt x="23502" y="7566"/>
                </a:lnTo>
                <a:lnTo>
                  <a:pt x="22934" y="7078"/>
                </a:lnTo>
                <a:lnTo>
                  <a:pt x="22224" y="6528"/>
                </a:lnTo>
                <a:lnTo>
                  <a:pt x="21372" y="5979"/>
                </a:lnTo>
                <a:lnTo>
                  <a:pt x="20520" y="5491"/>
                </a:lnTo>
                <a:lnTo>
                  <a:pt x="19526" y="4942"/>
                </a:lnTo>
                <a:lnTo>
                  <a:pt x="18532" y="4393"/>
                </a:lnTo>
                <a:lnTo>
                  <a:pt x="17396" y="3844"/>
                </a:lnTo>
                <a:lnTo>
                  <a:pt x="16260" y="3355"/>
                </a:lnTo>
                <a:lnTo>
                  <a:pt x="15053" y="2867"/>
                </a:lnTo>
                <a:lnTo>
                  <a:pt x="13775" y="2379"/>
                </a:lnTo>
                <a:lnTo>
                  <a:pt x="12496" y="1952"/>
                </a:lnTo>
                <a:lnTo>
                  <a:pt x="11289" y="1525"/>
                </a:lnTo>
                <a:lnTo>
                  <a:pt x="10011" y="1159"/>
                </a:lnTo>
                <a:lnTo>
                  <a:pt x="8875" y="854"/>
                </a:lnTo>
                <a:lnTo>
                  <a:pt x="7739" y="610"/>
                </a:lnTo>
                <a:lnTo>
                  <a:pt x="6603" y="366"/>
                </a:lnTo>
                <a:lnTo>
                  <a:pt x="5609" y="183"/>
                </a:lnTo>
                <a:lnTo>
                  <a:pt x="4615" y="61"/>
                </a:lnTo>
                <a:lnTo>
                  <a:pt x="3763" y="0"/>
                </a:lnTo>
                <a:lnTo>
                  <a:pt x="2911" y="0"/>
                </a:lnTo>
                <a:lnTo>
                  <a:pt x="2201" y="0"/>
                </a:lnTo>
                <a:lnTo>
                  <a:pt x="1562" y="122"/>
                </a:lnTo>
                <a:lnTo>
                  <a:pt x="994" y="244"/>
                </a:lnTo>
                <a:lnTo>
                  <a:pt x="568" y="427"/>
                </a:lnTo>
                <a:lnTo>
                  <a:pt x="284" y="671"/>
                </a:lnTo>
                <a:lnTo>
                  <a:pt x="71" y="976"/>
                </a:lnTo>
                <a:lnTo>
                  <a:pt x="0" y="1342"/>
                </a:lnTo>
                <a:lnTo>
                  <a:pt x="71" y="1708"/>
                </a:lnTo>
                <a:lnTo>
                  <a:pt x="213" y="2135"/>
                </a:lnTo>
                <a:lnTo>
                  <a:pt x="497" y="2562"/>
                </a:lnTo>
                <a:lnTo>
                  <a:pt x="923" y="3050"/>
                </a:lnTo>
                <a:lnTo>
                  <a:pt x="1420" y="3539"/>
                </a:lnTo>
                <a:lnTo>
                  <a:pt x="2059" y="4027"/>
                </a:lnTo>
                <a:lnTo>
                  <a:pt x="2769" y="4576"/>
                </a:lnTo>
                <a:lnTo>
                  <a:pt x="3550" y="5125"/>
                </a:lnTo>
                <a:lnTo>
                  <a:pt x="4473" y="5613"/>
                </a:lnTo>
                <a:lnTo>
                  <a:pt x="5396" y="6162"/>
                </a:lnTo>
                <a:lnTo>
                  <a:pt x="6461" y="6711"/>
                </a:lnTo>
                <a:lnTo>
                  <a:pt x="7526" y="7261"/>
                </a:lnTo>
                <a:lnTo>
                  <a:pt x="8662" y="7749"/>
                </a:lnTo>
                <a:lnTo>
                  <a:pt x="9869" y="8237"/>
                </a:lnTo>
                <a:lnTo>
                  <a:pt x="11147" y="8725"/>
                </a:lnTo>
              </a:path>
            </a:pathLst>
          </a:custGeom>
          <a:ln w="62">
            <a:solidFill>
              <a:srgbClr val="000000"/>
            </a:solidFill>
          </a:ln>
        </p:spPr>
        <p:txBody>
          <a:bodyPr wrap="square" lIns="0" tIns="0" rIns="0" bIns="0" rtlCol="0">
            <a:noAutofit/>
          </a:bodyPr>
          <a:lstStyle/>
          <a:p>
            <a:endParaRPr/>
          </a:p>
        </p:txBody>
      </p:sp>
      <p:sp>
        <p:nvSpPr>
          <p:cNvPr id="628" name="object 628"/>
          <p:cNvSpPr/>
          <p:nvPr/>
        </p:nvSpPr>
        <p:spPr>
          <a:xfrm>
            <a:off x="8912453" y="4217338"/>
            <a:ext cx="34011" cy="34353"/>
          </a:xfrm>
          <a:custGeom>
            <a:avLst/>
            <a:gdLst/>
            <a:ahLst/>
            <a:cxnLst/>
            <a:rect l="l" t="t" r="r" b="b"/>
            <a:pathLst>
              <a:path w="34011" h="34353">
                <a:moveTo>
                  <a:pt x="23644" y="32888"/>
                </a:moveTo>
                <a:lnTo>
                  <a:pt x="34011" y="9640"/>
                </a:lnTo>
                <a:lnTo>
                  <a:pt x="9585" y="0"/>
                </a:lnTo>
                <a:lnTo>
                  <a:pt x="142" y="24407"/>
                </a:lnTo>
                <a:lnTo>
                  <a:pt x="0" y="25200"/>
                </a:lnTo>
                <a:lnTo>
                  <a:pt x="355" y="26237"/>
                </a:lnTo>
                <a:lnTo>
                  <a:pt x="994" y="27397"/>
                </a:lnTo>
                <a:lnTo>
                  <a:pt x="2130" y="28617"/>
                </a:lnTo>
                <a:lnTo>
                  <a:pt x="3550" y="29837"/>
                </a:lnTo>
                <a:lnTo>
                  <a:pt x="5325" y="31058"/>
                </a:lnTo>
                <a:lnTo>
                  <a:pt x="7384" y="32156"/>
                </a:lnTo>
                <a:lnTo>
                  <a:pt x="9798" y="33071"/>
                </a:lnTo>
                <a:lnTo>
                  <a:pt x="11005" y="33437"/>
                </a:lnTo>
                <a:lnTo>
                  <a:pt x="12212" y="33743"/>
                </a:lnTo>
                <a:lnTo>
                  <a:pt x="13349" y="33987"/>
                </a:lnTo>
                <a:lnTo>
                  <a:pt x="14556" y="34170"/>
                </a:lnTo>
                <a:lnTo>
                  <a:pt x="16757" y="34353"/>
                </a:lnTo>
                <a:lnTo>
                  <a:pt x="18816" y="34353"/>
                </a:lnTo>
                <a:lnTo>
                  <a:pt x="20591" y="34170"/>
                </a:lnTo>
                <a:lnTo>
                  <a:pt x="22011" y="33865"/>
                </a:lnTo>
                <a:lnTo>
                  <a:pt x="23076" y="33437"/>
                </a:lnTo>
                <a:lnTo>
                  <a:pt x="23644" y="32888"/>
                </a:lnTo>
                <a:close/>
              </a:path>
            </a:pathLst>
          </a:custGeom>
          <a:solidFill>
            <a:srgbClr val="B1B1B1"/>
          </a:solidFill>
        </p:spPr>
        <p:txBody>
          <a:bodyPr wrap="square" lIns="0" tIns="0" rIns="0" bIns="0" rtlCol="0">
            <a:noAutofit/>
          </a:bodyPr>
          <a:lstStyle/>
          <a:p>
            <a:endParaRPr/>
          </a:p>
        </p:txBody>
      </p:sp>
      <p:sp>
        <p:nvSpPr>
          <p:cNvPr id="629" name="object 629"/>
          <p:cNvSpPr/>
          <p:nvPr/>
        </p:nvSpPr>
        <p:spPr>
          <a:xfrm>
            <a:off x="8912453" y="4217338"/>
            <a:ext cx="34011" cy="34353"/>
          </a:xfrm>
          <a:custGeom>
            <a:avLst/>
            <a:gdLst/>
            <a:ahLst/>
            <a:cxnLst/>
            <a:rect l="l" t="t" r="r" b="b"/>
            <a:pathLst>
              <a:path w="34011" h="34353">
                <a:moveTo>
                  <a:pt x="23644" y="32888"/>
                </a:moveTo>
                <a:lnTo>
                  <a:pt x="34011" y="9640"/>
                </a:lnTo>
                <a:lnTo>
                  <a:pt x="9585" y="0"/>
                </a:lnTo>
                <a:lnTo>
                  <a:pt x="142" y="24407"/>
                </a:lnTo>
                <a:lnTo>
                  <a:pt x="0" y="25200"/>
                </a:lnTo>
                <a:lnTo>
                  <a:pt x="355" y="26237"/>
                </a:lnTo>
                <a:lnTo>
                  <a:pt x="994" y="27397"/>
                </a:lnTo>
                <a:lnTo>
                  <a:pt x="2130" y="28617"/>
                </a:lnTo>
                <a:lnTo>
                  <a:pt x="3550" y="29837"/>
                </a:lnTo>
                <a:lnTo>
                  <a:pt x="5325" y="31058"/>
                </a:lnTo>
                <a:lnTo>
                  <a:pt x="7384" y="32156"/>
                </a:lnTo>
                <a:lnTo>
                  <a:pt x="9798" y="33071"/>
                </a:lnTo>
                <a:lnTo>
                  <a:pt x="11005" y="33437"/>
                </a:lnTo>
                <a:lnTo>
                  <a:pt x="12212" y="33743"/>
                </a:lnTo>
                <a:lnTo>
                  <a:pt x="13349" y="33987"/>
                </a:lnTo>
                <a:lnTo>
                  <a:pt x="14556" y="34170"/>
                </a:lnTo>
                <a:lnTo>
                  <a:pt x="15692" y="34292"/>
                </a:lnTo>
                <a:lnTo>
                  <a:pt x="16757" y="34353"/>
                </a:lnTo>
                <a:lnTo>
                  <a:pt x="17822" y="34353"/>
                </a:lnTo>
                <a:lnTo>
                  <a:pt x="18816" y="34353"/>
                </a:lnTo>
                <a:lnTo>
                  <a:pt x="19739" y="34292"/>
                </a:lnTo>
                <a:lnTo>
                  <a:pt x="20591" y="34170"/>
                </a:lnTo>
                <a:lnTo>
                  <a:pt x="21372" y="34048"/>
                </a:lnTo>
                <a:lnTo>
                  <a:pt x="22011" y="33865"/>
                </a:lnTo>
                <a:lnTo>
                  <a:pt x="22579" y="33681"/>
                </a:lnTo>
                <a:lnTo>
                  <a:pt x="23076" y="33437"/>
                </a:lnTo>
                <a:lnTo>
                  <a:pt x="23431" y="33193"/>
                </a:lnTo>
                <a:lnTo>
                  <a:pt x="23644" y="32888"/>
                </a:lnTo>
              </a:path>
            </a:pathLst>
          </a:custGeom>
          <a:ln w="66">
            <a:solidFill>
              <a:srgbClr val="000000"/>
            </a:solidFill>
          </a:ln>
        </p:spPr>
        <p:txBody>
          <a:bodyPr wrap="square" lIns="0" tIns="0" rIns="0" bIns="0" rtlCol="0">
            <a:noAutofit/>
          </a:bodyPr>
          <a:lstStyle/>
          <a:p>
            <a:endParaRPr/>
          </a:p>
        </p:txBody>
      </p:sp>
      <p:sp>
        <p:nvSpPr>
          <p:cNvPr id="630" name="object 630"/>
          <p:cNvSpPr/>
          <p:nvPr/>
        </p:nvSpPr>
        <p:spPr>
          <a:xfrm>
            <a:off x="8917635" y="4213920"/>
            <a:ext cx="33514" cy="15986"/>
          </a:xfrm>
          <a:custGeom>
            <a:avLst/>
            <a:gdLst/>
            <a:ahLst/>
            <a:cxnLst/>
            <a:rect l="l" t="t" r="r" b="b"/>
            <a:pathLst>
              <a:path w="33514" h="15986">
                <a:moveTo>
                  <a:pt x="1278" y="671"/>
                </a:moveTo>
                <a:lnTo>
                  <a:pt x="1349" y="244"/>
                </a:lnTo>
                <a:lnTo>
                  <a:pt x="1420" y="0"/>
                </a:lnTo>
                <a:lnTo>
                  <a:pt x="142" y="2867"/>
                </a:lnTo>
                <a:lnTo>
                  <a:pt x="0" y="3355"/>
                </a:lnTo>
                <a:lnTo>
                  <a:pt x="71" y="3844"/>
                </a:lnTo>
                <a:lnTo>
                  <a:pt x="284" y="4393"/>
                </a:lnTo>
                <a:lnTo>
                  <a:pt x="639" y="5003"/>
                </a:lnTo>
                <a:lnTo>
                  <a:pt x="1136" y="5613"/>
                </a:lnTo>
                <a:lnTo>
                  <a:pt x="1846" y="6223"/>
                </a:lnTo>
                <a:lnTo>
                  <a:pt x="2627" y="6895"/>
                </a:lnTo>
                <a:lnTo>
                  <a:pt x="3550" y="7566"/>
                </a:lnTo>
                <a:lnTo>
                  <a:pt x="4544" y="8237"/>
                </a:lnTo>
                <a:lnTo>
                  <a:pt x="5680" y="8908"/>
                </a:lnTo>
                <a:lnTo>
                  <a:pt x="6958" y="9579"/>
                </a:lnTo>
                <a:lnTo>
                  <a:pt x="8307" y="10312"/>
                </a:lnTo>
                <a:lnTo>
                  <a:pt x="9727" y="10983"/>
                </a:lnTo>
                <a:lnTo>
                  <a:pt x="11218" y="11654"/>
                </a:lnTo>
                <a:lnTo>
                  <a:pt x="12780" y="12325"/>
                </a:lnTo>
                <a:lnTo>
                  <a:pt x="14414" y="12935"/>
                </a:lnTo>
                <a:lnTo>
                  <a:pt x="16047" y="13485"/>
                </a:lnTo>
                <a:lnTo>
                  <a:pt x="17680" y="14034"/>
                </a:lnTo>
                <a:lnTo>
                  <a:pt x="19242" y="14522"/>
                </a:lnTo>
                <a:lnTo>
                  <a:pt x="20733" y="14888"/>
                </a:lnTo>
                <a:lnTo>
                  <a:pt x="22224" y="15254"/>
                </a:lnTo>
                <a:lnTo>
                  <a:pt x="23644" y="15498"/>
                </a:lnTo>
                <a:lnTo>
                  <a:pt x="24993" y="15742"/>
                </a:lnTo>
                <a:lnTo>
                  <a:pt x="26200" y="15864"/>
                </a:lnTo>
                <a:lnTo>
                  <a:pt x="27408" y="15986"/>
                </a:lnTo>
                <a:lnTo>
                  <a:pt x="29396" y="15986"/>
                </a:lnTo>
                <a:lnTo>
                  <a:pt x="30248" y="15864"/>
                </a:lnTo>
                <a:lnTo>
                  <a:pt x="30958" y="15681"/>
                </a:lnTo>
                <a:lnTo>
                  <a:pt x="31526" y="15437"/>
                </a:lnTo>
                <a:lnTo>
                  <a:pt x="31952" y="15132"/>
                </a:lnTo>
                <a:lnTo>
                  <a:pt x="32236" y="14766"/>
                </a:lnTo>
                <a:lnTo>
                  <a:pt x="33514" y="12081"/>
                </a:lnTo>
                <a:lnTo>
                  <a:pt x="33230" y="12447"/>
                </a:lnTo>
                <a:lnTo>
                  <a:pt x="32804" y="12752"/>
                </a:lnTo>
                <a:lnTo>
                  <a:pt x="32236" y="12996"/>
                </a:lnTo>
                <a:lnTo>
                  <a:pt x="31597" y="13179"/>
                </a:lnTo>
                <a:lnTo>
                  <a:pt x="30745" y="13301"/>
                </a:lnTo>
                <a:lnTo>
                  <a:pt x="29822" y="13362"/>
                </a:lnTo>
                <a:lnTo>
                  <a:pt x="28757" y="13301"/>
                </a:lnTo>
                <a:lnTo>
                  <a:pt x="27621" y="13240"/>
                </a:lnTo>
                <a:lnTo>
                  <a:pt x="26342" y="13057"/>
                </a:lnTo>
                <a:lnTo>
                  <a:pt x="25064" y="12874"/>
                </a:lnTo>
                <a:lnTo>
                  <a:pt x="23644" y="12569"/>
                </a:lnTo>
                <a:lnTo>
                  <a:pt x="22153" y="12264"/>
                </a:lnTo>
                <a:lnTo>
                  <a:pt x="20662" y="11837"/>
                </a:lnTo>
                <a:lnTo>
                  <a:pt x="19100" y="11410"/>
                </a:lnTo>
                <a:lnTo>
                  <a:pt x="17467" y="10861"/>
                </a:lnTo>
                <a:lnTo>
                  <a:pt x="15834" y="10312"/>
                </a:lnTo>
                <a:lnTo>
                  <a:pt x="14201" y="9701"/>
                </a:lnTo>
                <a:lnTo>
                  <a:pt x="12638" y="9030"/>
                </a:lnTo>
                <a:lnTo>
                  <a:pt x="11147" y="8359"/>
                </a:lnTo>
                <a:lnTo>
                  <a:pt x="9727" y="7688"/>
                </a:lnTo>
                <a:lnTo>
                  <a:pt x="8378" y="7017"/>
                </a:lnTo>
                <a:lnTo>
                  <a:pt x="7171" y="6284"/>
                </a:lnTo>
                <a:lnTo>
                  <a:pt x="5964" y="5613"/>
                </a:lnTo>
                <a:lnTo>
                  <a:pt x="4970" y="4881"/>
                </a:lnTo>
                <a:lnTo>
                  <a:pt x="4047" y="4210"/>
                </a:lnTo>
                <a:lnTo>
                  <a:pt x="3195" y="3539"/>
                </a:lnTo>
                <a:lnTo>
                  <a:pt x="2556" y="2928"/>
                </a:lnTo>
                <a:lnTo>
                  <a:pt x="1988" y="2318"/>
                </a:lnTo>
                <a:lnTo>
                  <a:pt x="1562" y="1708"/>
                </a:lnTo>
                <a:lnTo>
                  <a:pt x="1349" y="1220"/>
                </a:lnTo>
                <a:lnTo>
                  <a:pt x="1278" y="671"/>
                </a:lnTo>
                <a:close/>
              </a:path>
            </a:pathLst>
          </a:custGeom>
          <a:solidFill>
            <a:srgbClr val="999999"/>
          </a:solidFill>
        </p:spPr>
        <p:txBody>
          <a:bodyPr wrap="square" lIns="0" tIns="0" rIns="0" bIns="0" rtlCol="0">
            <a:noAutofit/>
          </a:bodyPr>
          <a:lstStyle/>
          <a:p>
            <a:endParaRPr/>
          </a:p>
        </p:txBody>
      </p:sp>
      <p:sp>
        <p:nvSpPr>
          <p:cNvPr id="631" name="object 631"/>
          <p:cNvSpPr/>
          <p:nvPr/>
        </p:nvSpPr>
        <p:spPr>
          <a:xfrm>
            <a:off x="8917635" y="4213920"/>
            <a:ext cx="33514" cy="15986"/>
          </a:xfrm>
          <a:custGeom>
            <a:avLst/>
            <a:gdLst/>
            <a:ahLst/>
            <a:cxnLst/>
            <a:rect l="l" t="t" r="r" b="b"/>
            <a:pathLst>
              <a:path w="33514" h="15986">
                <a:moveTo>
                  <a:pt x="15834" y="10312"/>
                </a:moveTo>
                <a:lnTo>
                  <a:pt x="17467" y="10861"/>
                </a:lnTo>
                <a:lnTo>
                  <a:pt x="19100" y="11410"/>
                </a:lnTo>
                <a:lnTo>
                  <a:pt x="20662" y="11837"/>
                </a:lnTo>
                <a:lnTo>
                  <a:pt x="22153" y="12264"/>
                </a:lnTo>
                <a:lnTo>
                  <a:pt x="23644" y="12569"/>
                </a:lnTo>
                <a:lnTo>
                  <a:pt x="25064" y="12874"/>
                </a:lnTo>
                <a:lnTo>
                  <a:pt x="26342" y="13057"/>
                </a:lnTo>
                <a:lnTo>
                  <a:pt x="27621" y="13240"/>
                </a:lnTo>
                <a:lnTo>
                  <a:pt x="28757" y="13301"/>
                </a:lnTo>
                <a:lnTo>
                  <a:pt x="29822" y="13362"/>
                </a:lnTo>
                <a:lnTo>
                  <a:pt x="30745" y="13301"/>
                </a:lnTo>
                <a:lnTo>
                  <a:pt x="31597" y="13179"/>
                </a:lnTo>
                <a:lnTo>
                  <a:pt x="32236" y="12996"/>
                </a:lnTo>
                <a:lnTo>
                  <a:pt x="32804" y="12752"/>
                </a:lnTo>
                <a:lnTo>
                  <a:pt x="33230" y="12447"/>
                </a:lnTo>
                <a:lnTo>
                  <a:pt x="33514" y="12081"/>
                </a:lnTo>
                <a:lnTo>
                  <a:pt x="32236" y="14766"/>
                </a:lnTo>
                <a:lnTo>
                  <a:pt x="31952" y="15132"/>
                </a:lnTo>
                <a:lnTo>
                  <a:pt x="31526" y="15437"/>
                </a:lnTo>
                <a:lnTo>
                  <a:pt x="30958" y="15681"/>
                </a:lnTo>
                <a:lnTo>
                  <a:pt x="30248" y="15864"/>
                </a:lnTo>
                <a:lnTo>
                  <a:pt x="29396" y="15986"/>
                </a:lnTo>
                <a:lnTo>
                  <a:pt x="28473" y="15986"/>
                </a:lnTo>
                <a:lnTo>
                  <a:pt x="27408" y="15986"/>
                </a:lnTo>
                <a:lnTo>
                  <a:pt x="26200" y="15864"/>
                </a:lnTo>
                <a:lnTo>
                  <a:pt x="24993" y="15742"/>
                </a:lnTo>
                <a:lnTo>
                  <a:pt x="23644" y="15498"/>
                </a:lnTo>
                <a:lnTo>
                  <a:pt x="22224" y="15254"/>
                </a:lnTo>
                <a:lnTo>
                  <a:pt x="20733" y="14888"/>
                </a:lnTo>
                <a:lnTo>
                  <a:pt x="19242" y="14522"/>
                </a:lnTo>
                <a:lnTo>
                  <a:pt x="17680" y="14034"/>
                </a:lnTo>
                <a:lnTo>
                  <a:pt x="16047" y="13485"/>
                </a:lnTo>
                <a:lnTo>
                  <a:pt x="14414" y="12935"/>
                </a:lnTo>
                <a:lnTo>
                  <a:pt x="12780" y="12325"/>
                </a:lnTo>
                <a:lnTo>
                  <a:pt x="11218" y="11654"/>
                </a:lnTo>
                <a:lnTo>
                  <a:pt x="9727" y="10983"/>
                </a:lnTo>
                <a:lnTo>
                  <a:pt x="8307" y="10312"/>
                </a:lnTo>
                <a:lnTo>
                  <a:pt x="6958" y="9579"/>
                </a:lnTo>
                <a:lnTo>
                  <a:pt x="5680" y="8908"/>
                </a:lnTo>
                <a:lnTo>
                  <a:pt x="4544" y="8237"/>
                </a:lnTo>
                <a:lnTo>
                  <a:pt x="3550" y="7566"/>
                </a:lnTo>
                <a:lnTo>
                  <a:pt x="2627" y="6895"/>
                </a:lnTo>
                <a:lnTo>
                  <a:pt x="1846" y="6223"/>
                </a:lnTo>
                <a:lnTo>
                  <a:pt x="1136" y="5613"/>
                </a:lnTo>
                <a:lnTo>
                  <a:pt x="639" y="5003"/>
                </a:lnTo>
                <a:lnTo>
                  <a:pt x="284" y="4393"/>
                </a:lnTo>
                <a:lnTo>
                  <a:pt x="71" y="3844"/>
                </a:lnTo>
                <a:lnTo>
                  <a:pt x="0" y="3355"/>
                </a:lnTo>
                <a:lnTo>
                  <a:pt x="71" y="2928"/>
                </a:lnTo>
                <a:lnTo>
                  <a:pt x="1420" y="0"/>
                </a:lnTo>
                <a:lnTo>
                  <a:pt x="1349" y="183"/>
                </a:lnTo>
                <a:lnTo>
                  <a:pt x="1278" y="671"/>
                </a:lnTo>
                <a:lnTo>
                  <a:pt x="1349" y="1220"/>
                </a:lnTo>
                <a:lnTo>
                  <a:pt x="1562" y="1708"/>
                </a:lnTo>
                <a:lnTo>
                  <a:pt x="1988" y="2318"/>
                </a:lnTo>
                <a:lnTo>
                  <a:pt x="2556" y="2928"/>
                </a:lnTo>
                <a:lnTo>
                  <a:pt x="3195" y="3539"/>
                </a:lnTo>
                <a:lnTo>
                  <a:pt x="4047" y="4210"/>
                </a:lnTo>
                <a:lnTo>
                  <a:pt x="4970" y="4881"/>
                </a:lnTo>
                <a:lnTo>
                  <a:pt x="5964" y="5613"/>
                </a:lnTo>
                <a:lnTo>
                  <a:pt x="7171" y="6284"/>
                </a:lnTo>
                <a:lnTo>
                  <a:pt x="8378" y="7017"/>
                </a:lnTo>
                <a:lnTo>
                  <a:pt x="9727" y="7688"/>
                </a:lnTo>
                <a:lnTo>
                  <a:pt x="11147" y="8359"/>
                </a:lnTo>
                <a:lnTo>
                  <a:pt x="12638" y="9030"/>
                </a:lnTo>
                <a:lnTo>
                  <a:pt x="14201" y="9701"/>
                </a:lnTo>
                <a:lnTo>
                  <a:pt x="15834" y="10312"/>
                </a:lnTo>
              </a:path>
            </a:pathLst>
          </a:custGeom>
          <a:ln w="62">
            <a:solidFill>
              <a:srgbClr val="000000"/>
            </a:solidFill>
          </a:ln>
        </p:spPr>
        <p:txBody>
          <a:bodyPr wrap="square" lIns="0" tIns="0" rIns="0" bIns="0" rtlCol="0">
            <a:noAutofit/>
          </a:bodyPr>
          <a:lstStyle/>
          <a:p>
            <a:endParaRPr/>
          </a:p>
        </p:txBody>
      </p:sp>
      <p:sp>
        <p:nvSpPr>
          <p:cNvPr id="632" name="object 632"/>
          <p:cNvSpPr/>
          <p:nvPr/>
        </p:nvSpPr>
        <p:spPr>
          <a:xfrm>
            <a:off x="8907624" y="4289644"/>
            <a:ext cx="20307" cy="9457"/>
          </a:xfrm>
          <a:custGeom>
            <a:avLst/>
            <a:gdLst/>
            <a:ahLst/>
            <a:cxnLst/>
            <a:rect l="l" t="t" r="r" b="b"/>
            <a:pathLst>
              <a:path w="20307" h="9457">
                <a:moveTo>
                  <a:pt x="0" y="0"/>
                </a:moveTo>
                <a:lnTo>
                  <a:pt x="1491" y="183"/>
                </a:lnTo>
                <a:lnTo>
                  <a:pt x="2840" y="549"/>
                </a:lnTo>
                <a:lnTo>
                  <a:pt x="4118" y="1037"/>
                </a:lnTo>
                <a:lnTo>
                  <a:pt x="5325" y="1647"/>
                </a:lnTo>
                <a:lnTo>
                  <a:pt x="6532" y="2379"/>
                </a:lnTo>
                <a:lnTo>
                  <a:pt x="7668" y="3111"/>
                </a:lnTo>
                <a:lnTo>
                  <a:pt x="8733" y="3905"/>
                </a:lnTo>
                <a:lnTo>
                  <a:pt x="9869" y="4759"/>
                </a:lnTo>
                <a:lnTo>
                  <a:pt x="11005" y="5552"/>
                </a:lnTo>
                <a:lnTo>
                  <a:pt x="12141" y="6406"/>
                </a:lnTo>
                <a:lnTo>
                  <a:pt x="13277" y="7139"/>
                </a:lnTo>
                <a:lnTo>
                  <a:pt x="14556" y="7810"/>
                </a:lnTo>
                <a:lnTo>
                  <a:pt x="15834" y="8420"/>
                </a:lnTo>
                <a:lnTo>
                  <a:pt x="17183" y="8908"/>
                </a:lnTo>
                <a:lnTo>
                  <a:pt x="18674" y="9274"/>
                </a:lnTo>
                <a:lnTo>
                  <a:pt x="20307" y="9457"/>
                </a:lnTo>
              </a:path>
            </a:pathLst>
          </a:custGeom>
          <a:ln w="62">
            <a:solidFill>
              <a:srgbClr val="000000"/>
            </a:solidFill>
          </a:ln>
        </p:spPr>
        <p:txBody>
          <a:bodyPr wrap="square" lIns="0" tIns="0" rIns="0" bIns="0" rtlCol="0">
            <a:noAutofit/>
          </a:bodyPr>
          <a:lstStyle/>
          <a:p>
            <a:endParaRPr/>
          </a:p>
        </p:txBody>
      </p:sp>
      <p:sp>
        <p:nvSpPr>
          <p:cNvPr id="633" name="object 633"/>
          <p:cNvSpPr/>
          <p:nvPr/>
        </p:nvSpPr>
        <p:spPr>
          <a:xfrm>
            <a:off x="8893777" y="4279759"/>
            <a:ext cx="8946" cy="8054"/>
          </a:xfrm>
          <a:custGeom>
            <a:avLst/>
            <a:gdLst/>
            <a:ahLst/>
            <a:cxnLst/>
            <a:rect l="l" t="t" r="r" b="b"/>
            <a:pathLst>
              <a:path w="8946" h="8054">
                <a:moveTo>
                  <a:pt x="8946" y="8054"/>
                </a:moveTo>
                <a:lnTo>
                  <a:pt x="8236" y="6162"/>
                </a:lnTo>
                <a:lnTo>
                  <a:pt x="7384" y="4637"/>
                </a:lnTo>
                <a:lnTo>
                  <a:pt x="6319" y="3355"/>
                </a:lnTo>
                <a:lnTo>
                  <a:pt x="5112" y="2318"/>
                </a:lnTo>
                <a:lnTo>
                  <a:pt x="3905" y="1525"/>
                </a:lnTo>
                <a:lnTo>
                  <a:pt x="2556" y="854"/>
                </a:lnTo>
                <a:lnTo>
                  <a:pt x="1278" y="366"/>
                </a:lnTo>
                <a:lnTo>
                  <a:pt x="0" y="0"/>
                </a:lnTo>
              </a:path>
            </a:pathLst>
          </a:custGeom>
          <a:ln w="65">
            <a:solidFill>
              <a:srgbClr val="000000"/>
            </a:solidFill>
          </a:ln>
        </p:spPr>
        <p:txBody>
          <a:bodyPr wrap="square" lIns="0" tIns="0" rIns="0" bIns="0" rtlCol="0">
            <a:noAutofit/>
          </a:bodyPr>
          <a:lstStyle/>
          <a:p>
            <a:endParaRPr/>
          </a:p>
        </p:txBody>
      </p:sp>
      <p:sp>
        <p:nvSpPr>
          <p:cNvPr id="634" name="object 634"/>
          <p:cNvSpPr/>
          <p:nvPr/>
        </p:nvSpPr>
        <p:spPr>
          <a:xfrm>
            <a:off x="8886181" y="4287935"/>
            <a:ext cx="17041" cy="4454"/>
          </a:xfrm>
          <a:custGeom>
            <a:avLst/>
            <a:gdLst/>
            <a:ahLst/>
            <a:cxnLst/>
            <a:rect l="l" t="t" r="r" b="b"/>
            <a:pathLst>
              <a:path w="17041" h="4454">
                <a:moveTo>
                  <a:pt x="17041" y="1037"/>
                </a:moveTo>
                <a:lnTo>
                  <a:pt x="15763" y="610"/>
                </a:lnTo>
                <a:lnTo>
                  <a:pt x="14485" y="305"/>
                </a:lnTo>
                <a:lnTo>
                  <a:pt x="13277" y="61"/>
                </a:lnTo>
                <a:lnTo>
                  <a:pt x="12141" y="0"/>
                </a:lnTo>
                <a:lnTo>
                  <a:pt x="11005" y="0"/>
                </a:lnTo>
                <a:lnTo>
                  <a:pt x="9940" y="122"/>
                </a:lnTo>
                <a:lnTo>
                  <a:pt x="8875" y="305"/>
                </a:lnTo>
                <a:lnTo>
                  <a:pt x="7881" y="549"/>
                </a:lnTo>
                <a:lnTo>
                  <a:pt x="6887" y="854"/>
                </a:lnTo>
                <a:lnTo>
                  <a:pt x="5893" y="1281"/>
                </a:lnTo>
                <a:lnTo>
                  <a:pt x="4899" y="1708"/>
                </a:lnTo>
                <a:lnTo>
                  <a:pt x="3976" y="2196"/>
                </a:lnTo>
                <a:lnTo>
                  <a:pt x="2982" y="2745"/>
                </a:lnTo>
                <a:lnTo>
                  <a:pt x="1988" y="3294"/>
                </a:lnTo>
                <a:lnTo>
                  <a:pt x="994" y="3844"/>
                </a:lnTo>
                <a:lnTo>
                  <a:pt x="0" y="4454"/>
                </a:lnTo>
              </a:path>
            </a:pathLst>
          </a:custGeom>
          <a:ln w="61">
            <a:solidFill>
              <a:srgbClr val="000000"/>
            </a:solidFill>
          </a:ln>
        </p:spPr>
        <p:txBody>
          <a:bodyPr wrap="square" lIns="0" tIns="0" rIns="0" bIns="0" rtlCol="0">
            <a:noAutofit/>
          </a:bodyPr>
          <a:lstStyle/>
          <a:p>
            <a:endParaRPr/>
          </a:p>
        </p:txBody>
      </p:sp>
      <p:sp>
        <p:nvSpPr>
          <p:cNvPr id="635" name="object 635"/>
          <p:cNvSpPr/>
          <p:nvPr/>
        </p:nvSpPr>
        <p:spPr>
          <a:xfrm>
            <a:off x="8909044" y="4282261"/>
            <a:ext cx="11573" cy="3783"/>
          </a:xfrm>
          <a:custGeom>
            <a:avLst/>
            <a:gdLst/>
            <a:ahLst/>
            <a:cxnLst/>
            <a:rect l="l" t="t" r="r" b="b"/>
            <a:pathLst>
              <a:path w="11573" h="3783">
                <a:moveTo>
                  <a:pt x="0" y="3783"/>
                </a:moveTo>
                <a:lnTo>
                  <a:pt x="568" y="3233"/>
                </a:lnTo>
                <a:lnTo>
                  <a:pt x="1207" y="2684"/>
                </a:lnTo>
                <a:lnTo>
                  <a:pt x="1846" y="2135"/>
                </a:lnTo>
                <a:lnTo>
                  <a:pt x="2485" y="1708"/>
                </a:lnTo>
                <a:lnTo>
                  <a:pt x="3124" y="1281"/>
                </a:lnTo>
                <a:lnTo>
                  <a:pt x="3834" y="854"/>
                </a:lnTo>
                <a:lnTo>
                  <a:pt x="4544" y="549"/>
                </a:lnTo>
                <a:lnTo>
                  <a:pt x="5254" y="305"/>
                </a:lnTo>
                <a:lnTo>
                  <a:pt x="5964" y="122"/>
                </a:lnTo>
                <a:lnTo>
                  <a:pt x="6674" y="0"/>
                </a:lnTo>
                <a:lnTo>
                  <a:pt x="7455" y="0"/>
                </a:lnTo>
                <a:lnTo>
                  <a:pt x="8236" y="0"/>
                </a:lnTo>
                <a:lnTo>
                  <a:pt x="9088" y="183"/>
                </a:lnTo>
                <a:lnTo>
                  <a:pt x="9869" y="427"/>
                </a:lnTo>
                <a:lnTo>
                  <a:pt x="10721" y="732"/>
                </a:lnTo>
                <a:lnTo>
                  <a:pt x="11573" y="1220"/>
                </a:lnTo>
              </a:path>
            </a:pathLst>
          </a:custGeom>
          <a:ln w="61">
            <a:solidFill>
              <a:srgbClr val="000000"/>
            </a:solidFill>
          </a:ln>
        </p:spPr>
        <p:txBody>
          <a:bodyPr wrap="square" lIns="0" tIns="0" rIns="0" bIns="0" rtlCol="0">
            <a:noAutofit/>
          </a:bodyPr>
          <a:lstStyle/>
          <a:p>
            <a:endParaRPr/>
          </a:p>
        </p:txBody>
      </p:sp>
      <p:sp>
        <p:nvSpPr>
          <p:cNvPr id="636" name="object 636"/>
          <p:cNvSpPr/>
          <p:nvPr/>
        </p:nvSpPr>
        <p:spPr>
          <a:xfrm>
            <a:off x="8905423" y="4289400"/>
            <a:ext cx="71" cy="3355"/>
          </a:xfrm>
          <a:custGeom>
            <a:avLst/>
            <a:gdLst/>
            <a:ahLst/>
            <a:cxnLst/>
            <a:rect l="l" t="t" r="r" b="b"/>
            <a:pathLst>
              <a:path w="71" h="3355">
                <a:moveTo>
                  <a:pt x="71" y="0"/>
                </a:moveTo>
                <a:lnTo>
                  <a:pt x="0" y="3355"/>
                </a:lnTo>
              </a:path>
            </a:pathLst>
          </a:custGeom>
          <a:ln w="71">
            <a:solidFill>
              <a:srgbClr val="000000"/>
            </a:solidFill>
          </a:ln>
        </p:spPr>
        <p:txBody>
          <a:bodyPr wrap="square" lIns="0" tIns="0" rIns="0" bIns="0" rtlCol="0">
            <a:noAutofit/>
          </a:bodyPr>
          <a:lstStyle/>
          <a:p>
            <a:endParaRPr/>
          </a:p>
        </p:txBody>
      </p:sp>
      <p:sp>
        <p:nvSpPr>
          <p:cNvPr id="637" name="object 637"/>
          <p:cNvSpPr/>
          <p:nvPr/>
        </p:nvSpPr>
        <p:spPr>
          <a:xfrm>
            <a:off x="8918914" y="4212823"/>
            <a:ext cx="32449" cy="14461"/>
          </a:xfrm>
          <a:custGeom>
            <a:avLst/>
            <a:gdLst/>
            <a:ahLst/>
            <a:cxnLst/>
            <a:rect l="l" t="t" r="r" b="b"/>
            <a:pathLst>
              <a:path w="32449" h="14461">
                <a:moveTo>
                  <a:pt x="14485" y="11349"/>
                </a:moveTo>
                <a:lnTo>
                  <a:pt x="16118" y="11959"/>
                </a:lnTo>
                <a:lnTo>
                  <a:pt x="17751" y="12447"/>
                </a:lnTo>
                <a:lnTo>
                  <a:pt x="19384" y="12935"/>
                </a:lnTo>
                <a:lnTo>
                  <a:pt x="20946" y="13362"/>
                </a:lnTo>
                <a:lnTo>
                  <a:pt x="22366" y="13668"/>
                </a:lnTo>
                <a:lnTo>
                  <a:pt x="23786" y="13973"/>
                </a:lnTo>
                <a:lnTo>
                  <a:pt x="25135" y="14217"/>
                </a:lnTo>
                <a:lnTo>
                  <a:pt x="26413" y="14339"/>
                </a:lnTo>
                <a:lnTo>
                  <a:pt x="27550" y="14461"/>
                </a:lnTo>
                <a:lnTo>
                  <a:pt x="28615" y="14461"/>
                </a:lnTo>
                <a:lnTo>
                  <a:pt x="29609" y="14400"/>
                </a:lnTo>
                <a:lnTo>
                  <a:pt x="30390" y="14339"/>
                </a:lnTo>
                <a:lnTo>
                  <a:pt x="31100" y="14156"/>
                </a:lnTo>
                <a:lnTo>
                  <a:pt x="31668" y="13912"/>
                </a:lnTo>
                <a:lnTo>
                  <a:pt x="32094" y="13546"/>
                </a:lnTo>
                <a:lnTo>
                  <a:pt x="32378" y="13179"/>
                </a:lnTo>
                <a:lnTo>
                  <a:pt x="32449" y="12691"/>
                </a:lnTo>
                <a:lnTo>
                  <a:pt x="32378" y="12203"/>
                </a:lnTo>
                <a:lnTo>
                  <a:pt x="32165" y="11654"/>
                </a:lnTo>
                <a:lnTo>
                  <a:pt x="31739" y="11105"/>
                </a:lnTo>
                <a:lnTo>
                  <a:pt x="31242" y="10495"/>
                </a:lnTo>
                <a:lnTo>
                  <a:pt x="30532" y="9823"/>
                </a:lnTo>
                <a:lnTo>
                  <a:pt x="29751" y="9213"/>
                </a:lnTo>
                <a:lnTo>
                  <a:pt x="28828" y="8481"/>
                </a:lnTo>
                <a:lnTo>
                  <a:pt x="27763" y="7810"/>
                </a:lnTo>
                <a:lnTo>
                  <a:pt x="26626" y="7139"/>
                </a:lnTo>
                <a:lnTo>
                  <a:pt x="25419" y="6467"/>
                </a:lnTo>
                <a:lnTo>
                  <a:pt x="24070" y="5735"/>
                </a:lnTo>
                <a:lnTo>
                  <a:pt x="22650" y="5064"/>
                </a:lnTo>
                <a:lnTo>
                  <a:pt x="21088" y="4393"/>
                </a:lnTo>
                <a:lnTo>
                  <a:pt x="19526" y="3722"/>
                </a:lnTo>
                <a:lnTo>
                  <a:pt x="17893" y="3111"/>
                </a:lnTo>
                <a:lnTo>
                  <a:pt x="16260" y="2501"/>
                </a:lnTo>
                <a:lnTo>
                  <a:pt x="14627" y="2013"/>
                </a:lnTo>
                <a:lnTo>
                  <a:pt x="13064" y="1525"/>
                </a:lnTo>
                <a:lnTo>
                  <a:pt x="11502" y="1098"/>
                </a:lnTo>
                <a:lnTo>
                  <a:pt x="10011" y="793"/>
                </a:lnTo>
                <a:lnTo>
                  <a:pt x="8591" y="488"/>
                </a:lnTo>
                <a:lnTo>
                  <a:pt x="7242" y="244"/>
                </a:lnTo>
                <a:lnTo>
                  <a:pt x="6035" y="122"/>
                </a:lnTo>
                <a:lnTo>
                  <a:pt x="4828" y="0"/>
                </a:lnTo>
                <a:lnTo>
                  <a:pt x="3763" y="0"/>
                </a:lnTo>
                <a:lnTo>
                  <a:pt x="2840" y="61"/>
                </a:lnTo>
                <a:lnTo>
                  <a:pt x="1988" y="122"/>
                </a:lnTo>
                <a:lnTo>
                  <a:pt x="1278" y="305"/>
                </a:lnTo>
                <a:lnTo>
                  <a:pt x="710" y="549"/>
                </a:lnTo>
                <a:lnTo>
                  <a:pt x="355" y="915"/>
                </a:lnTo>
                <a:lnTo>
                  <a:pt x="71" y="1281"/>
                </a:lnTo>
                <a:lnTo>
                  <a:pt x="0" y="1708"/>
                </a:lnTo>
                <a:lnTo>
                  <a:pt x="71" y="2196"/>
                </a:lnTo>
                <a:lnTo>
                  <a:pt x="284" y="2745"/>
                </a:lnTo>
                <a:lnTo>
                  <a:pt x="710" y="3355"/>
                </a:lnTo>
                <a:lnTo>
                  <a:pt x="1207" y="3966"/>
                </a:lnTo>
                <a:lnTo>
                  <a:pt x="1846" y="4576"/>
                </a:lnTo>
                <a:lnTo>
                  <a:pt x="2627" y="5247"/>
                </a:lnTo>
                <a:lnTo>
                  <a:pt x="3550" y="5918"/>
                </a:lnTo>
                <a:lnTo>
                  <a:pt x="4615" y="6589"/>
                </a:lnTo>
                <a:lnTo>
                  <a:pt x="5751" y="7322"/>
                </a:lnTo>
                <a:lnTo>
                  <a:pt x="6958" y="7993"/>
                </a:lnTo>
                <a:lnTo>
                  <a:pt x="8307" y="8725"/>
                </a:lnTo>
                <a:lnTo>
                  <a:pt x="9727" y="9396"/>
                </a:lnTo>
                <a:lnTo>
                  <a:pt x="11289" y="10067"/>
                </a:lnTo>
                <a:lnTo>
                  <a:pt x="12851" y="10739"/>
                </a:lnTo>
                <a:lnTo>
                  <a:pt x="14485" y="11349"/>
                </a:lnTo>
                <a:close/>
              </a:path>
            </a:pathLst>
          </a:custGeom>
          <a:solidFill>
            <a:srgbClr val="999999"/>
          </a:solidFill>
        </p:spPr>
        <p:txBody>
          <a:bodyPr wrap="square" lIns="0" tIns="0" rIns="0" bIns="0" rtlCol="0">
            <a:noAutofit/>
          </a:bodyPr>
          <a:lstStyle/>
          <a:p>
            <a:endParaRPr/>
          </a:p>
        </p:txBody>
      </p:sp>
      <p:sp>
        <p:nvSpPr>
          <p:cNvPr id="638" name="object 638"/>
          <p:cNvSpPr/>
          <p:nvPr/>
        </p:nvSpPr>
        <p:spPr>
          <a:xfrm>
            <a:off x="8918914" y="4212823"/>
            <a:ext cx="32449" cy="14461"/>
          </a:xfrm>
          <a:custGeom>
            <a:avLst/>
            <a:gdLst/>
            <a:ahLst/>
            <a:cxnLst/>
            <a:rect l="l" t="t" r="r" b="b"/>
            <a:pathLst>
              <a:path w="32449" h="14461">
                <a:moveTo>
                  <a:pt x="14485" y="11349"/>
                </a:moveTo>
                <a:lnTo>
                  <a:pt x="16118" y="11959"/>
                </a:lnTo>
                <a:lnTo>
                  <a:pt x="17751" y="12447"/>
                </a:lnTo>
                <a:lnTo>
                  <a:pt x="19384" y="12935"/>
                </a:lnTo>
                <a:lnTo>
                  <a:pt x="20946" y="13362"/>
                </a:lnTo>
                <a:lnTo>
                  <a:pt x="22366" y="13668"/>
                </a:lnTo>
                <a:lnTo>
                  <a:pt x="23786" y="13973"/>
                </a:lnTo>
                <a:lnTo>
                  <a:pt x="25135" y="14217"/>
                </a:lnTo>
                <a:lnTo>
                  <a:pt x="26413" y="14339"/>
                </a:lnTo>
                <a:lnTo>
                  <a:pt x="27550" y="14461"/>
                </a:lnTo>
                <a:lnTo>
                  <a:pt x="28615" y="14461"/>
                </a:lnTo>
                <a:lnTo>
                  <a:pt x="29609" y="14400"/>
                </a:lnTo>
                <a:lnTo>
                  <a:pt x="30390" y="14339"/>
                </a:lnTo>
                <a:lnTo>
                  <a:pt x="31100" y="14156"/>
                </a:lnTo>
                <a:lnTo>
                  <a:pt x="31668" y="13912"/>
                </a:lnTo>
                <a:lnTo>
                  <a:pt x="32094" y="13546"/>
                </a:lnTo>
                <a:lnTo>
                  <a:pt x="32378" y="13179"/>
                </a:lnTo>
                <a:lnTo>
                  <a:pt x="32449" y="12691"/>
                </a:lnTo>
                <a:lnTo>
                  <a:pt x="32378" y="12203"/>
                </a:lnTo>
                <a:lnTo>
                  <a:pt x="32165" y="11654"/>
                </a:lnTo>
                <a:lnTo>
                  <a:pt x="31739" y="11105"/>
                </a:lnTo>
                <a:lnTo>
                  <a:pt x="31242" y="10495"/>
                </a:lnTo>
                <a:lnTo>
                  <a:pt x="30532" y="9823"/>
                </a:lnTo>
                <a:lnTo>
                  <a:pt x="29751" y="9213"/>
                </a:lnTo>
                <a:lnTo>
                  <a:pt x="28828" y="8481"/>
                </a:lnTo>
                <a:lnTo>
                  <a:pt x="27763" y="7810"/>
                </a:lnTo>
                <a:lnTo>
                  <a:pt x="26626" y="7139"/>
                </a:lnTo>
                <a:lnTo>
                  <a:pt x="25419" y="6467"/>
                </a:lnTo>
                <a:lnTo>
                  <a:pt x="24070" y="5735"/>
                </a:lnTo>
                <a:lnTo>
                  <a:pt x="22650" y="5064"/>
                </a:lnTo>
                <a:lnTo>
                  <a:pt x="21088" y="4393"/>
                </a:lnTo>
                <a:lnTo>
                  <a:pt x="19526" y="3722"/>
                </a:lnTo>
                <a:lnTo>
                  <a:pt x="17893" y="3111"/>
                </a:lnTo>
                <a:lnTo>
                  <a:pt x="16260" y="2501"/>
                </a:lnTo>
                <a:lnTo>
                  <a:pt x="14627" y="2013"/>
                </a:lnTo>
                <a:lnTo>
                  <a:pt x="13064" y="1525"/>
                </a:lnTo>
                <a:lnTo>
                  <a:pt x="11502" y="1098"/>
                </a:lnTo>
                <a:lnTo>
                  <a:pt x="10011" y="793"/>
                </a:lnTo>
                <a:lnTo>
                  <a:pt x="8591" y="488"/>
                </a:lnTo>
                <a:lnTo>
                  <a:pt x="7242" y="244"/>
                </a:lnTo>
                <a:lnTo>
                  <a:pt x="6035" y="122"/>
                </a:lnTo>
                <a:lnTo>
                  <a:pt x="4828" y="0"/>
                </a:lnTo>
                <a:lnTo>
                  <a:pt x="3763" y="0"/>
                </a:lnTo>
                <a:lnTo>
                  <a:pt x="2840" y="61"/>
                </a:lnTo>
                <a:lnTo>
                  <a:pt x="1988" y="122"/>
                </a:lnTo>
                <a:lnTo>
                  <a:pt x="1278" y="305"/>
                </a:lnTo>
                <a:lnTo>
                  <a:pt x="710" y="549"/>
                </a:lnTo>
                <a:lnTo>
                  <a:pt x="355" y="915"/>
                </a:lnTo>
                <a:lnTo>
                  <a:pt x="71" y="1281"/>
                </a:lnTo>
                <a:lnTo>
                  <a:pt x="0" y="1708"/>
                </a:lnTo>
                <a:lnTo>
                  <a:pt x="71" y="2196"/>
                </a:lnTo>
                <a:lnTo>
                  <a:pt x="284" y="2745"/>
                </a:lnTo>
                <a:lnTo>
                  <a:pt x="710" y="3355"/>
                </a:lnTo>
                <a:lnTo>
                  <a:pt x="1207" y="3966"/>
                </a:lnTo>
                <a:lnTo>
                  <a:pt x="1846" y="4576"/>
                </a:lnTo>
                <a:lnTo>
                  <a:pt x="2627" y="5247"/>
                </a:lnTo>
                <a:lnTo>
                  <a:pt x="3550" y="5918"/>
                </a:lnTo>
                <a:lnTo>
                  <a:pt x="4615" y="6589"/>
                </a:lnTo>
                <a:lnTo>
                  <a:pt x="5751" y="7322"/>
                </a:lnTo>
                <a:lnTo>
                  <a:pt x="6958" y="7993"/>
                </a:lnTo>
                <a:lnTo>
                  <a:pt x="8307" y="8725"/>
                </a:lnTo>
                <a:lnTo>
                  <a:pt x="9727" y="9396"/>
                </a:lnTo>
                <a:lnTo>
                  <a:pt x="11289" y="10067"/>
                </a:lnTo>
                <a:lnTo>
                  <a:pt x="12851" y="10739"/>
                </a:lnTo>
                <a:lnTo>
                  <a:pt x="14485" y="11349"/>
                </a:lnTo>
              </a:path>
            </a:pathLst>
          </a:custGeom>
          <a:ln w="62">
            <a:solidFill>
              <a:srgbClr val="000000"/>
            </a:solidFill>
          </a:ln>
        </p:spPr>
        <p:txBody>
          <a:bodyPr wrap="square" lIns="0" tIns="0" rIns="0" bIns="0" rtlCol="0">
            <a:noAutofit/>
          </a:bodyPr>
          <a:lstStyle/>
          <a:p>
            <a:endParaRPr/>
          </a:p>
        </p:txBody>
      </p:sp>
      <p:sp>
        <p:nvSpPr>
          <p:cNvPr id="639" name="object 639"/>
          <p:cNvSpPr/>
          <p:nvPr/>
        </p:nvSpPr>
        <p:spPr>
          <a:xfrm>
            <a:off x="9094090" y="4365513"/>
            <a:ext cx="514185" cy="457341"/>
          </a:xfrm>
          <a:custGeom>
            <a:avLst/>
            <a:gdLst/>
            <a:ahLst/>
            <a:cxnLst/>
            <a:rect l="l" t="t" r="r" b="b"/>
            <a:pathLst>
              <a:path w="514185" h="457341">
                <a:moveTo>
                  <a:pt x="508133" y="408897"/>
                </a:moveTo>
                <a:lnTo>
                  <a:pt x="507706" y="400578"/>
                </a:lnTo>
                <a:lnTo>
                  <a:pt x="507279" y="392137"/>
                </a:lnTo>
                <a:lnTo>
                  <a:pt x="506851" y="383696"/>
                </a:lnTo>
                <a:lnTo>
                  <a:pt x="506424" y="375255"/>
                </a:lnTo>
                <a:lnTo>
                  <a:pt x="505926" y="366692"/>
                </a:lnTo>
                <a:lnTo>
                  <a:pt x="505499" y="358190"/>
                </a:lnTo>
                <a:lnTo>
                  <a:pt x="505072" y="349565"/>
                </a:lnTo>
                <a:lnTo>
                  <a:pt x="504573" y="341002"/>
                </a:lnTo>
                <a:lnTo>
                  <a:pt x="504146" y="332378"/>
                </a:lnTo>
                <a:lnTo>
                  <a:pt x="503648" y="323753"/>
                </a:lnTo>
                <a:lnTo>
                  <a:pt x="503149" y="315129"/>
                </a:lnTo>
                <a:lnTo>
                  <a:pt x="502722" y="306504"/>
                </a:lnTo>
                <a:lnTo>
                  <a:pt x="502224" y="297941"/>
                </a:lnTo>
                <a:lnTo>
                  <a:pt x="501725" y="289317"/>
                </a:lnTo>
                <a:lnTo>
                  <a:pt x="501227" y="280814"/>
                </a:lnTo>
                <a:lnTo>
                  <a:pt x="500728" y="272251"/>
                </a:lnTo>
                <a:lnTo>
                  <a:pt x="500230" y="263810"/>
                </a:lnTo>
                <a:lnTo>
                  <a:pt x="499732" y="255369"/>
                </a:lnTo>
                <a:lnTo>
                  <a:pt x="499233" y="246928"/>
                </a:lnTo>
                <a:lnTo>
                  <a:pt x="498735" y="238610"/>
                </a:lnTo>
                <a:lnTo>
                  <a:pt x="498237" y="230352"/>
                </a:lnTo>
                <a:lnTo>
                  <a:pt x="497738" y="222156"/>
                </a:lnTo>
                <a:lnTo>
                  <a:pt x="497240" y="214021"/>
                </a:lnTo>
                <a:lnTo>
                  <a:pt x="496741" y="206008"/>
                </a:lnTo>
                <a:lnTo>
                  <a:pt x="496243" y="197995"/>
                </a:lnTo>
                <a:lnTo>
                  <a:pt x="495745" y="190166"/>
                </a:lnTo>
                <a:lnTo>
                  <a:pt x="495460" y="185578"/>
                </a:lnTo>
                <a:lnTo>
                  <a:pt x="495175" y="180991"/>
                </a:lnTo>
                <a:lnTo>
                  <a:pt x="494890" y="176465"/>
                </a:lnTo>
                <a:lnTo>
                  <a:pt x="494677" y="171999"/>
                </a:lnTo>
                <a:lnTo>
                  <a:pt x="494463" y="167473"/>
                </a:lnTo>
                <a:lnTo>
                  <a:pt x="494250" y="163008"/>
                </a:lnTo>
                <a:lnTo>
                  <a:pt x="494107" y="158543"/>
                </a:lnTo>
                <a:lnTo>
                  <a:pt x="493965" y="154017"/>
                </a:lnTo>
                <a:lnTo>
                  <a:pt x="493894" y="149551"/>
                </a:lnTo>
                <a:lnTo>
                  <a:pt x="493894" y="140499"/>
                </a:lnTo>
                <a:lnTo>
                  <a:pt x="493965" y="135972"/>
                </a:lnTo>
                <a:lnTo>
                  <a:pt x="494107" y="131385"/>
                </a:lnTo>
                <a:lnTo>
                  <a:pt x="494321" y="126797"/>
                </a:lnTo>
                <a:lnTo>
                  <a:pt x="494606" y="122149"/>
                </a:lnTo>
                <a:lnTo>
                  <a:pt x="494962" y="117439"/>
                </a:lnTo>
                <a:lnTo>
                  <a:pt x="495389" y="112668"/>
                </a:lnTo>
                <a:lnTo>
                  <a:pt x="495887" y="107836"/>
                </a:lnTo>
                <a:lnTo>
                  <a:pt x="496457" y="102943"/>
                </a:lnTo>
                <a:lnTo>
                  <a:pt x="497169" y="97988"/>
                </a:lnTo>
                <a:lnTo>
                  <a:pt x="497952" y="92972"/>
                </a:lnTo>
                <a:lnTo>
                  <a:pt x="498806" y="87834"/>
                </a:lnTo>
                <a:lnTo>
                  <a:pt x="499803" y="82635"/>
                </a:lnTo>
                <a:lnTo>
                  <a:pt x="500942" y="77375"/>
                </a:lnTo>
                <a:lnTo>
                  <a:pt x="502152" y="71931"/>
                </a:lnTo>
                <a:lnTo>
                  <a:pt x="503434" y="66426"/>
                </a:lnTo>
                <a:lnTo>
                  <a:pt x="504929" y="60799"/>
                </a:lnTo>
                <a:lnTo>
                  <a:pt x="506495" y="55049"/>
                </a:lnTo>
                <a:lnTo>
                  <a:pt x="508204" y="49238"/>
                </a:lnTo>
                <a:lnTo>
                  <a:pt x="510055" y="43244"/>
                </a:lnTo>
                <a:lnTo>
                  <a:pt x="512049" y="37066"/>
                </a:lnTo>
                <a:lnTo>
                  <a:pt x="514185" y="30827"/>
                </a:lnTo>
                <a:lnTo>
                  <a:pt x="505641" y="30889"/>
                </a:lnTo>
                <a:lnTo>
                  <a:pt x="497097" y="30950"/>
                </a:lnTo>
                <a:lnTo>
                  <a:pt x="488554" y="31072"/>
                </a:lnTo>
                <a:lnTo>
                  <a:pt x="480010" y="31194"/>
                </a:lnTo>
                <a:lnTo>
                  <a:pt x="471466" y="31378"/>
                </a:lnTo>
                <a:lnTo>
                  <a:pt x="462923" y="31500"/>
                </a:lnTo>
                <a:lnTo>
                  <a:pt x="454450" y="31684"/>
                </a:lnTo>
                <a:lnTo>
                  <a:pt x="445907" y="31867"/>
                </a:lnTo>
                <a:lnTo>
                  <a:pt x="437363" y="32112"/>
                </a:lnTo>
                <a:lnTo>
                  <a:pt x="428819" y="32295"/>
                </a:lnTo>
                <a:lnTo>
                  <a:pt x="420276" y="32479"/>
                </a:lnTo>
                <a:lnTo>
                  <a:pt x="411803" y="32724"/>
                </a:lnTo>
                <a:lnTo>
                  <a:pt x="403260" y="32907"/>
                </a:lnTo>
                <a:lnTo>
                  <a:pt x="394716" y="33091"/>
                </a:lnTo>
                <a:lnTo>
                  <a:pt x="386244" y="33274"/>
                </a:lnTo>
                <a:lnTo>
                  <a:pt x="377700" y="33458"/>
                </a:lnTo>
                <a:lnTo>
                  <a:pt x="369156" y="33641"/>
                </a:lnTo>
                <a:lnTo>
                  <a:pt x="360684" y="33763"/>
                </a:lnTo>
                <a:lnTo>
                  <a:pt x="352140" y="33886"/>
                </a:lnTo>
                <a:lnTo>
                  <a:pt x="343597" y="34008"/>
                </a:lnTo>
                <a:lnTo>
                  <a:pt x="335053" y="34069"/>
                </a:lnTo>
                <a:lnTo>
                  <a:pt x="326580" y="34130"/>
                </a:lnTo>
                <a:lnTo>
                  <a:pt x="301021" y="34130"/>
                </a:lnTo>
                <a:lnTo>
                  <a:pt x="292477" y="34008"/>
                </a:lnTo>
                <a:lnTo>
                  <a:pt x="283933" y="33886"/>
                </a:lnTo>
                <a:lnTo>
                  <a:pt x="275461" y="33763"/>
                </a:lnTo>
                <a:lnTo>
                  <a:pt x="266917" y="33519"/>
                </a:lnTo>
                <a:lnTo>
                  <a:pt x="258374" y="33274"/>
                </a:lnTo>
                <a:lnTo>
                  <a:pt x="249901" y="32968"/>
                </a:lnTo>
                <a:lnTo>
                  <a:pt x="241358" y="32601"/>
                </a:lnTo>
                <a:lnTo>
                  <a:pt x="233597" y="32173"/>
                </a:lnTo>
                <a:lnTo>
                  <a:pt x="225837" y="31684"/>
                </a:lnTo>
                <a:lnTo>
                  <a:pt x="218147" y="31133"/>
                </a:lnTo>
                <a:lnTo>
                  <a:pt x="210458" y="30460"/>
                </a:lnTo>
                <a:lnTo>
                  <a:pt x="202840" y="29726"/>
                </a:lnTo>
                <a:lnTo>
                  <a:pt x="195222" y="28870"/>
                </a:lnTo>
                <a:lnTo>
                  <a:pt x="187675" y="28014"/>
                </a:lnTo>
                <a:lnTo>
                  <a:pt x="180128" y="27096"/>
                </a:lnTo>
                <a:lnTo>
                  <a:pt x="172652" y="26056"/>
                </a:lnTo>
                <a:lnTo>
                  <a:pt x="165177" y="25017"/>
                </a:lnTo>
                <a:lnTo>
                  <a:pt x="157701" y="23977"/>
                </a:lnTo>
                <a:lnTo>
                  <a:pt x="150225" y="22815"/>
                </a:lnTo>
                <a:lnTo>
                  <a:pt x="142821" y="21652"/>
                </a:lnTo>
                <a:lnTo>
                  <a:pt x="135345" y="20490"/>
                </a:lnTo>
                <a:lnTo>
                  <a:pt x="127941" y="19267"/>
                </a:lnTo>
                <a:lnTo>
                  <a:pt x="120536" y="18044"/>
                </a:lnTo>
                <a:lnTo>
                  <a:pt x="113132" y="16820"/>
                </a:lnTo>
                <a:lnTo>
                  <a:pt x="105656" y="15536"/>
                </a:lnTo>
                <a:lnTo>
                  <a:pt x="98251" y="14312"/>
                </a:lnTo>
                <a:lnTo>
                  <a:pt x="90847" y="13028"/>
                </a:lnTo>
                <a:lnTo>
                  <a:pt x="83371" y="11805"/>
                </a:lnTo>
                <a:lnTo>
                  <a:pt x="75896" y="10581"/>
                </a:lnTo>
                <a:lnTo>
                  <a:pt x="68420" y="9358"/>
                </a:lnTo>
                <a:lnTo>
                  <a:pt x="60944" y="8135"/>
                </a:lnTo>
                <a:lnTo>
                  <a:pt x="53468" y="6972"/>
                </a:lnTo>
                <a:lnTo>
                  <a:pt x="45922" y="5810"/>
                </a:lnTo>
                <a:lnTo>
                  <a:pt x="38375" y="4709"/>
                </a:lnTo>
                <a:lnTo>
                  <a:pt x="30757" y="3669"/>
                </a:lnTo>
                <a:lnTo>
                  <a:pt x="23139" y="2691"/>
                </a:lnTo>
                <a:lnTo>
                  <a:pt x="15449" y="1712"/>
                </a:lnTo>
                <a:lnTo>
                  <a:pt x="7760" y="856"/>
                </a:lnTo>
                <a:lnTo>
                  <a:pt x="0" y="0"/>
                </a:lnTo>
                <a:lnTo>
                  <a:pt x="1139" y="6789"/>
                </a:lnTo>
                <a:lnTo>
                  <a:pt x="2278" y="13578"/>
                </a:lnTo>
                <a:lnTo>
                  <a:pt x="3559" y="20368"/>
                </a:lnTo>
                <a:lnTo>
                  <a:pt x="4841" y="27280"/>
                </a:lnTo>
                <a:lnTo>
                  <a:pt x="6194" y="34192"/>
                </a:lnTo>
                <a:lnTo>
                  <a:pt x="7618" y="41103"/>
                </a:lnTo>
                <a:lnTo>
                  <a:pt x="9113" y="48015"/>
                </a:lnTo>
                <a:lnTo>
                  <a:pt x="10608" y="54988"/>
                </a:lnTo>
                <a:lnTo>
                  <a:pt x="12103" y="62022"/>
                </a:lnTo>
                <a:lnTo>
                  <a:pt x="13669" y="68995"/>
                </a:lnTo>
                <a:lnTo>
                  <a:pt x="15236" y="76029"/>
                </a:lnTo>
                <a:lnTo>
                  <a:pt x="16802" y="83063"/>
                </a:lnTo>
                <a:lnTo>
                  <a:pt x="18440" y="90098"/>
                </a:lnTo>
                <a:lnTo>
                  <a:pt x="20077" y="97193"/>
                </a:lnTo>
                <a:lnTo>
                  <a:pt x="21643" y="104227"/>
                </a:lnTo>
                <a:lnTo>
                  <a:pt x="23281" y="111322"/>
                </a:lnTo>
                <a:lnTo>
                  <a:pt x="24847" y="118356"/>
                </a:lnTo>
                <a:lnTo>
                  <a:pt x="26485" y="125452"/>
                </a:lnTo>
                <a:lnTo>
                  <a:pt x="28051" y="132486"/>
                </a:lnTo>
                <a:lnTo>
                  <a:pt x="29546" y="139520"/>
                </a:lnTo>
                <a:lnTo>
                  <a:pt x="31041" y="146554"/>
                </a:lnTo>
                <a:lnTo>
                  <a:pt x="32537" y="153588"/>
                </a:lnTo>
                <a:lnTo>
                  <a:pt x="33961" y="160622"/>
                </a:lnTo>
                <a:lnTo>
                  <a:pt x="35384" y="167595"/>
                </a:lnTo>
                <a:lnTo>
                  <a:pt x="36737" y="174568"/>
                </a:lnTo>
                <a:lnTo>
                  <a:pt x="38019" y="181541"/>
                </a:lnTo>
                <a:lnTo>
                  <a:pt x="39229" y="188453"/>
                </a:lnTo>
                <a:lnTo>
                  <a:pt x="40368" y="195365"/>
                </a:lnTo>
                <a:lnTo>
                  <a:pt x="41507" y="202216"/>
                </a:lnTo>
                <a:lnTo>
                  <a:pt x="42504" y="209066"/>
                </a:lnTo>
                <a:lnTo>
                  <a:pt x="43430" y="215856"/>
                </a:lnTo>
                <a:lnTo>
                  <a:pt x="44284" y="222645"/>
                </a:lnTo>
                <a:lnTo>
                  <a:pt x="44996" y="228945"/>
                </a:lnTo>
                <a:lnTo>
                  <a:pt x="45637" y="235307"/>
                </a:lnTo>
                <a:lnTo>
                  <a:pt x="46278" y="241729"/>
                </a:lnTo>
                <a:lnTo>
                  <a:pt x="46847" y="248213"/>
                </a:lnTo>
                <a:lnTo>
                  <a:pt x="47346" y="254696"/>
                </a:lnTo>
                <a:lnTo>
                  <a:pt x="47844" y="261241"/>
                </a:lnTo>
                <a:lnTo>
                  <a:pt x="48200" y="267847"/>
                </a:lnTo>
                <a:lnTo>
                  <a:pt x="48556" y="274453"/>
                </a:lnTo>
                <a:lnTo>
                  <a:pt x="48841" y="281120"/>
                </a:lnTo>
                <a:lnTo>
                  <a:pt x="49054" y="287849"/>
                </a:lnTo>
                <a:lnTo>
                  <a:pt x="49197" y="294638"/>
                </a:lnTo>
                <a:lnTo>
                  <a:pt x="49339" y="301428"/>
                </a:lnTo>
                <a:lnTo>
                  <a:pt x="49339" y="308278"/>
                </a:lnTo>
                <a:lnTo>
                  <a:pt x="49268" y="315129"/>
                </a:lnTo>
                <a:lnTo>
                  <a:pt x="49197" y="322041"/>
                </a:lnTo>
                <a:lnTo>
                  <a:pt x="48983" y="329014"/>
                </a:lnTo>
                <a:lnTo>
                  <a:pt x="48769" y="336048"/>
                </a:lnTo>
                <a:lnTo>
                  <a:pt x="48414" y="343082"/>
                </a:lnTo>
                <a:lnTo>
                  <a:pt x="47986" y="350116"/>
                </a:lnTo>
                <a:lnTo>
                  <a:pt x="47488" y="357272"/>
                </a:lnTo>
                <a:lnTo>
                  <a:pt x="46918" y="364368"/>
                </a:lnTo>
                <a:lnTo>
                  <a:pt x="46278" y="371585"/>
                </a:lnTo>
                <a:lnTo>
                  <a:pt x="45566" y="378803"/>
                </a:lnTo>
                <a:lnTo>
                  <a:pt x="44782" y="386082"/>
                </a:lnTo>
                <a:lnTo>
                  <a:pt x="43857" y="393361"/>
                </a:lnTo>
                <a:lnTo>
                  <a:pt x="42860" y="400701"/>
                </a:lnTo>
                <a:lnTo>
                  <a:pt x="41792" y="408041"/>
                </a:lnTo>
                <a:lnTo>
                  <a:pt x="40653" y="415442"/>
                </a:lnTo>
                <a:lnTo>
                  <a:pt x="39371" y="422843"/>
                </a:lnTo>
                <a:lnTo>
                  <a:pt x="38019" y="430305"/>
                </a:lnTo>
                <a:lnTo>
                  <a:pt x="36595" y="437829"/>
                </a:lnTo>
                <a:lnTo>
                  <a:pt x="35028" y="445352"/>
                </a:lnTo>
                <a:lnTo>
                  <a:pt x="41365" y="444190"/>
                </a:lnTo>
                <a:lnTo>
                  <a:pt x="47559" y="443150"/>
                </a:lnTo>
                <a:lnTo>
                  <a:pt x="53824" y="442171"/>
                </a:lnTo>
                <a:lnTo>
                  <a:pt x="59947" y="441315"/>
                </a:lnTo>
                <a:lnTo>
                  <a:pt x="66142" y="440520"/>
                </a:lnTo>
                <a:lnTo>
                  <a:pt x="72193" y="439847"/>
                </a:lnTo>
                <a:lnTo>
                  <a:pt x="78316" y="439297"/>
                </a:lnTo>
                <a:lnTo>
                  <a:pt x="84368" y="438746"/>
                </a:lnTo>
                <a:lnTo>
                  <a:pt x="90420" y="438318"/>
                </a:lnTo>
                <a:lnTo>
                  <a:pt x="96400" y="437951"/>
                </a:lnTo>
                <a:lnTo>
                  <a:pt x="102452" y="437706"/>
                </a:lnTo>
                <a:lnTo>
                  <a:pt x="108504" y="437462"/>
                </a:lnTo>
                <a:lnTo>
                  <a:pt x="114484" y="437339"/>
                </a:lnTo>
                <a:lnTo>
                  <a:pt x="120536" y="437217"/>
                </a:lnTo>
                <a:lnTo>
                  <a:pt x="132640" y="437217"/>
                </a:lnTo>
                <a:lnTo>
                  <a:pt x="138691" y="437278"/>
                </a:lnTo>
                <a:lnTo>
                  <a:pt x="144814" y="437400"/>
                </a:lnTo>
                <a:lnTo>
                  <a:pt x="150937" y="437523"/>
                </a:lnTo>
                <a:lnTo>
                  <a:pt x="157131" y="437767"/>
                </a:lnTo>
                <a:lnTo>
                  <a:pt x="163397" y="438012"/>
                </a:lnTo>
                <a:lnTo>
                  <a:pt x="169591" y="438257"/>
                </a:lnTo>
                <a:lnTo>
                  <a:pt x="175927" y="438563"/>
                </a:lnTo>
                <a:lnTo>
                  <a:pt x="182335" y="438868"/>
                </a:lnTo>
                <a:lnTo>
                  <a:pt x="188743" y="439174"/>
                </a:lnTo>
                <a:lnTo>
                  <a:pt x="195222" y="439541"/>
                </a:lnTo>
                <a:lnTo>
                  <a:pt x="201772" y="439908"/>
                </a:lnTo>
                <a:lnTo>
                  <a:pt x="208393" y="440336"/>
                </a:lnTo>
                <a:lnTo>
                  <a:pt x="215157" y="440703"/>
                </a:lnTo>
                <a:lnTo>
                  <a:pt x="221921" y="441070"/>
                </a:lnTo>
                <a:lnTo>
                  <a:pt x="228827" y="441499"/>
                </a:lnTo>
                <a:lnTo>
                  <a:pt x="235804" y="441866"/>
                </a:lnTo>
                <a:lnTo>
                  <a:pt x="244348" y="442355"/>
                </a:lnTo>
                <a:lnTo>
                  <a:pt x="252963" y="442844"/>
                </a:lnTo>
                <a:lnTo>
                  <a:pt x="261506" y="443334"/>
                </a:lnTo>
                <a:lnTo>
                  <a:pt x="270050" y="443823"/>
                </a:lnTo>
                <a:lnTo>
                  <a:pt x="278665" y="444312"/>
                </a:lnTo>
                <a:lnTo>
                  <a:pt x="287208" y="444802"/>
                </a:lnTo>
                <a:lnTo>
                  <a:pt x="295823" y="445352"/>
                </a:lnTo>
                <a:lnTo>
                  <a:pt x="304367" y="445841"/>
                </a:lnTo>
                <a:lnTo>
                  <a:pt x="312982" y="446331"/>
                </a:lnTo>
                <a:lnTo>
                  <a:pt x="321525" y="446881"/>
                </a:lnTo>
                <a:lnTo>
                  <a:pt x="330140" y="447371"/>
                </a:lnTo>
                <a:lnTo>
                  <a:pt x="338684" y="447921"/>
                </a:lnTo>
                <a:lnTo>
                  <a:pt x="347299" y="448410"/>
                </a:lnTo>
                <a:lnTo>
                  <a:pt x="355842" y="448961"/>
                </a:lnTo>
                <a:lnTo>
                  <a:pt x="364457" y="449450"/>
                </a:lnTo>
                <a:lnTo>
                  <a:pt x="373072" y="450001"/>
                </a:lnTo>
                <a:lnTo>
                  <a:pt x="381616" y="450490"/>
                </a:lnTo>
                <a:lnTo>
                  <a:pt x="390231" y="451041"/>
                </a:lnTo>
                <a:lnTo>
                  <a:pt x="398774" y="451530"/>
                </a:lnTo>
                <a:lnTo>
                  <a:pt x="407389" y="452019"/>
                </a:lnTo>
                <a:lnTo>
                  <a:pt x="416004" y="452509"/>
                </a:lnTo>
                <a:lnTo>
                  <a:pt x="424548" y="452998"/>
                </a:lnTo>
                <a:lnTo>
                  <a:pt x="433162" y="453487"/>
                </a:lnTo>
                <a:lnTo>
                  <a:pt x="441777" y="453977"/>
                </a:lnTo>
                <a:lnTo>
                  <a:pt x="450321" y="454405"/>
                </a:lnTo>
                <a:lnTo>
                  <a:pt x="458936" y="454894"/>
                </a:lnTo>
                <a:lnTo>
                  <a:pt x="467551" y="455322"/>
                </a:lnTo>
                <a:lnTo>
                  <a:pt x="476094" y="455750"/>
                </a:lnTo>
                <a:lnTo>
                  <a:pt x="484709" y="456179"/>
                </a:lnTo>
                <a:lnTo>
                  <a:pt x="493324" y="456546"/>
                </a:lnTo>
                <a:lnTo>
                  <a:pt x="501868" y="456974"/>
                </a:lnTo>
                <a:lnTo>
                  <a:pt x="510482" y="457341"/>
                </a:lnTo>
                <a:lnTo>
                  <a:pt x="510126" y="449511"/>
                </a:lnTo>
                <a:lnTo>
                  <a:pt x="509699" y="441499"/>
                </a:lnTo>
                <a:lnTo>
                  <a:pt x="509343" y="433486"/>
                </a:lnTo>
                <a:lnTo>
                  <a:pt x="508916" y="425351"/>
                </a:lnTo>
                <a:lnTo>
                  <a:pt x="508560" y="417154"/>
                </a:lnTo>
                <a:lnTo>
                  <a:pt x="508133" y="408897"/>
                </a:lnTo>
                <a:close/>
              </a:path>
            </a:pathLst>
          </a:custGeom>
          <a:solidFill>
            <a:srgbClr val="999999"/>
          </a:solidFill>
        </p:spPr>
        <p:txBody>
          <a:bodyPr wrap="square" lIns="0" tIns="0" rIns="0" bIns="0" rtlCol="0">
            <a:noAutofit/>
          </a:bodyPr>
          <a:lstStyle/>
          <a:p>
            <a:endParaRPr/>
          </a:p>
        </p:txBody>
      </p:sp>
      <p:sp>
        <p:nvSpPr>
          <p:cNvPr id="640" name="object 640"/>
          <p:cNvSpPr/>
          <p:nvPr/>
        </p:nvSpPr>
        <p:spPr>
          <a:xfrm>
            <a:off x="9094090" y="4365513"/>
            <a:ext cx="514185" cy="457341"/>
          </a:xfrm>
          <a:custGeom>
            <a:avLst/>
            <a:gdLst/>
            <a:ahLst/>
            <a:cxnLst/>
            <a:rect l="l" t="t" r="r" b="b"/>
            <a:pathLst>
              <a:path w="514185" h="457341">
                <a:moveTo>
                  <a:pt x="0" y="0"/>
                </a:moveTo>
                <a:lnTo>
                  <a:pt x="7760" y="856"/>
                </a:lnTo>
                <a:lnTo>
                  <a:pt x="15449" y="1712"/>
                </a:lnTo>
                <a:lnTo>
                  <a:pt x="23139" y="2691"/>
                </a:lnTo>
                <a:lnTo>
                  <a:pt x="30757" y="3669"/>
                </a:lnTo>
                <a:lnTo>
                  <a:pt x="38375" y="4709"/>
                </a:lnTo>
                <a:lnTo>
                  <a:pt x="45922" y="5810"/>
                </a:lnTo>
                <a:lnTo>
                  <a:pt x="53468" y="6972"/>
                </a:lnTo>
                <a:lnTo>
                  <a:pt x="60944" y="8135"/>
                </a:lnTo>
                <a:lnTo>
                  <a:pt x="68420" y="9358"/>
                </a:lnTo>
                <a:lnTo>
                  <a:pt x="75896" y="10581"/>
                </a:lnTo>
                <a:lnTo>
                  <a:pt x="83371" y="11805"/>
                </a:lnTo>
                <a:lnTo>
                  <a:pt x="90847" y="13028"/>
                </a:lnTo>
                <a:lnTo>
                  <a:pt x="98251" y="14312"/>
                </a:lnTo>
                <a:lnTo>
                  <a:pt x="105656" y="15536"/>
                </a:lnTo>
                <a:lnTo>
                  <a:pt x="113132" y="16820"/>
                </a:lnTo>
                <a:lnTo>
                  <a:pt x="120536" y="18044"/>
                </a:lnTo>
                <a:lnTo>
                  <a:pt x="127941" y="19267"/>
                </a:lnTo>
                <a:lnTo>
                  <a:pt x="135345" y="20490"/>
                </a:lnTo>
                <a:lnTo>
                  <a:pt x="142821" y="21652"/>
                </a:lnTo>
                <a:lnTo>
                  <a:pt x="150225" y="22815"/>
                </a:lnTo>
                <a:lnTo>
                  <a:pt x="157701" y="23977"/>
                </a:lnTo>
                <a:lnTo>
                  <a:pt x="165177" y="25017"/>
                </a:lnTo>
                <a:lnTo>
                  <a:pt x="172652" y="26056"/>
                </a:lnTo>
                <a:lnTo>
                  <a:pt x="180128" y="27096"/>
                </a:lnTo>
                <a:lnTo>
                  <a:pt x="187675" y="28014"/>
                </a:lnTo>
                <a:lnTo>
                  <a:pt x="195222" y="28870"/>
                </a:lnTo>
                <a:lnTo>
                  <a:pt x="202840" y="29726"/>
                </a:lnTo>
                <a:lnTo>
                  <a:pt x="210458" y="30460"/>
                </a:lnTo>
                <a:lnTo>
                  <a:pt x="218147" y="31133"/>
                </a:lnTo>
                <a:lnTo>
                  <a:pt x="225837" y="31684"/>
                </a:lnTo>
                <a:lnTo>
                  <a:pt x="233597" y="32173"/>
                </a:lnTo>
                <a:lnTo>
                  <a:pt x="241358" y="32601"/>
                </a:lnTo>
                <a:lnTo>
                  <a:pt x="249901" y="32968"/>
                </a:lnTo>
                <a:lnTo>
                  <a:pt x="258374" y="33274"/>
                </a:lnTo>
                <a:lnTo>
                  <a:pt x="266917" y="33519"/>
                </a:lnTo>
                <a:lnTo>
                  <a:pt x="275461" y="33763"/>
                </a:lnTo>
                <a:lnTo>
                  <a:pt x="283933" y="33886"/>
                </a:lnTo>
                <a:lnTo>
                  <a:pt x="292477" y="34008"/>
                </a:lnTo>
                <a:lnTo>
                  <a:pt x="301021" y="34130"/>
                </a:lnTo>
                <a:lnTo>
                  <a:pt x="309493" y="34130"/>
                </a:lnTo>
                <a:lnTo>
                  <a:pt x="318037" y="34130"/>
                </a:lnTo>
                <a:lnTo>
                  <a:pt x="326580" y="34130"/>
                </a:lnTo>
                <a:lnTo>
                  <a:pt x="335053" y="34069"/>
                </a:lnTo>
                <a:lnTo>
                  <a:pt x="343597" y="34008"/>
                </a:lnTo>
                <a:lnTo>
                  <a:pt x="352140" y="33886"/>
                </a:lnTo>
                <a:lnTo>
                  <a:pt x="360684" y="33763"/>
                </a:lnTo>
                <a:lnTo>
                  <a:pt x="369156" y="33641"/>
                </a:lnTo>
                <a:lnTo>
                  <a:pt x="377700" y="33458"/>
                </a:lnTo>
                <a:lnTo>
                  <a:pt x="386244" y="33274"/>
                </a:lnTo>
                <a:lnTo>
                  <a:pt x="394716" y="33091"/>
                </a:lnTo>
                <a:lnTo>
                  <a:pt x="403260" y="32907"/>
                </a:lnTo>
                <a:lnTo>
                  <a:pt x="411803" y="32724"/>
                </a:lnTo>
                <a:lnTo>
                  <a:pt x="420276" y="32479"/>
                </a:lnTo>
                <a:lnTo>
                  <a:pt x="428819" y="32295"/>
                </a:lnTo>
                <a:lnTo>
                  <a:pt x="437363" y="32112"/>
                </a:lnTo>
                <a:lnTo>
                  <a:pt x="445907" y="31867"/>
                </a:lnTo>
                <a:lnTo>
                  <a:pt x="454450" y="31684"/>
                </a:lnTo>
                <a:lnTo>
                  <a:pt x="462923" y="31500"/>
                </a:lnTo>
                <a:lnTo>
                  <a:pt x="471466" y="31378"/>
                </a:lnTo>
                <a:lnTo>
                  <a:pt x="480010" y="31194"/>
                </a:lnTo>
                <a:lnTo>
                  <a:pt x="488554" y="31072"/>
                </a:lnTo>
                <a:lnTo>
                  <a:pt x="497097" y="30950"/>
                </a:lnTo>
                <a:lnTo>
                  <a:pt x="505641" y="30889"/>
                </a:lnTo>
                <a:lnTo>
                  <a:pt x="514185" y="30827"/>
                </a:lnTo>
                <a:lnTo>
                  <a:pt x="512049" y="37066"/>
                </a:lnTo>
                <a:lnTo>
                  <a:pt x="510055" y="43244"/>
                </a:lnTo>
                <a:lnTo>
                  <a:pt x="508204" y="49238"/>
                </a:lnTo>
                <a:lnTo>
                  <a:pt x="506495" y="55049"/>
                </a:lnTo>
                <a:lnTo>
                  <a:pt x="504929" y="60799"/>
                </a:lnTo>
                <a:lnTo>
                  <a:pt x="503434" y="66426"/>
                </a:lnTo>
                <a:lnTo>
                  <a:pt x="502152" y="71931"/>
                </a:lnTo>
                <a:lnTo>
                  <a:pt x="500942" y="77375"/>
                </a:lnTo>
                <a:lnTo>
                  <a:pt x="499803" y="82635"/>
                </a:lnTo>
                <a:lnTo>
                  <a:pt x="498806" y="87834"/>
                </a:lnTo>
                <a:lnTo>
                  <a:pt x="497952" y="92972"/>
                </a:lnTo>
                <a:lnTo>
                  <a:pt x="497169" y="97988"/>
                </a:lnTo>
                <a:lnTo>
                  <a:pt x="496457" y="102943"/>
                </a:lnTo>
                <a:lnTo>
                  <a:pt x="495887" y="107836"/>
                </a:lnTo>
                <a:lnTo>
                  <a:pt x="495389" y="112668"/>
                </a:lnTo>
                <a:lnTo>
                  <a:pt x="494962" y="117439"/>
                </a:lnTo>
                <a:lnTo>
                  <a:pt x="494606" y="122149"/>
                </a:lnTo>
                <a:lnTo>
                  <a:pt x="494321" y="126797"/>
                </a:lnTo>
                <a:lnTo>
                  <a:pt x="494107" y="131385"/>
                </a:lnTo>
                <a:lnTo>
                  <a:pt x="493965" y="135972"/>
                </a:lnTo>
                <a:lnTo>
                  <a:pt x="493894" y="140499"/>
                </a:lnTo>
                <a:lnTo>
                  <a:pt x="493894" y="145025"/>
                </a:lnTo>
                <a:lnTo>
                  <a:pt x="493894" y="149551"/>
                </a:lnTo>
                <a:lnTo>
                  <a:pt x="493965" y="154017"/>
                </a:lnTo>
                <a:lnTo>
                  <a:pt x="494107" y="158543"/>
                </a:lnTo>
                <a:lnTo>
                  <a:pt x="494250" y="163008"/>
                </a:lnTo>
                <a:lnTo>
                  <a:pt x="494463" y="167473"/>
                </a:lnTo>
                <a:lnTo>
                  <a:pt x="494677" y="171999"/>
                </a:lnTo>
                <a:lnTo>
                  <a:pt x="494890" y="176465"/>
                </a:lnTo>
                <a:lnTo>
                  <a:pt x="495175" y="180991"/>
                </a:lnTo>
                <a:lnTo>
                  <a:pt x="495460" y="185578"/>
                </a:lnTo>
                <a:lnTo>
                  <a:pt x="495745" y="190166"/>
                </a:lnTo>
                <a:lnTo>
                  <a:pt x="496243" y="197995"/>
                </a:lnTo>
                <a:lnTo>
                  <a:pt x="496741" y="206008"/>
                </a:lnTo>
                <a:lnTo>
                  <a:pt x="497240" y="214021"/>
                </a:lnTo>
                <a:lnTo>
                  <a:pt x="497738" y="222156"/>
                </a:lnTo>
                <a:lnTo>
                  <a:pt x="498237" y="230352"/>
                </a:lnTo>
                <a:lnTo>
                  <a:pt x="498735" y="238610"/>
                </a:lnTo>
                <a:lnTo>
                  <a:pt x="499233" y="246928"/>
                </a:lnTo>
                <a:lnTo>
                  <a:pt x="499732" y="255369"/>
                </a:lnTo>
                <a:lnTo>
                  <a:pt x="500230" y="263810"/>
                </a:lnTo>
                <a:lnTo>
                  <a:pt x="500728" y="272251"/>
                </a:lnTo>
                <a:lnTo>
                  <a:pt x="501227" y="280814"/>
                </a:lnTo>
                <a:lnTo>
                  <a:pt x="501725" y="289317"/>
                </a:lnTo>
                <a:lnTo>
                  <a:pt x="502224" y="297941"/>
                </a:lnTo>
                <a:lnTo>
                  <a:pt x="502722" y="306504"/>
                </a:lnTo>
                <a:lnTo>
                  <a:pt x="503149" y="315129"/>
                </a:lnTo>
                <a:lnTo>
                  <a:pt x="503648" y="323753"/>
                </a:lnTo>
                <a:lnTo>
                  <a:pt x="504146" y="332378"/>
                </a:lnTo>
                <a:lnTo>
                  <a:pt x="504573" y="341002"/>
                </a:lnTo>
                <a:lnTo>
                  <a:pt x="505072" y="349565"/>
                </a:lnTo>
                <a:lnTo>
                  <a:pt x="505499" y="358190"/>
                </a:lnTo>
                <a:lnTo>
                  <a:pt x="505926" y="366692"/>
                </a:lnTo>
                <a:lnTo>
                  <a:pt x="506424" y="375255"/>
                </a:lnTo>
                <a:lnTo>
                  <a:pt x="506851" y="383696"/>
                </a:lnTo>
                <a:lnTo>
                  <a:pt x="507279" y="392137"/>
                </a:lnTo>
                <a:lnTo>
                  <a:pt x="507706" y="400578"/>
                </a:lnTo>
                <a:lnTo>
                  <a:pt x="508133" y="408897"/>
                </a:lnTo>
                <a:lnTo>
                  <a:pt x="508560" y="417154"/>
                </a:lnTo>
                <a:lnTo>
                  <a:pt x="508916" y="425351"/>
                </a:lnTo>
                <a:lnTo>
                  <a:pt x="509343" y="433486"/>
                </a:lnTo>
                <a:lnTo>
                  <a:pt x="509699" y="441499"/>
                </a:lnTo>
                <a:lnTo>
                  <a:pt x="510126" y="449511"/>
                </a:lnTo>
                <a:lnTo>
                  <a:pt x="510482" y="457341"/>
                </a:lnTo>
                <a:lnTo>
                  <a:pt x="501868" y="456974"/>
                </a:lnTo>
                <a:lnTo>
                  <a:pt x="493324" y="456546"/>
                </a:lnTo>
                <a:lnTo>
                  <a:pt x="484709" y="456179"/>
                </a:lnTo>
                <a:lnTo>
                  <a:pt x="476094" y="455750"/>
                </a:lnTo>
                <a:lnTo>
                  <a:pt x="467551" y="455322"/>
                </a:lnTo>
                <a:lnTo>
                  <a:pt x="458936" y="454894"/>
                </a:lnTo>
                <a:lnTo>
                  <a:pt x="450321" y="454405"/>
                </a:lnTo>
                <a:lnTo>
                  <a:pt x="441777" y="453977"/>
                </a:lnTo>
                <a:lnTo>
                  <a:pt x="433162" y="453487"/>
                </a:lnTo>
                <a:lnTo>
                  <a:pt x="424548" y="452998"/>
                </a:lnTo>
                <a:lnTo>
                  <a:pt x="416004" y="452509"/>
                </a:lnTo>
                <a:lnTo>
                  <a:pt x="407389" y="452019"/>
                </a:lnTo>
                <a:lnTo>
                  <a:pt x="398774" y="451530"/>
                </a:lnTo>
                <a:lnTo>
                  <a:pt x="390231" y="451041"/>
                </a:lnTo>
                <a:lnTo>
                  <a:pt x="381616" y="450490"/>
                </a:lnTo>
                <a:lnTo>
                  <a:pt x="373072" y="450001"/>
                </a:lnTo>
                <a:lnTo>
                  <a:pt x="364457" y="449450"/>
                </a:lnTo>
                <a:lnTo>
                  <a:pt x="355842" y="448961"/>
                </a:lnTo>
                <a:lnTo>
                  <a:pt x="347299" y="448410"/>
                </a:lnTo>
                <a:lnTo>
                  <a:pt x="338684" y="447921"/>
                </a:lnTo>
                <a:lnTo>
                  <a:pt x="330140" y="447371"/>
                </a:lnTo>
                <a:lnTo>
                  <a:pt x="321525" y="446881"/>
                </a:lnTo>
                <a:lnTo>
                  <a:pt x="312982" y="446331"/>
                </a:lnTo>
                <a:lnTo>
                  <a:pt x="304367" y="445841"/>
                </a:lnTo>
                <a:lnTo>
                  <a:pt x="295823" y="445352"/>
                </a:lnTo>
                <a:lnTo>
                  <a:pt x="287208" y="444802"/>
                </a:lnTo>
                <a:lnTo>
                  <a:pt x="278665" y="444312"/>
                </a:lnTo>
                <a:lnTo>
                  <a:pt x="270050" y="443823"/>
                </a:lnTo>
                <a:lnTo>
                  <a:pt x="261506" y="443334"/>
                </a:lnTo>
                <a:lnTo>
                  <a:pt x="252963" y="442844"/>
                </a:lnTo>
                <a:lnTo>
                  <a:pt x="244348" y="442355"/>
                </a:lnTo>
                <a:lnTo>
                  <a:pt x="235804" y="441866"/>
                </a:lnTo>
                <a:lnTo>
                  <a:pt x="228827" y="441499"/>
                </a:lnTo>
                <a:lnTo>
                  <a:pt x="221921" y="441070"/>
                </a:lnTo>
                <a:lnTo>
                  <a:pt x="215157" y="440703"/>
                </a:lnTo>
                <a:lnTo>
                  <a:pt x="208393" y="440336"/>
                </a:lnTo>
                <a:lnTo>
                  <a:pt x="201772" y="439908"/>
                </a:lnTo>
                <a:lnTo>
                  <a:pt x="195222" y="439541"/>
                </a:lnTo>
                <a:lnTo>
                  <a:pt x="188743" y="439174"/>
                </a:lnTo>
                <a:lnTo>
                  <a:pt x="182335" y="438868"/>
                </a:lnTo>
                <a:lnTo>
                  <a:pt x="175927" y="438563"/>
                </a:lnTo>
                <a:lnTo>
                  <a:pt x="169591" y="438257"/>
                </a:lnTo>
                <a:lnTo>
                  <a:pt x="163397" y="438012"/>
                </a:lnTo>
                <a:lnTo>
                  <a:pt x="157131" y="437767"/>
                </a:lnTo>
                <a:lnTo>
                  <a:pt x="150937" y="437523"/>
                </a:lnTo>
                <a:lnTo>
                  <a:pt x="144814" y="437400"/>
                </a:lnTo>
                <a:lnTo>
                  <a:pt x="138691" y="437278"/>
                </a:lnTo>
                <a:lnTo>
                  <a:pt x="132640" y="437217"/>
                </a:lnTo>
                <a:lnTo>
                  <a:pt x="126588" y="437217"/>
                </a:lnTo>
                <a:lnTo>
                  <a:pt x="120536" y="437217"/>
                </a:lnTo>
                <a:lnTo>
                  <a:pt x="114484" y="437339"/>
                </a:lnTo>
                <a:lnTo>
                  <a:pt x="108504" y="437462"/>
                </a:lnTo>
                <a:lnTo>
                  <a:pt x="102452" y="437706"/>
                </a:lnTo>
                <a:lnTo>
                  <a:pt x="96400" y="437951"/>
                </a:lnTo>
                <a:lnTo>
                  <a:pt x="90420" y="438318"/>
                </a:lnTo>
                <a:lnTo>
                  <a:pt x="84368" y="438746"/>
                </a:lnTo>
                <a:lnTo>
                  <a:pt x="78316" y="439297"/>
                </a:lnTo>
                <a:lnTo>
                  <a:pt x="72193" y="439847"/>
                </a:lnTo>
                <a:lnTo>
                  <a:pt x="66142" y="440520"/>
                </a:lnTo>
                <a:lnTo>
                  <a:pt x="59947" y="441315"/>
                </a:lnTo>
                <a:lnTo>
                  <a:pt x="53824" y="442171"/>
                </a:lnTo>
                <a:lnTo>
                  <a:pt x="47559" y="443150"/>
                </a:lnTo>
                <a:lnTo>
                  <a:pt x="41365" y="444190"/>
                </a:lnTo>
                <a:lnTo>
                  <a:pt x="35028" y="445352"/>
                </a:lnTo>
                <a:lnTo>
                  <a:pt x="36595" y="437829"/>
                </a:lnTo>
                <a:lnTo>
                  <a:pt x="38019" y="430305"/>
                </a:lnTo>
                <a:lnTo>
                  <a:pt x="39371" y="422843"/>
                </a:lnTo>
                <a:lnTo>
                  <a:pt x="40653" y="415442"/>
                </a:lnTo>
                <a:lnTo>
                  <a:pt x="41792" y="408041"/>
                </a:lnTo>
                <a:lnTo>
                  <a:pt x="42860" y="400701"/>
                </a:lnTo>
                <a:lnTo>
                  <a:pt x="43857" y="393361"/>
                </a:lnTo>
                <a:lnTo>
                  <a:pt x="44782" y="386082"/>
                </a:lnTo>
                <a:lnTo>
                  <a:pt x="45566" y="378803"/>
                </a:lnTo>
                <a:lnTo>
                  <a:pt x="46278" y="371585"/>
                </a:lnTo>
                <a:lnTo>
                  <a:pt x="46918" y="364368"/>
                </a:lnTo>
                <a:lnTo>
                  <a:pt x="47488" y="357272"/>
                </a:lnTo>
                <a:lnTo>
                  <a:pt x="47986" y="350116"/>
                </a:lnTo>
                <a:lnTo>
                  <a:pt x="48414" y="343082"/>
                </a:lnTo>
                <a:lnTo>
                  <a:pt x="48769" y="336048"/>
                </a:lnTo>
                <a:lnTo>
                  <a:pt x="48983" y="329014"/>
                </a:lnTo>
                <a:lnTo>
                  <a:pt x="49197" y="322041"/>
                </a:lnTo>
                <a:lnTo>
                  <a:pt x="49268" y="315129"/>
                </a:lnTo>
                <a:lnTo>
                  <a:pt x="49339" y="308278"/>
                </a:lnTo>
                <a:lnTo>
                  <a:pt x="49339" y="301428"/>
                </a:lnTo>
                <a:lnTo>
                  <a:pt x="49197" y="294638"/>
                </a:lnTo>
                <a:lnTo>
                  <a:pt x="49054" y="287849"/>
                </a:lnTo>
                <a:lnTo>
                  <a:pt x="48841" y="281120"/>
                </a:lnTo>
                <a:lnTo>
                  <a:pt x="48556" y="274453"/>
                </a:lnTo>
                <a:lnTo>
                  <a:pt x="48200" y="267847"/>
                </a:lnTo>
                <a:lnTo>
                  <a:pt x="47844" y="261241"/>
                </a:lnTo>
                <a:lnTo>
                  <a:pt x="47346" y="254696"/>
                </a:lnTo>
                <a:lnTo>
                  <a:pt x="46847" y="248213"/>
                </a:lnTo>
                <a:lnTo>
                  <a:pt x="46278" y="241729"/>
                </a:lnTo>
                <a:lnTo>
                  <a:pt x="45637" y="235307"/>
                </a:lnTo>
                <a:lnTo>
                  <a:pt x="44996" y="228945"/>
                </a:lnTo>
                <a:lnTo>
                  <a:pt x="44284" y="222645"/>
                </a:lnTo>
                <a:lnTo>
                  <a:pt x="43430" y="215856"/>
                </a:lnTo>
                <a:lnTo>
                  <a:pt x="42504" y="209066"/>
                </a:lnTo>
                <a:lnTo>
                  <a:pt x="41507" y="202216"/>
                </a:lnTo>
                <a:lnTo>
                  <a:pt x="40368" y="195365"/>
                </a:lnTo>
                <a:lnTo>
                  <a:pt x="39229" y="188453"/>
                </a:lnTo>
                <a:lnTo>
                  <a:pt x="38019" y="181541"/>
                </a:lnTo>
                <a:lnTo>
                  <a:pt x="36737" y="174568"/>
                </a:lnTo>
                <a:lnTo>
                  <a:pt x="35384" y="167595"/>
                </a:lnTo>
                <a:lnTo>
                  <a:pt x="33961" y="160622"/>
                </a:lnTo>
                <a:lnTo>
                  <a:pt x="32537" y="153588"/>
                </a:lnTo>
                <a:lnTo>
                  <a:pt x="31041" y="146554"/>
                </a:lnTo>
                <a:lnTo>
                  <a:pt x="29546" y="139520"/>
                </a:lnTo>
                <a:lnTo>
                  <a:pt x="28051" y="132486"/>
                </a:lnTo>
                <a:lnTo>
                  <a:pt x="26485" y="125452"/>
                </a:lnTo>
                <a:lnTo>
                  <a:pt x="24847" y="118356"/>
                </a:lnTo>
                <a:lnTo>
                  <a:pt x="23281" y="111322"/>
                </a:lnTo>
                <a:lnTo>
                  <a:pt x="21643" y="104227"/>
                </a:lnTo>
                <a:lnTo>
                  <a:pt x="20077" y="97193"/>
                </a:lnTo>
                <a:lnTo>
                  <a:pt x="18440" y="90098"/>
                </a:lnTo>
                <a:lnTo>
                  <a:pt x="16802" y="83063"/>
                </a:lnTo>
                <a:lnTo>
                  <a:pt x="15236" y="76029"/>
                </a:lnTo>
                <a:lnTo>
                  <a:pt x="13669" y="68995"/>
                </a:lnTo>
                <a:lnTo>
                  <a:pt x="12103" y="62022"/>
                </a:lnTo>
                <a:lnTo>
                  <a:pt x="10608" y="54988"/>
                </a:lnTo>
                <a:lnTo>
                  <a:pt x="9113" y="48015"/>
                </a:lnTo>
                <a:lnTo>
                  <a:pt x="7618" y="41103"/>
                </a:lnTo>
                <a:lnTo>
                  <a:pt x="6194" y="34192"/>
                </a:lnTo>
                <a:lnTo>
                  <a:pt x="4841" y="27280"/>
                </a:lnTo>
                <a:lnTo>
                  <a:pt x="3559" y="20368"/>
                </a:lnTo>
                <a:lnTo>
                  <a:pt x="2278" y="13578"/>
                </a:lnTo>
                <a:lnTo>
                  <a:pt x="1139" y="6789"/>
                </a:lnTo>
                <a:lnTo>
                  <a:pt x="0" y="0"/>
                </a:lnTo>
              </a:path>
            </a:pathLst>
          </a:custGeom>
          <a:ln w="65">
            <a:solidFill>
              <a:srgbClr val="000000"/>
            </a:solidFill>
          </a:ln>
        </p:spPr>
        <p:txBody>
          <a:bodyPr wrap="square" lIns="0" tIns="0" rIns="0" bIns="0" rtlCol="0">
            <a:noAutofit/>
          </a:bodyPr>
          <a:lstStyle/>
          <a:p>
            <a:endParaRPr/>
          </a:p>
        </p:txBody>
      </p:sp>
      <p:sp>
        <p:nvSpPr>
          <p:cNvPr id="641" name="object 641"/>
          <p:cNvSpPr/>
          <p:nvPr/>
        </p:nvSpPr>
        <p:spPr>
          <a:xfrm>
            <a:off x="9066963" y="4373403"/>
            <a:ext cx="576696" cy="619064"/>
          </a:xfrm>
          <a:custGeom>
            <a:avLst/>
            <a:gdLst/>
            <a:ahLst/>
            <a:cxnLst/>
            <a:rect l="l" t="t" r="r" b="b"/>
            <a:pathLst>
              <a:path w="576696" h="619064">
                <a:moveTo>
                  <a:pt x="86362" y="563770"/>
                </a:moveTo>
                <a:lnTo>
                  <a:pt x="87216" y="575086"/>
                </a:lnTo>
                <a:lnTo>
                  <a:pt x="88284" y="586218"/>
                </a:lnTo>
                <a:lnTo>
                  <a:pt x="89637" y="597289"/>
                </a:lnTo>
                <a:lnTo>
                  <a:pt x="91274" y="608238"/>
                </a:lnTo>
                <a:lnTo>
                  <a:pt x="93197" y="619064"/>
                </a:lnTo>
                <a:lnTo>
                  <a:pt x="101954" y="616190"/>
                </a:lnTo>
                <a:lnTo>
                  <a:pt x="110569" y="613437"/>
                </a:lnTo>
                <a:lnTo>
                  <a:pt x="119112" y="610807"/>
                </a:lnTo>
                <a:lnTo>
                  <a:pt x="127514" y="608299"/>
                </a:lnTo>
                <a:lnTo>
                  <a:pt x="135772" y="605853"/>
                </a:lnTo>
                <a:lnTo>
                  <a:pt x="143960" y="603590"/>
                </a:lnTo>
                <a:lnTo>
                  <a:pt x="152077" y="601388"/>
                </a:lnTo>
                <a:lnTo>
                  <a:pt x="160051" y="599308"/>
                </a:lnTo>
                <a:lnTo>
                  <a:pt x="167954" y="597289"/>
                </a:lnTo>
                <a:lnTo>
                  <a:pt x="175785" y="595332"/>
                </a:lnTo>
                <a:lnTo>
                  <a:pt x="183546" y="593497"/>
                </a:lnTo>
                <a:lnTo>
                  <a:pt x="191306" y="591723"/>
                </a:lnTo>
                <a:lnTo>
                  <a:pt x="198995" y="590072"/>
                </a:lnTo>
                <a:lnTo>
                  <a:pt x="206614" y="588420"/>
                </a:lnTo>
                <a:lnTo>
                  <a:pt x="214160" y="586830"/>
                </a:lnTo>
                <a:lnTo>
                  <a:pt x="221707" y="585362"/>
                </a:lnTo>
                <a:lnTo>
                  <a:pt x="229254" y="583894"/>
                </a:lnTo>
                <a:lnTo>
                  <a:pt x="236801" y="582487"/>
                </a:lnTo>
                <a:lnTo>
                  <a:pt x="244348" y="581142"/>
                </a:lnTo>
                <a:lnTo>
                  <a:pt x="251824" y="579796"/>
                </a:lnTo>
                <a:lnTo>
                  <a:pt x="259371" y="578511"/>
                </a:lnTo>
                <a:lnTo>
                  <a:pt x="266917" y="577288"/>
                </a:lnTo>
                <a:lnTo>
                  <a:pt x="274464" y="576004"/>
                </a:lnTo>
                <a:lnTo>
                  <a:pt x="282082" y="574780"/>
                </a:lnTo>
                <a:lnTo>
                  <a:pt x="289701" y="573618"/>
                </a:lnTo>
                <a:lnTo>
                  <a:pt x="297390" y="572395"/>
                </a:lnTo>
                <a:lnTo>
                  <a:pt x="305150" y="571233"/>
                </a:lnTo>
                <a:lnTo>
                  <a:pt x="312911" y="570009"/>
                </a:lnTo>
                <a:lnTo>
                  <a:pt x="320814" y="568847"/>
                </a:lnTo>
                <a:lnTo>
                  <a:pt x="328717" y="567624"/>
                </a:lnTo>
                <a:lnTo>
                  <a:pt x="336762" y="566400"/>
                </a:lnTo>
                <a:lnTo>
                  <a:pt x="344878" y="565177"/>
                </a:lnTo>
                <a:lnTo>
                  <a:pt x="352496" y="563954"/>
                </a:lnTo>
                <a:lnTo>
                  <a:pt x="359758" y="562730"/>
                </a:lnTo>
                <a:lnTo>
                  <a:pt x="366807" y="561385"/>
                </a:lnTo>
                <a:lnTo>
                  <a:pt x="373642" y="560100"/>
                </a:lnTo>
                <a:lnTo>
                  <a:pt x="380263" y="558693"/>
                </a:lnTo>
                <a:lnTo>
                  <a:pt x="386671" y="557348"/>
                </a:lnTo>
                <a:lnTo>
                  <a:pt x="392936" y="555941"/>
                </a:lnTo>
                <a:lnTo>
                  <a:pt x="399059" y="554473"/>
                </a:lnTo>
                <a:lnTo>
                  <a:pt x="405040" y="553066"/>
                </a:lnTo>
                <a:lnTo>
                  <a:pt x="411020" y="551598"/>
                </a:lnTo>
                <a:lnTo>
                  <a:pt x="416858" y="550191"/>
                </a:lnTo>
                <a:lnTo>
                  <a:pt x="422768" y="548723"/>
                </a:lnTo>
                <a:lnTo>
                  <a:pt x="428606" y="547316"/>
                </a:lnTo>
                <a:lnTo>
                  <a:pt x="434515" y="545910"/>
                </a:lnTo>
                <a:lnTo>
                  <a:pt x="440496" y="544503"/>
                </a:lnTo>
                <a:lnTo>
                  <a:pt x="446548" y="543096"/>
                </a:lnTo>
                <a:lnTo>
                  <a:pt x="452742" y="541750"/>
                </a:lnTo>
                <a:lnTo>
                  <a:pt x="459007" y="540405"/>
                </a:lnTo>
                <a:lnTo>
                  <a:pt x="465486" y="539120"/>
                </a:lnTo>
                <a:lnTo>
                  <a:pt x="472107" y="537897"/>
                </a:lnTo>
                <a:lnTo>
                  <a:pt x="479014" y="536674"/>
                </a:lnTo>
                <a:lnTo>
                  <a:pt x="486133" y="535511"/>
                </a:lnTo>
                <a:lnTo>
                  <a:pt x="493538" y="534410"/>
                </a:lnTo>
                <a:lnTo>
                  <a:pt x="501227" y="533371"/>
                </a:lnTo>
                <a:lnTo>
                  <a:pt x="509201" y="532392"/>
                </a:lnTo>
                <a:lnTo>
                  <a:pt x="517602" y="531536"/>
                </a:lnTo>
                <a:lnTo>
                  <a:pt x="526360" y="530679"/>
                </a:lnTo>
                <a:lnTo>
                  <a:pt x="535473" y="529945"/>
                </a:lnTo>
                <a:lnTo>
                  <a:pt x="545084" y="529272"/>
                </a:lnTo>
                <a:lnTo>
                  <a:pt x="555123" y="528661"/>
                </a:lnTo>
                <a:lnTo>
                  <a:pt x="565660" y="528171"/>
                </a:lnTo>
                <a:lnTo>
                  <a:pt x="576696" y="527804"/>
                </a:lnTo>
                <a:lnTo>
                  <a:pt x="571214" y="518629"/>
                </a:lnTo>
                <a:lnTo>
                  <a:pt x="566159" y="509332"/>
                </a:lnTo>
                <a:lnTo>
                  <a:pt x="561317" y="499974"/>
                </a:lnTo>
                <a:lnTo>
                  <a:pt x="556903" y="490554"/>
                </a:lnTo>
                <a:lnTo>
                  <a:pt x="552774" y="481073"/>
                </a:lnTo>
                <a:lnTo>
                  <a:pt x="548858" y="471531"/>
                </a:lnTo>
                <a:lnTo>
                  <a:pt x="545298" y="461989"/>
                </a:lnTo>
                <a:lnTo>
                  <a:pt x="541881" y="452325"/>
                </a:lnTo>
                <a:lnTo>
                  <a:pt x="538819" y="442722"/>
                </a:lnTo>
                <a:lnTo>
                  <a:pt x="535900" y="432996"/>
                </a:lnTo>
                <a:lnTo>
                  <a:pt x="533194" y="423332"/>
                </a:lnTo>
                <a:lnTo>
                  <a:pt x="530703" y="413607"/>
                </a:lnTo>
                <a:lnTo>
                  <a:pt x="528353" y="403942"/>
                </a:lnTo>
                <a:lnTo>
                  <a:pt x="526217" y="394217"/>
                </a:lnTo>
                <a:lnTo>
                  <a:pt x="524152" y="384492"/>
                </a:lnTo>
                <a:lnTo>
                  <a:pt x="522230" y="374827"/>
                </a:lnTo>
                <a:lnTo>
                  <a:pt x="520379" y="365163"/>
                </a:lnTo>
                <a:lnTo>
                  <a:pt x="518670" y="355560"/>
                </a:lnTo>
                <a:lnTo>
                  <a:pt x="517033" y="345957"/>
                </a:lnTo>
                <a:lnTo>
                  <a:pt x="515466" y="336415"/>
                </a:lnTo>
                <a:lnTo>
                  <a:pt x="513900" y="326934"/>
                </a:lnTo>
                <a:lnTo>
                  <a:pt x="512334" y="317514"/>
                </a:lnTo>
                <a:lnTo>
                  <a:pt x="510839" y="308156"/>
                </a:lnTo>
                <a:lnTo>
                  <a:pt x="509272" y="298859"/>
                </a:lnTo>
                <a:lnTo>
                  <a:pt x="507706" y="289622"/>
                </a:lnTo>
                <a:lnTo>
                  <a:pt x="506140" y="280447"/>
                </a:lnTo>
                <a:lnTo>
                  <a:pt x="504431" y="271456"/>
                </a:lnTo>
                <a:lnTo>
                  <a:pt x="502722" y="262465"/>
                </a:lnTo>
                <a:lnTo>
                  <a:pt x="500871" y="253657"/>
                </a:lnTo>
                <a:lnTo>
                  <a:pt x="498949" y="244910"/>
                </a:lnTo>
                <a:lnTo>
                  <a:pt x="496884" y="236346"/>
                </a:lnTo>
                <a:lnTo>
                  <a:pt x="494677" y="227844"/>
                </a:lnTo>
                <a:lnTo>
                  <a:pt x="492826" y="220321"/>
                </a:lnTo>
                <a:lnTo>
                  <a:pt x="491331" y="212614"/>
                </a:lnTo>
                <a:lnTo>
                  <a:pt x="490120" y="204785"/>
                </a:lnTo>
                <a:lnTo>
                  <a:pt x="489266" y="196772"/>
                </a:lnTo>
                <a:lnTo>
                  <a:pt x="488696" y="188698"/>
                </a:lnTo>
                <a:lnTo>
                  <a:pt x="488340" y="180502"/>
                </a:lnTo>
                <a:lnTo>
                  <a:pt x="488269" y="172244"/>
                </a:lnTo>
                <a:lnTo>
                  <a:pt x="488412" y="163987"/>
                </a:lnTo>
                <a:lnTo>
                  <a:pt x="488839" y="155668"/>
                </a:lnTo>
                <a:lnTo>
                  <a:pt x="489479" y="147411"/>
                </a:lnTo>
                <a:lnTo>
                  <a:pt x="490263" y="139214"/>
                </a:lnTo>
                <a:lnTo>
                  <a:pt x="491259" y="131018"/>
                </a:lnTo>
                <a:lnTo>
                  <a:pt x="492470" y="122944"/>
                </a:lnTo>
                <a:lnTo>
                  <a:pt x="493751" y="114931"/>
                </a:lnTo>
                <a:lnTo>
                  <a:pt x="495246" y="107102"/>
                </a:lnTo>
                <a:lnTo>
                  <a:pt x="496813" y="99456"/>
                </a:lnTo>
                <a:lnTo>
                  <a:pt x="498522" y="91933"/>
                </a:lnTo>
                <a:lnTo>
                  <a:pt x="500301" y="84654"/>
                </a:lnTo>
                <a:lnTo>
                  <a:pt x="502224" y="77620"/>
                </a:lnTo>
                <a:lnTo>
                  <a:pt x="504146" y="70830"/>
                </a:lnTo>
                <a:lnTo>
                  <a:pt x="506140" y="64347"/>
                </a:lnTo>
                <a:lnTo>
                  <a:pt x="510269" y="52297"/>
                </a:lnTo>
                <a:lnTo>
                  <a:pt x="514398" y="41654"/>
                </a:lnTo>
                <a:lnTo>
                  <a:pt x="518457" y="32662"/>
                </a:lnTo>
                <a:lnTo>
                  <a:pt x="522373" y="25506"/>
                </a:lnTo>
                <a:lnTo>
                  <a:pt x="527570" y="18594"/>
                </a:lnTo>
                <a:lnTo>
                  <a:pt x="521305" y="14863"/>
                </a:lnTo>
                <a:lnTo>
                  <a:pt x="514754" y="11560"/>
                </a:lnTo>
                <a:lnTo>
                  <a:pt x="507848" y="8746"/>
                </a:lnTo>
                <a:lnTo>
                  <a:pt x="500729" y="6361"/>
                </a:lnTo>
                <a:lnTo>
                  <a:pt x="493395" y="4403"/>
                </a:lnTo>
                <a:lnTo>
                  <a:pt x="485777" y="2813"/>
                </a:lnTo>
                <a:lnTo>
                  <a:pt x="477946" y="1651"/>
                </a:lnTo>
                <a:lnTo>
                  <a:pt x="469971" y="795"/>
                </a:lnTo>
                <a:lnTo>
                  <a:pt x="461713" y="244"/>
                </a:lnTo>
                <a:lnTo>
                  <a:pt x="453383" y="0"/>
                </a:lnTo>
                <a:lnTo>
                  <a:pt x="444910" y="61"/>
                </a:lnTo>
                <a:lnTo>
                  <a:pt x="436295" y="305"/>
                </a:lnTo>
                <a:lnTo>
                  <a:pt x="427538" y="856"/>
                </a:lnTo>
                <a:lnTo>
                  <a:pt x="418710" y="1590"/>
                </a:lnTo>
                <a:lnTo>
                  <a:pt x="409810" y="2507"/>
                </a:lnTo>
                <a:lnTo>
                  <a:pt x="400910" y="3608"/>
                </a:lnTo>
                <a:lnTo>
                  <a:pt x="391868" y="4893"/>
                </a:lnTo>
                <a:lnTo>
                  <a:pt x="382897" y="6238"/>
                </a:lnTo>
                <a:lnTo>
                  <a:pt x="373927" y="7706"/>
                </a:lnTo>
                <a:lnTo>
                  <a:pt x="364885" y="9236"/>
                </a:lnTo>
                <a:lnTo>
                  <a:pt x="355985" y="10826"/>
                </a:lnTo>
                <a:lnTo>
                  <a:pt x="347085" y="12477"/>
                </a:lnTo>
                <a:lnTo>
                  <a:pt x="338257" y="14129"/>
                </a:lnTo>
                <a:lnTo>
                  <a:pt x="329500" y="15719"/>
                </a:lnTo>
                <a:lnTo>
                  <a:pt x="320885" y="17371"/>
                </a:lnTo>
                <a:lnTo>
                  <a:pt x="312412" y="18900"/>
                </a:lnTo>
                <a:lnTo>
                  <a:pt x="304011" y="20368"/>
                </a:lnTo>
                <a:lnTo>
                  <a:pt x="295823" y="21714"/>
                </a:lnTo>
                <a:lnTo>
                  <a:pt x="287778" y="22937"/>
                </a:lnTo>
                <a:lnTo>
                  <a:pt x="279947" y="24038"/>
                </a:lnTo>
                <a:lnTo>
                  <a:pt x="272400" y="24955"/>
                </a:lnTo>
                <a:lnTo>
                  <a:pt x="264995" y="25689"/>
                </a:lnTo>
                <a:lnTo>
                  <a:pt x="257448" y="25995"/>
                </a:lnTo>
                <a:lnTo>
                  <a:pt x="249617" y="26179"/>
                </a:lnTo>
                <a:lnTo>
                  <a:pt x="241571" y="26362"/>
                </a:lnTo>
                <a:lnTo>
                  <a:pt x="233384" y="26423"/>
                </a:lnTo>
                <a:lnTo>
                  <a:pt x="225054" y="26423"/>
                </a:lnTo>
                <a:lnTo>
                  <a:pt x="216510" y="26362"/>
                </a:lnTo>
                <a:lnTo>
                  <a:pt x="207824" y="26240"/>
                </a:lnTo>
                <a:lnTo>
                  <a:pt x="199067" y="25995"/>
                </a:lnTo>
                <a:lnTo>
                  <a:pt x="190167" y="25751"/>
                </a:lnTo>
                <a:lnTo>
                  <a:pt x="181196" y="25384"/>
                </a:lnTo>
                <a:lnTo>
                  <a:pt x="172154" y="24955"/>
                </a:lnTo>
                <a:lnTo>
                  <a:pt x="163112" y="24466"/>
                </a:lnTo>
                <a:lnTo>
                  <a:pt x="153999" y="23916"/>
                </a:lnTo>
                <a:lnTo>
                  <a:pt x="144886" y="23304"/>
                </a:lnTo>
                <a:lnTo>
                  <a:pt x="135772" y="22631"/>
                </a:lnTo>
                <a:lnTo>
                  <a:pt x="126730" y="21836"/>
                </a:lnTo>
                <a:lnTo>
                  <a:pt x="117688" y="21041"/>
                </a:lnTo>
                <a:lnTo>
                  <a:pt x="108718" y="20123"/>
                </a:lnTo>
                <a:lnTo>
                  <a:pt x="99818" y="19145"/>
                </a:lnTo>
                <a:lnTo>
                  <a:pt x="91061" y="18105"/>
                </a:lnTo>
                <a:lnTo>
                  <a:pt x="82375" y="17004"/>
                </a:lnTo>
                <a:lnTo>
                  <a:pt x="73831" y="15842"/>
                </a:lnTo>
                <a:lnTo>
                  <a:pt x="65430" y="14618"/>
                </a:lnTo>
                <a:lnTo>
                  <a:pt x="57242" y="13273"/>
                </a:lnTo>
                <a:lnTo>
                  <a:pt x="49268" y="11927"/>
                </a:lnTo>
                <a:lnTo>
                  <a:pt x="41436" y="10520"/>
                </a:lnTo>
                <a:lnTo>
                  <a:pt x="33889" y="8991"/>
                </a:lnTo>
                <a:lnTo>
                  <a:pt x="26556" y="7401"/>
                </a:lnTo>
                <a:lnTo>
                  <a:pt x="19436" y="5810"/>
                </a:lnTo>
                <a:lnTo>
                  <a:pt x="12673" y="4098"/>
                </a:lnTo>
                <a:lnTo>
                  <a:pt x="6194" y="2324"/>
                </a:lnTo>
                <a:lnTo>
                  <a:pt x="0" y="489"/>
                </a:lnTo>
                <a:lnTo>
                  <a:pt x="1423" y="5260"/>
                </a:lnTo>
                <a:lnTo>
                  <a:pt x="3132" y="10398"/>
                </a:lnTo>
                <a:lnTo>
                  <a:pt x="4983" y="15903"/>
                </a:lnTo>
                <a:lnTo>
                  <a:pt x="7048" y="21775"/>
                </a:lnTo>
                <a:lnTo>
                  <a:pt x="9326" y="28014"/>
                </a:lnTo>
                <a:lnTo>
                  <a:pt x="11747" y="34497"/>
                </a:lnTo>
                <a:lnTo>
                  <a:pt x="14310" y="41287"/>
                </a:lnTo>
                <a:lnTo>
                  <a:pt x="16945" y="48382"/>
                </a:lnTo>
                <a:lnTo>
                  <a:pt x="19792" y="55722"/>
                </a:lnTo>
                <a:lnTo>
                  <a:pt x="22712" y="63307"/>
                </a:lnTo>
                <a:lnTo>
                  <a:pt x="25702" y="71075"/>
                </a:lnTo>
                <a:lnTo>
                  <a:pt x="28763" y="79088"/>
                </a:lnTo>
                <a:lnTo>
                  <a:pt x="31896" y="87284"/>
                </a:lnTo>
                <a:lnTo>
                  <a:pt x="35029" y="95603"/>
                </a:lnTo>
                <a:lnTo>
                  <a:pt x="41508" y="112668"/>
                </a:lnTo>
                <a:lnTo>
                  <a:pt x="47915" y="130223"/>
                </a:lnTo>
                <a:lnTo>
                  <a:pt x="54252" y="148022"/>
                </a:lnTo>
                <a:lnTo>
                  <a:pt x="60304" y="165944"/>
                </a:lnTo>
                <a:lnTo>
                  <a:pt x="66071" y="183866"/>
                </a:lnTo>
                <a:lnTo>
                  <a:pt x="71268" y="201604"/>
                </a:lnTo>
                <a:lnTo>
                  <a:pt x="75967" y="219036"/>
                </a:lnTo>
                <a:lnTo>
                  <a:pt x="79954" y="235979"/>
                </a:lnTo>
                <a:lnTo>
                  <a:pt x="83087" y="252311"/>
                </a:lnTo>
                <a:lnTo>
                  <a:pt x="84795" y="263199"/>
                </a:lnTo>
                <a:lnTo>
                  <a:pt x="86219" y="274208"/>
                </a:lnTo>
                <a:lnTo>
                  <a:pt x="87358" y="285280"/>
                </a:lnTo>
                <a:lnTo>
                  <a:pt x="88213" y="296473"/>
                </a:lnTo>
                <a:lnTo>
                  <a:pt x="88925" y="307789"/>
                </a:lnTo>
                <a:lnTo>
                  <a:pt x="89423" y="319166"/>
                </a:lnTo>
                <a:lnTo>
                  <a:pt x="89708" y="330604"/>
                </a:lnTo>
                <a:lnTo>
                  <a:pt x="89850" y="342103"/>
                </a:lnTo>
                <a:lnTo>
                  <a:pt x="89779" y="353725"/>
                </a:lnTo>
                <a:lnTo>
                  <a:pt x="89637" y="365346"/>
                </a:lnTo>
                <a:lnTo>
                  <a:pt x="89423" y="377029"/>
                </a:lnTo>
                <a:lnTo>
                  <a:pt x="89067" y="388773"/>
                </a:lnTo>
                <a:lnTo>
                  <a:pt x="88640" y="400517"/>
                </a:lnTo>
                <a:lnTo>
                  <a:pt x="88213" y="412261"/>
                </a:lnTo>
                <a:lnTo>
                  <a:pt x="87714" y="424066"/>
                </a:lnTo>
                <a:lnTo>
                  <a:pt x="87216" y="435871"/>
                </a:lnTo>
                <a:lnTo>
                  <a:pt x="86718" y="447676"/>
                </a:lnTo>
                <a:lnTo>
                  <a:pt x="86219" y="459420"/>
                </a:lnTo>
                <a:lnTo>
                  <a:pt x="85792" y="471225"/>
                </a:lnTo>
                <a:lnTo>
                  <a:pt x="85436" y="482969"/>
                </a:lnTo>
                <a:lnTo>
                  <a:pt x="85151" y="494652"/>
                </a:lnTo>
                <a:lnTo>
                  <a:pt x="85009" y="506335"/>
                </a:lnTo>
                <a:lnTo>
                  <a:pt x="84938" y="517957"/>
                </a:lnTo>
                <a:lnTo>
                  <a:pt x="85080" y="529517"/>
                </a:lnTo>
                <a:lnTo>
                  <a:pt x="85294" y="541016"/>
                </a:lnTo>
                <a:lnTo>
                  <a:pt x="85721" y="552454"/>
                </a:lnTo>
                <a:lnTo>
                  <a:pt x="86362" y="563770"/>
                </a:lnTo>
                <a:close/>
              </a:path>
            </a:pathLst>
          </a:custGeom>
          <a:solidFill>
            <a:srgbClr val="CCCCCC"/>
          </a:solidFill>
        </p:spPr>
        <p:txBody>
          <a:bodyPr wrap="square" lIns="0" tIns="0" rIns="0" bIns="0" rtlCol="0">
            <a:noAutofit/>
          </a:bodyPr>
          <a:lstStyle/>
          <a:p>
            <a:endParaRPr/>
          </a:p>
        </p:txBody>
      </p:sp>
      <p:sp>
        <p:nvSpPr>
          <p:cNvPr id="642" name="object 642"/>
          <p:cNvSpPr/>
          <p:nvPr/>
        </p:nvSpPr>
        <p:spPr>
          <a:xfrm>
            <a:off x="9066963" y="4373403"/>
            <a:ext cx="576696" cy="619064"/>
          </a:xfrm>
          <a:custGeom>
            <a:avLst/>
            <a:gdLst/>
            <a:ahLst/>
            <a:cxnLst/>
            <a:rect l="l" t="t" r="r" b="b"/>
            <a:pathLst>
              <a:path w="576696" h="619064">
                <a:moveTo>
                  <a:pt x="0" y="489"/>
                </a:moveTo>
                <a:lnTo>
                  <a:pt x="6194" y="2324"/>
                </a:lnTo>
                <a:lnTo>
                  <a:pt x="12673" y="4098"/>
                </a:lnTo>
                <a:lnTo>
                  <a:pt x="19436" y="5810"/>
                </a:lnTo>
                <a:lnTo>
                  <a:pt x="26556" y="7401"/>
                </a:lnTo>
                <a:lnTo>
                  <a:pt x="33889" y="8991"/>
                </a:lnTo>
                <a:lnTo>
                  <a:pt x="41436" y="10520"/>
                </a:lnTo>
                <a:lnTo>
                  <a:pt x="49268" y="11927"/>
                </a:lnTo>
                <a:lnTo>
                  <a:pt x="57242" y="13273"/>
                </a:lnTo>
                <a:lnTo>
                  <a:pt x="65430" y="14618"/>
                </a:lnTo>
                <a:lnTo>
                  <a:pt x="73831" y="15842"/>
                </a:lnTo>
                <a:lnTo>
                  <a:pt x="82375" y="17004"/>
                </a:lnTo>
                <a:lnTo>
                  <a:pt x="91061" y="18105"/>
                </a:lnTo>
                <a:lnTo>
                  <a:pt x="99818" y="19145"/>
                </a:lnTo>
                <a:lnTo>
                  <a:pt x="108718" y="20123"/>
                </a:lnTo>
                <a:lnTo>
                  <a:pt x="117688" y="21041"/>
                </a:lnTo>
                <a:lnTo>
                  <a:pt x="126730" y="21836"/>
                </a:lnTo>
                <a:lnTo>
                  <a:pt x="135772" y="22631"/>
                </a:lnTo>
                <a:lnTo>
                  <a:pt x="144886" y="23304"/>
                </a:lnTo>
                <a:lnTo>
                  <a:pt x="153999" y="23916"/>
                </a:lnTo>
                <a:lnTo>
                  <a:pt x="163112" y="24466"/>
                </a:lnTo>
                <a:lnTo>
                  <a:pt x="172154" y="24955"/>
                </a:lnTo>
                <a:lnTo>
                  <a:pt x="181196" y="25384"/>
                </a:lnTo>
                <a:lnTo>
                  <a:pt x="190167" y="25751"/>
                </a:lnTo>
                <a:lnTo>
                  <a:pt x="199067" y="25995"/>
                </a:lnTo>
                <a:lnTo>
                  <a:pt x="207824" y="26240"/>
                </a:lnTo>
                <a:lnTo>
                  <a:pt x="216510" y="26362"/>
                </a:lnTo>
                <a:lnTo>
                  <a:pt x="225054" y="26423"/>
                </a:lnTo>
                <a:lnTo>
                  <a:pt x="233384" y="26423"/>
                </a:lnTo>
                <a:lnTo>
                  <a:pt x="241571" y="26362"/>
                </a:lnTo>
                <a:lnTo>
                  <a:pt x="249617" y="26179"/>
                </a:lnTo>
                <a:lnTo>
                  <a:pt x="257448" y="25995"/>
                </a:lnTo>
                <a:lnTo>
                  <a:pt x="264995" y="25689"/>
                </a:lnTo>
                <a:lnTo>
                  <a:pt x="272400" y="24955"/>
                </a:lnTo>
                <a:lnTo>
                  <a:pt x="279947" y="24038"/>
                </a:lnTo>
                <a:lnTo>
                  <a:pt x="287778" y="22937"/>
                </a:lnTo>
                <a:lnTo>
                  <a:pt x="295823" y="21714"/>
                </a:lnTo>
                <a:lnTo>
                  <a:pt x="304011" y="20368"/>
                </a:lnTo>
                <a:lnTo>
                  <a:pt x="312412" y="18900"/>
                </a:lnTo>
                <a:lnTo>
                  <a:pt x="320885" y="17371"/>
                </a:lnTo>
                <a:lnTo>
                  <a:pt x="329500" y="15719"/>
                </a:lnTo>
                <a:lnTo>
                  <a:pt x="338257" y="14129"/>
                </a:lnTo>
                <a:lnTo>
                  <a:pt x="347085" y="12477"/>
                </a:lnTo>
                <a:lnTo>
                  <a:pt x="355985" y="10826"/>
                </a:lnTo>
                <a:lnTo>
                  <a:pt x="364885" y="9236"/>
                </a:lnTo>
                <a:lnTo>
                  <a:pt x="373927" y="7706"/>
                </a:lnTo>
                <a:lnTo>
                  <a:pt x="382897" y="6238"/>
                </a:lnTo>
                <a:lnTo>
                  <a:pt x="391868" y="4893"/>
                </a:lnTo>
                <a:lnTo>
                  <a:pt x="400910" y="3608"/>
                </a:lnTo>
                <a:lnTo>
                  <a:pt x="409810" y="2507"/>
                </a:lnTo>
                <a:lnTo>
                  <a:pt x="418710" y="1590"/>
                </a:lnTo>
                <a:lnTo>
                  <a:pt x="427538" y="856"/>
                </a:lnTo>
                <a:lnTo>
                  <a:pt x="436295" y="305"/>
                </a:lnTo>
                <a:lnTo>
                  <a:pt x="444910" y="61"/>
                </a:lnTo>
                <a:lnTo>
                  <a:pt x="453383" y="0"/>
                </a:lnTo>
                <a:lnTo>
                  <a:pt x="461713" y="244"/>
                </a:lnTo>
                <a:lnTo>
                  <a:pt x="469971" y="795"/>
                </a:lnTo>
                <a:lnTo>
                  <a:pt x="477946" y="1651"/>
                </a:lnTo>
                <a:lnTo>
                  <a:pt x="485777" y="2813"/>
                </a:lnTo>
                <a:lnTo>
                  <a:pt x="493395" y="4403"/>
                </a:lnTo>
                <a:lnTo>
                  <a:pt x="500729" y="6361"/>
                </a:lnTo>
                <a:lnTo>
                  <a:pt x="507848" y="8746"/>
                </a:lnTo>
                <a:lnTo>
                  <a:pt x="514754" y="11560"/>
                </a:lnTo>
                <a:lnTo>
                  <a:pt x="521305" y="14863"/>
                </a:lnTo>
                <a:lnTo>
                  <a:pt x="527570" y="18594"/>
                </a:lnTo>
                <a:lnTo>
                  <a:pt x="522373" y="25506"/>
                </a:lnTo>
                <a:lnTo>
                  <a:pt x="518457" y="32662"/>
                </a:lnTo>
                <a:lnTo>
                  <a:pt x="514398" y="41654"/>
                </a:lnTo>
                <a:lnTo>
                  <a:pt x="510269" y="52297"/>
                </a:lnTo>
                <a:lnTo>
                  <a:pt x="506140" y="64347"/>
                </a:lnTo>
                <a:lnTo>
                  <a:pt x="502224" y="77620"/>
                </a:lnTo>
                <a:lnTo>
                  <a:pt x="500301" y="84654"/>
                </a:lnTo>
                <a:lnTo>
                  <a:pt x="498522" y="91933"/>
                </a:lnTo>
                <a:lnTo>
                  <a:pt x="496813" y="99456"/>
                </a:lnTo>
                <a:lnTo>
                  <a:pt x="495246" y="107102"/>
                </a:lnTo>
                <a:lnTo>
                  <a:pt x="493751" y="114931"/>
                </a:lnTo>
                <a:lnTo>
                  <a:pt x="492470" y="122944"/>
                </a:lnTo>
                <a:lnTo>
                  <a:pt x="491259" y="131018"/>
                </a:lnTo>
                <a:lnTo>
                  <a:pt x="490263" y="139214"/>
                </a:lnTo>
                <a:lnTo>
                  <a:pt x="489479" y="147411"/>
                </a:lnTo>
                <a:lnTo>
                  <a:pt x="488839" y="155668"/>
                </a:lnTo>
                <a:lnTo>
                  <a:pt x="488412" y="163987"/>
                </a:lnTo>
                <a:lnTo>
                  <a:pt x="488269" y="172244"/>
                </a:lnTo>
                <a:lnTo>
                  <a:pt x="488340" y="180502"/>
                </a:lnTo>
                <a:lnTo>
                  <a:pt x="488696" y="188698"/>
                </a:lnTo>
                <a:lnTo>
                  <a:pt x="489266" y="196772"/>
                </a:lnTo>
                <a:lnTo>
                  <a:pt x="490120" y="204785"/>
                </a:lnTo>
                <a:lnTo>
                  <a:pt x="491331" y="212614"/>
                </a:lnTo>
                <a:lnTo>
                  <a:pt x="492826" y="220321"/>
                </a:lnTo>
                <a:lnTo>
                  <a:pt x="494677" y="227844"/>
                </a:lnTo>
                <a:lnTo>
                  <a:pt x="496884" y="236346"/>
                </a:lnTo>
                <a:lnTo>
                  <a:pt x="498949" y="244910"/>
                </a:lnTo>
                <a:lnTo>
                  <a:pt x="500871" y="253657"/>
                </a:lnTo>
                <a:lnTo>
                  <a:pt x="502722" y="262465"/>
                </a:lnTo>
                <a:lnTo>
                  <a:pt x="504431" y="271456"/>
                </a:lnTo>
                <a:lnTo>
                  <a:pt x="506140" y="280447"/>
                </a:lnTo>
                <a:lnTo>
                  <a:pt x="507706" y="289622"/>
                </a:lnTo>
                <a:lnTo>
                  <a:pt x="509272" y="298859"/>
                </a:lnTo>
                <a:lnTo>
                  <a:pt x="510839" y="308156"/>
                </a:lnTo>
                <a:lnTo>
                  <a:pt x="512334" y="317514"/>
                </a:lnTo>
                <a:lnTo>
                  <a:pt x="513900" y="326934"/>
                </a:lnTo>
                <a:lnTo>
                  <a:pt x="515466" y="336415"/>
                </a:lnTo>
                <a:lnTo>
                  <a:pt x="517033" y="345957"/>
                </a:lnTo>
                <a:lnTo>
                  <a:pt x="518670" y="355560"/>
                </a:lnTo>
                <a:lnTo>
                  <a:pt x="520379" y="365163"/>
                </a:lnTo>
                <a:lnTo>
                  <a:pt x="522230" y="374827"/>
                </a:lnTo>
                <a:lnTo>
                  <a:pt x="524152" y="384492"/>
                </a:lnTo>
                <a:lnTo>
                  <a:pt x="526217" y="394217"/>
                </a:lnTo>
                <a:lnTo>
                  <a:pt x="528353" y="403942"/>
                </a:lnTo>
                <a:lnTo>
                  <a:pt x="530703" y="413607"/>
                </a:lnTo>
                <a:lnTo>
                  <a:pt x="533194" y="423332"/>
                </a:lnTo>
                <a:lnTo>
                  <a:pt x="535900" y="432996"/>
                </a:lnTo>
                <a:lnTo>
                  <a:pt x="538819" y="442722"/>
                </a:lnTo>
                <a:lnTo>
                  <a:pt x="541881" y="452325"/>
                </a:lnTo>
                <a:lnTo>
                  <a:pt x="545298" y="461989"/>
                </a:lnTo>
                <a:lnTo>
                  <a:pt x="548858" y="471531"/>
                </a:lnTo>
                <a:lnTo>
                  <a:pt x="552774" y="481073"/>
                </a:lnTo>
                <a:lnTo>
                  <a:pt x="556903" y="490554"/>
                </a:lnTo>
                <a:lnTo>
                  <a:pt x="561317" y="499974"/>
                </a:lnTo>
                <a:lnTo>
                  <a:pt x="566159" y="509332"/>
                </a:lnTo>
                <a:lnTo>
                  <a:pt x="571214" y="518629"/>
                </a:lnTo>
                <a:lnTo>
                  <a:pt x="576696" y="527804"/>
                </a:lnTo>
                <a:lnTo>
                  <a:pt x="565660" y="528171"/>
                </a:lnTo>
                <a:lnTo>
                  <a:pt x="555123" y="528661"/>
                </a:lnTo>
                <a:lnTo>
                  <a:pt x="545084" y="529272"/>
                </a:lnTo>
                <a:lnTo>
                  <a:pt x="535473" y="529945"/>
                </a:lnTo>
                <a:lnTo>
                  <a:pt x="526360" y="530679"/>
                </a:lnTo>
                <a:lnTo>
                  <a:pt x="517602" y="531536"/>
                </a:lnTo>
                <a:lnTo>
                  <a:pt x="509201" y="532392"/>
                </a:lnTo>
                <a:lnTo>
                  <a:pt x="501227" y="533371"/>
                </a:lnTo>
                <a:lnTo>
                  <a:pt x="493538" y="534410"/>
                </a:lnTo>
                <a:lnTo>
                  <a:pt x="486133" y="535511"/>
                </a:lnTo>
                <a:lnTo>
                  <a:pt x="479014" y="536674"/>
                </a:lnTo>
                <a:lnTo>
                  <a:pt x="472107" y="537897"/>
                </a:lnTo>
                <a:lnTo>
                  <a:pt x="465486" y="539120"/>
                </a:lnTo>
                <a:lnTo>
                  <a:pt x="459007" y="540405"/>
                </a:lnTo>
                <a:lnTo>
                  <a:pt x="452742" y="541750"/>
                </a:lnTo>
                <a:lnTo>
                  <a:pt x="446548" y="543096"/>
                </a:lnTo>
                <a:lnTo>
                  <a:pt x="440496" y="544503"/>
                </a:lnTo>
                <a:lnTo>
                  <a:pt x="434515" y="545910"/>
                </a:lnTo>
                <a:lnTo>
                  <a:pt x="428606" y="547316"/>
                </a:lnTo>
                <a:lnTo>
                  <a:pt x="422768" y="548723"/>
                </a:lnTo>
                <a:lnTo>
                  <a:pt x="416858" y="550191"/>
                </a:lnTo>
                <a:lnTo>
                  <a:pt x="411020" y="551598"/>
                </a:lnTo>
                <a:lnTo>
                  <a:pt x="405040" y="553066"/>
                </a:lnTo>
                <a:lnTo>
                  <a:pt x="399059" y="554473"/>
                </a:lnTo>
                <a:lnTo>
                  <a:pt x="392936" y="555941"/>
                </a:lnTo>
                <a:lnTo>
                  <a:pt x="386671" y="557348"/>
                </a:lnTo>
                <a:lnTo>
                  <a:pt x="380263" y="558693"/>
                </a:lnTo>
                <a:lnTo>
                  <a:pt x="373642" y="560100"/>
                </a:lnTo>
                <a:lnTo>
                  <a:pt x="366807" y="561385"/>
                </a:lnTo>
                <a:lnTo>
                  <a:pt x="359758" y="562730"/>
                </a:lnTo>
                <a:lnTo>
                  <a:pt x="352496" y="563954"/>
                </a:lnTo>
                <a:lnTo>
                  <a:pt x="344878" y="565177"/>
                </a:lnTo>
                <a:lnTo>
                  <a:pt x="336762" y="566400"/>
                </a:lnTo>
                <a:lnTo>
                  <a:pt x="328717" y="567624"/>
                </a:lnTo>
                <a:lnTo>
                  <a:pt x="320814" y="568847"/>
                </a:lnTo>
                <a:lnTo>
                  <a:pt x="312911" y="570009"/>
                </a:lnTo>
                <a:lnTo>
                  <a:pt x="305150" y="571233"/>
                </a:lnTo>
                <a:lnTo>
                  <a:pt x="297390" y="572395"/>
                </a:lnTo>
                <a:lnTo>
                  <a:pt x="289701" y="573618"/>
                </a:lnTo>
                <a:lnTo>
                  <a:pt x="282082" y="574780"/>
                </a:lnTo>
                <a:lnTo>
                  <a:pt x="274464" y="576004"/>
                </a:lnTo>
                <a:lnTo>
                  <a:pt x="266917" y="577288"/>
                </a:lnTo>
                <a:lnTo>
                  <a:pt x="259371" y="578511"/>
                </a:lnTo>
                <a:lnTo>
                  <a:pt x="251824" y="579796"/>
                </a:lnTo>
                <a:lnTo>
                  <a:pt x="244348" y="581142"/>
                </a:lnTo>
                <a:lnTo>
                  <a:pt x="236801" y="582487"/>
                </a:lnTo>
                <a:lnTo>
                  <a:pt x="229254" y="583894"/>
                </a:lnTo>
                <a:lnTo>
                  <a:pt x="221707" y="585362"/>
                </a:lnTo>
                <a:lnTo>
                  <a:pt x="214160" y="586830"/>
                </a:lnTo>
                <a:lnTo>
                  <a:pt x="206614" y="588420"/>
                </a:lnTo>
                <a:lnTo>
                  <a:pt x="198995" y="590072"/>
                </a:lnTo>
                <a:lnTo>
                  <a:pt x="191306" y="591723"/>
                </a:lnTo>
                <a:lnTo>
                  <a:pt x="183546" y="593497"/>
                </a:lnTo>
                <a:lnTo>
                  <a:pt x="175785" y="595332"/>
                </a:lnTo>
                <a:lnTo>
                  <a:pt x="167954" y="597289"/>
                </a:lnTo>
                <a:lnTo>
                  <a:pt x="160051" y="599308"/>
                </a:lnTo>
                <a:lnTo>
                  <a:pt x="152077" y="601388"/>
                </a:lnTo>
                <a:lnTo>
                  <a:pt x="143960" y="603590"/>
                </a:lnTo>
                <a:lnTo>
                  <a:pt x="135772" y="605853"/>
                </a:lnTo>
                <a:lnTo>
                  <a:pt x="127514" y="608299"/>
                </a:lnTo>
                <a:lnTo>
                  <a:pt x="119112" y="610807"/>
                </a:lnTo>
                <a:lnTo>
                  <a:pt x="110569" y="613437"/>
                </a:lnTo>
                <a:lnTo>
                  <a:pt x="101954" y="616190"/>
                </a:lnTo>
                <a:lnTo>
                  <a:pt x="93197" y="619064"/>
                </a:lnTo>
                <a:lnTo>
                  <a:pt x="91274" y="608238"/>
                </a:lnTo>
                <a:lnTo>
                  <a:pt x="89637" y="597289"/>
                </a:lnTo>
                <a:lnTo>
                  <a:pt x="88284" y="586218"/>
                </a:lnTo>
                <a:lnTo>
                  <a:pt x="87216" y="575086"/>
                </a:lnTo>
                <a:lnTo>
                  <a:pt x="86362" y="563770"/>
                </a:lnTo>
                <a:lnTo>
                  <a:pt x="85721" y="552454"/>
                </a:lnTo>
                <a:lnTo>
                  <a:pt x="85294" y="541016"/>
                </a:lnTo>
                <a:lnTo>
                  <a:pt x="85080" y="529517"/>
                </a:lnTo>
                <a:lnTo>
                  <a:pt x="84938" y="517957"/>
                </a:lnTo>
                <a:lnTo>
                  <a:pt x="85009" y="506335"/>
                </a:lnTo>
                <a:lnTo>
                  <a:pt x="85151" y="494652"/>
                </a:lnTo>
                <a:lnTo>
                  <a:pt x="85436" y="482969"/>
                </a:lnTo>
                <a:lnTo>
                  <a:pt x="85792" y="471225"/>
                </a:lnTo>
                <a:lnTo>
                  <a:pt x="86219" y="459420"/>
                </a:lnTo>
                <a:lnTo>
                  <a:pt x="86718" y="447676"/>
                </a:lnTo>
                <a:lnTo>
                  <a:pt x="87216" y="435871"/>
                </a:lnTo>
                <a:lnTo>
                  <a:pt x="87714" y="424066"/>
                </a:lnTo>
                <a:lnTo>
                  <a:pt x="88213" y="412261"/>
                </a:lnTo>
                <a:lnTo>
                  <a:pt x="88640" y="400517"/>
                </a:lnTo>
                <a:lnTo>
                  <a:pt x="89067" y="388773"/>
                </a:lnTo>
                <a:lnTo>
                  <a:pt x="89423" y="377029"/>
                </a:lnTo>
                <a:lnTo>
                  <a:pt x="89637" y="365346"/>
                </a:lnTo>
                <a:lnTo>
                  <a:pt x="89779" y="353725"/>
                </a:lnTo>
                <a:lnTo>
                  <a:pt x="89850" y="342103"/>
                </a:lnTo>
                <a:lnTo>
                  <a:pt x="89708" y="330604"/>
                </a:lnTo>
                <a:lnTo>
                  <a:pt x="89423" y="319166"/>
                </a:lnTo>
                <a:lnTo>
                  <a:pt x="88925" y="307789"/>
                </a:lnTo>
                <a:lnTo>
                  <a:pt x="88213" y="296473"/>
                </a:lnTo>
                <a:lnTo>
                  <a:pt x="87358" y="285280"/>
                </a:lnTo>
                <a:lnTo>
                  <a:pt x="86219" y="274208"/>
                </a:lnTo>
                <a:lnTo>
                  <a:pt x="84795" y="263199"/>
                </a:lnTo>
                <a:lnTo>
                  <a:pt x="83087" y="252311"/>
                </a:lnTo>
                <a:lnTo>
                  <a:pt x="81591" y="244237"/>
                </a:lnTo>
                <a:lnTo>
                  <a:pt x="79954" y="235979"/>
                </a:lnTo>
                <a:lnTo>
                  <a:pt x="78032" y="227539"/>
                </a:lnTo>
                <a:lnTo>
                  <a:pt x="75967" y="219036"/>
                </a:lnTo>
                <a:lnTo>
                  <a:pt x="73689" y="210351"/>
                </a:lnTo>
                <a:lnTo>
                  <a:pt x="71268" y="201604"/>
                </a:lnTo>
                <a:lnTo>
                  <a:pt x="68705" y="192735"/>
                </a:lnTo>
                <a:lnTo>
                  <a:pt x="66071" y="183866"/>
                </a:lnTo>
                <a:lnTo>
                  <a:pt x="63223" y="174874"/>
                </a:lnTo>
                <a:lnTo>
                  <a:pt x="60304" y="165944"/>
                </a:lnTo>
                <a:lnTo>
                  <a:pt x="57313" y="156952"/>
                </a:lnTo>
                <a:lnTo>
                  <a:pt x="54252" y="148022"/>
                </a:lnTo>
                <a:lnTo>
                  <a:pt x="51119" y="139092"/>
                </a:lnTo>
                <a:lnTo>
                  <a:pt x="47915" y="130223"/>
                </a:lnTo>
                <a:lnTo>
                  <a:pt x="44711" y="121415"/>
                </a:lnTo>
                <a:lnTo>
                  <a:pt x="41508" y="112668"/>
                </a:lnTo>
                <a:lnTo>
                  <a:pt x="38304" y="104105"/>
                </a:lnTo>
                <a:lnTo>
                  <a:pt x="35029" y="95603"/>
                </a:lnTo>
                <a:lnTo>
                  <a:pt x="31896" y="87284"/>
                </a:lnTo>
                <a:lnTo>
                  <a:pt x="28763" y="79088"/>
                </a:lnTo>
                <a:lnTo>
                  <a:pt x="25702" y="71075"/>
                </a:lnTo>
                <a:lnTo>
                  <a:pt x="22712" y="63307"/>
                </a:lnTo>
                <a:lnTo>
                  <a:pt x="19792" y="55722"/>
                </a:lnTo>
                <a:lnTo>
                  <a:pt x="16945" y="48382"/>
                </a:lnTo>
                <a:lnTo>
                  <a:pt x="14310" y="41287"/>
                </a:lnTo>
                <a:lnTo>
                  <a:pt x="11747" y="34497"/>
                </a:lnTo>
                <a:lnTo>
                  <a:pt x="9326" y="28014"/>
                </a:lnTo>
                <a:lnTo>
                  <a:pt x="7048" y="21775"/>
                </a:lnTo>
                <a:lnTo>
                  <a:pt x="4983" y="15903"/>
                </a:lnTo>
                <a:lnTo>
                  <a:pt x="3132" y="10398"/>
                </a:lnTo>
                <a:lnTo>
                  <a:pt x="1423" y="5260"/>
                </a:lnTo>
                <a:lnTo>
                  <a:pt x="0" y="489"/>
                </a:lnTo>
              </a:path>
            </a:pathLst>
          </a:custGeom>
          <a:ln w="66">
            <a:solidFill>
              <a:srgbClr val="000000"/>
            </a:solidFill>
          </a:ln>
        </p:spPr>
        <p:txBody>
          <a:bodyPr wrap="square" lIns="0" tIns="0" rIns="0" bIns="0" rtlCol="0">
            <a:noAutofit/>
          </a:bodyPr>
          <a:lstStyle/>
          <a:p>
            <a:endParaRPr/>
          </a:p>
        </p:txBody>
      </p:sp>
      <p:sp>
        <p:nvSpPr>
          <p:cNvPr id="643" name="object 643"/>
          <p:cNvSpPr/>
          <p:nvPr/>
        </p:nvSpPr>
        <p:spPr>
          <a:xfrm>
            <a:off x="9517415" y="4393393"/>
            <a:ext cx="93992" cy="216234"/>
          </a:xfrm>
          <a:custGeom>
            <a:avLst/>
            <a:gdLst/>
            <a:ahLst/>
            <a:cxnLst/>
            <a:rect l="l" t="t" r="r" b="b"/>
            <a:pathLst>
              <a:path w="93992" h="216234">
                <a:moveTo>
                  <a:pt x="18879" y="61545"/>
                </a:moveTo>
                <a:lnTo>
                  <a:pt x="23578" y="64358"/>
                </a:lnTo>
                <a:lnTo>
                  <a:pt x="28704" y="67722"/>
                </a:lnTo>
                <a:lnTo>
                  <a:pt x="34186" y="71820"/>
                </a:lnTo>
                <a:lnTo>
                  <a:pt x="39882" y="76653"/>
                </a:lnTo>
                <a:lnTo>
                  <a:pt x="45791" y="82341"/>
                </a:lnTo>
                <a:lnTo>
                  <a:pt x="51700" y="89008"/>
                </a:lnTo>
                <a:lnTo>
                  <a:pt x="57610" y="96715"/>
                </a:lnTo>
                <a:lnTo>
                  <a:pt x="60529" y="100997"/>
                </a:lnTo>
                <a:lnTo>
                  <a:pt x="63377" y="105523"/>
                </a:lnTo>
                <a:lnTo>
                  <a:pt x="66225" y="110416"/>
                </a:lnTo>
                <a:lnTo>
                  <a:pt x="69001" y="115554"/>
                </a:lnTo>
                <a:lnTo>
                  <a:pt x="71636" y="121059"/>
                </a:lnTo>
                <a:lnTo>
                  <a:pt x="74270" y="126870"/>
                </a:lnTo>
                <a:lnTo>
                  <a:pt x="76762" y="133048"/>
                </a:lnTo>
                <a:lnTo>
                  <a:pt x="79183" y="139593"/>
                </a:lnTo>
                <a:lnTo>
                  <a:pt x="81461" y="146505"/>
                </a:lnTo>
                <a:lnTo>
                  <a:pt x="83597" y="153783"/>
                </a:lnTo>
                <a:lnTo>
                  <a:pt x="85590" y="161429"/>
                </a:lnTo>
                <a:lnTo>
                  <a:pt x="87441" y="169503"/>
                </a:lnTo>
                <a:lnTo>
                  <a:pt x="89150" y="178005"/>
                </a:lnTo>
                <a:lnTo>
                  <a:pt x="90645" y="186874"/>
                </a:lnTo>
                <a:lnTo>
                  <a:pt x="91927" y="196233"/>
                </a:lnTo>
                <a:lnTo>
                  <a:pt x="93066" y="206020"/>
                </a:lnTo>
                <a:lnTo>
                  <a:pt x="93992" y="216234"/>
                </a:lnTo>
                <a:lnTo>
                  <a:pt x="92924" y="204062"/>
                </a:lnTo>
                <a:lnTo>
                  <a:pt x="91784" y="192257"/>
                </a:lnTo>
                <a:lnTo>
                  <a:pt x="90574" y="180636"/>
                </a:lnTo>
                <a:lnTo>
                  <a:pt x="89293" y="169381"/>
                </a:lnTo>
                <a:lnTo>
                  <a:pt x="87940" y="158432"/>
                </a:lnTo>
                <a:lnTo>
                  <a:pt x="86516" y="147728"/>
                </a:lnTo>
                <a:lnTo>
                  <a:pt x="84949" y="137391"/>
                </a:lnTo>
                <a:lnTo>
                  <a:pt x="83241" y="127360"/>
                </a:lnTo>
                <a:lnTo>
                  <a:pt x="81390" y="117634"/>
                </a:lnTo>
                <a:lnTo>
                  <a:pt x="79396" y="108276"/>
                </a:lnTo>
                <a:lnTo>
                  <a:pt x="77189" y="99162"/>
                </a:lnTo>
                <a:lnTo>
                  <a:pt x="74839" y="90476"/>
                </a:lnTo>
                <a:lnTo>
                  <a:pt x="72276" y="82096"/>
                </a:lnTo>
                <a:lnTo>
                  <a:pt x="69500" y="74022"/>
                </a:lnTo>
                <a:lnTo>
                  <a:pt x="66509" y="66316"/>
                </a:lnTo>
                <a:lnTo>
                  <a:pt x="63306" y="58976"/>
                </a:lnTo>
                <a:lnTo>
                  <a:pt x="59817" y="52003"/>
                </a:lnTo>
                <a:lnTo>
                  <a:pt x="56043" y="45397"/>
                </a:lnTo>
                <a:lnTo>
                  <a:pt x="51985" y="39096"/>
                </a:lnTo>
                <a:lnTo>
                  <a:pt x="47642" y="33224"/>
                </a:lnTo>
                <a:lnTo>
                  <a:pt x="42943" y="27720"/>
                </a:lnTo>
                <a:lnTo>
                  <a:pt x="37959" y="22582"/>
                </a:lnTo>
                <a:lnTo>
                  <a:pt x="32691" y="17872"/>
                </a:lnTo>
                <a:lnTo>
                  <a:pt x="26995" y="13529"/>
                </a:lnTo>
                <a:lnTo>
                  <a:pt x="20943" y="9553"/>
                </a:lnTo>
                <a:lnTo>
                  <a:pt x="14536" y="6005"/>
                </a:lnTo>
                <a:lnTo>
                  <a:pt x="7701" y="2825"/>
                </a:lnTo>
                <a:lnTo>
                  <a:pt x="439" y="133"/>
                </a:lnTo>
                <a:lnTo>
                  <a:pt x="0" y="0"/>
                </a:lnTo>
                <a:lnTo>
                  <a:pt x="1079" y="500"/>
                </a:lnTo>
                <a:lnTo>
                  <a:pt x="4283" y="2335"/>
                </a:lnTo>
                <a:lnTo>
                  <a:pt x="7131" y="4354"/>
                </a:lnTo>
                <a:lnTo>
                  <a:pt x="9694" y="6434"/>
                </a:lnTo>
                <a:lnTo>
                  <a:pt x="11830" y="8697"/>
                </a:lnTo>
                <a:lnTo>
                  <a:pt x="13752" y="11082"/>
                </a:lnTo>
                <a:lnTo>
                  <a:pt x="15390" y="13529"/>
                </a:lnTo>
                <a:lnTo>
                  <a:pt x="16671" y="16098"/>
                </a:lnTo>
                <a:lnTo>
                  <a:pt x="17811" y="18728"/>
                </a:lnTo>
                <a:lnTo>
                  <a:pt x="18665" y="21358"/>
                </a:lnTo>
                <a:lnTo>
                  <a:pt x="19306" y="24111"/>
                </a:lnTo>
                <a:lnTo>
                  <a:pt x="19804" y="26863"/>
                </a:lnTo>
                <a:lnTo>
                  <a:pt x="20089" y="29616"/>
                </a:lnTo>
                <a:lnTo>
                  <a:pt x="20231" y="32368"/>
                </a:lnTo>
                <a:lnTo>
                  <a:pt x="20231" y="35121"/>
                </a:lnTo>
                <a:lnTo>
                  <a:pt x="20089" y="37873"/>
                </a:lnTo>
                <a:lnTo>
                  <a:pt x="19947" y="40503"/>
                </a:lnTo>
                <a:lnTo>
                  <a:pt x="19662" y="43133"/>
                </a:lnTo>
                <a:lnTo>
                  <a:pt x="19306" y="45702"/>
                </a:lnTo>
                <a:lnTo>
                  <a:pt x="18879" y="48149"/>
                </a:lnTo>
                <a:lnTo>
                  <a:pt x="18523" y="50535"/>
                </a:lnTo>
                <a:lnTo>
                  <a:pt x="18095" y="52798"/>
                </a:lnTo>
                <a:lnTo>
                  <a:pt x="17668" y="54939"/>
                </a:lnTo>
                <a:lnTo>
                  <a:pt x="17312" y="56896"/>
                </a:lnTo>
                <a:lnTo>
                  <a:pt x="16956" y="58731"/>
                </a:lnTo>
                <a:lnTo>
                  <a:pt x="16743" y="60382"/>
                </a:lnTo>
                <a:lnTo>
                  <a:pt x="18879" y="61545"/>
                </a:lnTo>
                <a:close/>
              </a:path>
            </a:pathLst>
          </a:custGeom>
          <a:solidFill>
            <a:srgbClr val="E4E4E4"/>
          </a:solidFill>
        </p:spPr>
        <p:txBody>
          <a:bodyPr wrap="square" lIns="0" tIns="0" rIns="0" bIns="0" rtlCol="0">
            <a:noAutofit/>
          </a:bodyPr>
          <a:lstStyle/>
          <a:p>
            <a:endParaRPr/>
          </a:p>
        </p:txBody>
      </p:sp>
      <p:sp>
        <p:nvSpPr>
          <p:cNvPr id="644" name="object 644"/>
          <p:cNvSpPr/>
          <p:nvPr/>
        </p:nvSpPr>
        <p:spPr>
          <a:xfrm>
            <a:off x="9484535" y="4386738"/>
            <a:ext cx="32881" cy="6655"/>
          </a:xfrm>
          <a:custGeom>
            <a:avLst/>
            <a:gdLst/>
            <a:ahLst/>
            <a:cxnLst/>
            <a:rect l="l" t="t" r="r" b="b"/>
            <a:pathLst>
              <a:path w="32881" h="6655">
                <a:moveTo>
                  <a:pt x="9042" y="1039"/>
                </a:moveTo>
                <a:lnTo>
                  <a:pt x="17585" y="2507"/>
                </a:lnTo>
                <a:lnTo>
                  <a:pt x="25702" y="4465"/>
                </a:lnTo>
                <a:lnTo>
                  <a:pt x="32881" y="6655"/>
                </a:lnTo>
                <a:lnTo>
                  <a:pt x="30401" y="5504"/>
                </a:lnTo>
                <a:lnTo>
                  <a:pt x="26414" y="4036"/>
                </a:lnTo>
                <a:lnTo>
                  <a:pt x="22071" y="2813"/>
                </a:lnTo>
                <a:lnTo>
                  <a:pt x="17229" y="1712"/>
                </a:lnTo>
                <a:lnTo>
                  <a:pt x="11961" y="917"/>
                </a:lnTo>
                <a:lnTo>
                  <a:pt x="6194" y="305"/>
                </a:lnTo>
                <a:lnTo>
                  <a:pt x="0" y="0"/>
                </a:lnTo>
                <a:lnTo>
                  <a:pt x="9042" y="1039"/>
                </a:lnTo>
                <a:close/>
              </a:path>
            </a:pathLst>
          </a:custGeom>
          <a:solidFill>
            <a:srgbClr val="E4E4E4"/>
          </a:solidFill>
        </p:spPr>
        <p:txBody>
          <a:bodyPr wrap="square" lIns="0" tIns="0" rIns="0" bIns="0" rtlCol="0">
            <a:noAutofit/>
          </a:bodyPr>
          <a:lstStyle/>
          <a:p>
            <a:endParaRPr/>
          </a:p>
        </p:txBody>
      </p:sp>
      <p:sp>
        <p:nvSpPr>
          <p:cNvPr id="645" name="object 645"/>
          <p:cNvSpPr/>
          <p:nvPr/>
        </p:nvSpPr>
        <p:spPr>
          <a:xfrm>
            <a:off x="9484535" y="4386737"/>
            <a:ext cx="126873" cy="222890"/>
          </a:xfrm>
          <a:custGeom>
            <a:avLst/>
            <a:gdLst/>
            <a:ahLst/>
            <a:cxnLst/>
            <a:rect l="l" t="t" r="r" b="b"/>
            <a:pathLst>
              <a:path w="126873" h="222890">
                <a:moveTo>
                  <a:pt x="126873" y="222890"/>
                </a:moveTo>
                <a:lnTo>
                  <a:pt x="125805" y="210718"/>
                </a:lnTo>
                <a:lnTo>
                  <a:pt x="124666" y="198913"/>
                </a:lnTo>
                <a:lnTo>
                  <a:pt x="123455" y="187291"/>
                </a:lnTo>
                <a:lnTo>
                  <a:pt x="122174" y="176036"/>
                </a:lnTo>
                <a:lnTo>
                  <a:pt x="120821" y="165088"/>
                </a:lnTo>
                <a:lnTo>
                  <a:pt x="119397" y="154384"/>
                </a:lnTo>
                <a:lnTo>
                  <a:pt x="117831" y="144046"/>
                </a:lnTo>
                <a:lnTo>
                  <a:pt x="116122" y="134015"/>
                </a:lnTo>
                <a:lnTo>
                  <a:pt x="114271" y="124290"/>
                </a:lnTo>
                <a:lnTo>
                  <a:pt x="112277" y="114931"/>
                </a:lnTo>
                <a:lnTo>
                  <a:pt x="110070" y="105817"/>
                </a:lnTo>
                <a:lnTo>
                  <a:pt x="107721" y="97132"/>
                </a:lnTo>
                <a:lnTo>
                  <a:pt x="105158" y="88752"/>
                </a:lnTo>
                <a:lnTo>
                  <a:pt x="102381" y="80678"/>
                </a:lnTo>
                <a:lnTo>
                  <a:pt x="99391" y="72971"/>
                </a:lnTo>
                <a:lnTo>
                  <a:pt x="96187" y="65631"/>
                </a:lnTo>
                <a:lnTo>
                  <a:pt x="92698" y="58658"/>
                </a:lnTo>
                <a:lnTo>
                  <a:pt x="88925" y="52052"/>
                </a:lnTo>
                <a:lnTo>
                  <a:pt x="84866" y="45752"/>
                </a:lnTo>
                <a:lnTo>
                  <a:pt x="80523" y="39880"/>
                </a:lnTo>
                <a:lnTo>
                  <a:pt x="75824" y="34375"/>
                </a:lnTo>
                <a:lnTo>
                  <a:pt x="70841" y="29237"/>
                </a:lnTo>
                <a:lnTo>
                  <a:pt x="65572" y="24527"/>
                </a:lnTo>
                <a:lnTo>
                  <a:pt x="59876" y="20184"/>
                </a:lnTo>
                <a:lnTo>
                  <a:pt x="53824" y="16209"/>
                </a:lnTo>
                <a:lnTo>
                  <a:pt x="47417" y="12661"/>
                </a:lnTo>
                <a:lnTo>
                  <a:pt x="40582" y="9480"/>
                </a:lnTo>
                <a:lnTo>
                  <a:pt x="33320" y="6789"/>
                </a:lnTo>
                <a:lnTo>
                  <a:pt x="25702" y="4465"/>
                </a:lnTo>
                <a:lnTo>
                  <a:pt x="17585" y="2507"/>
                </a:lnTo>
                <a:lnTo>
                  <a:pt x="9042" y="1039"/>
                </a:lnTo>
                <a:lnTo>
                  <a:pt x="0" y="0"/>
                </a:lnTo>
                <a:lnTo>
                  <a:pt x="6194" y="305"/>
                </a:lnTo>
                <a:lnTo>
                  <a:pt x="11961" y="917"/>
                </a:lnTo>
                <a:lnTo>
                  <a:pt x="17229" y="1712"/>
                </a:lnTo>
                <a:lnTo>
                  <a:pt x="22071" y="2813"/>
                </a:lnTo>
                <a:lnTo>
                  <a:pt x="26414" y="4036"/>
                </a:lnTo>
                <a:lnTo>
                  <a:pt x="30401" y="5504"/>
                </a:lnTo>
                <a:lnTo>
                  <a:pt x="33961" y="7156"/>
                </a:lnTo>
                <a:lnTo>
                  <a:pt x="37164" y="8991"/>
                </a:lnTo>
                <a:lnTo>
                  <a:pt x="40012" y="11009"/>
                </a:lnTo>
                <a:lnTo>
                  <a:pt x="42575" y="13089"/>
                </a:lnTo>
                <a:lnTo>
                  <a:pt x="44711" y="15352"/>
                </a:lnTo>
                <a:lnTo>
                  <a:pt x="46634" y="17738"/>
                </a:lnTo>
                <a:lnTo>
                  <a:pt x="48271" y="20184"/>
                </a:lnTo>
                <a:lnTo>
                  <a:pt x="49553" y="22753"/>
                </a:lnTo>
                <a:lnTo>
                  <a:pt x="50692" y="25384"/>
                </a:lnTo>
                <a:lnTo>
                  <a:pt x="51546" y="28014"/>
                </a:lnTo>
                <a:lnTo>
                  <a:pt x="52187" y="30766"/>
                </a:lnTo>
                <a:lnTo>
                  <a:pt x="52685" y="33519"/>
                </a:lnTo>
                <a:lnTo>
                  <a:pt x="52970" y="36271"/>
                </a:lnTo>
                <a:lnTo>
                  <a:pt x="53113" y="39024"/>
                </a:lnTo>
                <a:lnTo>
                  <a:pt x="53113" y="41776"/>
                </a:lnTo>
                <a:lnTo>
                  <a:pt x="52970" y="44529"/>
                </a:lnTo>
                <a:lnTo>
                  <a:pt x="52828" y="47159"/>
                </a:lnTo>
                <a:lnTo>
                  <a:pt x="52543" y="49789"/>
                </a:lnTo>
                <a:lnTo>
                  <a:pt x="52187" y="52358"/>
                </a:lnTo>
                <a:lnTo>
                  <a:pt x="51760" y="54805"/>
                </a:lnTo>
                <a:lnTo>
                  <a:pt x="51404" y="57190"/>
                </a:lnTo>
                <a:lnTo>
                  <a:pt x="50977" y="59453"/>
                </a:lnTo>
                <a:lnTo>
                  <a:pt x="50549" y="61594"/>
                </a:lnTo>
                <a:lnTo>
                  <a:pt x="50193" y="63551"/>
                </a:lnTo>
                <a:lnTo>
                  <a:pt x="49837" y="65386"/>
                </a:lnTo>
                <a:lnTo>
                  <a:pt x="49624" y="67038"/>
                </a:lnTo>
                <a:lnTo>
                  <a:pt x="54038" y="69546"/>
                </a:lnTo>
                <a:lnTo>
                  <a:pt x="59022" y="72604"/>
                </a:lnTo>
                <a:lnTo>
                  <a:pt x="64290" y="76335"/>
                </a:lnTo>
                <a:lnTo>
                  <a:pt x="69915" y="80800"/>
                </a:lnTo>
                <a:lnTo>
                  <a:pt x="75682" y="86061"/>
                </a:lnTo>
                <a:lnTo>
                  <a:pt x="81591" y="92238"/>
                </a:lnTo>
                <a:lnTo>
                  <a:pt x="87572" y="99395"/>
                </a:lnTo>
                <a:lnTo>
                  <a:pt x="90491" y="103371"/>
                </a:lnTo>
                <a:lnTo>
                  <a:pt x="93410" y="107652"/>
                </a:lnTo>
                <a:lnTo>
                  <a:pt x="96258" y="112179"/>
                </a:lnTo>
                <a:lnTo>
                  <a:pt x="99106" y="117072"/>
                </a:lnTo>
                <a:lnTo>
                  <a:pt x="101883" y="122210"/>
                </a:lnTo>
                <a:lnTo>
                  <a:pt x="104517" y="127715"/>
                </a:lnTo>
                <a:lnTo>
                  <a:pt x="107151" y="133526"/>
                </a:lnTo>
                <a:lnTo>
                  <a:pt x="109643" y="139704"/>
                </a:lnTo>
                <a:lnTo>
                  <a:pt x="112064" y="146248"/>
                </a:lnTo>
                <a:lnTo>
                  <a:pt x="114342" y="153160"/>
                </a:lnTo>
                <a:lnTo>
                  <a:pt x="116478" y="160439"/>
                </a:lnTo>
                <a:lnTo>
                  <a:pt x="118471" y="168085"/>
                </a:lnTo>
                <a:lnTo>
                  <a:pt x="120323" y="176159"/>
                </a:lnTo>
                <a:lnTo>
                  <a:pt x="122031" y="184661"/>
                </a:lnTo>
                <a:lnTo>
                  <a:pt x="123526" y="193530"/>
                </a:lnTo>
                <a:lnTo>
                  <a:pt x="124808" y="202888"/>
                </a:lnTo>
                <a:lnTo>
                  <a:pt x="125947" y="212675"/>
                </a:lnTo>
                <a:lnTo>
                  <a:pt x="126873" y="222890"/>
                </a:lnTo>
              </a:path>
            </a:pathLst>
          </a:custGeom>
          <a:ln w="68">
            <a:solidFill>
              <a:srgbClr val="000000"/>
            </a:solidFill>
          </a:ln>
        </p:spPr>
        <p:txBody>
          <a:bodyPr wrap="square" lIns="0" tIns="0" rIns="0" bIns="0" rtlCol="0">
            <a:noAutofit/>
          </a:bodyPr>
          <a:lstStyle/>
          <a:p>
            <a:endParaRPr/>
          </a:p>
        </p:txBody>
      </p:sp>
      <p:sp>
        <p:nvSpPr>
          <p:cNvPr id="646" name="object 646"/>
          <p:cNvSpPr/>
          <p:nvPr/>
        </p:nvSpPr>
        <p:spPr>
          <a:xfrm>
            <a:off x="9118867" y="4341841"/>
            <a:ext cx="533337" cy="638026"/>
          </a:xfrm>
          <a:custGeom>
            <a:avLst/>
            <a:gdLst/>
            <a:ahLst/>
            <a:cxnLst/>
            <a:rect l="l" t="t" r="r" b="b"/>
            <a:pathLst>
              <a:path w="533337" h="638026">
                <a:moveTo>
                  <a:pt x="488483" y="232982"/>
                </a:moveTo>
                <a:lnTo>
                  <a:pt x="486987" y="225031"/>
                </a:lnTo>
                <a:lnTo>
                  <a:pt x="485279" y="217324"/>
                </a:lnTo>
                <a:lnTo>
                  <a:pt x="483428" y="209739"/>
                </a:lnTo>
                <a:lnTo>
                  <a:pt x="481363" y="202338"/>
                </a:lnTo>
                <a:lnTo>
                  <a:pt x="479085" y="195120"/>
                </a:lnTo>
                <a:lnTo>
                  <a:pt x="476664" y="188147"/>
                </a:lnTo>
                <a:lnTo>
                  <a:pt x="473958" y="181297"/>
                </a:lnTo>
                <a:lnTo>
                  <a:pt x="471111" y="174752"/>
                </a:lnTo>
                <a:lnTo>
                  <a:pt x="468049" y="168329"/>
                </a:lnTo>
                <a:lnTo>
                  <a:pt x="464774" y="162213"/>
                </a:lnTo>
                <a:lnTo>
                  <a:pt x="461357" y="156280"/>
                </a:lnTo>
                <a:lnTo>
                  <a:pt x="457654" y="150652"/>
                </a:lnTo>
                <a:lnTo>
                  <a:pt x="453810" y="145209"/>
                </a:lnTo>
                <a:lnTo>
                  <a:pt x="449680" y="140071"/>
                </a:lnTo>
                <a:lnTo>
                  <a:pt x="445408" y="135177"/>
                </a:lnTo>
                <a:lnTo>
                  <a:pt x="440923" y="130590"/>
                </a:lnTo>
                <a:lnTo>
                  <a:pt x="436224" y="126247"/>
                </a:lnTo>
                <a:lnTo>
                  <a:pt x="431311" y="122210"/>
                </a:lnTo>
                <a:lnTo>
                  <a:pt x="426185" y="118479"/>
                </a:lnTo>
                <a:lnTo>
                  <a:pt x="420845" y="115054"/>
                </a:lnTo>
                <a:lnTo>
                  <a:pt x="415292" y="111934"/>
                </a:lnTo>
                <a:lnTo>
                  <a:pt x="417072" y="104105"/>
                </a:lnTo>
                <a:lnTo>
                  <a:pt x="418282" y="96887"/>
                </a:lnTo>
                <a:lnTo>
                  <a:pt x="418852" y="90281"/>
                </a:lnTo>
                <a:lnTo>
                  <a:pt x="418923" y="84164"/>
                </a:lnTo>
                <a:lnTo>
                  <a:pt x="418425" y="78598"/>
                </a:lnTo>
                <a:lnTo>
                  <a:pt x="417428" y="73522"/>
                </a:lnTo>
                <a:lnTo>
                  <a:pt x="415862" y="68934"/>
                </a:lnTo>
                <a:lnTo>
                  <a:pt x="413797" y="64836"/>
                </a:lnTo>
                <a:lnTo>
                  <a:pt x="408315" y="57924"/>
                </a:lnTo>
                <a:lnTo>
                  <a:pt x="400910" y="52664"/>
                </a:lnTo>
                <a:lnTo>
                  <a:pt x="396638" y="50584"/>
                </a:lnTo>
                <a:lnTo>
                  <a:pt x="391939" y="48871"/>
                </a:lnTo>
                <a:lnTo>
                  <a:pt x="386813" y="47465"/>
                </a:lnTo>
                <a:lnTo>
                  <a:pt x="381331" y="46364"/>
                </a:lnTo>
                <a:lnTo>
                  <a:pt x="375493" y="45568"/>
                </a:lnTo>
                <a:lnTo>
                  <a:pt x="369299" y="45018"/>
                </a:lnTo>
                <a:lnTo>
                  <a:pt x="362820" y="44773"/>
                </a:lnTo>
                <a:lnTo>
                  <a:pt x="355985" y="44712"/>
                </a:lnTo>
                <a:lnTo>
                  <a:pt x="348865" y="44834"/>
                </a:lnTo>
                <a:lnTo>
                  <a:pt x="341461" y="45140"/>
                </a:lnTo>
                <a:lnTo>
                  <a:pt x="333843" y="45630"/>
                </a:lnTo>
                <a:lnTo>
                  <a:pt x="325940" y="46241"/>
                </a:lnTo>
                <a:lnTo>
                  <a:pt x="317823" y="47036"/>
                </a:lnTo>
                <a:lnTo>
                  <a:pt x="309493" y="47893"/>
                </a:lnTo>
                <a:lnTo>
                  <a:pt x="300950" y="48810"/>
                </a:lnTo>
                <a:lnTo>
                  <a:pt x="292192" y="49789"/>
                </a:lnTo>
                <a:lnTo>
                  <a:pt x="283293" y="50890"/>
                </a:lnTo>
                <a:lnTo>
                  <a:pt x="274251" y="51930"/>
                </a:lnTo>
                <a:lnTo>
                  <a:pt x="265066" y="53031"/>
                </a:lnTo>
                <a:lnTo>
                  <a:pt x="255739" y="54071"/>
                </a:lnTo>
                <a:lnTo>
                  <a:pt x="241215" y="55110"/>
                </a:lnTo>
                <a:lnTo>
                  <a:pt x="233739" y="55294"/>
                </a:lnTo>
                <a:lnTo>
                  <a:pt x="225979" y="55172"/>
                </a:lnTo>
                <a:lnTo>
                  <a:pt x="210173" y="54315"/>
                </a:lnTo>
                <a:lnTo>
                  <a:pt x="193940" y="52664"/>
                </a:lnTo>
                <a:lnTo>
                  <a:pt x="177351" y="50278"/>
                </a:lnTo>
                <a:lnTo>
                  <a:pt x="160620" y="47220"/>
                </a:lnTo>
                <a:lnTo>
                  <a:pt x="143889" y="43611"/>
                </a:lnTo>
                <a:lnTo>
                  <a:pt x="127300" y="39574"/>
                </a:lnTo>
                <a:lnTo>
                  <a:pt x="110996" y="35109"/>
                </a:lnTo>
                <a:lnTo>
                  <a:pt x="95048" y="30338"/>
                </a:lnTo>
                <a:lnTo>
                  <a:pt x="79740" y="25322"/>
                </a:lnTo>
                <a:lnTo>
                  <a:pt x="65145" y="20184"/>
                </a:lnTo>
                <a:lnTo>
                  <a:pt x="51333" y="14985"/>
                </a:lnTo>
                <a:lnTo>
                  <a:pt x="38588" y="9847"/>
                </a:lnTo>
                <a:lnTo>
                  <a:pt x="26912" y="4832"/>
                </a:lnTo>
                <a:lnTo>
                  <a:pt x="16588" y="0"/>
                </a:lnTo>
                <a:lnTo>
                  <a:pt x="12957" y="8930"/>
                </a:lnTo>
                <a:lnTo>
                  <a:pt x="9896" y="18105"/>
                </a:lnTo>
                <a:lnTo>
                  <a:pt x="7262" y="27463"/>
                </a:lnTo>
                <a:lnTo>
                  <a:pt x="5054" y="36944"/>
                </a:lnTo>
                <a:lnTo>
                  <a:pt x="3275" y="46669"/>
                </a:lnTo>
                <a:lnTo>
                  <a:pt x="1922" y="56456"/>
                </a:lnTo>
                <a:lnTo>
                  <a:pt x="925" y="66487"/>
                </a:lnTo>
                <a:lnTo>
                  <a:pt x="284" y="76580"/>
                </a:lnTo>
                <a:lnTo>
                  <a:pt x="0" y="86795"/>
                </a:lnTo>
                <a:lnTo>
                  <a:pt x="71" y="97132"/>
                </a:lnTo>
                <a:lnTo>
                  <a:pt x="355" y="107591"/>
                </a:lnTo>
                <a:lnTo>
                  <a:pt x="925" y="118112"/>
                </a:lnTo>
                <a:lnTo>
                  <a:pt x="1779" y="128694"/>
                </a:lnTo>
                <a:lnTo>
                  <a:pt x="2847" y="139337"/>
                </a:lnTo>
                <a:lnTo>
                  <a:pt x="4129" y="150041"/>
                </a:lnTo>
                <a:lnTo>
                  <a:pt x="5553" y="160806"/>
                </a:lnTo>
                <a:lnTo>
                  <a:pt x="7119" y="171571"/>
                </a:lnTo>
                <a:lnTo>
                  <a:pt x="8899" y="182337"/>
                </a:lnTo>
                <a:lnTo>
                  <a:pt x="10679" y="193163"/>
                </a:lnTo>
                <a:lnTo>
                  <a:pt x="12673" y="203928"/>
                </a:lnTo>
                <a:lnTo>
                  <a:pt x="14666" y="214694"/>
                </a:lnTo>
                <a:lnTo>
                  <a:pt x="16731" y="225459"/>
                </a:lnTo>
                <a:lnTo>
                  <a:pt x="18796" y="236163"/>
                </a:lnTo>
                <a:lnTo>
                  <a:pt x="20860" y="246806"/>
                </a:lnTo>
                <a:lnTo>
                  <a:pt x="22925" y="257388"/>
                </a:lnTo>
                <a:lnTo>
                  <a:pt x="24990" y="267908"/>
                </a:lnTo>
                <a:lnTo>
                  <a:pt x="26912" y="278307"/>
                </a:lnTo>
                <a:lnTo>
                  <a:pt x="28763" y="288644"/>
                </a:lnTo>
                <a:lnTo>
                  <a:pt x="30543" y="298859"/>
                </a:lnTo>
                <a:lnTo>
                  <a:pt x="32181" y="308951"/>
                </a:lnTo>
                <a:lnTo>
                  <a:pt x="33676" y="318921"/>
                </a:lnTo>
                <a:lnTo>
                  <a:pt x="34957" y="328708"/>
                </a:lnTo>
                <a:lnTo>
                  <a:pt x="35954" y="337455"/>
                </a:lnTo>
                <a:lnTo>
                  <a:pt x="36666" y="346263"/>
                </a:lnTo>
                <a:lnTo>
                  <a:pt x="37236" y="355132"/>
                </a:lnTo>
                <a:lnTo>
                  <a:pt x="37520" y="364062"/>
                </a:lnTo>
                <a:lnTo>
                  <a:pt x="37734" y="373053"/>
                </a:lnTo>
                <a:lnTo>
                  <a:pt x="37734" y="382106"/>
                </a:lnTo>
                <a:lnTo>
                  <a:pt x="37520" y="391281"/>
                </a:lnTo>
                <a:lnTo>
                  <a:pt x="37164" y="400456"/>
                </a:lnTo>
                <a:lnTo>
                  <a:pt x="36737" y="409692"/>
                </a:lnTo>
                <a:lnTo>
                  <a:pt x="36096" y="419051"/>
                </a:lnTo>
                <a:lnTo>
                  <a:pt x="35384" y="428409"/>
                </a:lnTo>
                <a:lnTo>
                  <a:pt x="34601" y="437829"/>
                </a:lnTo>
                <a:lnTo>
                  <a:pt x="33676" y="447309"/>
                </a:lnTo>
                <a:lnTo>
                  <a:pt x="32608" y="456913"/>
                </a:lnTo>
                <a:lnTo>
                  <a:pt x="31540" y="466516"/>
                </a:lnTo>
                <a:lnTo>
                  <a:pt x="30401" y="476119"/>
                </a:lnTo>
                <a:lnTo>
                  <a:pt x="29190" y="485844"/>
                </a:lnTo>
                <a:lnTo>
                  <a:pt x="27909" y="495631"/>
                </a:lnTo>
                <a:lnTo>
                  <a:pt x="26627" y="505417"/>
                </a:lnTo>
                <a:lnTo>
                  <a:pt x="25346" y="515265"/>
                </a:lnTo>
                <a:lnTo>
                  <a:pt x="23993" y="525174"/>
                </a:lnTo>
                <a:lnTo>
                  <a:pt x="22640" y="535083"/>
                </a:lnTo>
                <a:lnTo>
                  <a:pt x="21359" y="545114"/>
                </a:lnTo>
                <a:lnTo>
                  <a:pt x="20077" y="555146"/>
                </a:lnTo>
                <a:lnTo>
                  <a:pt x="18796" y="565177"/>
                </a:lnTo>
                <a:lnTo>
                  <a:pt x="17585" y="575331"/>
                </a:lnTo>
                <a:lnTo>
                  <a:pt x="16375" y="585484"/>
                </a:lnTo>
                <a:lnTo>
                  <a:pt x="15307" y="595638"/>
                </a:lnTo>
                <a:lnTo>
                  <a:pt x="14239" y="605853"/>
                </a:lnTo>
                <a:lnTo>
                  <a:pt x="13313" y="616129"/>
                </a:lnTo>
                <a:lnTo>
                  <a:pt x="12459" y="626405"/>
                </a:lnTo>
                <a:lnTo>
                  <a:pt x="11676" y="636742"/>
                </a:lnTo>
                <a:lnTo>
                  <a:pt x="21715" y="634479"/>
                </a:lnTo>
                <a:lnTo>
                  <a:pt x="31540" y="632399"/>
                </a:lnTo>
                <a:lnTo>
                  <a:pt x="41223" y="630503"/>
                </a:lnTo>
                <a:lnTo>
                  <a:pt x="50763" y="628668"/>
                </a:lnTo>
                <a:lnTo>
                  <a:pt x="60232" y="627016"/>
                </a:lnTo>
                <a:lnTo>
                  <a:pt x="69488" y="625487"/>
                </a:lnTo>
                <a:lnTo>
                  <a:pt x="78601" y="624080"/>
                </a:lnTo>
                <a:lnTo>
                  <a:pt x="87643" y="622796"/>
                </a:lnTo>
                <a:lnTo>
                  <a:pt x="96543" y="621634"/>
                </a:lnTo>
                <a:lnTo>
                  <a:pt x="105300" y="620594"/>
                </a:lnTo>
                <a:lnTo>
                  <a:pt x="113915" y="619676"/>
                </a:lnTo>
                <a:lnTo>
                  <a:pt x="122387" y="618820"/>
                </a:lnTo>
                <a:lnTo>
                  <a:pt x="130789" y="618086"/>
                </a:lnTo>
                <a:lnTo>
                  <a:pt x="139119" y="617474"/>
                </a:lnTo>
                <a:lnTo>
                  <a:pt x="147306" y="616924"/>
                </a:lnTo>
                <a:lnTo>
                  <a:pt x="155352" y="616435"/>
                </a:lnTo>
                <a:lnTo>
                  <a:pt x="163326" y="616068"/>
                </a:lnTo>
                <a:lnTo>
                  <a:pt x="171228" y="615762"/>
                </a:lnTo>
                <a:lnTo>
                  <a:pt x="179060" y="615517"/>
                </a:lnTo>
                <a:lnTo>
                  <a:pt x="186749" y="615334"/>
                </a:lnTo>
                <a:lnTo>
                  <a:pt x="194367" y="615211"/>
                </a:lnTo>
                <a:lnTo>
                  <a:pt x="201914" y="615150"/>
                </a:lnTo>
                <a:lnTo>
                  <a:pt x="216723" y="615150"/>
                </a:lnTo>
                <a:lnTo>
                  <a:pt x="231319" y="615334"/>
                </a:lnTo>
                <a:lnTo>
                  <a:pt x="245629" y="615639"/>
                </a:lnTo>
                <a:lnTo>
                  <a:pt x="252678" y="615823"/>
                </a:lnTo>
                <a:lnTo>
                  <a:pt x="259726" y="616006"/>
                </a:lnTo>
                <a:lnTo>
                  <a:pt x="266704" y="616190"/>
                </a:lnTo>
                <a:lnTo>
                  <a:pt x="273610" y="616435"/>
                </a:lnTo>
                <a:lnTo>
                  <a:pt x="281513" y="616740"/>
                </a:lnTo>
                <a:lnTo>
                  <a:pt x="289416" y="617046"/>
                </a:lnTo>
                <a:lnTo>
                  <a:pt x="297390" y="617413"/>
                </a:lnTo>
                <a:lnTo>
                  <a:pt x="305364" y="617780"/>
                </a:lnTo>
                <a:lnTo>
                  <a:pt x="313409" y="618270"/>
                </a:lnTo>
                <a:lnTo>
                  <a:pt x="321525" y="618759"/>
                </a:lnTo>
                <a:lnTo>
                  <a:pt x="329571" y="619248"/>
                </a:lnTo>
                <a:lnTo>
                  <a:pt x="337687" y="619799"/>
                </a:lnTo>
                <a:lnTo>
                  <a:pt x="345875" y="620410"/>
                </a:lnTo>
                <a:lnTo>
                  <a:pt x="354063" y="621022"/>
                </a:lnTo>
                <a:lnTo>
                  <a:pt x="362250" y="621695"/>
                </a:lnTo>
                <a:lnTo>
                  <a:pt x="370438" y="622368"/>
                </a:lnTo>
                <a:lnTo>
                  <a:pt x="378626" y="623040"/>
                </a:lnTo>
                <a:lnTo>
                  <a:pt x="386884" y="623774"/>
                </a:lnTo>
                <a:lnTo>
                  <a:pt x="395072" y="624508"/>
                </a:lnTo>
                <a:lnTo>
                  <a:pt x="403331" y="625242"/>
                </a:lnTo>
                <a:lnTo>
                  <a:pt x="411519" y="626038"/>
                </a:lnTo>
                <a:lnTo>
                  <a:pt x="419777" y="626833"/>
                </a:lnTo>
                <a:lnTo>
                  <a:pt x="428036" y="627628"/>
                </a:lnTo>
                <a:lnTo>
                  <a:pt x="436224" y="628423"/>
                </a:lnTo>
                <a:lnTo>
                  <a:pt x="444412" y="629218"/>
                </a:lnTo>
                <a:lnTo>
                  <a:pt x="452670" y="630013"/>
                </a:lnTo>
                <a:lnTo>
                  <a:pt x="460787" y="630870"/>
                </a:lnTo>
                <a:lnTo>
                  <a:pt x="468975" y="631665"/>
                </a:lnTo>
                <a:lnTo>
                  <a:pt x="477162" y="632521"/>
                </a:lnTo>
                <a:lnTo>
                  <a:pt x="485279" y="633316"/>
                </a:lnTo>
                <a:lnTo>
                  <a:pt x="493324" y="634112"/>
                </a:lnTo>
                <a:lnTo>
                  <a:pt x="501440" y="634907"/>
                </a:lnTo>
                <a:lnTo>
                  <a:pt x="509415" y="635702"/>
                </a:lnTo>
                <a:lnTo>
                  <a:pt x="517460" y="636497"/>
                </a:lnTo>
                <a:lnTo>
                  <a:pt x="525434" y="637292"/>
                </a:lnTo>
                <a:lnTo>
                  <a:pt x="533337" y="638026"/>
                </a:lnTo>
                <a:lnTo>
                  <a:pt x="527570" y="629402"/>
                </a:lnTo>
                <a:lnTo>
                  <a:pt x="522230" y="620594"/>
                </a:lnTo>
                <a:lnTo>
                  <a:pt x="517317" y="611602"/>
                </a:lnTo>
                <a:lnTo>
                  <a:pt x="512832" y="602427"/>
                </a:lnTo>
                <a:lnTo>
                  <a:pt x="508774" y="593130"/>
                </a:lnTo>
                <a:lnTo>
                  <a:pt x="505072" y="583710"/>
                </a:lnTo>
                <a:lnTo>
                  <a:pt x="501796" y="574107"/>
                </a:lnTo>
                <a:lnTo>
                  <a:pt x="498877" y="564443"/>
                </a:lnTo>
                <a:lnTo>
                  <a:pt x="496243" y="554656"/>
                </a:lnTo>
                <a:lnTo>
                  <a:pt x="493965" y="544747"/>
                </a:lnTo>
                <a:lnTo>
                  <a:pt x="492042" y="534839"/>
                </a:lnTo>
                <a:lnTo>
                  <a:pt x="490334" y="524807"/>
                </a:lnTo>
                <a:lnTo>
                  <a:pt x="488910" y="514715"/>
                </a:lnTo>
                <a:lnTo>
                  <a:pt x="487771" y="504622"/>
                </a:lnTo>
                <a:lnTo>
                  <a:pt x="486916" y="494469"/>
                </a:lnTo>
                <a:lnTo>
                  <a:pt x="486204" y="484254"/>
                </a:lnTo>
                <a:lnTo>
                  <a:pt x="485777" y="474100"/>
                </a:lnTo>
                <a:lnTo>
                  <a:pt x="485492" y="463947"/>
                </a:lnTo>
                <a:lnTo>
                  <a:pt x="485350" y="453793"/>
                </a:lnTo>
                <a:lnTo>
                  <a:pt x="485421" y="443639"/>
                </a:lnTo>
                <a:lnTo>
                  <a:pt x="485635" y="433547"/>
                </a:lnTo>
                <a:lnTo>
                  <a:pt x="485919" y="423516"/>
                </a:lnTo>
                <a:lnTo>
                  <a:pt x="486845" y="403698"/>
                </a:lnTo>
                <a:lnTo>
                  <a:pt x="488127" y="384186"/>
                </a:lnTo>
                <a:lnTo>
                  <a:pt x="489551" y="365163"/>
                </a:lnTo>
                <a:lnTo>
                  <a:pt x="490974" y="346691"/>
                </a:lnTo>
                <a:lnTo>
                  <a:pt x="491686" y="337638"/>
                </a:lnTo>
                <a:lnTo>
                  <a:pt x="492327" y="328830"/>
                </a:lnTo>
                <a:lnTo>
                  <a:pt x="492897" y="319594"/>
                </a:lnTo>
                <a:lnTo>
                  <a:pt x="493253" y="310419"/>
                </a:lnTo>
                <a:lnTo>
                  <a:pt x="493466" y="301366"/>
                </a:lnTo>
                <a:lnTo>
                  <a:pt x="493538" y="292436"/>
                </a:lnTo>
                <a:lnTo>
                  <a:pt x="493324" y="283567"/>
                </a:lnTo>
                <a:lnTo>
                  <a:pt x="493039" y="274820"/>
                </a:lnTo>
                <a:lnTo>
                  <a:pt x="492470" y="266135"/>
                </a:lnTo>
                <a:lnTo>
                  <a:pt x="491758" y="257632"/>
                </a:lnTo>
                <a:lnTo>
                  <a:pt x="490832" y="249253"/>
                </a:lnTo>
                <a:lnTo>
                  <a:pt x="489764" y="241056"/>
                </a:lnTo>
                <a:lnTo>
                  <a:pt x="488483" y="232982"/>
                </a:lnTo>
                <a:close/>
              </a:path>
            </a:pathLst>
          </a:custGeom>
          <a:solidFill>
            <a:srgbClr val="FFFFFF"/>
          </a:solidFill>
        </p:spPr>
        <p:txBody>
          <a:bodyPr wrap="square" lIns="0" tIns="0" rIns="0" bIns="0" rtlCol="0">
            <a:noAutofit/>
          </a:bodyPr>
          <a:lstStyle/>
          <a:p>
            <a:endParaRPr/>
          </a:p>
        </p:txBody>
      </p:sp>
      <p:sp>
        <p:nvSpPr>
          <p:cNvPr id="647" name="object 647"/>
          <p:cNvSpPr/>
          <p:nvPr/>
        </p:nvSpPr>
        <p:spPr>
          <a:xfrm>
            <a:off x="9118867" y="4341841"/>
            <a:ext cx="533337" cy="638026"/>
          </a:xfrm>
          <a:custGeom>
            <a:avLst/>
            <a:gdLst/>
            <a:ahLst/>
            <a:cxnLst/>
            <a:rect l="l" t="t" r="r" b="b"/>
            <a:pathLst>
              <a:path w="533337" h="638026">
                <a:moveTo>
                  <a:pt x="16588" y="0"/>
                </a:moveTo>
                <a:lnTo>
                  <a:pt x="21572" y="2385"/>
                </a:lnTo>
                <a:lnTo>
                  <a:pt x="26912" y="4832"/>
                </a:lnTo>
                <a:lnTo>
                  <a:pt x="38588" y="9847"/>
                </a:lnTo>
                <a:lnTo>
                  <a:pt x="51333" y="14985"/>
                </a:lnTo>
                <a:lnTo>
                  <a:pt x="65145" y="20184"/>
                </a:lnTo>
                <a:lnTo>
                  <a:pt x="72336" y="22753"/>
                </a:lnTo>
                <a:lnTo>
                  <a:pt x="79740" y="25322"/>
                </a:lnTo>
                <a:lnTo>
                  <a:pt x="87358" y="27830"/>
                </a:lnTo>
                <a:lnTo>
                  <a:pt x="95048" y="30338"/>
                </a:lnTo>
                <a:lnTo>
                  <a:pt x="102950" y="32724"/>
                </a:lnTo>
                <a:lnTo>
                  <a:pt x="110996" y="35109"/>
                </a:lnTo>
                <a:lnTo>
                  <a:pt x="119112" y="37372"/>
                </a:lnTo>
                <a:lnTo>
                  <a:pt x="127300" y="39574"/>
                </a:lnTo>
                <a:lnTo>
                  <a:pt x="135559" y="41654"/>
                </a:lnTo>
                <a:lnTo>
                  <a:pt x="143889" y="43611"/>
                </a:lnTo>
                <a:lnTo>
                  <a:pt x="152290" y="45507"/>
                </a:lnTo>
                <a:lnTo>
                  <a:pt x="160620" y="47220"/>
                </a:lnTo>
                <a:lnTo>
                  <a:pt x="169021" y="48810"/>
                </a:lnTo>
                <a:lnTo>
                  <a:pt x="177351" y="50278"/>
                </a:lnTo>
                <a:lnTo>
                  <a:pt x="185681" y="51563"/>
                </a:lnTo>
                <a:lnTo>
                  <a:pt x="193940" y="52664"/>
                </a:lnTo>
                <a:lnTo>
                  <a:pt x="202128" y="53581"/>
                </a:lnTo>
                <a:lnTo>
                  <a:pt x="210173" y="54315"/>
                </a:lnTo>
                <a:lnTo>
                  <a:pt x="218147" y="54866"/>
                </a:lnTo>
                <a:lnTo>
                  <a:pt x="225979" y="55172"/>
                </a:lnTo>
                <a:lnTo>
                  <a:pt x="233739" y="55294"/>
                </a:lnTo>
                <a:lnTo>
                  <a:pt x="241215" y="55110"/>
                </a:lnTo>
                <a:lnTo>
                  <a:pt x="248620" y="54743"/>
                </a:lnTo>
                <a:lnTo>
                  <a:pt x="255739" y="54071"/>
                </a:lnTo>
                <a:lnTo>
                  <a:pt x="265066" y="53031"/>
                </a:lnTo>
                <a:lnTo>
                  <a:pt x="274251" y="51930"/>
                </a:lnTo>
                <a:lnTo>
                  <a:pt x="283293" y="50890"/>
                </a:lnTo>
                <a:lnTo>
                  <a:pt x="292192" y="49789"/>
                </a:lnTo>
                <a:lnTo>
                  <a:pt x="300950" y="48810"/>
                </a:lnTo>
                <a:lnTo>
                  <a:pt x="309493" y="47893"/>
                </a:lnTo>
                <a:lnTo>
                  <a:pt x="317823" y="47036"/>
                </a:lnTo>
                <a:lnTo>
                  <a:pt x="325940" y="46241"/>
                </a:lnTo>
                <a:lnTo>
                  <a:pt x="333843" y="45630"/>
                </a:lnTo>
                <a:lnTo>
                  <a:pt x="341461" y="45140"/>
                </a:lnTo>
                <a:lnTo>
                  <a:pt x="348865" y="44834"/>
                </a:lnTo>
                <a:lnTo>
                  <a:pt x="355985" y="44712"/>
                </a:lnTo>
                <a:lnTo>
                  <a:pt x="362820" y="44773"/>
                </a:lnTo>
                <a:lnTo>
                  <a:pt x="369299" y="45018"/>
                </a:lnTo>
                <a:lnTo>
                  <a:pt x="375493" y="45568"/>
                </a:lnTo>
                <a:lnTo>
                  <a:pt x="381331" y="46364"/>
                </a:lnTo>
                <a:lnTo>
                  <a:pt x="386813" y="47465"/>
                </a:lnTo>
                <a:lnTo>
                  <a:pt x="391939" y="48871"/>
                </a:lnTo>
                <a:lnTo>
                  <a:pt x="396638" y="50584"/>
                </a:lnTo>
                <a:lnTo>
                  <a:pt x="400910" y="52664"/>
                </a:lnTo>
                <a:lnTo>
                  <a:pt x="404826" y="55110"/>
                </a:lnTo>
                <a:lnTo>
                  <a:pt x="411305" y="61166"/>
                </a:lnTo>
                <a:lnTo>
                  <a:pt x="415862" y="68934"/>
                </a:lnTo>
                <a:lnTo>
                  <a:pt x="417428" y="73522"/>
                </a:lnTo>
                <a:lnTo>
                  <a:pt x="418425" y="78598"/>
                </a:lnTo>
                <a:lnTo>
                  <a:pt x="418923" y="84164"/>
                </a:lnTo>
                <a:lnTo>
                  <a:pt x="418852" y="90281"/>
                </a:lnTo>
                <a:lnTo>
                  <a:pt x="418282" y="96887"/>
                </a:lnTo>
                <a:lnTo>
                  <a:pt x="417072" y="104105"/>
                </a:lnTo>
                <a:lnTo>
                  <a:pt x="415292" y="111934"/>
                </a:lnTo>
                <a:lnTo>
                  <a:pt x="426185" y="118479"/>
                </a:lnTo>
                <a:lnTo>
                  <a:pt x="436224" y="126247"/>
                </a:lnTo>
                <a:lnTo>
                  <a:pt x="445408" y="135177"/>
                </a:lnTo>
                <a:lnTo>
                  <a:pt x="453810" y="145209"/>
                </a:lnTo>
                <a:lnTo>
                  <a:pt x="461357" y="156280"/>
                </a:lnTo>
                <a:lnTo>
                  <a:pt x="468049" y="168329"/>
                </a:lnTo>
                <a:lnTo>
                  <a:pt x="473958" y="181297"/>
                </a:lnTo>
                <a:lnTo>
                  <a:pt x="476664" y="188147"/>
                </a:lnTo>
                <a:lnTo>
                  <a:pt x="479085" y="195120"/>
                </a:lnTo>
                <a:lnTo>
                  <a:pt x="481363" y="202338"/>
                </a:lnTo>
                <a:lnTo>
                  <a:pt x="483428" y="209739"/>
                </a:lnTo>
                <a:lnTo>
                  <a:pt x="485279" y="217324"/>
                </a:lnTo>
                <a:lnTo>
                  <a:pt x="486987" y="225031"/>
                </a:lnTo>
                <a:lnTo>
                  <a:pt x="488483" y="232982"/>
                </a:lnTo>
                <a:lnTo>
                  <a:pt x="489764" y="241056"/>
                </a:lnTo>
                <a:lnTo>
                  <a:pt x="490832" y="249253"/>
                </a:lnTo>
                <a:lnTo>
                  <a:pt x="491758" y="257632"/>
                </a:lnTo>
                <a:lnTo>
                  <a:pt x="492470" y="266135"/>
                </a:lnTo>
                <a:lnTo>
                  <a:pt x="493039" y="274820"/>
                </a:lnTo>
                <a:lnTo>
                  <a:pt x="493324" y="283567"/>
                </a:lnTo>
                <a:lnTo>
                  <a:pt x="493538" y="292436"/>
                </a:lnTo>
                <a:lnTo>
                  <a:pt x="493466" y="301366"/>
                </a:lnTo>
                <a:lnTo>
                  <a:pt x="493253" y="310419"/>
                </a:lnTo>
                <a:lnTo>
                  <a:pt x="492897" y="319594"/>
                </a:lnTo>
                <a:lnTo>
                  <a:pt x="492327" y="328830"/>
                </a:lnTo>
                <a:lnTo>
                  <a:pt x="491686" y="337638"/>
                </a:lnTo>
                <a:lnTo>
                  <a:pt x="490974" y="346691"/>
                </a:lnTo>
                <a:lnTo>
                  <a:pt x="490263" y="355866"/>
                </a:lnTo>
                <a:lnTo>
                  <a:pt x="488839" y="374644"/>
                </a:lnTo>
                <a:lnTo>
                  <a:pt x="488127" y="384186"/>
                </a:lnTo>
                <a:lnTo>
                  <a:pt x="487486" y="393911"/>
                </a:lnTo>
                <a:lnTo>
                  <a:pt x="486845" y="403698"/>
                </a:lnTo>
                <a:lnTo>
                  <a:pt x="486347" y="413607"/>
                </a:lnTo>
                <a:lnTo>
                  <a:pt x="485919" y="423516"/>
                </a:lnTo>
                <a:lnTo>
                  <a:pt x="485635" y="433547"/>
                </a:lnTo>
                <a:lnTo>
                  <a:pt x="485421" y="443639"/>
                </a:lnTo>
                <a:lnTo>
                  <a:pt x="485350" y="453793"/>
                </a:lnTo>
                <a:lnTo>
                  <a:pt x="485492" y="463947"/>
                </a:lnTo>
                <a:lnTo>
                  <a:pt x="485777" y="474100"/>
                </a:lnTo>
                <a:lnTo>
                  <a:pt x="486204" y="484254"/>
                </a:lnTo>
                <a:lnTo>
                  <a:pt x="486916" y="494469"/>
                </a:lnTo>
                <a:lnTo>
                  <a:pt x="487771" y="504622"/>
                </a:lnTo>
                <a:lnTo>
                  <a:pt x="488910" y="514715"/>
                </a:lnTo>
                <a:lnTo>
                  <a:pt x="490334" y="524807"/>
                </a:lnTo>
                <a:lnTo>
                  <a:pt x="492042" y="534839"/>
                </a:lnTo>
                <a:lnTo>
                  <a:pt x="493965" y="544747"/>
                </a:lnTo>
                <a:lnTo>
                  <a:pt x="496243" y="554656"/>
                </a:lnTo>
                <a:lnTo>
                  <a:pt x="498877" y="564443"/>
                </a:lnTo>
                <a:lnTo>
                  <a:pt x="501796" y="574107"/>
                </a:lnTo>
                <a:lnTo>
                  <a:pt x="505072" y="583710"/>
                </a:lnTo>
                <a:lnTo>
                  <a:pt x="508774" y="593130"/>
                </a:lnTo>
                <a:lnTo>
                  <a:pt x="512832" y="602427"/>
                </a:lnTo>
                <a:lnTo>
                  <a:pt x="517317" y="611602"/>
                </a:lnTo>
                <a:lnTo>
                  <a:pt x="522230" y="620594"/>
                </a:lnTo>
                <a:lnTo>
                  <a:pt x="527570" y="629402"/>
                </a:lnTo>
                <a:lnTo>
                  <a:pt x="533337" y="638026"/>
                </a:lnTo>
                <a:lnTo>
                  <a:pt x="525434" y="637292"/>
                </a:lnTo>
                <a:lnTo>
                  <a:pt x="517460" y="636497"/>
                </a:lnTo>
                <a:lnTo>
                  <a:pt x="509415" y="635702"/>
                </a:lnTo>
                <a:lnTo>
                  <a:pt x="501440" y="634907"/>
                </a:lnTo>
                <a:lnTo>
                  <a:pt x="493324" y="634112"/>
                </a:lnTo>
                <a:lnTo>
                  <a:pt x="485279" y="633316"/>
                </a:lnTo>
                <a:lnTo>
                  <a:pt x="477162" y="632521"/>
                </a:lnTo>
                <a:lnTo>
                  <a:pt x="468975" y="631665"/>
                </a:lnTo>
                <a:lnTo>
                  <a:pt x="460787" y="630870"/>
                </a:lnTo>
                <a:lnTo>
                  <a:pt x="452670" y="630013"/>
                </a:lnTo>
                <a:lnTo>
                  <a:pt x="444412" y="629218"/>
                </a:lnTo>
                <a:lnTo>
                  <a:pt x="436224" y="628423"/>
                </a:lnTo>
                <a:lnTo>
                  <a:pt x="428036" y="627628"/>
                </a:lnTo>
                <a:lnTo>
                  <a:pt x="419777" y="626833"/>
                </a:lnTo>
                <a:lnTo>
                  <a:pt x="411519" y="626038"/>
                </a:lnTo>
                <a:lnTo>
                  <a:pt x="403331" y="625242"/>
                </a:lnTo>
                <a:lnTo>
                  <a:pt x="395072" y="624508"/>
                </a:lnTo>
                <a:lnTo>
                  <a:pt x="386884" y="623774"/>
                </a:lnTo>
                <a:lnTo>
                  <a:pt x="378626" y="623040"/>
                </a:lnTo>
                <a:lnTo>
                  <a:pt x="370438" y="622368"/>
                </a:lnTo>
                <a:lnTo>
                  <a:pt x="362250" y="621695"/>
                </a:lnTo>
                <a:lnTo>
                  <a:pt x="354063" y="621022"/>
                </a:lnTo>
                <a:lnTo>
                  <a:pt x="345875" y="620410"/>
                </a:lnTo>
                <a:lnTo>
                  <a:pt x="337687" y="619799"/>
                </a:lnTo>
                <a:lnTo>
                  <a:pt x="329571" y="619248"/>
                </a:lnTo>
                <a:lnTo>
                  <a:pt x="321525" y="618759"/>
                </a:lnTo>
                <a:lnTo>
                  <a:pt x="313409" y="618270"/>
                </a:lnTo>
                <a:lnTo>
                  <a:pt x="305364" y="617780"/>
                </a:lnTo>
                <a:lnTo>
                  <a:pt x="297390" y="617413"/>
                </a:lnTo>
                <a:lnTo>
                  <a:pt x="289416" y="617046"/>
                </a:lnTo>
                <a:lnTo>
                  <a:pt x="281513" y="616740"/>
                </a:lnTo>
                <a:lnTo>
                  <a:pt x="273610" y="616435"/>
                </a:lnTo>
                <a:lnTo>
                  <a:pt x="266704" y="616190"/>
                </a:lnTo>
                <a:lnTo>
                  <a:pt x="259726" y="616006"/>
                </a:lnTo>
                <a:lnTo>
                  <a:pt x="252678" y="615823"/>
                </a:lnTo>
                <a:lnTo>
                  <a:pt x="245629" y="615639"/>
                </a:lnTo>
                <a:lnTo>
                  <a:pt x="238510" y="615456"/>
                </a:lnTo>
                <a:lnTo>
                  <a:pt x="231319" y="615334"/>
                </a:lnTo>
                <a:lnTo>
                  <a:pt x="224057" y="615211"/>
                </a:lnTo>
                <a:lnTo>
                  <a:pt x="216723" y="615150"/>
                </a:lnTo>
                <a:lnTo>
                  <a:pt x="209390" y="615150"/>
                </a:lnTo>
                <a:lnTo>
                  <a:pt x="201914" y="615150"/>
                </a:lnTo>
                <a:lnTo>
                  <a:pt x="194367" y="615211"/>
                </a:lnTo>
                <a:lnTo>
                  <a:pt x="186749" y="615334"/>
                </a:lnTo>
                <a:lnTo>
                  <a:pt x="179060" y="615517"/>
                </a:lnTo>
                <a:lnTo>
                  <a:pt x="171228" y="615762"/>
                </a:lnTo>
                <a:lnTo>
                  <a:pt x="163326" y="616068"/>
                </a:lnTo>
                <a:lnTo>
                  <a:pt x="155352" y="616435"/>
                </a:lnTo>
                <a:lnTo>
                  <a:pt x="147306" y="616924"/>
                </a:lnTo>
                <a:lnTo>
                  <a:pt x="139119" y="617474"/>
                </a:lnTo>
                <a:lnTo>
                  <a:pt x="130789" y="618086"/>
                </a:lnTo>
                <a:lnTo>
                  <a:pt x="122387" y="618820"/>
                </a:lnTo>
                <a:lnTo>
                  <a:pt x="113915" y="619676"/>
                </a:lnTo>
                <a:lnTo>
                  <a:pt x="105300" y="620594"/>
                </a:lnTo>
                <a:lnTo>
                  <a:pt x="96543" y="621634"/>
                </a:lnTo>
                <a:lnTo>
                  <a:pt x="87643" y="622796"/>
                </a:lnTo>
                <a:lnTo>
                  <a:pt x="78601" y="624080"/>
                </a:lnTo>
                <a:lnTo>
                  <a:pt x="69488" y="625487"/>
                </a:lnTo>
                <a:lnTo>
                  <a:pt x="60232" y="627016"/>
                </a:lnTo>
                <a:lnTo>
                  <a:pt x="50763" y="628668"/>
                </a:lnTo>
                <a:lnTo>
                  <a:pt x="41223" y="630503"/>
                </a:lnTo>
                <a:lnTo>
                  <a:pt x="31540" y="632399"/>
                </a:lnTo>
                <a:lnTo>
                  <a:pt x="21715" y="634479"/>
                </a:lnTo>
                <a:lnTo>
                  <a:pt x="11676" y="636742"/>
                </a:lnTo>
                <a:lnTo>
                  <a:pt x="12459" y="626405"/>
                </a:lnTo>
                <a:lnTo>
                  <a:pt x="13313" y="616129"/>
                </a:lnTo>
                <a:lnTo>
                  <a:pt x="14239" y="605853"/>
                </a:lnTo>
                <a:lnTo>
                  <a:pt x="15307" y="595638"/>
                </a:lnTo>
                <a:lnTo>
                  <a:pt x="16375" y="585484"/>
                </a:lnTo>
                <a:lnTo>
                  <a:pt x="17585" y="575331"/>
                </a:lnTo>
                <a:lnTo>
                  <a:pt x="18796" y="565177"/>
                </a:lnTo>
                <a:lnTo>
                  <a:pt x="20077" y="555146"/>
                </a:lnTo>
                <a:lnTo>
                  <a:pt x="21359" y="545114"/>
                </a:lnTo>
                <a:lnTo>
                  <a:pt x="22640" y="535083"/>
                </a:lnTo>
                <a:lnTo>
                  <a:pt x="23993" y="525174"/>
                </a:lnTo>
                <a:lnTo>
                  <a:pt x="25346" y="515265"/>
                </a:lnTo>
                <a:lnTo>
                  <a:pt x="26627" y="505417"/>
                </a:lnTo>
                <a:lnTo>
                  <a:pt x="27909" y="495631"/>
                </a:lnTo>
                <a:lnTo>
                  <a:pt x="29190" y="485844"/>
                </a:lnTo>
                <a:lnTo>
                  <a:pt x="30401" y="476119"/>
                </a:lnTo>
                <a:lnTo>
                  <a:pt x="31540" y="466516"/>
                </a:lnTo>
                <a:lnTo>
                  <a:pt x="32608" y="456913"/>
                </a:lnTo>
                <a:lnTo>
                  <a:pt x="33676" y="447309"/>
                </a:lnTo>
                <a:lnTo>
                  <a:pt x="34601" y="437829"/>
                </a:lnTo>
                <a:lnTo>
                  <a:pt x="35384" y="428409"/>
                </a:lnTo>
                <a:lnTo>
                  <a:pt x="36096" y="419051"/>
                </a:lnTo>
                <a:lnTo>
                  <a:pt x="36737" y="409692"/>
                </a:lnTo>
                <a:lnTo>
                  <a:pt x="37164" y="400456"/>
                </a:lnTo>
                <a:lnTo>
                  <a:pt x="37520" y="391281"/>
                </a:lnTo>
                <a:lnTo>
                  <a:pt x="37734" y="382106"/>
                </a:lnTo>
                <a:lnTo>
                  <a:pt x="37734" y="373053"/>
                </a:lnTo>
                <a:lnTo>
                  <a:pt x="37520" y="364062"/>
                </a:lnTo>
                <a:lnTo>
                  <a:pt x="37236" y="355132"/>
                </a:lnTo>
                <a:lnTo>
                  <a:pt x="36666" y="346263"/>
                </a:lnTo>
                <a:lnTo>
                  <a:pt x="35954" y="337455"/>
                </a:lnTo>
                <a:lnTo>
                  <a:pt x="34957" y="328708"/>
                </a:lnTo>
                <a:lnTo>
                  <a:pt x="33676" y="318921"/>
                </a:lnTo>
                <a:lnTo>
                  <a:pt x="32181" y="308951"/>
                </a:lnTo>
                <a:lnTo>
                  <a:pt x="30543" y="298859"/>
                </a:lnTo>
                <a:lnTo>
                  <a:pt x="28763" y="288644"/>
                </a:lnTo>
                <a:lnTo>
                  <a:pt x="26912" y="278307"/>
                </a:lnTo>
                <a:lnTo>
                  <a:pt x="24990" y="267908"/>
                </a:lnTo>
                <a:lnTo>
                  <a:pt x="22925" y="257388"/>
                </a:lnTo>
                <a:lnTo>
                  <a:pt x="20860" y="246806"/>
                </a:lnTo>
                <a:lnTo>
                  <a:pt x="18796" y="236163"/>
                </a:lnTo>
                <a:lnTo>
                  <a:pt x="16731" y="225459"/>
                </a:lnTo>
                <a:lnTo>
                  <a:pt x="14666" y="214694"/>
                </a:lnTo>
                <a:lnTo>
                  <a:pt x="12673" y="203928"/>
                </a:lnTo>
                <a:lnTo>
                  <a:pt x="10679" y="193163"/>
                </a:lnTo>
                <a:lnTo>
                  <a:pt x="8899" y="182337"/>
                </a:lnTo>
                <a:lnTo>
                  <a:pt x="7119" y="171571"/>
                </a:lnTo>
                <a:lnTo>
                  <a:pt x="5553" y="160806"/>
                </a:lnTo>
                <a:lnTo>
                  <a:pt x="4129" y="150041"/>
                </a:lnTo>
                <a:lnTo>
                  <a:pt x="2847" y="139337"/>
                </a:lnTo>
                <a:lnTo>
                  <a:pt x="1779" y="128694"/>
                </a:lnTo>
                <a:lnTo>
                  <a:pt x="925" y="118112"/>
                </a:lnTo>
                <a:lnTo>
                  <a:pt x="355" y="107591"/>
                </a:lnTo>
                <a:lnTo>
                  <a:pt x="71" y="97132"/>
                </a:lnTo>
                <a:lnTo>
                  <a:pt x="0" y="86795"/>
                </a:lnTo>
                <a:lnTo>
                  <a:pt x="284" y="76580"/>
                </a:lnTo>
                <a:lnTo>
                  <a:pt x="925" y="66487"/>
                </a:lnTo>
                <a:lnTo>
                  <a:pt x="1922" y="56456"/>
                </a:lnTo>
                <a:lnTo>
                  <a:pt x="3275" y="46669"/>
                </a:lnTo>
                <a:lnTo>
                  <a:pt x="5054" y="36944"/>
                </a:lnTo>
                <a:lnTo>
                  <a:pt x="7262" y="27463"/>
                </a:lnTo>
                <a:lnTo>
                  <a:pt x="9896" y="18105"/>
                </a:lnTo>
                <a:lnTo>
                  <a:pt x="12957" y="8930"/>
                </a:lnTo>
                <a:lnTo>
                  <a:pt x="16588" y="0"/>
                </a:lnTo>
              </a:path>
            </a:pathLst>
          </a:custGeom>
          <a:ln w="67">
            <a:solidFill>
              <a:srgbClr val="000000"/>
            </a:solidFill>
          </a:ln>
        </p:spPr>
        <p:txBody>
          <a:bodyPr wrap="square" lIns="0" tIns="0" rIns="0" bIns="0" rtlCol="0">
            <a:noAutofit/>
          </a:bodyPr>
          <a:lstStyle/>
          <a:p>
            <a:endParaRPr/>
          </a:p>
        </p:txBody>
      </p:sp>
      <p:sp>
        <p:nvSpPr>
          <p:cNvPr id="648" name="object 648"/>
          <p:cNvSpPr/>
          <p:nvPr/>
        </p:nvSpPr>
        <p:spPr>
          <a:xfrm>
            <a:off x="9141720" y="4396280"/>
            <a:ext cx="178918" cy="59637"/>
          </a:xfrm>
          <a:custGeom>
            <a:avLst/>
            <a:gdLst/>
            <a:ahLst/>
            <a:cxnLst/>
            <a:rect l="l" t="t" r="r" b="b"/>
            <a:pathLst>
              <a:path w="178918" h="59637">
                <a:moveTo>
                  <a:pt x="1423" y="49422"/>
                </a:moveTo>
                <a:lnTo>
                  <a:pt x="1423" y="50523"/>
                </a:lnTo>
                <a:lnTo>
                  <a:pt x="1495" y="51624"/>
                </a:lnTo>
                <a:lnTo>
                  <a:pt x="1495" y="52664"/>
                </a:lnTo>
                <a:lnTo>
                  <a:pt x="4058" y="52052"/>
                </a:lnTo>
                <a:lnTo>
                  <a:pt x="6621" y="51563"/>
                </a:lnTo>
                <a:lnTo>
                  <a:pt x="9184" y="51257"/>
                </a:lnTo>
                <a:lnTo>
                  <a:pt x="11747" y="51073"/>
                </a:lnTo>
                <a:lnTo>
                  <a:pt x="14310" y="51012"/>
                </a:lnTo>
                <a:lnTo>
                  <a:pt x="16873" y="51073"/>
                </a:lnTo>
                <a:lnTo>
                  <a:pt x="19436" y="51257"/>
                </a:lnTo>
                <a:lnTo>
                  <a:pt x="21928" y="51502"/>
                </a:lnTo>
                <a:lnTo>
                  <a:pt x="24491" y="51807"/>
                </a:lnTo>
                <a:lnTo>
                  <a:pt x="27054" y="52236"/>
                </a:lnTo>
                <a:lnTo>
                  <a:pt x="29546" y="52725"/>
                </a:lnTo>
                <a:lnTo>
                  <a:pt x="32109" y="53214"/>
                </a:lnTo>
                <a:lnTo>
                  <a:pt x="34601" y="53765"/>
                </a:lnTo>
                <a:lnTo>
                  <a:pt x="37093" y="54376"/>
                </a:lnTo>
                <a:lnTo>
                  <a:pt x="39585" y="54927"/>
                </a:lnTo>
                <a:lnTo>
                  <a:pt x="42077" y="55539"/>
                </a:lnTo>
                <a:lnTo>
                  <a:pt x="44498" y="56150"/>
                </a:lnTo>
                <a:lnTo>
                  <a:pt x="46990" y="56762"/>
                </a:lnTo>
                <a:lnTo>
                  <a:pt x="49410" y="57312"/>
                </a:lnTo>
                <a:lnTo>
                  <a:pt x="51831" y="57802"/>
                </a:lnTo>
                <a:lnTo>
                  <a:pt x="54180" y="58291"/>
                </a:lnTo>
                <a:lnTo>
                  <a:pt x="56601" y="58719"/>
                </a:lnTo>
                <a:lnTo>
                  <a:pt x="58951" y="59086"/>
                </a:lnTo>
                <a:lnTo>
                  <a:pt x="61300" y="59331"/>
                </a:lnTo>
                <a:lnTo>
                  <a:pt x="63578" y="59514"/>
                </a:lnTo>
                <a:lnTo>
                  <a:pt x="65928" y="59637"/>
                </a:lnTo>
                <a:lnTo>
                  <a:pt x="68135" y="59576"/>
                </a:lnTo>
                <a:lnTo>
                  <a:pt x="70413" y="59453"/>
                </a:lnTo>
                <a:lnTo>
                  <a:pt x="72621" y="59147"/>
                </a:lnTo>
                <a:lnTo>
                  <a:pt x="74828" y="58780"/>
                </a:lnTo>
                <a:lnTo>
                  <a:pt x="76964" y="58169"/>
                </a:lnTo>
                <a:lnTo>
                  <a:pt x="79099" y="57435"/>
                </a:lnTo>
                <a:lnTo>
                  <a:pt x="83015" y="56028"/>
                </a:lnTo>
                <a:lnTo>
                  <a:pt x="86789" y="54805"/>
                </a:lnTo>
                <a:lnTo>
                  <a:pt x="90633" y="53826"/>
                </a:lnTo>
                <a:lnTo>
                  <a:pt x="94336" y="53031"/>
                </a:lnTo>
                <a:lnTo>
                  <a:pt x="97967" y="52419"/>
                </a:lnTo>
                <a:lnTo>
                  <a:pt x="101598" y="51991"/>
                </a:lnTo>
                <a:lnTo>
                  <a:pt x="105158" y="51624"/>
                </a:lnTo>
                <a:lnTo>
                  <a:pt x="108646" y="51440"/>
                </a:lnTo>
                <a:lnTo>
                  <a:pt x="112135" y="51318"/>
                </a:lnTo>
                <a:lnTo>
                  <a:pt x="115552" y="51257"/>
                </a:lnTo>
                <a:lnTo>
                  <a:pt x="118899" y="51318"/>
                </a:lnTo>
                <a:lnTo>
                  <a:pt x="122174" y="51440"/>
                </a:lnTo>
                <a:lnTo>
                  <a:pt x="125449" y="51563"/>
                </a:lnTo>
                <a:lnTo>
                  <a:pt x="128653" y="51685"/>
                </a:lnTo>
                <a:lnTo>
                  <a:pt x="131785" y="51807"/>
                </a:lnTo>
                <a:lnTo>
                  <a:pt x="134918" y="51930"/>
                </a:lnTo>
                <a:lnTo>
                  <a:pt x="137979" y="52052"/>
                </a:lnTo>
                <a:lnTo>
                  <a:pt x="143960" y="52052"/>
                </a:lnTo>
                <a:lnTo>
                  <a:pt x="146879" y="51930"/>
                </a:lnTo>
                <a:lnTo>
                  <a:pt x="149798" y="51685"/>
                </a:lnTo>
                <a:lnTo>
                  <a:pt x="152646" y="51318"/>
                </a:lnTo>
                <a:lnTo>
                  <a:pt x="155423" y="50829"/>
                </a:lnTo>
                <a:lnTo>
                  <a:pt x="158199" y="50156"/>
                </a:lnTo>
                <a:lnTo>
                  <a:pt x="160905" y="49361"/>
                </a:lnTo>
                <a:lnTo>
                  <a:pt x="163610" y="48321"/>
                </a:lnTo>
                <a:lnTo>
                  <a:pt x="166245" y="47098"/>
                </a:lnTo>
                <a:lnTo>
                  <a:pt x="168879" y="45691"/>
                </a:lnTo>
                <a:lnTo>
                  <a:pt x="171442" y="43978"/>
                </a:lnTo>
                <a:lnTo>
                  <a:pt x="173934" y="42021"/>
                </a:lnTo>
                <a:lnTo>
                  <a:pt x="176426" y="39758"/>
                </a:lnTo>
                <a:lnTo>
                  <a:pt x="178918" y="37250"/>
                </a:lnTo>
                <a:lnTo>
                  <a:pt x="178918" y="35965"/>
                </a:lnTo>
                <a:lnTo>
                  <a:pt x="178847" y="34742"/>
                </a:lnTo>
                <a:lnTo>
                  <a:pt x="178847" y="31133"/>
                </a:lnTo>
                <a:lnTo>
                  <a:pt x="178775" y="29971"/>
                </a:lnTo>
                <a:lnTo>
                  <a:pt x="178775" y="25384"/>
                </a:lnTo>
                <a:lnTo>
                  <a:pt x="178704" y="24221"/>
                </a:lnTo>
                <a:lnTo>
                  <a:pt x="178704" y="20674"/>
                </a:lnTo>
                <a:lnTo>
                  <a:pt x="178633" y="19450"/>
                </a:lnTo>
                <a:lnTo>
                  <a:pt x="178633" y="18227"/>
                </a:lnTo>
                <a:lnTo>
                  <a:pt x="178562" y="17065"/>
                </a:lnTo>
                <a:lnTo>
                  <a:pt x="178562" y="15903"/>
                </a:lnTo>
                <a:lnTo>
                  <a:pt x="178491" y="14679"/>
                </a:lnTo>
                <a:lnTo>
                  <a:pt x="178419" y="13517"/>
                </a:lnTo>
                <a:lnTo>
                  <a:pt x="178348" y="12416"/>
                </a:lnTo>
                <a:lnTo>
                  <a:pt x="178348" y="11254"/>
                </a:lnTo>
                <a:lnTo>
                  <a:pt x="178277" y="10092"/>
                </a:lnTo>
                <a:lnTo>
                  <a:pt x="178206" y="8930"/>
                </a:lnTo>
                <a:lnTo>
                  <a:pt x="178135" y="7829"/>
                </a:lnTo>
                <a:lnTo>
                  <a:pt x="178063" y="6667"/>
                </a:lnTo>
                <a:lnTo>
                  <a:pt x="177992" y="5566"/>
                </a:lnTo>
                <a:lnTo>
                  <a:pt x="177921" y="4465"/>
                </a:lnTo>
                <a:lnTo>
                  <a:pt x="177850" y="3302"/>
                </a:lnTo>
                <a:lnTo>
                  <a:pt x="177850" y="2201"/>
                </a:lnTo>
                <a:lnTo>
                  <a:pt x="177779" y="1100"/>
                </a:lnTo>
                <a:lnTo>
                  <a:pt x="177707" y="0"/>
                </a:lnTo>
                <a:lnTo>
                  <a:pt x="175215" y="2630"/>
                </a:lnTo>
                <a:lnTo>
                  <a:pt x="172652" y="4954"/>
                </a:lnTo>
                <a:lnTo>
                  <a:pt x="170018" y="7034"/>
                </a:lnTo>
                <a:lnTo>
                  <a:pt x="167384" y="8746"/>
                </a:lnTo>
                <a:lnTo>
                  <a:pt x="164678" y="10275"/>
                </a:lnTo>
                <a:lnTo>
                  <a:pt x="161902" y="11499"/>
                </a:lnTo>
                <a:lnTo>
                  <a:pt x="159054" y="12539"/>
                </a:lnTo>
                <a:lnTo>
                  <a:pt x="156206" y="13334"/>
                </a:lnTo>
                <a:lnTo>
                  <a:pt x="153287" y="14007"/>
                </a:lnTo>
                <a:lnTo>
                  <a:pt x="150368" y="14496"/>
                </a:lnTo>
                <a:lnTo>
                  <a:pt x="147377" y="14802"/>
                </a:lnTo>
                <a:lnTo>
                  <a:pt x="144316" y="14985"/>
                </a:lnTo>
                <a:lnTo>
                  <a:pt x="141254" y="15108"/>
                </a:lnTo>
                <a:lnTo>
                  <a:pt x="138122" y="15108"/>
                </a:lnTo>
                <a:lnTo>
                  <a:pt x="134989" y="14985"/>
                </a:lnTo>
                <a:lnTo>
                  <a:pt x="131785" y="14863"/>
                </a:lnTo>
                <a:lnTo>
                  <a:pt x="128581" y="14741"/>
                </a:lnTo>
                <a:lnTo>
                  <a:pt x="125306" y="14557"/>
                </a:lnTo>
                <a:lnTo>
                  <a:pt x="122031" y="14374"/>
                </a:lnTo>
                <a:lnTo>
                  <a:pt x="118685" y="14251"/>
                </a:lnTo>
                <a:lnTo>
                  <a:pt x="115339" y="14129"/>
                </a:lnTo>
                <a:lnTo>
                  <a:pt x="111992" y="14068"/>
                </a:lnTo>
                <a:lnTo>
                  <a:pt x="108575" y="14129"/>
                </a:lnTo>
                <a:lnTo>
                  <a:pt x="105158" y="14251"/>
                </a:lnTo>
                <a:lnTo>
                  <a:pt x="101740" y="14496"/>
                </a:lnTo>
                <a:lnTo>
                  <a:pt x="98323" y="14863"/>
                </a:lnTo>
                <a:lnTo>
                  <a:pt x="94834" y="15413"/>
                </a:lnTo>
                <a:lnTo>
                  <a:pt x="91345" y="16147"/>
                </a:lnTo>
                <a:lnTo>
                  <a:pt x="87785" y="17065"/>
                </a:lnTo>
                <a:lnTo>
                  <a:pt x="84297" y="18166"/>
                </a:lnTo>
                <a:lnTo>
                  <a:pt x="80737" y="19512"/>
                </a:lnTo>
                <a:lnTo>
                  <a:pt x="77177" y="21102"/>
                </a:lnTo>
                <a:lnTo>
                  <a:pt x="75255" y="21958"/>
                </a:lnTo>
                <a:lnTo>
                  <a:pt x="73261" y="22631"/>
                </a:lnTo>
                <a:lnTo>
                  <a:pt x="71197" y="23182"/>
                </a:lnTo>
                <a:lnTo>
                  <a:pt x="69061" y="23549"/>
                </a:lnTo>
                <a:lnTo>
                  <a:pt x="66925" y="23793"/>
                </a:lnTo>
                <a:lnTo>
                  <a:pt x="64718" y="23977"/>
                </a:lnTo>
                <a:lnTo>
                  <a:pt x="62439" y="23977"/>
                </a:lnTo>
                <a:lnTo>
                  <a:pt x="60161" y="23916"/>
                </a:lnTo>
                <a:lnTo>
                  <a:pt x="57812" y="23732"/>
                </a:lnTo>
                <a:lnTo>
                  <a:pt x="55391" y="23487"/>
                </a:lnTo>
                <a:lnTo>
                  <a:pt x="53041" y="23182"/>
                </a:lnTo>
                <a:lnTo>
                  <a:pt x="50549" y="22815"/>
                </a:lnTo>
                <a:lnTo>
                  <a:pt x="48129" y="22325"/>
                </a:lnTo>
                <a:lnTo>
                  <a:pt x="45637" y="21897"/>
                </a:lnTo>
                <a:lnTo>
                  <a:pt x="43074" y="21347"/>
                </a:lnTo>
                <a:lnTo>
                  <a:pt x="40582" y="20796"/>
                </a:lnTo>
                <a:lnTo>
                  <a:pt x="38019" y="20307"/>
                </a:lnTo>
                <a:lnTo>
                  <a:pt x="35456" y="19695"/>
                </a:lnTo>
                <a:lnTo>
                  <a:pt x="32893" y="19206"/>
                </a:lnTo>
                <a:lnTo>
                  <a:pt x="30329" y="18655"/>
                </a:lnTo>
                <a:lnTo>
                  <a:pt x="27766" y="18166"/>
                </a:lnTo>
                <a:lnTo>
                  <a:pt x="25132" y="17677"/>
                </a:lnTo>
                <a:lnTo>
                  <a:pt x="22569" y="17248"/>
                </a:lnTo>
                <a:lnTo>
                  <a:pt x="20006" y="16881"/>
                </a:lnTo>
                <a:lnTo>
                  <a:pt x="17443" y="16576"/>
                </a:lnTo>
                <a:lnTo>
                  <a:pt x="14880" y="16331"/>
                </a:lnTo>
                <a:lnTo>
                  <a:pt x="12388" y="16209"/>
                </a:lnTo>
                <a:lnTo>
                  <a:pt x="9825" y="16147"/>
                </a:lnTo>
                <a:lnTo>
                  <a:pt x="7333" y="16209"/>
                </a:lnTo>
                <a:lnTo>
                  <a:pt x="4841" y="16331"/>
                </a:lnTo>
                <a:lnTo>
                  <a:pt x="2420" y="16637"/>
                </a:lnTo>
                <a:lnTo>
                  <a:pt x="0" y="17065"/>
                </a:lnTo>
                <a:lnTo>
                  <a:pt x="71" y="18166"/>
                </a:lnTo>
                <a:lnTo>
                  <a:pt x="71" y="19267"/>
                </a:lnTo>
                <a:lnTo>
                  <a:pt x="142" y="20368"/>
                </a:lnTo>
                <a:lnTo>
                  <a:pt x="213" y="21469"/>
                </a:lnTo>
                <a:lnTo>
                  <a:pt x="213" y="22570"/>
                </a:lnTo>
                <a:lnTo>
                  <a:pt x="284" y="23732"/>
                </a:lnTo>
                <a:lnTo>
                  <a:pt x="355" y="24833"/>
                </a:lnTo>
                <a:lnTo>
                  <a:pt x="427" y="25934"/>
                </a:lnTo>
                <a:lnTo>
                  <a:pt x="427" y="27096"/>
                </a:lnTo>
                <a:lnTo>
                  <a:pt x="498" y="28197"/>
                </a:lnTo>
                <a:lnTo>
                  <a:pt x="569" y="29359"/>
                </a:lnTo>
                <a:lnTo>
                  <a:pt x="569" y="30460"/>
                </a:lnTo>
                <a:lnTo>
                  <a:pt x="640" y="31623"/>
                </a:lnTo>
                <a:lnTo>
                  <a:pt x="711" y="32785"/>
                </a:lnTo>
                <a:lnTo>
                  <a:pt x="711" y="33947"/>
                </a:lnTo>
                <a:lnTo>
                  <a:pt x="783" y="35109"/>
                </a:lnTo>
                <a:lnTo>
                  <a:pt x="854" y="36210"/>
                </a:lnTo>
                <a:lnTo>
                  <a:pt x="854" y="37372"/>
                </a:lnTo>
                <a:lnTo>
                  <a:pt x="925" y="38473"/>
                </a:lnTo>
                <a:lnTo>
                  <a:pt x="996" y="39574"/>
                </a:lnTo>
                <a:lnTo>
                  <a:pt x="1067" y="40675"/>
                </a:lnTo>
                <a:lnTo>
                  <a:pt x="1067" y="41776"/>
                </a:lnTo>
                <a:lnTo>
                  <a:pt x="1139" y="42877"/>
                </a:lnTo>
                <a:lnTo>
                  <a:pt x="1210" y="43978"/>
                </a:lnTo>
                <a:lnTo>
                  <a:pt x="1210" y="45079"/>
                </a:lnTo>
                <a:lnTo>
                  <a:pt x="1281" y="46180"/>
                </a:lnTo>
                <a:lnTo>
                  <a:pt x="1352" y="47281"/>
                </a:lnTo>
                <a:lnTo>
                  <a:pt x="1352" y="48382"/>
                </a:lnTo>
                <a:lnTo>
                  <a:pt x="1423" y="49422"/>
                </a:lnTo>
                <a:close/>
              </a:path>
            </a:pathLst>
          </a:custGeom>
          <a:solidFill>
            <a:srgbClr val="E4E4E4"/>
          </a:solidFill>
        </p:spPr>
        <p:txBody>
          <a:bodyPr wrap="square" lIns="0" tIns="0" rIns="0" bIns="0" rtlCol="0">
            <a:noAutofit/>
          </a:bodyPr>
          <a:lstStyle/>
          <a:p>
            <a:endParaRPr/>
          </a:p>
        </p:txBody>
      </p:sp>
      <p:sp>
        <p:nvSpPr>
          <p:cNvPr id="649" name="object 649"/>
          <p:cNvSpPr/>
          <p:nvPr/>
        </p:nvSpPr>
        <p:spPr>
          <a:xfrm>
            <a:off x="9141720" y="4396280"/>
            <a:ext cx="178918" cy="59637"/>
          </a:xfrm>
          <a:custGeom>
            <a:avLst/>
            <a:gdLst/>
            <a:ahLst/>
            <a:cxnLst/>
            <a:rect l="l" t="t" r="r" b="b"/>
            <a:pathLst>
              <a:path w="178918" h="59637">
                <a:moveTo>
                  <a:pt x="0" y="17065"/>
                </a:moveTo>
                <a:lnTo>
                  <a:pt x="2420" y="16637"/>
                </a:lnTo>
                <a:lnTo>
                  <a:pt x="4841" y="16331"/>
                </a:lnTo>
                <a:lnTo>
                  <a:pt x="7333" y="16209"/>
                </a:lnTo>
                <a:lnTo>
                  <a:pt x="9825" y="16147"/>
                </a:lnTo>
                <a:lnTo>
                  <a:pt x="12388" y="16209"/>
                </a:lnTo>
                <a:lnTo>
                  <a:pt x="14880" y="16331"/>
                </a:lnTo>
                <a:lnTo>
                  <a:pt x="17443" y="16576"/>
                </a:lnTo>
                <a:lnTo>
                  <a:pt x="20006" y="16881"/>
                </a:lnTo>
                <a:lnTo>
                  <a:pt x="22569" y="17248"/>
                </a:lnTo>
                <a:lnTo>
                  <a:pt x="25132" y="17677"/>
                </a:lnTo>
                <a:lnTo>
                  <a:pt x="27766" y="18166"/>
                </a:lnTo>
                <a:lnTo>
                  <a:pt x="30329" y="18655"/>
                </a:lnTo>
                <a:lnTo>
                  <a:pt x="32893" y="19206"/>
                </a:lnTo>
                <a:lnTo>
                  <a:pt x="35456" y="19695"/>
                </a:lnTo>
                <a:lnTo>
                  <a:pt x="38019" y="20307"/>
                </a:lnTo>
                <a:lnTo>
                  <a:pt x="40582" y="20796"/>
                </a:lnTo>
                <a:lnTo>
                  <a:pt x="43074" y="21347"/>
                </a:lnTo>
                <a:lnTo>
                  <a:pt x="45637" y="21897"/>
                </a:lnTo>
                <a:lnTo>
                  <a:pt x="48129" y="22325"/>
                </a:lnTo>
                <a:lnTo>
                  <a:pt x="50549" y="22815"/>
                </a:lnTo>
                <a:lnTo>
                  <a:pt x="53041" y="23182"/>
                </a:lnTo>
                <a:lnTo>
                  <a:pt x="55391" y="23487"/>
                </a:lnTo>
                <a:lnTo>
                  <a:pt x="57812" y="23732"/>
                </a:lnTo>
                <a:lnTo>
                  <a:pt x="60161" y="23916"/>
                </a:lnTo>
                <a:lnTo>
                  <a:pt x="62439" y="23977"/>
                </a:lnTo>
                <a:lnTo>
                  <a:pt x="64718" y="23977"/>
                </a:lnTo>
                <a:lnTo>
                  <a:pt x="66925" y="23793"/>
                </a:lnTo>
                <a:lnTo>
                  <a:pt x="69061" y="23549"/>
                </a:lnTo>
                <a:lnTo>
                  <a:pt x="71197" y="23182"/>
                </a:lnTo>
                <a:lnTo>
                  <a:pt x="73261" y="22631"/>
                </a:lnTo>
                <a:lnTo>
                  <a:pt x="75255" y="21958"/>
                </a:lnTo>
                <a:lnTo>
                  <a:pt x="77177" y="21102"/>
                </a:lnTo>
                <a:lnTo>
                  <a:pt x="80737" y="19512"/>
                </a:lnTo>
                <a:lnTo>
                  <a:pt x="84297" y="18166"/>
                </a:lnTo>
                <a:lnTo>
                  <a:pt x="87785" y="17065"/>
                </a:lnTo>
                <a:lnTo>
                  <a:pt x="91345" y="16147"/>
                </a:lnTo>
                <a:lnTo>
                  <a:pt x="94834" y="15413"/>
                </a:lnTo>
                <a:lnTo>
                  <a:pt x="98323" y="14863"/>
                </a:lnTo>
                <a:lnTo>
                  <a:pt x="101740" y="14496"/>
                </a:lnTo>
                <a:lnTo>
                  <a:pt x="105158" y="14251"/>
                </a:lnTo>
                <a:lnTo>
                  <a:pt x="108575" y="14129"/>
                </a:lnTo>
                <a:lnTo>
                  <a:pt x="111992" y="14068"/>
                </a:lnTo>
                <a:lnTo>
                  <a:pt x="115339" y="14129"/>
                </a:lnTo>
                <a:lnTo>
                  <a:pt x="118685" y="14251"/>
                </a:lnTo>
                <a:lnTo>
                  <a:pt x="122031" y="14374"/>
                </a:lnTo>
                <a:lnTo>
                  <a:pt x="125306" y="14557"/>
                </a:lnTo>
                <a:lnTo>
                  <a:pt x="128581" y="14741"/>
                </a:lnTo>
                <a:lnTo>
                  <a:pt x="131785" y="14863"/>
                </a:lnTo>
                <a:lnTo>
                  <a:pt x="134989" y="14985"/>
                </a:lnTo>
                <a:lnTo>
                  <a:pt x="138122" y="15108"/>
                </a:lnTo>
                <a:lnTo>
                  <a:pt x="141254" y="15108"/>
                </a:lnTo>
                <a:lnTo>
                  <a:pt x="144316" y="14985"/>
                </a:lnTo>
                <a:lnTo>
                  <a:pt x="147377" y="14802"/>
                </a:lnTo>
                <a:lnTo>
                  <a:pt x="150368" y="14496"/>
                </a:lnTo>
                <a:lnTo>
                  <a:pt x="153287" y="14007"/>
                </a:lnTo>
                <a:lnTo>
                  <a:pt x="156206" y="13334"/>
                </a:lnTo>
                <a:lnTo>
                  <a:pt x="159054" y="12539"/>
                </a:lnTo>
                <a:lnTo>
                  <a:pt x="161902" y="11499"/>
                </a:lnTo>
                <a:lnTo>
                  <a:pt x="164678" y="10275"/>
                </a:lnTo>
                <a:lnTo>
                  <a:pt x="167384" y="8746"/>
                </a:lnTo>
                <a:lnTo>
                  <a:pt x="170018" y="7034"/>
                </a:lnTo>
                <a:lnTo>
                  <a:pt x="172652" y="4954"/>
                </a:lnTo>
                <a:lnTo>
                  <a:pt x="175215" y="2630"/>
                </a:lnTo>
                <a:lnTo>
                  <a:pt x="177707" y="0"/>
                </a:lnTo>
                <a:lnTo>
                  <a:pt x="177779" y="1100"/>
                </a:lnTo>
                <a:lnTo>
                  <a:pt x="177850" y="2201"/>
                </a:lnTo>
                <a:lnTo>
                  <a:pt x="177850" y="3302"/>
                </a:lnTo>
                <a:lnTo>
                  <a:pt x="177921" y="4465"/>
                </a:lnTo>
                <a:lnTo>
                  <a:pt x="177992" y="5566"/>
                </a:lnTo>
                <a:lnTo>
                  <a:pt x="178063" y="6667"/>
                </a:lnTo>
                <a:lnTo>
                  <a:pt x="178135" y="7829"/>
                </a:lnTo>
                <a:lnTo>
                  <a:pt x="178206" y="8930"/>
                </a:lnTo>
                <a:lnTo>
                  <a:pt x="178277" y="10092"/>
                </a:lnTo>
                <a:lnTo>
                  <a:pt x="178348" y="11254"/>
                </a:lnTo>
                <a:lnTo>
                  <a:pt x="178348" y="12416"/>
                </a:lnTo>
                <a:lnTo>
                  <a:pt x="178419" y="13517"/>
                </a:lnTo>
                <a:lnTo>
                  <a:pt x="178491" y="14679"/>
                </a:lnTo>
                <a:lnTo>
                  <a:pt x="178562" y="15903"/>
                </a:lnTo>
                <a:lnTo>
                  <a:pt x="178562" y="17065"/>
                </a:lnTo>
                <a:lnTo>
                  <a:pt x="178633" y="18227"/>
                </a:lnTo>
                <a:lnTo>
                  <a:pt x="178633" y="19450"/>
                </a:lnTo>
                <a:lnTo>
                  <a:pt x="178704" y="20674"/>
                </a:lnTo>
                <a:lnTo>
                  <a:pt x="178704" y="21836"/>
                </a:lnTo>
                <a:lnTo>
                  <a:pt x="178704" y="23059"/>
                </a:lnTo>
                <a:lnTo>
                  <a:pt x="178704" y="24221"/>
                </a:lnTo>
                <a:lnTo>
                  <a:pt x="178775" y="25384"/>
                </a:lnTo>
                <a:lnTo>
                  <a:pt x="178775" y="26485"/>
                </a:lnTo>
                <a:lnTo>
                  <a:pt x="178775" y="27647"/>
                </a:lnTo>
                <a:lnTo>
                  <a:pt x="178775" y="28809"/>
                </a:lnTo>
                <a:lnTo>
                  <a:pt x="178775" y="29971"/>
                </a:lnTo>
                <a:lnTo>
                  <a:pt x="178847" y="31133"/>
                </a:lnTo>
                <a:lnTo>
                  <a:pt x="178847" y="32357"/>
                </a:lnTo>
                <a:lnTo>
                  <a:pt x="178847" y="33519"/>
                </a:lnTo>
                <a:lnTo>
                  <a:pt x="178847" y="34742"/>
                </a:lnTo>
                <a:lnTo>
                  <a:pt x="178918" y="35965"/>
                </a:lnTo>
                <a:lnTo>
                  <a:pt x="178918" y="37250"/>
                </a:lnTo>
                <a:lnTo>
                  <a:pt x="176426" y="39758"/>
                </a:lnTo>
                <a:lnTo>
                  <a:pt x="173934" y="42021"/>
                </a:lnTo>
                <a:lnTo>
                  <a:pt x="171442" y="43978"/>
                </a:lnTo>
                <a:lnTo>
                  <a:pt x="168879" y="45691"/>
                </a:lnTo>
                <a:lnTo>
                  <a:pt x="166245" y="47098"/>
                </a:lnTo>
                <a:lnTo>
                  <a:pt x="163610" y="48321"/>
                </a:lnTo>
                <a:lnTo>
                  <a:pt x="160905" y="49361"/>
                </a:lnTo>
                <a:lnTo>
                  <a:pt x="158199" y="50156"/>
                </a:lnTo>
                <a:lnTo>
                  <a:pt x="155423" y="50829"/>
                </a:lnTo>
                <a:lnTo>
                  <a:pt x="152646" y="51318"/>
                </a:lnTo>
                <a:lnTo>
                  <a:pt x="149798" y="51685"/>
                </a:lnTo>
                <a:lnTo>
                  <a:pt x="146879" y="51930"/>
                </a:lnTo>
                <a:lnTo>
                  <a:pt x="143960" y="52052"/>
                </a:lnTo>
                <a:lnTo>
                  <a:pt x="140970" y="52052"/>
                </a:lnTo>
                <a:lnTo>
                  <a:pt x="137979" y="52052"/>
                </a:lnTo>
                <a:lnTo>
                  <a:pt x="134918" y="51930"/>
                </a:lnTo>
                <a:lnTo>
                  <a:pt x="131785" y="51807"/>
                </a:lnTo>
                <a:lnTo>
                  <a:pt x="128653" y="51685"/>
                </a:lnTo>
                <a:lnTo>
                  <a:pt x="125449" y="51563"/>
                </a:lnTo>
                <a:lnTo>
                  <a:pt x="122174" y="51440"/>
                </a:lnTo>
                <a:lnTo>
                  <a:pt x="118899" y="51318"/>
                </a:lnTo>
                <a:lnTo>
                  <a:pt x="115552" y="51257"/>
                </a:lnTo>
                <a:lnTo>
                  <a:pt x="112135" y="51318"/>
                </a:lnTo>
                <a:lnTo>
                  <a:pt x="108646" y="51440"/>
                </a:lnTo>
                <a:lnTo>
                  <a:pt x="105158" y="51624"/>
                </a:lnTo>
                <a:lnTo>
                  <a:pt x="101598" y="51991"/>
                </a:lnTo>
                <a:lnTo>
                  <a:pt x="97967" y="52419"/>
                </a:lnTo>
                <a:lnTo>
                  <a:pt x="94336" y="53031"/>
                </a:lnTo>
                <a:lnTo>
                  <a:pt x="90633" y="53826"/>
                </a:lnTo>
                <a:lnTo>
                  <a:pt x="86789" y="54805"/>
                </a:lnTo>
                <a:lnTo>
                  <a:pt x="83015" y="56028"/>
                </a:lnTo>
                <a:lnTo>
                  <a:pt x="79099" y="57435"/>
                </a:lnTo>
                <a:lnTo>
                  <a:pt x="76964" y="58169"/>
                </a:lnTo>
                <a:lnTo>
                  <a:pt x="74828" y="58780"/>
                </a:lnTo>
                <a:lnTo>
                  <a:pt x="72621" y="59147"/>
                </a:lnTo>
                <a:lnTo>
                  <a:pt x="70413" y="59453"/>
                </a:lnTo>
                <a:lnTo>
                  <a:pt x="68135" y="59576"/>
                </a:lnTo>
                <a:lnTo>
                  <a:pt x="65928" y="59637"/>
                </a:lnTo>
                <a:lnTo>
                  <a:pt x="63578" y="59514"/>
                </a:lnTo>
                <a:lnTo>
                  <a:pt x="61300" y="59331"/>
                </a:lnTo>
                <a:lnTo>
                  <a:pt x="58951" y="59086"/>
                </a:lnTo>
                <a:lnTo>
                  <a:pt x="56601" y="58719"/>
                </a:lnTo>
                <a:lnTo>
                  <a:pt x="54180" y="58291"/>
                </a:lnTo>
                <a:lnTo>
                  <a:pt x="51831" y="57802"/>
                </a:lnTo>
                <a:lnTo>
                  <a:pt x="49410" y="57312"/>
                </a:lnTo>
                <a:lnTo>
                  <a:pt x="46990" y="56762"/>
                </a:lnTo>
                <a:lnTo>
                  <a:pt x="44498" y="56150"/>
                </a:lnTo>
                <a:lnTo>
                  <a:pt x="42077" y="55539"/>
                </a:lnTo>
                <a:lnTo>
                  <a:pt x="39585" y="54927"/>
                </a:lnTo>
                <a:lnTo>
                  <a:pt x="37093" y="54376"/>
                </a:lnTo>
                <a:lnTo>
                  <a:pt x="34601" y="53765"/>
                </a:lnTo>
                <a:lnTo>
                  <a:pt x="32109" y="53214"/>
                </a:lnTo>
                <a:lnTo>
                  <a:pt x="29546" y="52725"/>
                </a:lnTo>
                <a:lnTo>
                  <a:pt x="27054" y="52236"/>
                </a:lnTo>
                <a:lnTo>
                  <a:pt x="24491" y="51807"/>
                </a:lnTo>
                <a:lnTo>
                  <a:pt x="21928" y="51502"/>
                </a:lnTo>
                <a:lnTo>
                  <a:pt x="19436" y="51257"/>
                </a:lnTo>
                <a:lnTo>
                  <a:pt x="16873" y="51073"/>
                </a:lnTo>
                <a:lnTo>
                  <a:pt x="14310" y="51012"/>
                </a:lnTo>
                <a:lnTo>
                  <a:pt x="11747" y="51073"/>
                </a:lnTo>
                <a:lnTo>
                  <a:pt x="9184" y="51257"/>
                </a:lnTo>
                <a:lnTo>
                  <a:pt x="6621" y="51563"/>
                </a:lnTo>
                <a:lnTo>
                  <a:pt x="4058" y="52052"/>
                </a:lnTo>
                <a:lnTo>
                  <a:pt x="1495" y="52664"/>
                </a:lnTo>
                <a:lnTo>
                  <a:pt x="1495" y="51624"/>
                </a:lnTo>
                <a:lnTo>
                  <a:pt x="1423" y="50523"/>
                </a:lnTo>
                <a:lnTo>
                  <a:pt x="1423" y="49422"/>
                </a:lnTo>
                <a:lnTo>
                  <a:pt x="1352" y="48382"/>
                </a:lnTo>
                <a:lnTo>
                  <a:pt x="1352" y="47281"/>
                </a:lnTo>
                <a:lnTo>
                  <a:pt x="1281" y="46180"/>
                </a:lnTo>
                <a:lnTo>
                  <a:pt x="1210" y="45079"/>
                </a:lnTo>
                <a:lnTo>
                  <a:pt x="1210" y="43978"/>
                </a:lnTo>
                <a:lnTo>
                  <a:pt x="1139" y="42877"/>
                </a:lnTo>
                <a:lnTo>
                  <a:pt x="1067" y="41776"/>
                </a:lnTo>
                <a:lnTo>
                  <a:pt x="1067" y="40675"/>
                </a:lnTo>
                <a:lnTo>
                  <a:pt x="996" y="39574"/>
                </a:lnTo>
                <a:lnTo>
                  <a:pt x="925" y="38473"/>
                </a:lnTo>
                <a:lnTo>
                  <a:pt x="854" y="37372"/>
                </a:lnTo>
                <a:lnTo>
                  <a:pt x="854" y="36210"/>
                </a:lnTo>
                <a:lnTo>
                  <a:pt x="783" y="35109"/>
                </a:lnTo>
                <a:lnTo>
                  <a:pt x="711" y="33947"/>
                </a:lnTo>
                <a:lnTo>
                  <a:pt x="711" y="32785"/>
                </a:lnTo>
                <a:lnTo>
                  <a:pt x="640" y="31623"/>
                </a:lnTo>
                <a:lnTo>
                  <a:pt x="569" y="30460"/>
                </a:lnTo>
                <a:lnTo>
                  <a:pt x="569" y="29359"/>
                </a:lnTo>
                <a:lnTo>
                  <a:pt x="498" y="28197"/>
                </a:lnTo>
                <a:lnTo>
                  <a:pt x="427" y="27096"/>
                </a:lnTo>
                <a:lnTo>
                  <a:pt x="427" y="25934"/>
                </a:lnTo>
                <a:lnTo>
                  <a:pt x="355" y="24833"/>
                </a:lnTo>
                <a:lnTo>
                  <a:pt x="284" y="23732"/>
                </a:lnTo>
                <a:lnTo>
                  <a:pt x="213" y="22570"/>
                </a:lnTo>
                <a:lnTo>
                  <a:pt x="213" y="21469"/>
                </a:lnTo>
                <a:lnTo>
                  <a:pt x="142" y="20368"/>
                </a:lnTo>
                <a:lnTo>
                  <a:pt x="71" y="19267"/>
                </a:lnTo>
                <a:lnTo>
                  <a:pt x="71" y="18166"/>
                </a:lnTo>
                <a:lnTo>
                  <a:pt x="0" y="17065"/>
                </a:lnTo>
              </a:path>
            </a:pathLst>
          </a:custGeom>
          <a:ln w="62">
            <a:solidFill>
              <a:srgbClr val="000000"/>
            </a:solidFill>
          </a:ln>
        </p:spPr>
        <p:txBody>
          <a:bodyPr wrap="square" lIns="0" tIns="0" rIns="0" bIns="0" rtlCol="0">
            <a:noAutofit/>
          </a:bodyPr>
          <a:lstStyle/>
          <a:p>
            <a:endParaRPr/>
          </a:p>
        </p:txBody>
      </p:sp>
      <p:sp>
        <p:nvSpPr>
          <p:cNvPr id="650" name="object 650"/>
          <p:cNvSpPr/>
          <p:nvPr/>
        </p:nvSpPr>
        <p:spPr>
          <a:xfrm>
            <a:off x="9250936" y="4418789"/>
            <a:ext cx="22142" cy="22753"/>
          </a:xfrm>
          <a:custGeom>
            <a:avLst/>
            <a:gdLst/>
            <a:ahLst/>
            <a:cxnLst/>
            <a:rect l="l" t="t" r="r" b="b"/>
            <a:pathLst>
              <a:path w="22142" h="22753">
                <a:moveTo>
                  <a:pt x="21643" y="16209"/>
                </a:moveTo>
                <a:lnTo>
                  <a:pt x="21572" y="15780"/>
                </a:lnTo>
                <a:lnTo>
                  <a:pt x="21572" y="14802"/>
                </a:lnTo>
                <a:lnTo>
                  <a:pt x="22142" y="7034"/>
                </a:lnTo>
                <a:lnTo>
                  <a:pt x="22142" y="5076"/>
                </a:lnTo>
                <a:lnTo>
                  <a:pt x="22071" y="4465"/>
                </a:lnTo>
                <a:lnTo>
                  <a:pt x="21999" y="3914"/>
                </a:lnTo>
                <a:lnTo>
                  <a:pt x="21857" y="3364"/>
                </a:lnTo>
                <a:lnTo>
                  <a:pt x="21715" y="2813"/>
                </a:lnTo>
                <a:lnTo>
                  <a:pt x="21572" y="2324"/>
                </a:lnTo>
                <a:lnTo>
                  <a:pt x="21430" y="1834"/>
                </a:lnTo>
                <a:lnTo>
                  <a:pt x="21145" y="1406"/>
                </a:lnTo>
                <a:lnTo>
                  <a:pt x="20860" y="1039"/>
                </a:lnTo>
                <a:lnTo>
                  <a:pt x="20504" y="733"/>
                </a:lnTo>
                <a:lnTo>
                  <a:pt x="20077" y="489"/>
                </a:lnTo>
                <a:lnTo>
                  <a:pt x="19579" y="244"/>
                </a:lnTo>
                <a:lnTo>
                  <a:pt x="19009" y="122"/>
                </a:lnTo>
                <a:lnTo>
                  <a:pt x="18440" y="61"/>
                </a:lnTo>
                <a:lnTo>
                  <a:pt x="17870" y="61"/>
                </a:lnTo>
                <a:lnTo>
                  <a:pt x="17300" y="122"/>
                </a:lnTo>
                <a:lnTo>
                  <a:pt x="16731" y="244"/>
                </a:lnTo>
                <a:lnTo>
                  <a:pt x="16232" y="489"/>
                </a:lnTo>
                <a:lnTo>
                  <a:pt x="15663" y="733"/>
                </a:lnTo>
                <a:lnTo>
                  <a:pt x="15093" y="1100"/>
                </a:lnTo>
                <a:lnTo>
                  <a:pt x="14595" y="1529"/>
                </a:lnTo>
                <a:lnTo>
                  <a:pt x="14025" y="2018"/>
                </a:lnTo>
                <a:lnTo>
                  <a:pt x="13741" y="1529"/>
                </a:lnTo>
                <a:lnTo>
                  <a:pt x="13385" y="1162"/>
                </a:lnTo>
                <a:lnTo>
                  <a:pt x="13029" y="795"/>
                </a:lnTo>
                <a:lnTo>
                  <a:pt x="12673" y="550"/>
                </a:lnTo>
                <a:lnTo>
                  <a:pt x="12245" y="305"/>
                </a:lnTo>
                <a:lnTo>
                  <a:pt x="11818" y="122"/>
                </a:lnTo>
                <a:lnTo>
                  <a:pt x="11320" y="61"/>
                </a:lnTo>
                <a:lnTo>
                  <a:pt x="10821" y="0"/>
                </a:lnTo>
                <a:lnTo>
                  <a:pt x="10465" y="0"/>
                </a:lnTo>
                <a:lnTo>
                  <a:pt x="10038" y="122"/>
                </a:lnTo>
                <a:lnTo>
                  <a:pt x="9540" y="183"/>
                </a:lnTo>
                <a:lnTo>
                  <a:pt x="9113" y="366"/>
                </a:lnTo>
                <a:lnTo>
                  <a:pt x="8614" y="611"/>
                </a:lnTo>
                <a:lnTo>
                  <a:pt x="8116" y="856"/>
                </a:lnTo>
                <a:lnTo>
                  <a:pt x="7546" y="1162"/>
                </a:lnTo>
                <a:lnTo>
                  <a:pt x="7048" y="1529"/>
                </a:lnTo>
                <a:lnTo>
                  <a:pt x="7048" y="244"/>
                </a:lnTo>
                <a:lnTo>
                  <a:pt x="1210" y="122"/>
                </a:lnTo>
                <a:lnTo>
                  <a:pt x="925" y="5015"/>
                </a:lnTo>
                <a:lnTo>
                  <a:pt x="1139" y="5199"/>
                </a:lnTo>
                <a:lnTo>
                  <a:pt x="1281" y="5382"/>
                </a:lnTo>
                <a:lnTo>
                  <a:pt x="1352" y="5627"/>
                </a:lnTo>
                <a:lnTo>
                  <a:pt x="1495" y="5933"/>
                </a:lnTo>
                <a:lnTo>
                  <a:pt x="1566" y="6300"/>
                </a:lnTo>
                <a:lnTo>
                  <a:pt x="1566" y="7156"/>
                </a:lnTo>
                <a:lnTo>
                  <a:pt x="1495" y="7584"/>
                </a:lnTo>
                <a:lnTo>
                  <a:pt x="1423" y="8257"/>
                </a:lnTo>
                <a:lnTo>
                  <a:pt x="1067" y="14374"/>
                </a:lnTo>
                <a:lnTo>
                  <a:pt x="1067" y="15658"/>
                </a:lnTo>
                <a:lnTo>
                  <a:pt x="996" y="16025"/>
                </a:lnTo>
                <a:lnTo>
                  <a:pt x="854" y="16270"/>
                </a:lnTo>
                <a:lnTo>
                  <a:pt x="783" y="16576"/>
                </a:lnTo>
                <a:lnTo>
                  <a:pt x="640" y="16820"/>
                </a:lnTo>
                <a:lnTo>
                  <a:pt x="498" y="17065"/>
                </a:lnTo>
                <a:lnTo>
                  <a:pt x="213" y="17248"/>
                </a:lnTo>
                <a:lnTo>
                  <a:pt x="0" y="22081"/>
                </a:lnTo>
                <a:lnTo>
                  <a:pt x="6834" y="22264"/>
                </a:lnTo>
                <a:lnTo>
                  <a:pt x="6977" y="17432"/>
                </a:lnTo>
                <a:lnTo>
                  <a:pt x="6834" y="17187"/>
                </a:lnTo>
                <a:lnTo>
                  <a:pt x="6763" y="16881"/>
                </a:lnTo>
                <a:lnTo>
                  <a:pt x="6621" y="16637"/>
                </a:lnTo>
                <a:lnTo>
                  <a:pt x="6550" y="16392"/>
                </a:lnTo>
                <a:lnTo>
                  <a:pt x="6550" y="14802"/>
                </a:lnTo>
                <a:lnTo>
                  <a:pt x="7048" y="6177"/>
                </a:lnTo>
                <a:lnTo>
                  <a:pt x="7333" y="6055"/>
                </a:lnTo>
                <a:lnTo>
                  <a:pt x="7546" y="5994"/>
                </a:lnTo>
                <a:lnTo>
                  <a:pt x="7760" y="5933"/>
                </a:lnTo>
                <a:lnTo>
                  <a:pt x="7902" y="5933"/>
                </a:lnTo>
                <a:lnTo>
                  <a:pt x="8258" y="5994"/>
                </a:lnTo>
                <a:lnTo>
                  <a:pt x="8543" y="6116"/>
                </a:lnTo>
                <a:lnTo>
                  <a:pt x="8757" y="6361"/>
                </a:lnTo>
                <a:lnTo>
                  <a:pt x="8828" y="6728"/>
                </a:lnTo>
                <a:lnTo>
                  <a:pt x="8899" y="6911"/>
                </a:lnTo>
                <a:lnTo>
                  <a:pt x="8899" y="7095"/>
                </a:lnTo>
                <a:lnTo>
                  <a:pt x="8970" y="7339"/>
                </a:lnTo>
                <a:lnTo>
                  <a:pt x="8970" y="8440"/>
                </a:lnTo>
                <a:lnTo>
                  <a:pt x="8899" y="8746"/>
                </a:lnTo>
                <a:lnTo>
                  <a:pt x="8899" y="10704"/>
                </a:lnTo>
                <a:lnTo>
                  <a:pt x="8543" y="16270"/>
                </a:lnTo>
                <a:lnTo>
                  <a:pt x="8472" y="16576"/>
                </a:lnTo>
                <a:lnTo>
                  <a:pt x="8472" y="16881"/>
                </a:lnTo>
                <a:lnTo>
                  <a:pt x="8401" y="17187"/>
                </a:lnTo>
                <a:lnTo>
                  <a:pt x="8330" y="17493"/>
                </a:lnTo>
                <a:lnTo>
                  <a:pt x="8330" y="20980"/>
                </a:lnTo>
                <a:lnTo>
                  <a:pt x="8401" y="21469"/>
                </a:lnTo>
                <a:lnTo>
                  <a:pt x="8401" y="21897"/>
                </a:lnTo>
                <a:lnTo>
                  <a:pt x="8472" y="22264"/>
                </a:lnTo>
                <a:lnTo>
                  <a:pt x="14310" y="22448"/>
                </a:lnTo>
                <a:lnTo>
                  <a:pt x="14524" y="17615"/>
                </a:lnTo>
                <a:lnTo>
                  <a:pt x="14381" y="17432"/>
                </a:lnTo>
                <a:lnTo>
                  <a:pt x="14310" y="17248"/>
                </a:lnTo>
                <a:lnTo>
                  <a:pt x="14168" y="17004"/>
                </a:lnTo>
                <a:lnTo>
                  <a:pt x="14097" y="16759"/>
                </a:lnTo>
                <a:lnTo>
                  <a:pt x="14025" y="16453"/>
                </a:lnTo>
                <a:lnTo>
                  <a:pt x="14025" y="16086"/>
                </a:lnTo>
                <a:lnTo>
                  <a:pt x="13954" y="15719"/>
                </a:lnTo>
                <a:lnTo>
                  <a:pt x="13954" y="15291"/>
                </a:lnTo>
                <a:lnTo>
                  <a:pt x="14025" y="15108"/>
                </a:lnTo>
                <a:lnTo>
                  <a:pt x="14025" y="14679"/>
                </a:lnTo>
                <a:lnTo>
                  <a:pt x="14595" y="6361"/>
                </a:lnTo>
                <a:lnTo>
                  <a:pt x="14880" y="6300"/>
                </a:lnTo>
                <a:lnTo>
                  <a:pt x="15093" y="6238"/>
                </a:lnTo>
                <a:lnTo>
                  <a:pt x="15307" y="6177"/>
                </a:lnTo>
                <a:lnTo>
                  <a:pt x="15734" y="6238"/>
                </a:lnTo>
                <a:lnTo>
                  <a:pt x="16019" y="6361"/>
                </a:lnTo>
                <a:lnTo>
                  <a:pt x="16232" y="6605"/>
                </a:lnTo>
                <a:lnTo>
                  <a:pt x="16375" y="6972"/>
                </a:lnTo>
                <a:lnTo>
                  <a:pt x="16446" y="7156"/>
                </a:lnTo>
                <a:lnTo>
                  <a:pt x="16446" y="7584"/>
                </a:lnTo>
                <a:lnTo>
                  <a:pt x="16517" y="7829"/>
                </a:lnTo>
                <a:lnTo>
                  <a:pt x="16517" y="8440"/>
                </a:lnTo>
                <a:lnTo>
                  <a:pt x="16446" y="8746"/>
                </a:lnTo>
                <a:lnTo>
                  <a:pt x="16446" y="9052"/>
                </a:lnTo>
                <a:lnTo>
                  <a:pt x="16375" y="10948"/>
                </a:lnTo>
                <a:lnTo>
                  <a:pt x="16019" y="17065"/>
                </a:lnTo>
                <a:lnTo>
                  <a:pt x="15948" y="17799"/>
                </a:lnTo>
                <a:lnTo>
                  <a:pt x="15948" y="21224"/>
                </a:lnTo>
                <a:lnTo>
                  <a:pt x="16019" y="21836"/>
                </a:lnTo>
                <a:lnTo>
                  <a:pt x="16019" y="22448"/>
                </a:lnTo>
                <a:lnTo>
                  <a:pt x="21857" y="22753"/>
                </a:lnTo>
                <a:lnTo>
                  <a:pt x="22071" y="17921"/>
                </a:lnTo>
                <a:lnTo>
                  <a:pt x="21928" y="17615"/>
                </a:lnTo>
                <a:lnTo>
                  <a:pt x="21857" y="17310"/>
                </a:lnTo>
                <a:lnTo>
                  <a:pt x="21715" y="17065"/>
                </a:lnTo>
                <a:lnTo>
                  <a:pt x="21643" y="16820"/>
                </a:lnTo>
                <a:lnTo>
                  <a:pt x="21643" y="16209"/>
                </a:lnTo>
                <a:close/>
              </a:path>
            </a:pathLst>
          </a:custGeom>
          <a:solidFill>
            <a:srgbClr val="000000"/>
          </a:solidFill>
        </p:spPr>
        <p:txBody>
          <a:bodyPr wrap="square" lIns="0" tIns="0" rIns="0" bIns="0" rtlCol="0">
            <a:noAutofit/>
          </a:bodyPr>
          <a:lstStyle/>
          <a:p>
            <a:endParaRPr/>
          </a:p>
        </p:txBody>
      </p:sp>
      <p:sp>
        <p:nvSpPr>
          <p:cNvPr id="651" name="object 651"/>
          <p:cNvSpPr/>
          <p:nvPr/>
        </p:nvSpPr>
        <p:spPr>
          <a:xfrm>
            <a:off x="9274503" y="4419217"/>
            <a:ext cx="13456" cy="22753"/>
          </a:xfrm>
          <a:custGeom>
            <a:avLst/>
            <a:gdLst/>
            <a:ahLst/>
            <a:cxnLst/>
            <a:rect l="l" t="t" r="r" b="b"/>
            <a:pathLst>
              <a:path w="13456" h="22753">
                <a:moveTo>
                  <a:pt x="7831" y="22631"/>
                </a:moveTo>
                <a:lnTo>
                  <a:pt x="8258" y="22570"/>
                </a:lnTo>
                <a:lnTo>
                  <a:pt x="8686" y="22509"/>
                </a:lnTo>
                <a:lnTo>
                  <a:pt x="9042" y="22448"/>
                </a:lnTo>
                <a:lnTo>
                  <a:pt x="9398" y="22325"/>
                </a:lnTo>
                <a:lnTo>
                  <a:pt x="9753" y="22264"/>
                </a:lnTo>
                <a:lnTo>
                  <a:pt x="10109" y="22081"/>
                </a:lnTo>
                <a:lnTo>
                  <a:pt x="10465" y="21897"/>
                </a:lnTo>
                <a:lnTo>
                  <a:pt x="10750" y="21652"/>
                </a:lnTo>
                <a:lnTo>
                  <a:pt x="11106" y="21347"/>
                </a:lnTo>
                <a:lnTo>
                  <a:pt x="11320" y="21041"/>
                </a:lnTo>
                <a:lnTo>
                  <a:pt x="11605" y="20674"/>
                </a:lnTo>
                <a:lnTo>
                  <a:pt x="11818" y="20307"/>
                </a:lnTo>
                <a:lnTo>
                  <a:pt x="11961" y="19879"/>
                </a:lnTo>
                <a:lnTo>
                  <a:pt x="12103" y="19450"/>
                </a:lnTo>
                <a:lnTo>
                  <a:pt x="12245" y="18961"/>
                </a:lnTo>
                <a:lnTo>
                  <a:pt x="12388" y="18472"/>
                </a:lnTo>
                <a:lnTo>
                  <a:pt x="12530" y="17921"/>
                </a:lnTo>
                <a:lnTo>
                  <a:pt x="12673" y="17371"/>
                </a:lnTo>
                <a:lnTo>
                  <a:pt x="12744" y="16759"/>
                </a:lnTo>
                <a:lnTo>
                  <a:pt x="12815" y="16147"/>
                </a:lnTo>
                <a:lnTo>
                  <a:pt x="12886" y="15475"/>
                </a:lnTo>
                <a:lnTo>
                  <a:pt x="13385" y="7768"/>
                </a:lnTo>
                <a:lnTo>
                  <a:pt x="13456" y="7034"/>
                </a:lnTo>
                <a:lnTo>
                  <a:pt x="13456" y="6300"/>
                </a:lnTo>
                <a:lnTo>
                  <a:pt x="13385" y="5688"/>
                </a:lnTo>
                <a:lnTo>
                  <a:pt x="13385" y="5076"/>
                </a:lnTo>
                <a:lnTo>
                  <a:pt x="13313" y="4526"/>
                </a:lnTo>
                <a:lnTo>
                  <a:pt x="13171" y="4036"/>
                </a:lnTo>
                <a:lnTo>
                  <a:pt x="13100" y="3547"/>
                </a:lnTo>
                <a:lnTo>
                  <a:pt x="12957" y="3119"/>
                </a:lnTo>
                <a:lnTo>
                  <a:pt x="12815" y="2752"/>
                </a:lnTo>
                <a:lnTo>
                  <a:pt x="12601" y="2385"/>
                </a:lnTo>
                <a:lnTo>
                  <a:pt x="12388" y="2079"/>
                </a:lnTo>
                <a:lnTo>
                  <a:pt x="12174" y="1773"/>
                </a:lnTo>
                <a:lnTo>
                  <a:pt x="11889" y="1529"/>
                </a:lnTo>
                <a:lnTo>
                  <a:pt x="11605" y="1284"/>
                </a:lnTo>
                <a:lnTo>
                  <a:pt x="11320" y="1039"/>
                </a:lnTo>
                <a:lnTo>
                  <a:pt x="10964" y="856"/>
                </a:lnTo>
                <a:lnTo>
                  <a:pt x="10608" y="672"/>
                </a:lnTo>
                <a:lnTo>
                  <a:pt x="10252" y="489"/>
                </a:lnTo>
                <a:lnTo>
                  <a:pt x="9825" y="366"/>
                </a:lnTo>
                <a:lnTo>
                  <a:pt x="9398" y="244"/>
                </a:lnTo>
                <a:lnTo>
                  <a:pt x="8970" y="122"/>
                </a:lnTo>
                <a:lnTo>
                  <a:pt x="8472" y="61"/>
                </a:lnTo>
                <a:lnTo>
                  <a:pt x="7902" y="0"/>
                </a:lnTo>
                <a:lnTo>
                  <a:pt x="6194" y="0"/>
                </a:lnTo>
                <a:lnTo>
                  <a:pt x="5624" y="61"/>
                </a:lnTo>
                <a:lnTo>
                  <a:pt x="5126" y="122"/>
                </a:lnTo>
                <a:lnTo>
                  <a:pt x="4627" y="244"/>
                </a:lnTo>
                <a:lnTo>
                  <a:pt x="4200" y="366"/>
                </a:lnTo>
                <a:lnTo>
                  <a:pt x="3773" y="489"/>
                </a:lnTo>
                <a:lnTo>
                  <a:pt x="3417" y="672"/>
                </a:lnTo>
                <a:lnTo>
                  <a:pt x="3061" y="856"/>
                </a:lnTo>
                <a:lnTo>
                  <a:pt x="2705" y="1100"/>
                </a:lnTo>
                <a:lnTo>
                  <a:pt x="2420" y="1345"/>
                </a:lnTo>
                <a:lnTo>
                  <a:pt x="2135" y="1651"/>
                </a:lnTo>
                <a:lnTo>
                  <a:pt x="1922" y="1957"/>
                </a:lnTo>
                <a:lnTo>
                  <a:pt x="1708" y="2263"/>
                </a:lnTo>
                <a:lnTo>
                  <a:pt x="1495" y="2630"/>
                </a:lnTo>
                <a:lnTo>
                  <a:pt x="1281" y="2997"/>
                </a:lnTo>
                <a:lnTo>
                  <a:pt x="1139" y="3425"/>
                </a:lnTo>
                <a:lnTo>
                  <a:pt x="996" y="3853"/>
                </a:lnTo>
                <a:lnTo>
                  <a:pt x="854" y="4342"/>
                </a:lnTo>
                <a:lnTo>
                  <a:pt x="783" y="4832"/>
                </a:lnTo>
                <a:lnTo>
                  <a:pt x="640" y="5382"/>
                </a:lnTo>
                <a:lnTo>
                  <a:pt x="569" y="5994"/>
                </a:lnTo>
                <a:lnTo>
                  <a:pt x="498" y="6605"/>
                </a:lnTo>
                <a:lnTo>
                  <a:pt x="427" y="7217"/>
                </a:lnTo>
                <a:lnTo>
                  <a:pt x="71" y="14924"/>
                </a:lnTo>
                <a:lnTo>
                  <a:pt x="0" y="15597"/>
                </a:lnTo>
                <a:lnTo>
                  <a:pt x="0" y="16881"/>
                </a:lnTo>
                <a:lnTo>
                  <a:pt x="71" y="17432"/>
                </a:lnTo>
                <a:lnTo>
                  <a:pt x="142" y="17982"/>
                </a:lnTo>
                <a:lnTo>
                  <a:pt x="213" y="18533"/>
                </a:lnTo>
                <a:lnTo>
                  <a:pt x="284" y="19022"/>
                </a:lnTo>
                <a:lnTo>
                  <a:pt x="427" y="19450"/>
                </a:lnTo>
                <a:lnTo>
                  <a:pt x="569" y="19879"/>
                </a:lnTo>
                <a:lnTo>
                  <a:pt x="783" y="20307"/>
                </a:lnTo>
                <a:lnTo>
                  <a:pt x="925" y="20674"/>
                </a:lnTo>
                <a:lnTo>
                  <a:pt x="1210" y="21041"/>
                </a:lnTo>
                <a:lnTo>
                  <a:pt x="1423" y="21347"/>
                </a:lnTo>
                <a:lnTo>
                  <a:pt x="1708" y="21591"/>
                </a:lnTo>
                <a:lnTo>
                  <a:pt x="1993" y="21836"/>
                </a:lnTo>
                <a:lnTo>
                  <a:pt x="2349" y="22081"/>
                </a:lnTo>
                <a:lnTo>
                  <a:pt x="2705" y="22142"/>
                </a:lnTo>
                <a:lnTo>
                  <a:pt x="3132" y="22264"/>
                </a:lnTo>
                <a:lnTo>
                  <a:pt x="3631" y="22325"/>
                </a:lnTo>
                <a:lnTo>
                  <a:pt x="4129" y="22448"/>
                </a:lnTo>
                <a:lnTo>
                  <a:pt x="4627" y="22509"/>
                </a:lnTo>
                <a:lnTo>
                  <a:pt x="5197" y="22631"/>
                </a:lnTo>
                <a:lnTo>
                  <a:pt x="5766" y="22692"/>
                </a:lnTo>
                <a:lnTo>
                  <a:pt x="6336" y="22753"/>
                </a:lnTo>
                <a:lnTo>
                  <a:pt x="6336" y="17554"/>
                </a:lnTo>
                <a:lnTo>
                  <a:pt x="6122" y="17493"/>
                </a:lnTo>
                <a:lnTo>
                  <a:pt x="5909" y="17371"/>
                </a:lnTo>
                <a:lnTo>
                  <a:pt x="5695" y="17187"/>
                </a:lnTo>
                <a:lnTo>
                  <a:pt x="5624" y="16881"/>
                </a:lnTo>
                <a:lnTo>
                  <a:pt x="5553" y="16637"/>
                </a:lnTo>
                <a:lnTo>
                  <a:pt x="5553" y="15046"/>
                </a:lnTo>
                <a:lnTo>
                  <a:pt x="5909" y="7217"/>
                </a:lnTo>
                <a:lnTo>
                  <a:pt x="5980" y="6728"/>
                </a:lnTo>
                <a:lnTo>
                  <a:pt x="6051" y="6300"/>
                </a:lnTo>
                <a:lnTo>
                  <a:pt x="6265" y="5688"/>
                </a:lnTo>
                <a:lnTo>
                  <a:pt x="6550" y="5382"/>
                </a:lnTo>
                <a:lnTo>
                  <a:pt x="6763" y="5260"/>
                </a:lnTo>
                <a:lnTo>
                  <a:pt x="6977" y="5260"/>
                </a:lnTo>
                <a:lnTo>
                  <a:pt x="7262" y="5321"/>
                </a:lnTo>
                <a:lnTo>
                  <a:pt x="7475" y="5382"/>
                </a:lnTo>
                <a:lnTo>
                  <a:pt x="7618" y="5566"/>
                </a:lnTo>
                <a:lnTo>
                  <a:pt x="7760" y="5749"/>
                </a:lnTo>
                <a:lnTo>
                  <a:pt x="7902" y="6055"/>
                </a:lnTo>
                <a:lnTo>
                  <a:pt x="7974" y="6361"/>
                </a:lnTo>
                <a:lnTo>
                  <a:pt x="7974" y="7278"/>
                </a:lnTo>
                <a:lnTo>
                  <a:pt x="7475" y="15108"/>
                </a:lnTo>
                <a:lnTo>
                  <a:pt x="7475" y="15780"/>
                </a:lnTo>
                <a:lnTo>
                  <a:pt x="7404" y="16086"/>
                </a:lnTo>
                <a:lnTo>
                  <a:pt x="7333" y="16331"/>
                </a:lnTo>
                <a:lnTo>
                  <a:pt x="7262" y="16514"/>
                </a:lnTo>
                <a:lnTo>
                  <a:pt x="7262" y="16759"/>
                </a:lnTo>
                <a:lnTo>
                  <a:pt x="7190" y="16943"/>
                </a:lnTo>
                <a:lnTo>
                  <a:pt x="6977" y="17310"/>
                </a:lnTo>
                <a:lnTo>
                  <a:pt x="6834" y="22753"/>
                </a:lnTo>
                <a:lnTo>
                  <a:pt x="7333" y="22692"/>
                </a:lnTo>
                <a:lnTo>
                  <a:pt x="7831" y="22631"/>
                </a:lnTo>
                <a:close/>
              </a:path>
            </a:pathLst>
          </a:custGeom>
          <a:solidFill>
            <a:srgbClr val="000000"/>
          </a:solidFill>
        </p:spPr>
        <p:txBody>
          <a:bodyPr wrap="square" lIns="0" tIns="0" rIns="0" bIns="0" rtlCol="0">
            <a:noAutofit/>
          </a:bodyPr>
          <a:lstStyle/>
          <a:p>
            <a:endParaRPr/>
          </a:p>
        </p:txBody>
      </p:sp>
      <p:sp>
        <p:nvSpPr>
          <p:cNvPr id="652" name="object 652"/>
          <p:cNvSpPr/>
          <p:nvPr/>
        </p:nvSpPr>
        <p:spPr>
          <a:xfrm>
            <a:off x="9280839" y="4436528"/>
            <a:ext cx="640" cy="5443"/>
          </a:xfrm>
          <a:custGeom>
            <a:avLst/>
            <a:gdLst/>
            <a:ahLst/>
            <a:cxnLst/>
            <a:rect l="l" t="t" r="r" b="b"/>
            <a:pathLst>
              <a:path w="640" h="5443">
                <a:moveTo>
                  <a:pt x="498" y="5443"/>
                </a:moveTo>
                <a:lnTo>
                  <a:pt x="640" y="0"/>
                </a:lnTo>
                <a:lnTo>
                  <a:pt x="427" y="122"/>
                </a:lnTo>
                <a:lnTo>
                  <a:pt x="213" y="244"/>
                </a:lnTo>
                <a:lnTo>
                  <a:pt x="0" y="244"/>
                </a:lnTo>
                <a:lnTo>
                  <a:pt x="0" y="5443"/>
                </a:lnTo>
                <a:lnTo>
                  <a:pt x="498" y="5443"/>
                </a:lnTo>
                <a:close/>
              </a:path>
            </a:pathLst>
          </a:custGeom>
          <a:solidFill>
            <a:srgbClr val="000000"/>
          </a:solidFill>
        </p:spPr>
        <p:txBody>
          <a:bodyPr wrap="square" lIns="0" tIns="0" rIns="0" bIns="0" rtlCol="0">
            <a:noAutofit/>
          </a:bodyPr>
          <a:lstStyle/>
          <a:p>
            <a:endParaRPr/>
          </a:p>
        </p:txBody>
      </p:sp>
      <p:sp>
        <p:nvSpPr>
          <p:cNvPr id="653" name="object 653"/>
          <p:cNvSpPr/>
          <p:nvPr/>
        </p:nvSpPr>
        <p:spPr>
          <a:xfrm>
            <a:off x="9242109" y="4419707"/>
            <a:ext cx="7475" cy="13517"/>
          </a:xfrm>
          <a:custGeom>
            <a:avLst/>
            <a:gdLst/>
            <a:ahLst/>
            <a:cxnLst/>
            <a:rect l="l" t="t" r="r" b="b"/>
            <a:pathLst>
              <a:path w="7475" h="13517">
                <a:moveTo>
                  <a:pt x="7404" y="5199"/>
                </a:moveTo>
                <a:lnTo>
                  <a:pt x="7333" y="4832"/>
                </a:lnTo>
                <a:lnTo>
                  <a:pt x="7333" y="4465"/>
                </a:lnTo>
                <a:lnTo>
                  <a:pt x="7262" y="4098"/>
                </a:lnTo>
                <a:lnTo>
                  <a:pt x="7190" y="3792"/>
                </a:lnTo>
                <a:lnTo>
                  <a:pt x="7119" y="3486"/>
                </a:lnTo>
                <a:lnTo>
                  <a:pt x="7048" y="3180"/>
                </a:lnTo>
                <a:lnTo>
                  <a:pt x="6906" y="2874"/>
                </a:lnTo>
                <a:lnTo>
                  <a:pt x="6763" y="2568"/>
                </a:lnTo>
                <a:lnTo>
                  <a:pt x="6621" y="2263"/>
                </a:lnTo>
                <a:lnTo>
                  <a:pt x="6478" y="2018"/>
                </a:lnTo>
                <a:lnTo>
                  <a:pt x="6336" y="1712"/>
                </a:lnTo>
                <a:lnTo>
                  <a:pt x="5980" y="1284"/>
                </a:lnTo>
                <a:lnTo>
                  <a:pt x="5553" y="917"/>
                </a:lnTo>
                <a:lnTo>
                  <a:pt x="5054" y="550"/>
                </a:lnTo>
                <a:lnTo>
                  <a:pt x="4414" y="366"/>
                </a:lnTo>
                <a:lnTo>
                  <a:pt x="4058" y="244"/>
                </a:lnTo>
                <a:lnTo>
                  <a:pt x="3702" y="122"/>
                </a:lnTo>
                <a:lnTo>
                  <a:pt x="3275" y="61"/>
                </a:lnTo>
                <a:lnTo>
                  <a:pt x="2919" y="0"/>
                </a:lnTo>
                <a:lnTo>
                  <a:pt x="1495" y="0"/>
                </a:lnTo>
                <a:lnTo>
                  <a:pt x="996" y="61"/>
                </a:lnTo>
                <a:lnTo>
                  <a:pt x="711" y="5382"/>
                </a:lnTo>
                <a:lnTo>
                  <a:pt x="996" y="5321"/>
                </a:lnTo>
                <a:lnTo>
                  <a:pt x="1352" y="5382"/>
                </a:lnTo>
                <a:lnTo>
                  <a:pt x="1637" y="5443"/>
                </a:lnTo>
                <a:lnTo>
                  <a:pt x="1851" y="5688"/>
                </a:lnTo>
                <a:lnTo>
                  <a:pt x="1993" y="5994"/>
                </a:lnTo>
                <a:lnTo>
                  <a:pt x="2064" y="6238"/>
                </a:lnTo>
                <a:lnTo>
                  <a:pt x="2064" y="6422"/>
                </a:lnTo>
                <a:lnTo>
                  <a:pt x="2135" y="6667"/>
                </a:lnTo>
                <a:lnTo>
                  <a:pt x="2135" y="6972"/>
                </a:lnTo>
                <a:lnTo>
                  <a:pt x="2207" y="7217"/>
                </a:lnTo>
                <a:lnTo>
                  <a:pt x="2207" y="8196"/>
                </a:lnTo>
                <a:lnTo>
                  <a:pt x="0" y="8379"/>
                </a:lnTo>
                <a:lnTo>
                  <a:pt x="0" y="13517"/>
                </a:lnTo>
                <a:lnTo>
                  <a:pt x="7475" y="12783"/>
                </a:lnTo>
                <a:lnTo>
                  <a:pt x="7475" y="5994"/>
                </a:lnTo>
                <a:lnTo>
                  <a:pt x="7404" y="5566"/>
                </a:lnTo>
                <a:lnTo>
                  <a:pt x="7404" y="5199"/>
                </a:lnTo>
                <a:close/>
              </a:path>
            </a:pathLst>
          </a:custGeom>
          <a:solidFill>
            <a:srgbClr val="000000"/>
          </a:solidFill>
        </p:spPr>
        <p:txBody>
          <a:bodyPr wrap="square" lIns="0" tIns="0" rIns="0" bIns="0" rtlCol="0">
            <a:noAutofit/>
          </a:bodyPr>
          <a:lstStyle/>
          <a:p>
            <a:endParaRPr/>
          </a:p>
        </p:txBody>
      </p:sp>
      <p:sp>
        <p:nvSpPr>
          <p:cNvPr id="654" name="object 654"/>
          <p:cNvSpPr/>
          <p:nvPr/>
        </p:nvSpPr>
        <p:spPr>
          <a:xfrm>
            <a:off x="9212632" y="4413223"/>
            <a:ext cx="22142" cy="35293"/>
          </a:xfrm>
          <a:custGeom>
            <a:avLst/>
            <a:gdLst/>
            <a:ahLst/>
            <a:cxnLst/>
            <a:rect l="l" t="t" r="r" b="b"/>
            <a:pathLst>
              <a:path w="22142" h="35293">
                <a:moveTo>
                  <a:pt x="1281" y="13273"/>
                </a:moveTo>
                <a:lnTo>
                  <a:pt x="1352" y="13884"/>
                </a:lnTo>
                <a:lnTo>
                  <a:pt x="2634" y="27280"/>
                </a:lnTo>
                <a:lnTo>
                  <a:pt x="2705" y="27953"/>
                </a:lnTo>
                <a:lnTo>
                  <a:pt x="2705" y="29298"/>
                </a:lnTo>
                <a:lnTo>
                  <a:pt x="2634" y="29604"/>
                </a:lnTo>
                <a:lnTo>
                  <a:pt x="2563" y="29849"/>
                </a:lnTo>
                <a:lnTo>
                  <a:pt x="2420" y="30032"/>
                </a:lnTo>
                <a:lnTo>
                  <a:pt x="2278" y="30277"/>
                </a:lnTo>
                <a:lnTo>
                  <a:pt x="2776" y="35293"/>
                </a:lnTo>
                <a:lnTo>
                  <a:pt x="8757" y="33519"/>
                </a:lnTo>
                <a:lnTo>
                  <a:pt x="8258" y="28503"/>
                </a:lnTo>
                <a:lnTo>
                  <a:pt x="8045" y="28320"/>
                </a:lnTo>
                <a:lnTo>
                  <a:pt x="7831" y="28197"/>
                </a:lnTo>
                <a:lnTo>
                  <a:pt x="7689" y="27953"/>
                </a:lnTo>
                <a:lnTo>
                  <a:pt x="7546" y="27708"/>
                </a:lnTo>
                <a:lnTo>
                  <a:pt x="7475" y="27463"/>
                </a:lnTo>
                <a:lnTo>
                  <a:pt x="7404" y="27157"/>
                </a:lnTo>
                <a:lnTo>
                  <a:pt x="7333" y="26790"/>
                </a:lnTo>
                <a:lnTo>
                  <a:pt x="7262" y="26301"/>
                </a:lnTo>
                <a:lnTo>
                  <a:pt x="7262" y="25934"/>
                </a:lnTo>
                <a:lnTo>
                  <a:pt x="6478" y="17860"/>
                </a:lnTo>
                <a:lnTo>
                  <a:pt x="10964" y="32785"/>
                </a:lnTo>
                <a:lnTo>
                  <a:pt x="12886" y="32234"/>
                </a:lnTo>
                <a:lnTo>
                  <a:pt x="13954" y="15597"/>
                </a:lnTo>
                <a:lnTo>
                  <a:pt x="14666" y="22448"/>
                </a:lnTo>
                <a:lnTo>
                  <a:pt x="14808" y="23671"/>
                </a:lnTo>
                <a:lnTo>
                  <a:pt x="14808" y="25384"/>
                </a:lnTo>
                <a:lnTo>
                  <a:pt x="14737" y="25689"/>
                </a:lnTo>
                <a:lnTo>
                  <a:pt x="14666" y="25995"/>
                </a:lnTo>
                <a:lnTo>
                  <a:pt x="14524" y="26240"/>
                </a:lnTo>
                <a:lnTo>
                  <a:pt x="14381" y="26546"/>
                </a:lnTo>
                <a:lnTo>
                  <a:pt x="14880" y="31561"/>
                </a:lnTo>
                <a:lnTo>
                  <a:pt x="22142" y="29298"/>
                </a:lnTo>
                <a:lnTo>
                  <a:pt x="21715" y="24221"/>
                </a:lnTo>
                <a:lnTo>
                  <a:pt x="21501" y="24038"/>
                </a:lnTo>
                <a:lnTo>
                  <a:pt x="21287" y="23793"/>
                </a:lnTo>
                <a:lnTo>
                  <a:pt x="21074" y="23610"/>
                </a:lnTo>
                <a:lnTo>
                  <a:pt x="20931" y="23426"/>
                </a:lnTo>
                <a:lnTo>
                  <a:pt x="20931" y="23243"/>
                </a:lnTo>
                <a:lnTo>
                  <a:pt x="20860" y="23059"/>
                </a:lnTo>
                <a:lnTo>
                  <a:pt x="20860" y="22876"/>
                </a:lnTo>
                <a:lnTo>
                  <a:pt x="20789" y="22631"/>
                </a:lnTo>
                <a:lnTo>
                  <a:pt x="20718" y="22386"/>
                </a:lnTo>
                <a:lnTo>
                  <a:pt x="20718" y="22142"/>
                </a:lnTo>
                <a:lnTo>
                  <a:pt x="20647" y="21836"/>
                </a:lnTo>
                <a:lnTo>
                  <a:pt x="20647" y="21530"/>
                </a:lnTo>
                <a:lnTo>
                  <a:pt x="19365" y="7584"/>
                </a:lnTo>
                <a:lnTo>
                  <a:pt x="19294" y="7156"/>
                </a:lnTo>
                <a:lnTo>
                  <a:pt x="19294" y="6483"/>
                </a:lnTo>
                <a:lnTo>
                  <a:pt x="19365" y="6177"/>
                </a:lnTo>
                <a:lnTo>
                  <a:pt x="19436" y="5933"/>
                </a:lnTo>
                <a:lnTo>
                  <a:pt x="19507" y="5688"/>
                </a:lnTo>
                <a:lnTo>
                  <a:pt x="19650" y="5504"/>
                </a:lnTo>
                <a:lnTo>
                  <a:pt x="19792" y="5260"/>
                </a:lnTo>
                <a:lnTo>
                  <a:pt x="19365" y="0"/>
                </a:lnTo>
                <a:lnTo>
                  <a:pt x="11818" y="2324"/>
                </a:lnTo>
                <a:lnTo>
                  <a:pt x="10893" y="15169"/>
                </a:lnTo>
                <a:lnTo>
                  <a:pt x="7618" y="3669"/>
                </a:lnTo>
                <a:lnTo>
                  <a:pt x="0" y="6055"/>
                </a:lnTo>
                <a:lnTo>
                  <a:pt x="427" y="11315"/>
                </a:lnTo>
                <a:lnTo>
                  <a:pt x="569" y="11438"/>
                </a:lnTo>
                <a:lnTo>
                  <a:pt x="711" y="11621"/>
                </a:lnTo>
                <a:lnTo>
                  <a:pt x="854" y="11805"/>
                </a:lnTo>
                <a:lnTo>
                  <a:pt x="996" y="11988"/>
                </a:lnTo>
                <a:lnTo>
                  <a:pt x="1067" y="12294"/>
                </a:lnTo>
                <a:lnTo>
                  <a:pt x="1210" y="12600"/>
                </a:lnTo>
                <a:lnTo>
                  <a:pt x="1210" y="12906"/>
                </a:lnTo>
                <a:lnTo>
                  <a:pt x="1281" y="13273"/>
                </a:lnTo>
                <a:close/>
              </a:path>
            </a:pathLst>
          </a:custGeom>
          <a:solidFill>
            <a:srgbClr val="000000"/>
          </a:solidFill>
        </p:spPr>
        <p:txBody>
          <a:bodyPr wrap="square" lIns="0" tIns="0" rIns="0" bIns="0" rtlCol="0">
            <a:noAutofit/>
          </a:bodyPr>
          <a:lstStyle/>
          <a:p>
            <a:endParaRPr/>
          </a:p>
        </p:txBody>
      </p:sp>
      <p:sp>
        <p:nvSpPr>
          <p:cNvPr id="655" name="object 655"/>
          <p:cNvSpPr/>
          <p:nvPr/>
        </p:nvSpPr>
        <p:spPr>
          <a:xfrm>
            <a:off x="9236627" y="4419767"/>
            <a:ext cx="12957" cy="22692"/>
          </a:xfrm>
          <a:custGeom>
            <a:avLst/>
            <a:gdLst/>
            <a:ahLst/>
            <a:cxnLst/>
            <a:rect l="l" t="t" r="r" b="b"/>
            <a:pathLst>
              <a:path w="12957" h="22692">
                <a:moveTo>
                  <a:pt x="71" y="17065"/>
                </a:moveTo>
                <a:lnTo>
                  <a:pt x="71" y="17677"/>
                </a:lnTo>
                <a:lnTo>
                  <a:pt x="142" y="18166"/>
                </a:lnTo>
                <a:lnTo>
                  <a:pt x="284" y="18716"/>
                </a:lnTo>
                <a:lnTo>
                  <a:pt x="355" y="19206"/>
                </a:lnTo>
                <a:lnTo>
                  <a:pt x="498" y="19695"/>
                </a:lnTo>
                <a:lnTo>
                  <a:pt x="640" y="20123"/>
                </a:lnTo>
                <a:lnTo>
                  <a:pt x="783" y="20490"/>
                </a:lnTo>
                <a:lnTo>
                  <a:pt x="996" y="20857"/>
                </a:lnTo>
                <a:lnTo>
                  <a:pt x="1210" y="21224"/>
                </a:lnTo>
                <a:lnTo>
                  <a:pt x="1423" y="21530"/>
                </a:lnTo>
                <a:lnTo>
                  <a:pt x="1708" y="21775"/>
                </a:lnTo>
                <a:lnTo>
                  <a:pt x="1993" y="22019"/>
                </a:lnTo>
                <a:lnTo>
                  <a:pt x="2349" y="22203"/>
                </a:lnTo>
                <a:lnTo>
                  <a:pt x="2705" y="22386"/>
                </a:lnTo>
                <a:lnTo>
                  <a:pt x="3061" y="22448"/>
                </a:lnTo>
                <a:lnTo>
                  <a:pt x="3488" y="22570"/>
                </a:lnTo>
                <a:lnTo>
                  <a:pt x="3915" y="22631"/>
                </a:lnTo>
                <a:lnTo>
                  <a:pt x="4414" y="22692"/>
                </a:lnTo>
                <a:lnTo>
                  <a:pt x="6051" y="22692"/>
                </a:lnTo>
                <a:lnTo>
                  <a:pt x="6621" y="22631"/>
                </a:lnTo>
                <a:lnTo>
                  <a:pt x="7048" y="22570"/>
                </a:lnTo>
                <a:lnTo>
                  <a:pt x="7475" y="22509"/>
                </a:lnTo>
                <a:lnTo>
                  <a:pt x="7902" y="22386"/>
                </a:lnTo>
                <a:lnTo>
                  <a:pt x="8401" y="22264"/>
                </a:lnTo>
                <a:lnTo>
                  <a:pt x="8828" y="22142"/>
                </a:lnTo>
                <a:lnTo>
                  <a:pt x="9326" y="22019"/>
                </a:lnTo>
                <a:lnTo>
                  <a:pt x="9753" y="21836"/>
                </a:lnTo>
                <a:lnTo>
                  <a:pt x="10252" y="21714"/>
                </a:lnTo>
                <a:lnTo>
                  <a:pt x="10679" y="21469"/>
                </a:lnTo>
                <a:lnTo>
                  <a:pt x="11106" y="21224"/>
                </a:lnTo>
                <a:lnTo>
                  <a:pt x="11462" y="20918"/>
                </a:lnTo>
                <a:lnTo>
                  <a:pt x="11818" y="20613"/>
                </a:lnTo>
                <a:lnTo>
                  <a:pt x="12174" y="20246"/>
                </a:lnTo>
                <a:lnTo>
                  <a:pt x="12459" y="19940"/>
                </a:lnTo>
                <a:lnTo>
                  <a:pt x="12744" y="19634"/>
                </a:lnTo>
                <a:lnTo>
                  <a:pt x="12957" y="19328"/>
                </a:lnTo>
                <a:lnTo>
                  <a:pt x="12886" y="14007"/>
                </a:lnTo>
                <a:lnTo>
                  <a:pt x="7546" y="14557"/>
                </a:lnTo>
                <a:lnTo>
                  <a:pt x="7618" y="15291"/>
                </a:lnTo>
                <a:lnTo>
                  <a:pt x="7618" y="15780"/>
                </a:lnTo>
                <a:lnTo>
                  <a:pt x="7546" y="16270"/>
                </a:lnTo>
                <a:lnTo>
                  <a:pt x="7475" y="16637"/>
                </a:lnTo>
                <a:lnTo>
                  <a:pt x="7404" y="17004"/>
                </a:lnTo>
                <a:lnTo>
                  <a:pt x="7262" y="17248"/>
                </a:lnTo>
                <a:lnTo>
                  <a:pt x="7119" y="17493"/>
                </a:lnTo>
                <a:lnTo>
                  <a:pt x="6834" y="17677"/>
                </a:lnTo>
                <a:lnTo>
                  <a:pt x="6550" y="17738"/>
                </a:lnTo>
                <a:lnTo>
                  <a:pt x="6265" y="17738"/>
                </a:lnTo>
                <a:lnTo>
                  <a:pt x="5980" y="17615"/>
                </a:lnTo>
                <a:lnTo>
                  <a:pt x="5838" y="17432"/>
                </a:lnTo>
                <a:lnTo>
                  <a:pt x="5766" y="17187"/>
                </a:lnTo>
                <a:lnTo>
                  <a:pt x="5624" y="16820"/>
                </a:lnTo>
                <a:lnTo>
                  <a:pt x="5553" y="16453"/>
                </a:lnTo>
                <a:lnTo>
                  <a:pt x="5553" y="15413"/>
                </a:lnTo>
                <a:lnTo>
                  <a:pt x="5482" y="13456"/>
                </a:lnTo>
                <a:lnTo>
                  <a:pt x="5482" y="7339"/>
                </a:lnTo>
                <a:lnTo>
                  <a:pt x="5553" y="7034"/>
                </a:lnTo>
                <a:lnTo>
                  <a:pt x="5553" y="6789"/>
                </a:lnTo>
                <a:lnTo>
                  <a:pt x="5624" y="6544"/>
                </a:lnTo>
                <a:lnTo>
                  <a:pt x="5695" y="6300"/>
                </a:lnTo>
                <a:lnTo>
                  <a:pt x="5766" y="6116"/>
                </a:lnTo>
                <a:lnTo>
                  <a:pt x="5838" y="5749"/>
                </a:lnTo>
                <a:lnTo>
                  <a:pt x="5980" y="5504"/>
                </a:lnTo>
                <a:lnTo>
                  <a:pt x="6194" y="5321"/>
                </a:lnTo>
                <a:lnTo>
                  <a:pt x="6478" y="0"/>
                </a:lnTo>
                <a:lnTo>
                  <a:pt x="5980" y="61"/>
                </a:lnTo>
                <a:lnTo>
                  <a:pt x="5410" y="122"/>
                </a:lnTo>
                <a:lnTo>
                  <a:pt x="4983" y="244"/>
                </a:lnTo>
                <a:lnTo>
                  <a:pt x="4485" y="366"/>
                </a:lnTo>
                <a:lnTo>
                  <a:pt x="4058" y="489"/>
                </a:lnTo>
                <a:lnTo>
                  <a:pt x="3631" y="672"/>
                </a:lnTo>
                <a:lnTo>
                  <a:pt x="3275" y="856"/>
                </a:lnTo>
                <a:lnTo>
                  <a:pt x="2919" y="1039"/>
                </a:lnTo>
                <a:lnTo>
                  <a:pt x="2563" y="1223"/>
                </a:lnTo>
                <a:lnTo>
                  <a:pt x="2207" y="1406"/>
                </a:lnTo>
                <a:lnTo>
                  <a:pt x="1922" y="1651"/>
                </a:lnTo>
                <a:lnTo>
                  <a:pt x="1637" y="1957"/>
                </a:lnTo>
                <a:lnTo>
                  <a:pt x="1423" y="2263"/>
                </a:lnTo>
                <a:lnTo>
                  <a:pt x="1210" y="2568"/>
                </a:lnTo>
                <a:lnTo>
                  <a:pt x="996" y="2935"/>
                </a:lnTo>
                <a:lnTo>
                  <a:pt x="783" y="3302"/>
                </a:lnTo>
                <a:lnTo>
                  <a:pt x="640" y="3669"/>
                </a:lnTo>
                <a:lnTo>
                  <a:pt x="498" y="4159"/>
                </a:lnTo>
                <a:lnTo>
                  <a:pt x="355" y="4648"/>
                </a:lnTo>
                <a:lnTo>
                  <a:pt x="284" y="5199"/>
                </a:lnTo>
                <a:lnTo>
                  <a:pt x="142" y="5749"/>
                </a:lnTo>
                <a:lnTo>
                  <a:pt x="71" y="6361"/>
                </a:lnTo>
                <a:lnTo>
                  <a:pt x="71" y="7034"/>
                </a:lnTo>
                <a:lnTo>
                  <a:pt x="0" y="7706"/>
                </a:lnTo>
                <a:lnTo>
                  <a:pt x="0" y="16514"/>
                </a:lnTo>
                <a:lnTo>
                  <a:pt x="71" y="17065"/>
                </a:lnTo>
                <a:close/>
              </a:path>
            </a:pathLst>
          </a:custGeom>
          <a:solidFill>
            <a:srgbClr val="000000"/>
          </a:solidFill>
        </p:spPr>
        <p:txBody>
          <a:bodyPr wrap="square" lIns="0" tIns="0" rIns="0" bIns="0" rtlCol="0">
            <a:noAutofit/>
          </a:bodyPr>
          <a:lstStyle/>
          <a:p>
            <a:endParaRPr/>
          </a:p>
        </p:txBody>
      </p:sp>
      <p:sp>
        <p:nvSpPr>
          <p:cNvPr id="656" name="object 656"/>
          <p:cNvSpPr/>
          <p:nvPr/>
        </p:nvSpPr>
        <p:spPr>
          <a:xfrm>
            <a:off x="9174827" y="4400377"/>
            <a:ext cx="6834" cy="14068"/>
          </a:xfrm>
          <a:custGeom>
            <a:avLst/>
            <a:gdLst/>
            <a:ahLst/>
            <a:cxnLst/>
            <a:rect l="l" t="t" r="r" b="b"/>
            <a:pathLst>
              <a:path w="6834" h="14068">
                <a:moveTo>
                  <a:pt x="6834" y="305"/>
                </a:moveTo>
                <a:lnTo>
                  <a:pt x="5838" y="0"/>
                </a:lnTo>
                <a:lnTo>
                  <a:pt x="0" y="14068"/>
                </a:lnTo>
                <a:lnTo>
                  <a:pt x="6834" y="305"/>
                </a:lnTo>
                <a:close/>
              </a:path>
            </a:pathLst>
          </a:custGeom>
          <a:solidFill>
            <a:srgbClr val="4F4F4F"/>
          </a:solidFill>
        </p:spPr>
        <p:txBody>
          <a:bodyPr wrap="square" lIns="0" tIns="0" rIns="0" bIns="0" rtlCol="0">
            <a:noAutofit/>
          </a:bodyPr>
          <a:lstStyle/>
          <a:p>
            <a:endParaRPr/>
          </a:p>
        </p:txBody>
      </p:sp>
      <p:sp>
        <p:nvSpPr>
          <p:cNvPr id="657" name="object 657"/>
          <p:cNvSpPr/>
          <p:nvPr/>
        </p:nvSpPr>
        <p:spPr>
          <a:xfrm>
            <a:off x="9167992" y="4400377"/>
            <a:ext cx="14880" cy="30338"/>
          </a:xfrm>
          <a:custGeom>
            <a:avLst/>
            <a:gdLst/>
            <a:ahLst/>
            <a:cxnLst/>
            <a:rect l="l" t="t" r="r" b="b"/>
            <a:pathLst>
              <a:path w="14880" h="30338">
                <a:moveTo>
                  <a:pt x="14880" y="672"/>
                </a:moveTo>
                <a:lnTo>
                  <a:pt x="12673" y="0"/>
                </a:lnTo>
                <a:lnTo>
                  <a:pt x="0" y="30338"/>
                </a:lnTo>
                <a:lnTo>
                  <a:pt x="14880" y="672"/>
                </a:lnTo>
                <a:close/>
              </a:path>
            </a:pathLst>
          </a:custGeom>
          <a:solidFill>
            <a:srgbClr val="5C5C5C"/>
          </a:solidFill>
        </p:spPr>
        <p:txBody>
          <a:bodyPr wrap="square" lIns="0" tIns="0" rIns="0" bIns="0" rtlCol="0">
            <a:noAutofit/>
          </a:bodyPr>
          <a:lstStyle/>
          <a:p>
            <a:endParaRPr/>
          </a:p>
        </p:txBody>
      </p:sp>
      <p:sp>
        <p:nvSpPr>
          <p:cNvPr id="658" name="object 658"/>
          <p:cNvSpPr/>
          <p:nvPr/>
        </p:nvSpPr>
        <p:spPr>
          <a:xfrm>
            <a:off x="9167993" y="4400684"/>
            <a:ext cx="16161" cy="31011"/>
          </a:xfrm>
          <a:custGeom>
            <a:avLst/>
            <a:gdLst/>
            <a:ahLst/>
            <a:cxnLst/>
            <a:rect l="l" t="t" r="r" b="b"/>
            <a:pathLst>
              <a:path w="16161" h="31011">
                <a:moveTo>
                  <a:pt x="13669" y="0"/>
                </a:moveTo>
                <a:lnTo>
                  <a:pt x="6834" y="13762"/>
                </a:lnTo>
                <a:lnTo>
                  <a:pt x="0" y="30032"/>
                </a:lnTo>
                <a:lnTo>
                  <a:pt x="213" y="30338"/>
                </a:lnTo>
                <a:lnTo>
                  <a:pt x="498" y="30583"/>
                </a:lnTo>
                <a:lnTo>
                  <a:pt x="711" y="30827"/>
                </a:lnTo>
                <a:lnTo>
                  <a:pt x="996" y="31011"/>
                </a:lnTo>
                <a:lnTo>
                  <a:pt x="16161" y="795"/>
                </a:lnTo>
                <a:lnTo>
                  <a:pt x="13669" y="0"/>
                </a:lnTo>
                <a:close/>
              </a:path>
            </a:pathLst>
          </a:custGeom>
          <a:solidFill>
            <a:srgbClr val="6B6B6B"/>
          </a:solidFill>
        </p:spPr>
        <p:txBody>
          <a:bodyPr wrap="square" lIns="0" tIns="0" rIns="0" bIns="0" rtlCol="0">
            <a:noAutofit/>
          </a:bodyPr>
          <a:lstStyle/>
          <a:p>
            <a:endParaRPr/>
          </a:p>
        </p:txBody>
      </p:sp>
      <p:sp>
        <p:nvSpPr>
          <p:cNvPr id="659" name="object 659"/>
          <p:cNvSpPr/>
          <p:nvPr/>
        </p:nvSpPr>
        <p:spPr>
          <a:xfrm>
            <a:off x="9168063" y="4401051"/>
            <a:ext cx="17158" cy="31011"/>
          </a:xfrm>
          <a:custGeom>
            <a:avLst/>
            <a:gdLst/>
            <a:ahLst/>
            <a:cxnLst/>
            <a:rect l="l" t="t" r="r" b="b"/>
            <a:pathLst>
              <a:path w="17158" h="31011">
                <a:moveTo>
                  <a:pt x="17016" y="1284"/>
                </a:moveTo>
                <a:lnTo>
                  <a:pt x="17158" y="795"/>
                </a:lnTo>
                <a:lnTo>
                  <a:pt x="14808" y="0"/>
                </a:lnTo>
                <a:lnTo>
                  <a:pt x="0" y="29665"/>
                </a:lnTo>
                <a:lnTo>
                  <a:pt x="711" y="30460"/>
                </a:lnTo>
                <a:lnTo>
                  <a:pt x="1922" y="30950"/>
                </a:lnTo>
                <a:lnTo>
                  <a:pt x="2207" y="31011"/>
                </a:lnTo>
                <a:lnTo>
                  <a:pt x="17016" y="1284"/>
                </a:lnTo>
                <a:close/>
              </a:path>
            </a:pathLst>
          </a:custGeom>
          <a:solidFill>
            <a:srgbClr val="787878"/>
          </a:solidFill>
        </p:spPr>
        <p:txBody>
          <a:bodyPr wrap="square" lIns="0" tIns="0" rIns="0" bIns="0" rtlCol="0">
            <a:noAutofit/>
          </a:bodyPr>
          <a:lstStyle/>
          <a:p>
            <a:endParaRPr/>
          </a:p>
        </p:txBody>
      </p:sp>
      <p:sp>
        <p:nvSpPr>
          <p:cNvPr id="660" name="object 660"/>
          <p:cNvSpPr/>
          <p:nvPr/>
        </p:nvSpPr>
        <p:spPr>
          <a:xfrm>
            <a:off x="9168989" y="4401479"/>
            <a:ext cx="16232" cy="30705"/>
          </a:xfrm>
          <a:custGeom>
            <a:avLst/>
            <a:gdLst/>
            <a:ahLst/>
            <a:cxnLst/>
            <a:rect l="l" t="t" r="r" b="b"/>
            <a:pathLst>
              <a:path w="16232" h="30705">
                <a:moveTo>
                  <a:pt x="9184" y="17432"/>
                </a:moveTo>
                <a:lnTo>
                  <a:pt x="16232" y="366"/>
                </a:lnTo>
                <a:lnTo>
                  <a:pt x="15164" y="0"/>
                </a:lnTo>
                <a:lnTo>
                  <a:pt x="0" y="30216"/>
                </a:lnTo>
                <a:lnTo>
                  <a:pt x="284" y="30338"/>
                </a:lnTo>
                <a:lnTo>
                  <a:pt x="640" y="30460"/>
                </a:lnTo>
                <a:lnTo>
                  <a:pt x="925" y="30522"/>
                </a:lnTo>
                <a:lnTo>
                  <a:pt x="1281" y="30583"/>
                </a:lnTo>
                <a:lnTo>
                  <a:pt x="1566" y="30583"/>
                </a:lnTo>
                <a:lnTo>
                  <a:pt x="1922" y="30644"/>
                </a:lnTo>
                <a:lnTo>
                  <a:pt x="2207" y="30644"/>
                </a:lnTo>
                <a:lnTo>
                  <a:pt x="2563" y="30705"/>
                </a:lnTo>
                <a:lnTo>
                  <a:pt x="9184" y="17432"/>
                </a:lnTo>
                <a:close/>
              </a:path>
            </a:pathLst>
          </a:custGeom>
          <a:solidFill>
            <a:srgbClr val="868686"/>
          </a:solidFill>
        </p:spPr>
        <p:txBody>
          <a:bodyPr wrap="square" lIns="0" tIns="0" rIns="0" bIns="0" rtlCol="0">
            <a:noAutofit/>
          </a:bodyPr>
          <a:lstStyle/>
          <a:p>
            <a:endParaRPr/>
          </a:p>
        </p:txBody>
      </p:sp>
      <p:sp>
        <p:nvSpPr>
          <p:cNvPr id="661" name="object 661"/>
          <p:cNvSpPr/>
          <p:nvPr/>
        </p:nvSpPr>
        <p:spPr>
          <a:xfrm>
            <a:off x="9170270" y="4402336"/>
            <a:ext cx="14808" cy="30093"/>
          </a:xfrm>
          <a:custGeom>
            <a:avLst/>
            <a:gdLst/>
            <a:ahLst/>
            <a:cxnLst/>
            <a:rect l="l" t="t" r="r" b="b"/>
            <a:pathLst>
              <a:path w="14808" h="30093">
                <a:moveTo>
                  <a:pt x="14808" y="0"/>
                </a:moveTo>
                <a:lnTo>
                  <a:pt x="0" y="29726"/>
                </a:lnTo>
                <a:lnTo>
                  <a:pt x="284" y="29726"/>
                </a:lnTo>
                <a:lnTo>
                  <a:pt x="569" y="29788"/>
                </a:lnTo>
                <a:lnTo>
                  <a:pt x="1210" y="29788"/>
                </a:lnTo>
                <a:lnTo>
                  <a:pt x="1495" y="29849"/>
                </a:lnTo>
                <a:lnTo>
                  <a:pt x="1779" y="29910"/>
                </a:lnTo>
                <a:lnTo>
                  <a:pt x="1993" y="29971"/>
                </a:lnTo>
                <a:lnTo>
                  <a:pt x="2278" y="30093"/>
                </a:lnTo>
                <a:lnTo>
                  <a:pt x="14808" y="0"/>
                </a:lnTo>
                <a:close/>
              </a:path>
            </a:pathLst>
          </a:custGeom>
          <a:solidFill>
            <a:srgbClr val="939393"/>
          </a:solidFill>
        </p:spPr>
        <p:txBody>
          <a:bodyPr wrap="square" lIns="0" tIns="0" rIns="0" bIns="0" rtlCol="0">
            <a:noAutofit/>
          </a:bodyPr>
          <a:lstStyle/>
          <a:p>
            <a:endParaRPr/>
          </a:p>
        </p:txBody>
      </p:sp>
      <p:sp>
        <p:nvSpPr>
          <p:cNvPr id="662" name="object 662"/>
          <p:cNvSpPr/>
          <p:nvPr/>
        </p:nvSpPr>
        <p:spPr>
          <a:xfrm>
            <a:off x="9171553" y="4418912"/>
            <a:ext cx="6621" cy="13517"/>
          </a:xfrm>
          <a:custGeom>
            <a:avLst/>
            <a:gdLst/>
            <a:ahLst/>
            <a:cxnLst/>
            <a:rect l="l" t="t" r="r" b="b"/>
            <a:pathLst>
              <a:path w="6621" h="13517">
                <a:moveTo>
                  <a:pt x="6621" y="0"/>
                </a:moveTo>
                <a:lnTo>
                  <a:pt x="0" y="13273"/>
                </a:lnTo>
                <a:lnTo>
                  <a:pt x="284" y="13273"/>
                </a:lnTo>
                <a:lnTo>
                  <a:pt x="498" y="13334"/>
                </a:lnTo>
                <a:lnTo>
                  <a:pt x="783" y="13395"/>
                </a:lnTo>
                <a:lnTo>
                  <a:pt x="996" y="13517"/>
                </a:lnTo>
                <a:lnTo>
                  <a:pt x="6621" y="0"/>
                </a:lnTo>
                <a:close/>
              </a:path>
            </a:pathLst>
          </a:custGeom>
          <a:solidFill>
            <a:srgbClr val="A0A0A0"/>
          </a:solidFill>
        </p:spPr>
        <p:txBody>
          <a:bodyPr wrap="square" lIns="0" tIns="0" rIns="0" bIns="0" rtlCol="0">
            <a:noAutofit/>
          </a:bodyPr>
          <a:lstStyle/>
          <a:p>
            <a:endParaRPr/>
          </a:p>
        </p:txBody>
      </p:sp>
      <p:sp>
        <p:nvSpPr>
          <p:cNvPr id="663" name="object 663"/>
          <p:cNvSpPr/>
          <p:nvPr/>
        </p:nvSpPr>
        <p:spPr>
          <a:xfrm>
            <a:off x="9183157" y="4402946"/>
            <a:ext cx="996" cy="550"/>
          </a:xfrm>
          <a:custGeom>
            <a:avLst/>
            <a:gdLst/>
            <a:ahLst/>
            <a:cxnLst/>
            <a:rect l="l" t="t" r="r" b="b"/>
            <a:pathLst>
              <a:path w="996" h="550">
                <a:moveTo>
                  <a:pt x="996" y="550"/>
                </a:moveTo>
                <a:lnTo>
                  <a:pt x="925" y="183"/>
                </a:lnTo>
                <a:lnTo>
                  <a:pt x="640" y="0"/>
                </a:lnTo>
                <a:lnTo>
                  <a:pt x="213" y="61"/>
                </a:lnTo>
                <a:lnTo>
                  <a:pt x="0" y="305"/>
                </a:lnTo>
                <a:lnTo>
                  <a:pt x="996" y="550"/>
                </a:lnTo>
                <a:close/>
              </a:path>
            </a:pathLst>
          </a:custGeom>
          <a:solidFill>
            <a:srgbClr val="FFFFFF"/>
          </a:solidFill>
        </p:spPr>
        <p:txBody>
          <a:bodyPr wrap="square" lIns="0" tIns="0" rIns="0" bIns="0" rtlCol="0">
            <a:noAutofit/>
          </a:bodyPr>
          <a:lstStyle/>
          <a:p>
            <a:endParaRPr/>
          </a:p>
        </p:txBody>
      </p:sp>
      <p:sp>
        <p:nvSpPr>
          <p:cNvPr id="664" name="object 664"/>
          <p:cNvSpPr/>
          <p:nvPr/>
        </p:nvSpPr>
        <p:spPr>
          <a:xfrm>
            <a:off x="9171409" y="4403253"/>
            <a:ext cx="12744" cy="28381"/>
          </a:xfrm>
          <a:custGeom>
            <a:avLst/>
            <a:gdLst/>
            <a:ahLst/>
            <a:cxnLst/>
            <a:rect l="l" t="t" r="r" b="b"/>
            <a:pathLst>
              <a:path w="12744" h="28381">
                <a:moveTo>
                  <a:pt x="498" y="28258"/>
                </a:moveTo>
                <a:lnTo>
                  <a:pt x="996" y="28381"/>
                </a:lnTo>
                <a:lnTo>
                  <a:pt x="12744" y="244"/>
                </a:lnTo>
                <a:lnTo>
                  <a:pt x="11747" y="0"/>
                </a:lnTo>
                <a:lnTo>
                  <a:pt x="0" y="28136"/>
                </a:lnTo>
                <a:lnTo>
                  <a:pt x="498" y="28258"/>
                </a:lnTo>
                <a:close/>
              </a:path>
            </a:pathLst>
          </a:custGeom>
          <a:solidFill>
            <a:srgbClr val="FFFFFF"/>
          </a:solidFill>
        </p:spPr>
        <p:txBody>
          <a:bodyPr wrap="square" lIns="0" tIns="0" rIns="0" bIns="0" rtlCol="0">
            <a:noAutofit/>
          </a:bodyPr>
          <a:lstStyle/>
          <a:p>
            <a:endParaRPr/>
          </a:p>
        </p:txBody>
      </p:sp>
      <p:sp>
        <p:nvSpPr>
          <p:cNvPr id="665" name="object 665"/>
          <p:cNvSpPr/>
          <p:nvPr/>
        </p:nvSpPr>
        <p:spPr>
          <a:xfrm>
            <a:off x="9171409" y="4431389"/>
            <a:ext cx="996" cy="550"/>
          </a:xfrm>
          <a:custGeom>
            <a:avLst/>
            <a:gdLst/>
            <a:ahLst/>
            <a:cxnLst/>
            <a:rect l="l" t="t" r="r" b="b"/>
            <a:pathLst>
              <a:path w="996" h="550">
                <a:moveTo>
                  <a:pt x="0" y="0"/>
                </a:moveTo>
                <a:lnTo>
                  <a:pt x="71" y="366"/>
                </a:lnTo>
                <a:lnTo>
                  <a:pt x="427" y="550"/>
                </a:lnTo>
                <a:lnTo>
                  <a:pt x="783" y="489"/>
                </a:lnTo>
                <a:lnTo>
                  <a:pt x="996" y="244"/>
                </a:lnTo>
                <a:lnTo>
                  <a:pt x="0" y="0"/>
                </a:lnTo>
                <a:close/>
              </a:path>
            </a:pathLst>
          </a:custGeom>
          <a:solidFill>
            <a:srgbClr val="FFFFFF"/>
          </a:solidFill>
        </p:spPr>
        <p:txBody>
          <a:bodyPr wrap="square" lIns="0" tIns="0" rIns="0" bIns="0" rtlCol="0">
            <a:noAutofit/>
          </a:bodyPr>
          <a:lstStyle/>
          <a:p>
            <a:endParaRPr/>
          </a:p>
        </p:txBody>
      </p:sp>
      <p:sp>
        <p:nvSpPr>
          <p:cNvPr id="666" name="object 666"/>
          <p:cNvSpPr/>
          <p:nvPr/>
        </p:nvSpPr>
        <p:spPr>
          <a:xfrm>
            <a:off x="9159592" y="4385024"/>
            <a:ext cx="50763" cy="26546"/>
          </a:xfrm>
          <a:custGeom>
            <a:avLst/>
            <a:gdLst/>
            <a:ahLst/>
            <a:cxnLst/>
            <a:rect l="l" t="t" r="r" b="b"/>
            <a:pathLst>
              <a:path w="50763" h="26546">
                <a:moveTo>
                  <a:pt x="20362" y="22998"/>
                </a:moveTo>
                <a:lnTo>
                  <a:pt x="22854" y="23854"/>
                </a:lnTo>
                <a:lnTo>
                  <a:pt x="25346" y="24588"/>
                </a:lnTo>
                <a:lnTo>
                  <a:pt x="27766" y="25261"/>
                </a:lnTo>
                <a:lnTo>
                  <a:pt x="30187" y="25751"/>
                </a:lnTo>
                <a:lnTo>
                  <a:pt x="32465" y="26118"/>
                </a:lnTo>
                <a:lnTo>
                  <a:pt x="34672" y="26362"/>
                </a:lnTo>
                <a:lnTo>
                  <a:pt x="36808" y="26546"/>
                </a:lnTo>
                <a:lnTo>
                  <a:pt x="38802" y="26546"/>
                </a:lnTo>
                <a:lnTo>
                  <a:pt x="40653" y="26423"/>
                </a:lnTo>
                <a:lnTo>
                  <a:pt x="42362" y="26240"/>
                </a:lnTo>
                <a:lnTo>
                  <a:pt x="43928" y="25873"/>
                </a:lnTo>
                <a:lnTo>
                  <a:pt x="45352" y="25445"/>
                </a:lnTo>
                <a:lnTo>
                  <a:pt x="46491" y="24833"/>
                </a:lnTo>
                <a:lnTo>
                  <a:pt x="47488" y="24160"/>
                </a:lnTo>
                <a:lnTo>
                  <a:pt x="48271" y="23304"/>
                </a:lnTo>
                <a:lnTo>
                  <a:pt x="48769" y="22386"/>
                </a:lnTo>
                <a:lnTo>
                  <a:pt x="50763" y="18900"/>
                </a:lnTo>
                <a:lnTo>
                  <a:pt x="50336" y="17921"/>
                </a:lnTo>
                <a:lnTo>
                  <a:pt x="49695" y="16943"/>
                </a:lnTo>
                <a:lnTo>
                  <a:pt x="48912" y="15964"/>
                </a:lnTo>
                <a:lnTo>
                  <a:pt x="47986" y="14924"/>
                </a:lnTo>
                <a:lnTo>
                  <a:pt x="46918" y="13945"/>
                </a:lnTo>
                <a:lnTo>
                  <a:pt x="45637" y="12906"/>
                </a:lnTo>
                <a:lnTo>
                  <a:pt x="44284" y="11866"/>
                </a:lnTo>
                <a:lnTo>
                  <a:pt x="42860" y="10887"/>
                </a:lnTo>
                <a:lnTo>
                  <a:pt x="41294" y="9908"/>
                </a:lnTo>
                <a:lnTo>
                  <a:pt x="39585" y="8930"/>
                </a:lnTo>
                <a:lnTo>
                  <a:pt x="37876" y="8012"/>
                </a:lnTo>
                <a:lnTo>
                  <a:pt x="36025" y="7095"/>
                </a:lnTo>
                <a:lnTo>
                  <a:pt x="34174" y="6238"/>
                </a:lnTo>
                <a:lnTo>
                  <a:pt x="32252" y="5382"/>
                </a:lnTo>
                <a:lnTo>
                  <a:pt x="30329" y="4587"/>
                </a:lnTo>
                <a:lnTo>
                  <a:pt x="28336" y="3853"/>
                </a:lnTo>
                <a:lnTo>
                  <a:pt x="26342" y="3180"/>
                </a:lnTo>
                <a:lnTo>
                  <a:pt x="24349" y="2507"/>
                </a:lnTo>
                <a:lnTo>
                  <a:pt x="22355" y="1957"/>
                </a:lnTo>
                <a:lnTo>
                  <a:pt x="20433" y="1467"/>
                </a:lnTo>
                <a:lnTo>
                  <a:pt x="18511" y="1039"/>
                </a:lnTo>
                <a:lnTo>
                  <a:pt x="16588" y="672"/>
                </a:lnTo>
                <a:lnTo>
                  <a:pt x="14808" y="428"/>
                </a:lnTo>
                <a:lnTo>
                  <a:pt x="13029" y="183"/>
                </a:lnTo>
                <a:lnTo>
                  <a:pt x="11320" y="61"/>
                </a:lnTo>
                <a:lnTo>
                  <a:pt x="9682" y="0"/>
                </a:lnTo>
                <a:lnTo>
                  <a:pt x="8187" y="0"/>
                </a:lnTo>
                <a:lnTo>
                  <a:pt x="6692" y="122"/>
                </a:lnTo>
                <a:lnTo>
                  <a:pt x="5339" y="305"/>
                </a:lnTo>
                <a:lnTo>
                  <a:pt x="4129" y="550"/>
                </a:lnTo>
                <a:lnTo>
                  <a:pt x="3061" y="917"/>
                </a:lnTo>
                <a:lnTo>
                  <a:pt x="2064" y="1345"/>
                </a:lnTo>
                <a:lnTo>
                  <a:pt x="355" y="5137"/>
                </a:lnTo>
                <a:lnTo>
                  <a:pt x="71" y="6177"/>
                </a:lnTo>
                <a:lnTo>
                  <a:pt x="0" y="7217"/>
                </a:lnTo>
                <a:lnTo>
                  <a:pt x="213" y="8318"/>
                </a:lnTo>
                <a:lnTo>
                  <a:pt x="640" y="9480"/>
                </a:lnTo>
                <a:lnTo>
                  <a:pt x="1281" y="10642"/>
                </a:lnTo>
                <a:lnTo>
                  <a:pt x="2135" y="11805"/>
                </a:lnTo>
                <a:lnTo>
                  <a:pt x="3203" y="12967"/>
                </a:lnTo>
                <a:lnTo>
                  <a:pt x="4485" y="14190"/>
                </a:lnTo>
                <a:lnTo>
                  <a:pt x="5909" y="15352"/>
                </a:lnTo>
                <a:lnTo>
                  <a:pt x="7546" y="16576"/>
                </a:lnTo>
                <a:lnTo>
                  <a:pt x="9326" y="17738"/>
                </a:lnTo>
                <a:lnTo>
                  <a:pt x="11249" y="18839"/>
                </a:lnTo>
                <a:lnTo>
                  <a:pt x="13313" y="19940"/>
                </a:lnTo>
                <a:lnTo>
                  <a:pt x="15520" y="21041"/>
                </a:lnTo>
                <a:lnTo>
                  <a:pt x="17870" y="22019"/>
                </a:lnTo>
                <a:lnTo>
                  <a:pt x="20362" y="22998"/>
                </a:lnTo>
                <a:close/>
              </a:path>
            </a:pathLst>
          </a:custGeom>
          <a:solidFill>
            <a:srgbClr val="666666"/>
          </a:solidFill>
        </p:spPr>
        <p:txBody>
          <a:bodyPr wrap="square" lIns="0" tIns="0" rIns="0" bIns="0" rtlCol="0">
            <a:noAutofit/>
          </a:bodyPr>
          <a:lstStyle/>
          <a:p>
            <a:endParaRPr/>
          </a:p>
        </p:txBody>
      </p:sp>
      <p:sp>
        <p:nvSpPr>
          <p:cNvPr id="667" name="object 667"/>
          <p:cNvSpPr/>
          <p:nvPr/>
        </p:nvSpPr>
        <p:spPr>
          <a:xfrm>
            <a:off x="9159592" y="4385024"/>
            <a:ext cx="50763" cy="26546"/>
          </a:xfrm>
          <a:custGeom>
            <a:avLst/>
            <a:gdLst/>
            <a:ahLst/>
            <a:cxnLst/>
            <a:rect l="l" t="t" r="r" b="b"/>
            <a:pathLst>
              <a:path w="50763" h="26546">
                <a:moveTo>
                  <a:pt x="20362" y="22998"/>
                </a:moveTo>
                <a:lnTo>
                  <a:pt x="22854" y="23854"/>
                </a:lnTo>
                <a:lnTo>
                  <a:pt x="25346" y="24588"/>
                </a:lnTo>
                <a:lnTo>
                  <a:pt x="27766" y="25261"/>
                </a:lnTo>
                <a:lnTo>
                  <a:pt x="30187" y="25751"/>
                </a:lnTo>
                <a:lnTo>
                  <a:pt x="32465" y="26118"/>
                </a:lnTo>
                <a:lnTo>
                  <a:pt x="34672" y="26362"/>
                </a:lnTo>
                <a:lnTo>
                  <a:pt x="36808" y="26546"/>
                </a:lnTo>
                <a:lnTo>
                  <a:pt x="38802" y="26546"/>
                </a:lnTo>
                <a:lnTo>
                  <a:pt x="40653" y="26423"/>
                </a:lnTo>
                <a:lnTo>
                  <a:pt x="42362" y="26240"/>
                </a:lnTo>
                <a:lnTo>
                  <a:pt x="43928" y="25873"/>
                </a:lnTo>
                <a:lnTo>
                  <a:pt x="45352" y="25445"/>
                </a:lnTo>
                <a:lnTo>
                  <a:pt x="46491" y="24833"/>
                </a:lnTo>
                <a:lnTo>
                  <a:pt x="47488" y="24160"/>
                </a:lnTo>
                <a:lnTo>
                  <a:pt x="48271" y="23304"/>
                </a:lnTo>
                <a:lnTo>
                  <a:pt x="48769" y="22386"/>
                </a:lnTo>
                <a:lnTo>
                  <a:pt x="50763" y="18900"/>
                </a:lnTo>
                <a:lnTo>
                  <a:pt x="50336" y="17921"/>
                </a:lnTo>
                <a:lnTo>
                  <a:pt x="49695" y="16943"/>
                </a:lnTo>
                <a:lnTo>
                  <a:pt x="48912" y="15964"/>
                </a:lnTo>
                <a:lnTo>
                  <a:pt x="47986" y="14924"/>
                </a:lnTo>
                <a:lnTo>
                  <a:pt x="46918" y="13945"/>
                </a:lnTo>
                <a:lnTo>
                  <a:pt x="45637" y="12906"/>
                </a:lnTo>
                <a:lnTo>
                  <a:pt x="44284" y="11866"/>
                </a:lnTo>
                <a:lnTo>
                  <a:pt x="42860" y="10887"/>
                </a:lnTo>
                <a:lnTo>
                  <a:pt x="41294" y="9908"/>
                </a:lnTo>
                <a:lnTo>
                  <a:pt x="39585" y="8930"/>
                </a:lnTo>
                <a:lnTo>
                  <a:pt x="37876" y="8012"/>
                </a:lnTo>
                <a:lnTo>
                  <a:pt x="36025" y="7095"/>
                </a:lnTo>
                <a:lnTo>
                  <a:pt x="34174" y="6238"/>
                </a:lnTo>
                <a:lnTo>
                  <a:pt x="32252" y="5382"/>
                </a:lnTo>
                <a:lnTo>
                  <a:pt x="30329" y="4587"/>
                </a:lnTo>
                <a:lnTo>
                  <a:pt x="28336" y="3853"/>
                </a:lnTo>
                <a:lnTo>
                  <a:pt x="26342" y="3180"/>
                </a:lnTo>
                <a:lnTo>
                  <a:pt x="24349" y="2507"/>
                </a:lnTo>
                <a:lnTo>
                  <a:pt x="22355" y="1957"/>
                </a:lnTo>
                <a:lnTo>
                  <a:pt x="20433" y="1467"/>
                </a:lnTo>
                <a:lnTo>
                  <a:pt x="18511" y="1039"/>
                </a:lnTo>
                <a:lnTo>
                  <a:pt x="16588" y="672"/>
                </a:lnTo>
                <a:lnTo>
                  <a:pt x="14808" y="428"/>
                </a:lnTo>
                <a:lnTo>
                  <a:pt x="13029" y="183"/>
                </a:lnTo>
                <a:lnTo>
                  <a:pt x="11320" y="61"/>
                </a:lnTo>
                <a:lnTo>
                  <a:pt x="9682" y="0"/>
                </a:lnTo>
                <a:lnTo>
                  <a:pt x="8187" y="0"/>
                </a:lnTo>
                <a:lnTo>
                  <a:pt x="6692" y="122"/>
                </a:lnTo>
                <a:lnTo>
                  <a:pt x="5339" y="305"/>
                </a:lnTo>
                <a:lnTo>
                  <a:pt x="4129" y="550"/>
                </a:lnTo>
                <a:lnTo>
                  <a:pt x="3061" y="917"/>
                </a:lnTo>
                <a:lnTo>
                  <a:pt x="2064" y="1345"/>
                </a:lnTo>
                <a:lnTo>
                  <a:pt x="355" y="5137"/>
                </a:lnTo>
                <a:lnTo>
                  <a:pt x="71" y="6177"/>
                </a:lnTo>
                <a:lnTo>
                  <a:pt x="0" y="7217"/>
                </a:lnTo>
                <a:lnTo>
                  <a:pt x="213" y="8318"/>
                </a:lnTo>
                <a:lnTo>
                  <a:pt x="640" y="9480"/>
                </a:lnTo>
                <a:lnTo>
                  <a:pt x="1281" y="10642"/>
                </a:lnTo>
                <a:lnTo>
                  <a:pt x="2135" y="11805"/>
                </a:lnTo>
                <a:lnTo>
                  <a:pt x="3203" y="12967"/>
                </a:lnTo>
                <a:lnTo>
                  <a:pt x="4485" y="14190"/>
                </a:lnTo>
                <a:lnTo>
                  <a:pt x="5909" y="15352"/>
                </a:lnTo>
                <a:lnTo>
                  <a:pt x="7546" y="16576"/>
                </a:lnTo>
                <a:lnTo>
                  <a:pt x="9326" y="17738"/>
                </a:lnTo>
                <a:lnTo>
                  <a:pt x="11249" y="18839"/>
                </a:lnTo>
                <a:lnTo>
                  <a:pt x="13313" y="19940"/>
                </a:lnTo>
                <a:lnTo>
                  <a:pt x="15520" y="21041"/>
                </a:lnTo>
                <a:lnTo>
                  <a:pt x="17870" y="22019"/>
                </a:lnTo>
                <a:lnTo>
                  <a:pt x="20362" y="22998"/>
                </a:lnTo>
              </a:path>
            </a:pathLst>
          </a:custGeom>
          <a:ln w="63">
            <a:solidFill>
              <a:srgbClr val="000000"/>
            </a:solidFill>
          </a:ln>
        </p:spPr>
        <p:txBody>
          <a:bodyPr wrap="square" lIns="0" tIns="0" rIns="0" bIns="0" rtlCol="0">
            <a:noAutofit/>
          </a:bodyPr>
          <a:lstStyle/>
          <a:p>
            <a:endParaRPr/>
          </a:p>
        </p:txBody>
      </p:sp>
      <p:sp>
        <p:nvSpPr>
          <p:cNvPr id="668" name="object 668"/>
          <p:cNvSpPr/>
          <p:nvPr/>
        </p:nvSpPr>
        <p:spPr>
          <a:xfrm>
            <a:off x="9160873" y="4378909"/>
            <a:ext cx="50265" cy="29543"/>
          </a:xfrm>
          <a:custGeom>
            <a:avLst/>
            <a:gdLst/>
            <a:ahLst/>
            <a:cxnLst/>
            <a:rect l="l" t="t" r="r" b="b"/>
            <a:pathLst>
              <a:path w="50265" h="29543">
                <a:moveTo>
                  <a:pt x="43359" y="8930"/>
                </a:moveTo>
                <a:lnTo>
                  <a:pt x="17870" y="183"/>
                </a:lnTo>
                <a:lnTo>
                  <a:pt x="17728" y="183"/>
                </a:lnTo>
                <a:lnTo>
                  <a:pt x="17372" y="122"/>
                </a:lnTo>
                <a:lnTo>
                  <a:pt x="16731" y="61"/>
                </a:lnTo>
                <a:lnTo>
                  <a:pt x="15876" y="0"/>
                </a:lnTo>
                <a:lnTo>
                  <a:pt x="14951" y="0"/>
                </a:lnTo>
                <a:lnTo>
                  <a:pt x="13812" y="61"/>
                </a:lnTo>
                <a:lnTo>
                  <a:pt x="12530" y="183"/>
                </a:lnTo>
                <a:lnTo>
                  <a:pt x="11177" y="366"/>
                </a:lnTo>
                <a:lnTo>
                  <a:pt x="9825" y="672"/>
                </a:lnTo>
                <a:lnTo>
                  <a:pt x="8401" y="1162"/>
                </a:lnTo>
                <a:lnTo>
                  <a:pt x="6906" y="1773"/>
                </a:lnTo>
                <a:lnTo>
                  <a:pt x="5553" y="2507"/>
                </a:lnTo>
                <a:lnTo>
                  <a:pt x="4129" y="3486"/>
                </a:lnTo>
                <a:lnTo>
                  <a:pt x="2847" y="4709"/>
                </a:lnTo>
                <a:lnTo>
                  <a:pt x="1708" y="6116"/>
                </a:lnTo>
                <a:lnTo>
                  <a:pt x="640" y="7768"/>
                </a:lnTo>
                <a:lnTo>
                  <a:pt x="0" y="9541"/>
                </a:lnTo>
                <a:lnTo>
                  <a:pt x="71" y="11315"/>
                </a:lnTo>
                <a:lnTo>
                  <a:pt x="640" y="13028"/>
                </a:lnTo>
                <a:lnTo>
                  <a:pt x="1708" y="14679"/>
                </a:lnTo>
                <a:lnTo>
                  <a:pt x="3132" y="16270"/>
                </a:lnTo>
                <a:lnTo>
                  <a:pt x="4912" y="17799"/>
                </a:lnTo>
                <a:lnTo>
                  <a:pt x="6906" y="19267"/>
                </a:lnTo>
                <a:lnTo>
                  <a:pt x="9042" y="20551"/>
                </a:lnTo>
                <a:lnTo>
                  <a:pt x="11249" y="21836"/>
                </a:lnTo>
                <a:lnTo>
                  <a:pt x="13456" y="22937"/>
                </a:lnTo>
                <a:lnTo>
                  <a:pt x="15520" y="23854"/>
                </a:lnTo>
                <a:lnTo>
                  <a:pt x="17372" y="24711"/>
                </a:lnTo>
                <a:lnTo>
                  <a:pt x="19009" y="25322"/>
                </a:lnTo>
                <a:lnTo>
                  <a:pt x="20291" y="25812"/>
                </a:lnTo>
                <a:lnTo>
                  <a:pt x="21074" y="26118"/>
                </a:lnTo>
                <a:lnTo>
                  <a:pt x="21359" y="26240"/>
                </a:lnTo>
                <a:lnTo>
                  <a:pt x="22427" y="26607"/>
                </a:lnTo>
                <a:lnTo>
                  <a:pt x="23637" y="26974"/>
                </a:lnTo>
                <a:lnTo>
                  <a:pt x="25274" y="27402"/>
                </a:lnTo>
                <a:lnTo>
                  <a:pt x="27197" y="27891"/>
                </a:lnTo>
                <a:lnTo>
                  <a:pt x="29333" y="28381"/>
                </a:lnTo>
                <a:lnTo>
                  <a:pt x="31682" y="28809"/>
                </a:lnTo>
                <a:lnTo>
                  <a:pt x="34103" y="29176"/>
                </a:lnTo>
                <a:lnTo>
                  <a:pt x="36595" y="29421"/>
                </a:lnTo>
                <a:lnTo>
                  <a:pt x="39015" y="29543"/>
                </a:lnTo>
                <a:lnTo>
                  <a:pt x="41365" y="29421"/>
                </a:lnTo>
                <a:lnTo>
                  <a:pt x="43572" y="29054"/>
                </a:lnTo>
                <a:lnTo>
                  <a:pt x="45566" y="28442"/>
                </a:lnTo>
                <a:lnTo>
                  <a:pt x="47274" y="27524"/>
                </a:lnTo>
                <a:lnTo>
                  <a:pt x="48556" y="26240"/>
                </a:lnTo>
                <a:lnTo>
                  <a:pt x="49481" y="24527"/>
                </a:lnTo>
                <a:lnTo>
                  <a:pt x="49980" y="22692"/>
                </a:lnTo>
                <a:lnTo>
                  <a:pt x="50265" y="20980"/>
                </a:lnTo>
                <a:lnTo>
                  <a:pt x="50265" y="19328"/>
                </a:lnTo>
                <a:lnTo>
                  <a:pt x="50051" y="17860"/>
                </a:lnTo>
                <a:lnTo>
                  <a:pt x="49695" y="16453"/>
                </a:lnTo>
                <a:lnTo>
                  <a:pt x="49125" y="15169"/>
                </a:lnTo>
                <a:lnTo>
                  <a:pt x="48485" y="14007"/>
                </a:lnTo>
                <a:lnTo>
                  <a:pt x="47773" y="12967"/>
                </a:lnTo>
                <a:lnTo>
                  <a:pt x="46990" y="11988"/>
                </a:lnTo>
                <a:lnTo>
                  <a:pt x="46278" y="11193"/>
                </a:lnTo>
                <a:lnTo>
                  <a:pt x="45494" y="10520"/>
                </a:lnTo>
                <a:lnTo>
                  <a:pt x="44213" y="9480"/>
                </a:lnTo>
                <a:lnTo>
                  <a:pt x="43501" y="8991"/>
                </a:lnTo>
                <a:lnTo>
                  <a:pt x="43359" y="8930"/>
                </a:lnTo>
                <a:close/>
              </a:path>
            </a:pathLst>
          </a:custGeom>
          <a:solidFill>
            <a:srgbClr val="7E7E7E"/>
          </a:solidFill>
        </p:spPr>
        <p:txBody>
          <a:bodyPr wrap="square" lIns="0" tIns="0" rIns="0" bIns="0" rtlCol="0">
            <a:noAutofit/>
          </a:bodyPr>
          <a:lstStyle/>
          <a:p>
            <a:endParaRPr/>
          </a:p>
        </p:txBody>
      </p:sp>
      <p:sp>
        <p:nvSpPr>
          <p:cNvPr id="669" name="object 669"/>
          <p:cNvSpPr/>
          <p:nvPr/>
        </p:nvSpPr>
        <p:spPr>
          <a:xfrm>
            <a:off x="9160873" y="4378909"/>
            <a:ext cx="50265" cy="29543"/>
          </a:xfrm>
          <a:custGeom>
            <a:avLst/>
            <a:gdLst/>
            <a:ahLst/>
            <a:cxnLst/>
            <a:rect l="l" t="t" r="r" b="b"/>
            <a:pathLst>
              <a:path w="50265" h="29543">
                <a:moveTo>
                  <a:pt x="43359" y="8930"/>
                </a:moveTo>
                <a:lnTo>
                  <a:pt x="43501" y="8991"/>
                </a:lnTo>
                <a:lnTo>
                  <a:pt x="43786" y="9174"/>
                </a:lnTo>
                <a:lnTo>
                  <a:pt x="44213" y="9480"/>
                </a:lnTo>
                <a:lnTo>
                  <a:pt x="44854" y="9970"/>
                </a:lnTo>
                <a:lnTo>
                  <a:pt x="45494" y="10520"/>
                </a:lnTo>
                <a:lnTo>
                  <a:pt x="46278" y="11193"/>
                </a:lnTo>
                <a:lnTo>
                  <a:pt x="46990" y="11988"/>
                </a:lnTo>
                <a:lnTo>
                  <a:pt x="47773" y="12967"/>
                </a:lnTo>
                <a:lnTo>
                  <a:pt x="48485" y="14007"/>
                </a:lnTo>
                <a:lnTo>
                  <a:pt x="49125" y="15169"/>
                </a:lnTo>
                <a:lnTo>
                  <a:pt x="49695" y="16453"/>
                </a:lnTo>
                <a:lnTo>
                  <a:pt x="50051" y="17860"/>
                </a:lnTo>
                <a:lnTo>
                  <a:pt x="50265" y="19328"/>
                </a:lnTo>
                <a:lnTo>
                  <a:pt x="50265" y="20980"/>
                </a:lnTo>
                <a:lnTo>
                  <a:pt x="49980" y="22692"/>
                </a:lnTo>
                <a:lnTo>
                  <a:pt x="49481" y="24527"/>
                </a:lnTo>
                <a:lnTo>
                  <a:pt x="48556" y="26240"/>
                </a:lnTo>
                <a:lnTo>
                  <a:pt x="47274" y="27524"/>
                </a:lnTo>
                <a:lnTo>
                  <a:pt x="45566" y="28442"/>
                </a:lnTo>
                <a:lnTo>
                  <a:pt x="43572" y="29054"/>
                </a:lnTo>
                <a:lnTo>
                  <a:pt x="41365" y="29421"/>
                </a:lnTo>
                <a:lnTo>
                  <a:pt x="39015" y="29543"/>
                </a:lnTo>
                <a:lnTo>
                  <a:pt x="36595" y="29421"/>
                </a:lnTo>
                <a:lnTo>
                  <a:pt x="34103" y="29176"/>
                </a:lnTo>
                <a:lnTo>
                  <a:pt x="31682" y="28809"/>
                </a:lnTo>
                <a:lnTo>
                  <a:pt x="29333" y="28381"/>
                </a:lnTo>
                <a:lnTo>
                  <a:pt x="27197" y="27891"/>
                </a:lnTo>
                <a:lnTo>
                  <a:pt x="25274" y="27402"/>
                </a:lnTo>
                <a:lnTo>
                  <a:pt x="23637" y="26974"/>
                </a:lnTo>
                <a:lnTo>
                  <a:pt x="22427" y="26607"/>
                </a:lnTo>
                <a:lnTo>
                  <a:pt x="21359" y="26240"/>
                </a:lnTo>
                <a:lnTo>
                  <a:pt x="21074" y="26118"/>
                </a:lnTo>
                <a:lnTo>
                  <a:pt x="20291" y="25812"/>
                </a:lnTo>
                <a:lnTo>
                  <a:pt x="19009" y="25322"/>
                </a:lnTo>
                <a:lnTo>
                  <a:pt x="17372" y="24711"/>
                </a:lnTo>
                <a:lnTo>
                  <a:pt x="15520" y="23854"/>
                </a:lnTo>
                <a:lnTo>
                  <a:pt x="13456" y="22937"/>
                </a:lnTo>
                <a:lnTo>
                  <a:pt x="11249" y="21836"/>
                </a:lnTo>
                <a:lnTo>
                  <a:pt x="9042" y="20551"/>
                </a:lnTo>
                <a:lnTo>
                  <a:pt x="6906" y="19267"/>
                </a:lnTo>
                <a:lnTo>
                  <a:pt x="4912" y="17799"/>
                </a:lnTo>
                <a:lnTo>
                  <a:pt x="3132" y="16270"/>
                </a:lnTo>
                <a:lnTo>
                  <a:pt x="1708" y="14679"/>
                </a:lnTo>
                <a:lnTo>
                  <a:pt x="640" y="13028"/>
                </a:lnTo>
                <a:lnTo>
                  <a:pt x="71" y="11315"/>
                </a:lnTo>
                <a:lnTo>
                  <a:pt x="0" y="9541"/>
                </a:lnTo>
                <a:lnTo>
                  <a:pt x="640" y="7768"/>
                </a:lnTo>
                <a:lnTo>
                  <a:pt x="1708" y="6116"/>
                </a:lnTo>
                <a:lnTo>
                  <a:pt x="2847" y="4709"/>
                </a:lnTo>
                <a:lnTo>
                  <a:pt x="4129" y="3486"/>
                </a:lnTo>
                <a:lnTo>
                  <a:pt x="5553" y="2507"/>
                </a:lnTo>
                <a:lnTo>
                  <a:pt x="6906" y="1773"/>
                </a:lnTo>
                <a:lnTo>
                  <a:pt x="8401" y="1162"/>
                </a:lnTo>
                <a:lnTo>
                  <a:pt x="9825" y="672"/>
                </a:lnTo>
                <a:lnTo>
                  <a:pt x="11177" y="366"/>
                </a:lnTo>
                <a:lnTo>
                  <a:pt x="12530" y="183"/>
                </a:lnTo>
                <a:lnTo>
                  <a:pt x="13812" y="61"/>
                </a:lnTo>
                <a:lnTo>
                  <a:pt x="14951" y="0"/>
                </a:lnTo>
                <a:lnTo>
                  <a:pt x="15876" y="0"/>
                </a:lnTo>
                <a:lnTo>
                  <a:pt x="16731" y="61"/>
                </a:lnTo>
                <a:lnTo>
                  <a:pt x="17372" y="122"/>
                </a:lnTo>
                <a:lnTo>
                  <a:pt x="17728" y="183"/>
                </a:lnTo>
                <a:lnTo>
                  <a:pt x="17870" y="183"/>
                </a:lnTo>
                <a:lnTo>
                  <a:pt x="43359" y="8930"/>
                </a:lnTo>
              </a:path>
            </a:pathLst>
          </a:custGeom>
          <a:ln w="63">
            <a:solidFill>
              <a:srgbClr val="000000"/>
            </a:solidFill>
          </a:ln>
        </p:spPr>
        <p:txBody>
          <a:bodyPr wrap="square" lIns="0" tIns="0" rIns="0" bIns="0" rtlCol="0">
            <a:noAutofit/>
          </a:bodyPr>
          <a:lstStyle/>
          <a:p>
            <a:endParaRPr/>
          </a:p>
        </p:txBody>
      </p:sp>
      <p:sp>
        <p:nvSpPr>
          <p:cNvPr id="670" name="object 670"/>
          <p:cNvSpPr/>
          <p:nvPr/>
        </p:nvSpPr>
        <p:spPr>
          <a:xfrm>
            <a:off x="9186860" y="4359212"/>
            <a:ext cx="25061" cy="11132"/>
          </a:xfrm>
          <a:custGeom>
            <a:avLst/>
            <a:gdLst/>
            <a:ahLst/>
            <a:cxnLst/>
            <a:rect l="l" t="t" r="r" b="b"/>
            <a:pathLst>
              <a:path w="25061" h="11132">
                <a:moveTo>
                  <a:pt x="0" y="1345"/>
                </a:moveTo>
                <a:lnTo>
                  <a:pt x="71" y="1712"/>
                </a:lnTo>
                <a:lnTo>
                  <a:pt x="213" y="2140"/>
                </a:lnTo>
                <a:lnTo>
                  <a:pt x="498" y="2568"/>
                </a:lnTo>
                <a:lnTo>
                  <a:pt x="925" y="3058"/>
                </a:lnTo>
                <a:lnTo>
                  <a:pt x="1423" y="3547"/>
                </a:lnTo>
                <a:lnTo>
                  <a:pt x="2064" y="4036"/>
                </a:lnTo>
                <a:lnTo>
                  <a:pt x="2776" y="4587"/>
                </a:lnTo>
                <a:lnTo>
                  <a:pt x="3559" y="5137"/>
                </a:lnTo>
                <a:lnTo>
                  <a:pt x="4485" y="5627"/>
                </a:lnTo>
                <a:lnTo>
                  <a:pt x="5410" y="6177"/>
                </a:lnTo>
                <a:lnTo>
                  <a:pt x="6478" y="6728"/>
                </a:lnTo>
                <a:lnTo>
                  <a:pt x="7546" y="7278"/>
                </a:lnTo>
                <a:lnTo>
                  <a:pt x="8686" y="7768"/>
                </a:lnTo>
                <a:lnTo>
                  <a:pt x="9896" y="8257"/>
                </a:lnTo>
                <a:lnTo>
                  <a:pt x="11177" y="8746"/>
                </a:lnTo>
                <a:lnTo>
                  <a:pt x="12459" y="9174"/>
                </a:lnTo>
                <a:lnTo>
                  <a:pt x="13669" y="9603"/>
                </a:lnTo>
                <a:lnTo>
                  <a:pt x="14951" y="9970"/>
                </a:lnTo>
                <a:lnTo>
                  <a:pt x="16090" y="10275"/>
                </a:lnTo>
                <a:lnTo>
                  <a:pt x="17229" y="10520"/>
                </a:lnTo>
                <a:lnTo>
                  <a:pt x="18368" y="10765"/>
                </a:lnTo>
                <a:lnTo>
                  <a:pt x="19365" y="10887"/>
                </a:lnTo>
                <a:lnTo>
                  <a:pt x="20362" y="11009"/>
                </a:lnTo>
                <a:lnTo>
                  <a:pt x="21287" y="11132"/>
                </a:lnTo>
                <a:lnTo>
                  <a:pt x="22071" y="11132"/>
                </a:lnTo>
                <a:lnTo>
                  <a:pt x="22783" y="11071"/>
                </a:lnTo>
                <a:lnTo>
                  <a:pt x="23495" y="11009"/>
                </a:lnTo>
                <a:lnTo>
                  <a:pt x="23993" y="10887"/>
                </a:lnTo>
                <a:lnTo>
                  <a:pt x="24420" y="10704"/>
                </a:lnTo>
                <a:lnTo>
                  <a:pt x="24776" y="10459"/>
                </a:lnTo>
                <a:lnTo>
                  <a:pt x="24990" y="10153"/>
                </a:lnTo>
                <a:lnTo>
                  <a:pt x="25061" y="9786"/>
                </a:lnTo>
                <a:lnTo>
                  <a:pt x="24990" y="9419"/>
                </a:lnTo>
                <a:lnTo>
                  <a:pt x="24847" y="8991"/>
                </a:lnTo>
                <a:lnTo>
                  <a:pt x="24491" y="8563"/>
                </a:lnTo>
                <a:lnTo>
                  <a:pt x="24135" y="8073"/>
                </a:lnTo>
                <a:lnTo>
                  <a:pt x="23566" y="7584"/>
                </a:lnTo>
                <a:lnTo>
                  <a:pt x="22996" y="7095"/>
                </a:lnTo>
                <a:lnTo>
                  <a:pt x="22284" y="6544"/>
                </a:lnTo>
                <a:lnTo>
                  <a:pt x="21430" y="5994"/>
                </a:lnTo>
                <a:lnTo>
                  <a:pt x="20575" y="5504"/>
                </a:lnTo>
                <a:lnTo>
                  <a:pt x="19579" y="4954"/>
                </a:lnTo>
                <a:lnTo>
                  <a:pt x="18582" y="4403"/>
                </a:lnTo>
                <a:lnTo>
                  <a:pt x="17443" y="3853"/>
                </a:lnTo>
                <a:lnTo>
                  <a:pt x="16304" y="3364"/>
                </a:lnTo>
                <a:lnTo>
                  <a:pt x="15093" y="2874"/>
                </a:lnTo>
                <a:lnTo>
                  <a:pt x="13812" y="2385"/>
                </a:lnTo>
                <a:lnTo>
                  <a:pt x="12530" y="1957"/>
                </a:lnTo>
                <a:lnTo>
                  <a:pt x="11320" y="1529"/>
                </a:lnTo>
                <a:lnTo>
                  <a:pt x="10038" y="1162"/>
                </a:lnTo>
                <a:lnTo>
                  <a:pt x="8899" y="856"/>
                </a:lnTo>
                <a:lnTo>
                  <a:pt x="7760" y="611"/>
                </a:lnTo>
                <a:lnTo>
                  <a:pt x="6621" y="366"/>
                </a:lnTo>
                <a:lnTo>
                  <a:pt x="5624" y="183"/>
                </a:lnTo>
                <a:lnTo>
                  <a:pt x="4627" y="61"/>
                </a:lnTo>
                <a:lnTo>
                  <a:pt x="3773" y="0"/>
                </a:lnTo>
                <a:lnTo>
                  <a:pt x="2207" y="0"/>
                </a:lnTo>
                <a:lnTo>
                  <a:pt x="1566" y="122"/>
                </a:lnTo>
                <a:lnTo>
                  <a:pt x="996" y="244"/>
                </a:lnTo>
                <a:lnTo>
                  <a:pt x="569" y="428"/>
                </a:lnTo>
                <a:lnTo>
                  <a:pt x="284" y="672"/>
                </a:lnTo>
                <a:lnTo>
                  <a:pt x="71" y="978"/>
                </a:lnTo>
                <a:lnTo>
                  <a:pt x="0" y="1345"/>
                </a:lnTo>
                <a:close/>
              </a:path>
            </a:pathLst>
          </a:custGeom>
          <a:solidFill>
            <a:srgbClr val="FFFFFF"/>
          </a:solidFill>
        </p:spPr>
        <p:txBody>
          <a:bodyPr wrap="square" lIns="0" tIns="0" rIns="0" bIns="0" rtlCol="0">
            <a:noAutofit/>
          </a:bodyPr>
          <a:lstStyle/>
          <a:p>
            <a:endParaRPr/>
          </a:p>
        </p:txBody>
      </p:sp>
      <p:sp>
        <p:nvSpPr>
          <p:cNvPr id="671" name="object 671"/>
          <p:cNvSpPr/>
          <p:nvPr/>
        </p:nvSpPr>
        <p:spPr>
          <a:xfrm>
            <a:off x="9186860" y="4359212"/>
            <a:ext cx="25061" cy="11132"/>
          </a:xfrm>
          <a:custGeom>
            <a:avLst/>
            <a:gdLst/>
            <a:ahLst/>
            <a:cxnLst/>
            <a:rect l="l" t="t" r="r" b="b"/>
            <a:pathLst>
              <a:path w="25061" h="11132">
                <a:moveTo>
                  <a:pt x="11177" y="8746"/>
                </a:moveTo>
                <a:lnTo>
                  <a:pt x="12459" y="9174"/>
                </a:lnTo>
                <a:lnTo>
                  <a:pt x="13669" y="9603"/>
                </a:lnTo>
                <a:lnTo>
                  <a:pt x="14951" y="9970"/>
                </a:lnTo>
                <a:lnTo>
                  <a:pt x="16090" y="10275"/>
                </a:lnTo>
                <a:lnTo>
                  <a:pt x="17229" y="10520"/>
                </a:lnTo>
                <a:lnTo>
                  <a:pt x="18368" y="10765"/>
                </a:lnTo>
                <a:lnTo>
                  <a:pt x="19365" y="10887"/>
                </a:lnTo>
                <a:lnTo>
                  <a:pt x="20362" y="11009"/>
                </a:lnTo>
                <a:lnTo>
                  <a:pt x="21287" y="11132"/>
                </a:lnTo>
                <a:lnTo>
                  <a:pt x="22071" y="11132"/>
                </a:lnTo>
                <a:lnTo>
                  <a:pt x="22783" y="11071"/>
                </a:lnTo>
                <a:lnTo>
                  <a:pt x="23495" y="11009"/>
                </a:lnTo>
                <a:lnTo>
                  <a:pt x="23993" y="10887"/>
                </a:lnTo>
                <a:lnTo>
                  <a:pt x="24420" y="10704"/>
                </a:lnTo>
                <a:lnTo>
                  <a:pt x="24776" y="10459"/>
                </a:lnTo>
                <a:lnTo>
                  <a:pt x="24990" y="10153"/>
                </a:lnTo>
                <a:lnTo>
                  <a:pt x="25061" y="9786"/>
                </a:lnTo>
                <a:lnTo>
                  <a:pt x="24990" y="9419"/>
                </a:lnTo>
                <a:lnTo>
                  <a:pt x="24847" y="8991"/>
                </a:lnTo>
                <a:lnTo>
                  <a:pt x="24491" y="8563"/>
                </a:lnTo>
                <a:lnTo>
                  <a:pt x="24135" y="8073"/>
                </a:lnTo>
                <a:lnTo>
                  <a:pt x="23566" y="7584"/>
                </a:lnTo>
                <a:lnTo>
                  <a:pt x="22996" y="7095"/>
                </a:lnTo>
                <a:lnTo>
                  <a:pt x="22284" y="6544"/>
                </a:lnTo>
                <a:lnTo>
                  <a:pt x="21430" y="5994"/>
                </a:lnTo>
                <a:lnTo>
                  <a:pt x="20575" y="5504"/>
                </a:lnTo>
                <a:lnTo>
                  <a:pt x="19579" y="4954"/>
                </a:lnTo>
                <a:lnTo>
                  <a:pt x="18582" y="4403"/>
                </a:lnTo>
                <a:lnTo>
                  <a:pt x="17443" y="3853"/>
                </a:lnTo>
                <a:lnTo>
                  <a:pt x="16304" y="3364"/>
                </a:lnTo>
                <a:lnTo>
                  <a:pt x="15093" y="2874"/>
                </a:lnTo>
                <a:lnTo>
                  <a:pt x="13812" y="2385"/>
                </a:lnTo>
                <a:lnTo>
                  <a:pt x="12530" y="1957"/>
                </a:lnTo>
                <a:lnTo>
                  <a:pt x="11320" y="1529"/>
                </a:lnTo>
                <a:lnTo>
                  <a:pt x="10038" y="1162"/>
                </a:lnTo>
                <a:lnTo>
                  <a:pt x="8899" y="856"/>
                </a:lnTo>
                <a:lnTo>
                  <a:pt x="7760" y="611"/>
                </a:lnTo>
                <a:lnTo>
                  <a:pt x="6621" y="366"/>
                </a:lnTo>
                <a:lnTo>
                  <a:pt x="5624" y="183"/>
                </a:lnTo>
                <a:lnTo>
                  <a:pt x="4627" y="61"/>
                </a:lnTo>
                <a:lnTo>
                  <a:pt x="3773" y="0"/>
                </a:lnTo>
                <a:lnTo>
                  <a:pt x="2919" y="0"/>
                </a:lnTo>
                <a:lnTo>
                  <a:pt x="2207" y="0"/>
                </a:lnTo>
                <a:lnTo>
                  <a:pt x="1566" y="122"/>
                </a:lnTo>
                <a:lnTo>
                  <a:pt x="996" y="244"/>
                </a:lnTo>
                <a:lnTo>
                  <a:pt x="569" y="428"/>
                </a:lnTo>
                <a:lnTo>
                  <a:pt x="284" y="672"/>
                </a:lnTo>
                <a:lnTo>
                  <a:pt x="71" y="978"/>
                </a:lnTo>
                <a:lnTo>
                  <a:pt x="0" y="1345"/>
                </a:lnTo>
                <a:lnTo>
                  <a:pt x="71" y="1712"/>
                </a:lnTo>
                <a:lnTo>
                  <a:pt x="213" y="2140"/>
                </a:lnTo>
                <a:lnTo>
                  <a:pt x="498" y="2568"/>
                </a:lnTo>
                <a:lnTo>
                  <a:pt x="925" y="3058"/>
                </a:lnTo>
                <a:lnTo>
                  <a:pt x="1423" y="3547"/>
                </a:lnTo>
                <a:lnTo>
                  <a:pt x="2064" y="4036"/>
                </a:lnTo>
                <a:lnTo>
                  <a:pt x="2776" y="4587"/>
                </a:lnTo>
                <a:lnTo>
                  <a:pt x="3559" y="5137"/>
                </a:lnTo>
                <a:lnTo>
                  <a:pt x="4485" y="5627"/>
                </a:lnTo>
                <a:lnTo>
                  <a:pt x="5410" y="6177"/>
                </a:lnTo>
                <a:lnTo>
                  <a:pt x="6478" y="6728"/>
                </a:lnTo>
                <a:lnTo>
                  <a:pt x="7546" y="7278"/>
                </a:lnTo>
                <a:lnTo>
                  <a:pt x="8686" y="7768"/>
                </a:lnTo>
                <a:lnTo>
                  <a:pt x="9896" y="8257"/>
                </a:lnTo>
                <a:lnTo>
                  <a:pt x="11177" y="8746"/>
                </a:lnTo>
              </a:path>
            </a:pathLst>
          </a:custGeom>
          <a:ln w="62">
            <a:solidFill>
              <a:srgbClr val="000000"/>
            </a:solidFill>
          </a:ln>
        </p:spPr>
        <p:txBody>
          <a:bodyPr wrap="square" lIns="0" tIns="0" rIns="0" bIns="0" rtlCol="0">
            <a:noAutofit/>
          </a:bodyPr>
          <a:lstStyle/>
          <a:p>
            <a:endParaRPr/>
          </a:p>
        </p:txBody>
      </p:sp>
      <p:sp>
        <p:nvSpPr>
          <p:cNvPr id="672" name="object 672"/>
          <p:cNvSpPr/>
          <p:nvPr/>
        </p:nvSpPr>
        <p:spPr>
          <a:xfrm>
            <a:off x="9177676" y="4359946"/>
            <a:ext cx="34103" cy="34436"/>
          </a:xfrm>
          <a:custGeom>
            <a:avLst/>
            <a:gdLst/>
            <a:ahLst/>
            <a:cxnLst/>
            <a:rect l="l" t="t" r="r" b="b"/>
            <a:pathLst>
              <a:path w="34103" h="34436">
                <a:moveTo>
                  <a:pt x="23708" y="32968"/>
                </a:moveTo>
                <a:lnTo>
                  <a:pt x="34103" y="9664"/>
                </a:lnTo>
                <a:lnTo>
                  <a:pt x="9611" y="0"/>
                </a:lnTo>
                <a:lnTo>
                  <a:pt x="142" y="24466"/>
                </a:lnTo>
                <a:lnTo>
                  <a:pt x="0" y="25261"/>
                </a:lnTo>
                <a:lnTo>
                  <a:pt x="355" y="26301"/>
                </a:lnTo>
                <a:lnTo>
                  <a:pt x="996" y="27463"/>
                </a:lnTo>
                <a:lnTo>
                  <a:pt x="2135" y="28687"/>
                </a:lnTo>
                <a:lnTo>
                  <a:pt x="3559" y="29910"/>
                </a:lnTo>
                <a:lnTo>
                  <a:pt x="5339" y="31133"/>
                </a:lnTo>
                <a:lnTo>
                  <a:pt x="7404" y="32234"/>
                </a:lnTo>
                <a:lnTo>
                  <a:pt x="9825" y="33152"/>
                </a:lnTo>
                <a:lnTo>
                  <a:pt x="11035" y="33519"/>
                </a:lnTo>
                <a:lnTo>
                  <a:pt x="12245" y="33825"/>
                </a:lnTo>
                <a:lnTo>
                  <a:pt x="13385" y="34069"/>
                </a:lnTo>
                <a:lnTo>
                  <a:pt x="14595" y="34253"/>
                </a:lnTo>
                <a:lnTo>
                  <a:pt x="16802" y="34436"/>
                </a:lnTo>
                <a:lnTo>
                  <a:pt x="18867" y="34436"/>
                </a:lnTo>
                <a:lnTo>
                  <a:pt x="20647" y="34253"/>
                </a:lnTo>
                <a:lnTo>
                  <a:pt x="22071" y="33947"/>
                </a:lnTo>
                <a:lnTo>
                  <a:pt x="23139" y="33519"/>
                </a:lnTo>
                <a:lnTo>
                  <a:pt x="23708" y="32968"/>
                </a:lnTo>
                <a:close/>
              </a:path>
            </a:pathLst>
          </a:custGeom>
          <a:solidFill>
            <a:srgbClr val="B1B1B1"/>
          </a:solidFill>
        </p:spPr>
        <p:txBody>
          <a:bodyPr wrap="square" lIns="0" tIns="0" rIns="0" bIns="0" rtlCol="0">
            <a:noAutofit/>
          </a:bodyPr>
          <a:lstStyle/>
          <a:p>
            <a:endParaRPr/>
          </a:p>
        </p:txBody>
      </p:sp>
      <p:sp>
        <p:nvSpPr>
          <p:cNvPr id="673" name="object 673"/>
          <p:cNvSpPr/>
          <p:nvPr/>
        </p:nvSpPr>
        <p:spPr>
          <a:xfrm>
            <a:off x="9177676" y="4359946"/>
            <a:ext cx="34103" cy="34436"/>
          </a:xfrm>
          <a:custGeom>
            <a:avLst/>
            <a:gdLst/>
            <a:ahLst/>
            <a:cxnLst/>
            <a:rect l="l" t="t" r="r" b="b"/>
            <a:pathLst>
              <a:path w="34103" h="34436">
                <a:moveTo>
                  <a:pt x="23708" y="32968"/>
                </a:moveTo>
                <a:lnTo>
                  <a:pt x="34103" y="9664"/>
                </a:lnTo>
                <a:lnTo>
                  <a:pt x="9611" y="0"/>
                </a:lnTo>
                <a:lnTo>
                  <a:pt x="142" y="24466"/>
                </a:lnTo>
                <a:lnTo>
                  <a:pt x="0" y="25261"/>
                </a:lnTo>
                <a:lnTo>
                  <a:pt x="355" y="26301"/>
                </a:lnTo>
                <a:lnTo>
                  <a:pt x="996" y="27463"/>
                </a:lnTo>
                <a:lnTo>
                  <a:pt x="2135" y="28687"/>
                </a:lnTo>
                <a:lnTo>
                  <a:pt x="3559" y="29910"/>
                </a:lnTo>
                <a:lnTo>
                  <a:pt x="5339" y="31133"/>
                </a:lnTo>
                <a:lnTo>
                  <a:pt x="7404" y="32234"/>
                </a:lnTo>
                <a:lnTo>
                  <a:pt x="9825" y="33152"/>
                </a:lnTo>
                <a:lnTo>
                  <a:pt x="11035" y="33519"/>
                </a:lnTo>
                <a:lnTo>
                  <a:pt x="12245" y="33825"/>
                </a:lnTo>
                <a:lnTo>
                  <a:pt x="13385" y="34069"/>
                </a:lnTo>
                <a:lnTo>
                  <a:pt x="14595" y="34253"/>
                </a:lnTo>
                <a:lnTo>
                  <a:pt x="15734" y="34375"/>
                </a:lnTo>
                <a:lnTo>
                  <a:pt x="16802" y="34436"/>
                </a:lnTo>
                <a:lnTo>
                  <a:pt x="17870" y="34436"/>
                </a:lnTo>
                <a:lnTo>
                  <a:pt x="18867" y="34436"/>
                </a:lnTo>
                <a:lnTo>
                  <a:pt x="19792" y="34375"/>
                </a:lnTo>
                <a:lnTo>
                  <a:pt x="20647" y="34253"/>
                </a:lnTo>
                <a:lnTo>
                  <a:pt x="21430" y="34130"/>
                </a:lnTo>
                <a:lnTo>
                  <a:pt x="22071" y="33947"/>
                </a:lnTo>
                <a:lnTo>
                  <a:pt x="22640" y="33763"/>
                </a:lnTo>
                <a:lnTo>
                  <a:pt x="23139" y="33519"/>
                </a:lnTo>
                <a:lnTo>
                  <a:pt x="23495" y="33274"/>
                </a:lnTo>
                <a:lnTo>
                  <a:pt x="23708" y="32968"/>
                </a:lnTo>
              </a:path>
            </a:pathLst>
          </a:custGeom>
          <a:ln w="66">
            <a:solidFill>
              <a:srgbClr val="000000"/>
            </a:solidFill>
          </a:ln>
        </p:spPr>
        <p:txBody>
          <a:bodyPr wrap="square" lIns="0" tIns="0" rIns="0" bIns="0" rtlCol="0">
            <a:noAutofit/>
          </a:bodyPr>
          <a:lstStyle/>
          <a:p>
            <a:endParaRPr/>
          </a:p>
        </p:txBody>
      </p:sp>
      <p:sp>
        <p:nvSpPr>
          <p:cNvPr id="674" name="object 674"/>
          <p:cNvSpPr/>
          <p:nvPr/>
        </p:nvSpPr>
        <p:spPr>
          <a:xfrm>
            <a:off x="9182873" y="4356522"/>
            <a:ext cx="33605" cy="16025"/>
          </a:xfrm>
          <a:custGeom>
            <a:avLst/>
            <a:gdLst/>
            <a:ahLst/>
            <a:cxnLst/>
            <a:rect l="l" t="t" r="r" b="b"/>
            <a:pathLst>
              <a:path w="33605" h="16025">
                <a:moveTo>
                  <a:pt x="1281" y="672"/>
                </a:moveTo>
                <a:lnTo>
                  <a:pt x="1352" y="244"/>
                </a:lnTo>
                <a:lnTo>
                  <a:pt x="1423" y="0"/>
                </a:lnTo>
                <a:lnTo>
                  <a:pt x="142" y="2874"/>
                </a:lnTo>
                <a:lnTo>
                  <a:pt x="0" y="3364"/>
                </a:lnTo>
                <a:lnTo>
                  <a:pt x="71" y="3853"/>
                </a:lnTo>
                <a:lnTo>
                  <a:pt x="284" y="4403"/>
                </a:lnTo>
                <a:lnTo>
                  <a:pt x="640" y="5015"/>
                </a:lnTo>
                <a:lnTo>
                  <a:pt x="1139" y="5627"/>
                </a:lnTo>
                <a:lnTo>
                  <a:pt x="1851" y="6238"/>
                </a:lnTo>
                <a:lnTo>
                  <a:pt x="2634" y="6911"/>
                </a:lnTo>
                <a:lnTo>
                  <a:pt x="3559" y="7584"/>
                </a:lnTo>
                <a:lnTo>
                  <a:pt x="4556" y="8257"/>
                </a:lnTo>
                <a:lnTo>
                  <a:pt x="5695" y="8930"/>
                </a:lnTo>
                <a:lnTo>
                  <a:pt x="6977" y="9603"/>
                </a:lnTo>
                <a:lnTo>
                  <a:pt x="8330" y="10337"/>
                </a:lnTo>
                <a:lnTo>
                  <a:pt x="9753" y="11009"/>
                </a:lnTo>
                <a:lnTo>
                  <a:pt x="11249" y="11682"/>
                </a:lnTo>
                <a:lnTo>
                  <a:pt x="12815" y="12355"/>
                </a:lnTo>
                <a:lnTo>
                  <a:pt x="14453" y="12967"/>
                </a:lnTo>
                <a:lnTo>
                  <a:pt x="16090" y="13517"/>
                </a:lnTo>
                <a:lnTo>
                  <a:pt x="17728" y="14068"/>
                </a:lnTo>
                <a:lnTo>
                  <a:pt x="19294" y="14557"/>
                </a:lnTo>
                <a:lnTo>
                  <a:pt x="20789" y="14924"/>
                </a:lnTo>
                <a:lnTo>
                  <a:pt x="22284" y="15291"/>
                </a:lnTo>
                <a:lnTo>
                  <a:pt x="23708" y="15536"/>
                </a:lnTo>
                <a:lnTo>
                  <a:pt x="25061" y="15780"/>
                </a:lnTo>
                <a:lnTo>
                  <a:pt x="26271" y="15903"/>
                </a:lnTo>
                <a:lnTo>
                  <a:pt x="27482" y="16025"/>
                </a:lnTo>
                <a:lnTo>
                  <a:pt x="29475" y="16025"/>
                </a:lnTo>
                <a:lnTo>
                  <a:pt x="30329" y="15903"/>
                </a:lnTo>
                <a:lnTo>
                  <a:pt x="31041" y="15719"/>
                </a:lnTo>
                <a:lnTo>
                  <a:pt x="31611" y="15475"/>
                </a:lnTo>
                <a:lnTo>
                  <a:pt x="32038" y="15169"/>
                </a:lnTo>
                <a:lnTo>
                  <a:pt x="32323" y="14802"/>
                </a:lnTo>
                <a:lnTo>
                  <a:pt x="33605" y="12110"/>
                </a:lnTo>
                <a:lnTo>
                  <a:pt x="33320" y="12477"/>
                </a:lnTo>
                <a:lnTo>
                  <a:pt x="32893" y="12783"/>
                </a:lnTo>
                <a:lnTo>
                  <a:pt x="32323" y="13028"/>
                </a:lnTo>
                <a:lnTo>
                  <a:pt x="31682" y="13211"/>
                </a:lnTo>
                <a:lnTo>
                  <a:pt x="30828" y="13334"/>
                </a:lnTo>
                <a:lnTo>
                  <a:pt x="29902" y="13395"/>
                </a:lnTo>
                <a:lnTo>
                  <a:pt x="28834" y="13334"/>
                </a:lnTo>
                <a:lnTo>
                  <a:pt x="27695" y="13273"/>
                </a:lnTo>
                <a:lnTo>
                  <a:pt x="26414" y="13089"/>
                </a:lnTo>
                <a:lnTo>
                  <a:pt x="25132" y="12906"/>
                </a:lnTo>
                <a:lnTo>
                  <a:pt x="23708" y="12600"/>
                </a:lnTo>
                <a:lnTo>
                  <a:pt x="22213" y="12294"/>
                </a:lnTo>
                <a:lnTo>
                  <a:pt x="20718" y="11866"/>
                </a:lnTo>
                <a:lnTo>
                  <a:pt x="19152" y="11438"/>
                </a:lnTo>
                <a:lnTo>
                  <a:pt x="17514" y="10887"/>
                </a:lnTo>
                <a:lnTo>
                  <a:pt x="15876" y="10337"/>
                </a:lnTo>
                <a:lnTo>
                  <a:pt x="14239" y="9725"/>
                </a:lnTo>
                <a:lnTo>
                  <a:pt x="12673" y="9052"/>
                </a:lnTo>
                <a:lnTo>
                  <a:pt x="11177" y="8379"/>
                </a:lnTo>
                <a:lnTo>
                  <a:pt x="9753" y="7706"/>
                </a:lnTo>
                <a:lnTo>
                  <a:pt x="8401" y="7034"/>
                </a:lnTo>
                <a:lnTo>
                  <a:pt x="7190" y="6300"/>
                </a:lnTo>
                <a:lnTo>
                  <a:pt x="5980" y="5627"/>
                </a:lnTo>
                <a:lnTo>
                  <a:pt x="4983" y="4893"/>
                </a:lnTo>
                <a:lnTo>
                  <a:pt x="4058" y="4220"/>
                </a:lnTo>
                <a:lnTo>
                  <a:pt x="3203" y="3547"/>
                </a:lnTo>
                <a:lnTo>
                  <a:pt x="2563" y="2935"/>
                </a:lnTo>
                <a:lnTo>
                  <a:pt x="1993" y="2324"/>
                </a:lnTo>
                <a:lnTo>
                  <a:pt x="1566" y="1712"/>
                </a:lnTo>
                <a:lnTo>
                  <a:pt x="1352" y="1223"/>
                </a:lnTo>
                <a:lnTo>
                  <a:pt x="1281" y="672"/>
                </a:lnTo>
                <a:close/>
              </a:path>
            </a:pathLst>
          </a:custGeom>
          <a:solidFill>
            <a:srgbClr val="999999"/>
          </a:solidFill>
        </p:spPr>
        <p:txBody>
          <a:bodyPr wrap="square" lIns="0" tIns="0" rIns="0" bIns="0" rtlCol="0">
            <a:noAutofit/>
          </a:bodyPr>
          <a:lstStyle/>
          <a:p>
            <a:endParaRPr/>
          </a:p>
        </p:txBody>
      </p:sp>
      <p:sp>
        <p:nvSpPr>
          <p:cNvPr id="675" name="object 675"/>
          <p:cNvSpPr/>
          <p:nvPr/>
        </p:nvSpPr>
        <p:spPr>
          <a:xfrm>
            <a:off x="9182873" y="4356522"/>
            <a:ext cx="33605" cy="16025"/>
          </a:xfrm>
          <a:custGeom>
            <a:avLst/>
            <a:gdLst/>
            <a:ahLst/>
            <a:cxnLst/>
            <a:rect l="l" t="t" r="r" b="b"/>
            <a:pathLst>
              <a:path w="33605" h="16025">
                <a:moveTo>
                  <a:pt x="15876" y="10337"/>
                </a:moveTo>
                <a:lnTo>
                  <a:pt x="17514" y="10887"/>
                </a:lnTo>
                <a:lnTo>
                  <a:pt x="19152" y="11438"/>
                </a:lnTo>
                <a:lnTo>
                  <a:pt x="20718" y="11866"/>
                </a:lnTo>
                <a:lnTo>
                  <a:pt x="22213" y="12294"/>
                </a:lnTo>
                <a:lnTo>
                  <a:pt x="23708" y="12600"/>
                </a:lnTo>
                <a:lnTo>
                  <a:pt x="25132" y="12906"/>
                </a:lnTo>
                <a:lnTo>
                  <a:pt x="26414" y="13089"/>
                </a:lnTo>
                <a:lnTo>
                  <a:pt x="27695" y="13273"/>
                </a:lnTo>
                <a:lnTo>
                  <a:pt x="28834" y="13334"/>
                </a:lnTo>
                <a:lnTo>
                  <a:pt x="29902" y="13395"/>
                </a:lnTo>
                <a:lnTo>
                  <a:pt x="30828" y="13334"/>
                </a:lnTo>
                <a:lnTo>
                  <a:pt x="31682" y="13211"/>
                </a:lnTo>
                <a:lnTo>
                  <a:pt x="32323" y="13028"/>
                </a:lnTo>
                <a:lnTo>
                  <a:pt x="32893" y="12783"/>
                </a:lnTo>
                <a:lnTo>
                  <a:pt x="33320" y="12477"/>
                </a:lnTo>
                <a:lnTo>
                  <a:pt x="33605" y="12110"/>
                </a:lnTo>
                <a:lnTo>
                  <a:pt x="32323" y="14802"/>
                </a:lnTo>
                <a:lnTo>
                  <a:pt x="32038" y="15169"/>
                </a:lnTo>
                <a:lnTo>
                  <a:pt x="31611" y="15475"/>
                </a:lnTo>
                <a:lnTo>
                  <a:pt x="31041" y="15719"/>
                </a:lnTo>
                <a:lnTo>
                  <a:pt x="30329" y="15903"/>
                </a:lnTo>
                <a:lnTo>
                  <a:pt x="29475" y="16025"/>
                </a:lnTo>
                <a:lnTo>
                  <a:pt x="28550" y="16025"/>
                </a:lnTo>
                <a:lnTo>
                  <a:pt x="27482" y="16025"/>
                </a:lnTo>
                <a:lnTo>
                  <a:pt x="26271" y="15903"/>
                </a:lnTo>
                <a:lnTo>
                  <a:pt x="25061" y="15780"/>
                </a:lnTo>
                <a:lnTo>
                  <a:pt x="23708" y="15536"/>
                </a:lnTo>
                <a:lnTo>
                  <a:pt x="22284" y="15291"/>
                </a:lnTo>
                <a:lnTo>
                  <a:pt x="20789" y="14924"/>
                </a:lnTo>
                <a:lnTo>
                  <a:pt x="19294" y="14557"/>
                </a:lnTo>
                <a:lnTo>
                  <a:pt x="17728" y="14068"/>
                </a:lnTo>
                <a:lnTo>
                  <a:pt x="16090" y="13517"/>
                </a:lnTo>
                <a:lnTo>
                  <a:pt x="14453" y="12967"/>
                </a:lnTo>
                <a:lnTo>
                  <a:pt x="12815" y="12355"/>
                </a:lnTo>
                <a:lnTo>
                  <a:pt x="11249" y="11682"/>
                </a:lnTo>
                <a:lnTo>
                  <a:pt x="9753" y="11009"/>
                </a:lnTo>
                <a:lnTo>
                  <a:pt x="8330" y="10337"/>
                </a:lnTo>
                <a:lnTo>
                  <a:pt x="6977" y="9603"/>
                </a:lnTo>
                <a:lnTo>
                  <a:pt x="5695" y="8930"/>
                </a:lnTo>
                <a:lnTo>
                  <a:pt x="4556" y="8257"/>
                </a:lnTo>
                <a:lnTo>
                  <a:pt x="3559" y="7584"/>
                </a:lnTo>
                <a:lnTo>
                  <a:pt x="2634" y="6911"/>
                </a:lnTo>
                <a:lnTo>
                  <a:pt x="1851" y="6238"/>
                </a:lnTo>
                <a:lnTo>
                  <a:pt x="1139" y="5627"/>
                </a:lnTo>
                <a:lnTo>
                  <a:pt x="640" y="5015"/>
                </a:lnTo>
                <a:lnTo>
                  <a:pt x="284" y="4403"/>
                </a:lnTo>
                <a:lnTo>
                  <a:pt x="71" y="3853"/>
                </a:lnTo>
                <a:lnTo>
                  <a:pt x="0" y="3364"/>
                </a:lnTo>
                <a:lnTo>
                  <a:pt x="71" y="2935"/>
                </a:lnTo>
                <a:lnTo>
                  <a:pt x="1423" y="0"/>
                </a:lnTo>
                <a:lnTo>
                  <a:pt x="1352" y="183"/>
                </a:lnTo>
                <a:lnTo>
                  <a:pt x="1281" y="672"/>
                </a:lnTo>
                <a:lnTo>
                  <a:pt x="1352" y="1223"/>
                </a:lnTo>
                <a:lnTo>
                  <a:pt x="1566" y="1712"/>
                </a:lnTo>
                <a:lnTo>
                  <a:pt x="1993" y="2324"/>
                </a:lnTo>
                <a:lnTo>
                  <a:pt x="2563" y="2935"/>
                </a:lnTo>
                <a:lnTo>
                  <a:pt x="3203" y="3547"/>
                </a:lnTo>
                <a:lnTo>
                  <a:pt x="4058" y="4220"/>
                </a:lnTo>
                <a:lnTo>
                  <a:pt x="4983" y="4893"/>
                </a:lnTo>
                <a:lnTo>
                  <a:pt x="5980" y="5627"/>
                </a:lnTo>
                <a:lnTo>
                  <a:pt x="7190" y="6300"/>
                </a:lnTo>
                <a:lnTo>
                  <a:pt x="8401" y="7034"/>
                </a:lnTo>
                <a:lnTo>
                  <a:pt x="9753" y="7706"/>
                </a:lnTo>
                <a:lnTo>
                  <a:pt x="11177" y="8379"/>
                </a:lnTo>
                <a:lnTo>
                  <a:pt x="12673" y="9052"/>
                </a:lnTo>
                <a:lnTo>
                  <a:pt x="14239" y="9725"/>
                </a:lnTo>
                <a:lnTo>
                  <a:pt x="15876" y="10337"/>
                </a:lnTo>
              </a:path>
            </a:pathLst>
          </a:custGeom>
          <a:ln w="63">
            <a:solidFill>
              <a:srgbClr val="000000"/>
            </a:solidFill>
          </a:ln>
        </p:spPr>
        <p:txBody>
          <a:bodyPr wrap="square" lIns="0" tIns="0" rIns="0" bIns="0" rtlCol="0">
            <a:noAutofit/>
          </a:bodyPr>
          <a:lstStyle/>
          <a:p>
            <a:endParaRPr/>
          </a:p>
        </p:txBody>
      </p:sp>
      <p:sp>
        <p:nvSpPr>
          <p:cNvPr id="676" name="object 676"/>
          <p:cNvSpPr/>
          <p:nvPr/>
        </p:nvSpPr>
        <p:spPr>
          <a:xfrm>
            <a:off x="9172833" y="4432428"/>
            <a:ext cx="20362" cy="9480"/>
          </a:xfrm>
          <a:custGeom>
            <a:avLst/>
            <a:gdLst/>
            <a:ahLst/>
            <a:cxnLst/>
            <a:rect l="l" t="t" r="r" b="b"/>
            <a:pathLst>
              <a:path w="20362" h="9480">
                <a:moveTo>
                  <a:pt x="0" y="0"/>
                </a:moveTo>
                <a:lnTo>
                  <a:pt x="1495" y="183"/>
                </a:lnTo>
                <a:lnTo>
                  <a:pt x="2847" y="550"/>
                </a:lnTo>
                <a:lnTo>
                  <a:pt x="4129" y="1039"/>
                </a:lnTo>
                <a:lnTo>
                  <a:pt x="5339" y="1651"/>
                </a:lnTo>
                <a:lnTo>
                  <a:pt x="6550" y="2385"/>
                </a:lnTo>
                <a:lnTo>
                  <a:pt x="7689" y="3119"/>
                </a:lnTo>
                <a:lnTo>
                  <a:pt x="8757" y="3914"/>
                </a:lnTo>
                <a:lnTo>
                  <a:pt x="9896" y="4770"/>
                </a:lnTo>
                <a:lnTo>
                  <a:pt x="11035" y="5566"/>
                </a:lnTo>
                <a:lnTo>
                  <a:pt x="12174" y="6422"/>
                </a:lnTo>
                <a:lnTo>
                  <a:pt x="13313" y="7156"/>
                </a:lnTo>
                <a:lnTo>
                  <a:pt x="14595" y="7829"/>
                </a:lnTo>
                <a:lnTo>
                  <a:pt x="15876" y="8440"/>
                </a:lnTo>
                <a:lnTo>
                  <a:pt x="17229" y="8930"/>
                </a:lnTo>
                <a:lnTo>
                  <a:pt x="18724" y="9297"/>
                </a:lnTo>
                <a:lnTo>
                  <a:pt x="20362" y="9480"/>
                </a:lnTo>
              </a:path>
            </a:pathLst>
          </a:custGeom>
          <a:ln w="62">
            <a:solidFill>
              <a:srgbClr val="000000"/>
            </a:solidFill>
          </a:ln>
        </p:spPr>
        <p:txBody>
          <a:bodyPr wrap="square" lIns="0" tIns="0" rIns="0" bIns="0" rtlCol="0">
            <a:noAutofit/>
          </a:bodyPr>
          <a:lstStyle/>
          <a:p>
            <a:endParaRPr/>
          </a:p>
        </p:txBody>
      </p:sp>
      <p:sp>
        <p:nvSpPr>
          <p:cNvPr id="677" name="object 677"/>
          <p:cNvSpPr/>
          <p:nvPr/>
        </p:nvSpPr>
        <p:spPr>
          <a:xfrm>
            <a:off x="9158950" y="4422520"/>
            <a:ext cx="8970" cy="8073"/>
          </a:xfrm>
          <a:custGeom>
            <a:avLst/>
            <a:gdLst/>
            <a:ahLst/>
            <a:cxnLst/>
            <a:rect l="l" t="t" r="r" b="b"/>
            <a:pathLst>
              <a:path w="8970" h="8073">
                <a:moveTo>
                  <a:pt x="8970" y="8073"/>
                </a:moveTo>
                <a:lnTo>
                  <a:pt x="8258" y="6177"/>
                </a:lnTo>
                <a:lnTo>
                  <a:pt x="7404" y="4648"/>
                </a:lnTo>
                <a:lnTo>
                  <a:pt x="6336" y="3364"/>
                </a:lnTo>
                <a:lnTo>
                  <a:pt x="5126" y="2324"/>
                </a:lnTo>
                <a:lnTo>
                  <a:pt x="3915" y="1529"/>
                </a:lnTo>
                <a:lnTo>
                  <a:pt x="2563" y="856"/>
                </a:lnTo>
                <a:lnTo>
                  <a:pt x="1281" y="366"/>
                </a:lnTo>
                <a:lnTo>
                  <a:pt x="0" y="0"/>
                </a:lnTo>
              </a:path>
            </a:pathLst>
          </a:custGeom>
          <a:ln w="65">
            <a:solidFill>
              <a:srgbClr val="000000"/>
            </a:solidFill>
          </a:ln>
        </p:spPr>
        <p:txBody>
          <a:bodyPr wrap="square" lIns="0" tIns="0" rIns="0" bIns="0" rtlCol="0">
            <a:noAutofit/>
          </a:bodyPr>
          <a:lstStyle/>
          <a:p>
            <a:endParaRPr/>
          </a:p>
        </p:txBody>
      </p:sp>
      <p:sp>
        <p:nvSpPr>
          <p:cNvPr id="678" name="object 678"/>
          <p:cNvSpPr/>
          <p:nvPr/>
        </p:nvSpPr>
        <p:spPr>
          <a:xfrm>
            <a:off x="9151333" y="4430717"/>
            <a:ext cx="17087" cy="4465"/>
          </a:xfrm>
          <a:custGeom>
            <a:avLst/>
            <a:gdLst/>
            <a:ahLst/>
            <a:cxnLst/>
            <a:rect l="l" t="t" r="r" b="b"/>
            <a:pathLst>
              <a:path w="17087" h="4465">
                <a:moveTo>
                  <a:pt x="17087" y="1039"/>
                </a:moveTo>
                <a:lnTo>
                  <a:pt x="15805" y="611"/>
                </a:lnTo>
                <a:lnTo>
                  <a:pt x="14524" y="305"/>
                </a:lnTo>
                <a:lnTo>
                  <a:pt x="13313" y="61"/>
                </a:lnTo>
                <a:lnTo>
                  <a:pt x="12174" y="0"/>
                </a:lnTo>
                <a:lnTo>
                  <a:pt x="11035" y="0"/>
                </a:lnTo>
                <a:lnTo>
                  <a:pt x="9967" y="122"/>
                </a:lnTo>
                <a:lnTo>
                  <a:pt x="8899" y="305"/>
                </a:lnTo>
                <a:lnTo>
                  <a:pt x="7902" y="550"/>
                </a:lnTo>
                <a:lnTo>
                  <a:pt x="6906" y="856"/>
                </a:lnTo>
                <a:lnTo>
                  <a:pt x="5909" y="1284"/>
                </a:lnTo>
                <a:lnTo>
                  <a:pt x="4912" y="1712"/>
                </a:lnTo>
                <a:lnTo>
                  <a:pt x="3987" y="2201"/>
                </a:lnTo>
                <a:lnTo>
                  <a:pt x="2990" y="2752"/>
                </a:lnTo>
                <a:lnTo>
                  <a:pt x="1993" y="3302"/>
                </a:lnTo>
                <a:lnTo>
                  <a:pt x="996" y="3853"/>
                </a:lnTo>
                <a:lnTo>
                  <a:pt x="0" y="4465"/>
                </a:lnTo>
              </a:path>
            </a:pathLst>
          </a:custGeom>
          <a:ln w="61">
            <a:solidFill>
              <a:srgbClr val="000000"/>
            </a:solidFill>
          </a:ln>
        </p:spPr>
        <p:txBody>
          <a:bodyPr wrap="square" lIns="0" tIns="0" rIns="0" bIns="0" rtlCol="0">
            <a:noAutofit/>
          </a:bodyPr>
          <a:lstStyle/>
          <a:p>
            <a:endParaRPr/>
          </a:p>
        </p:txBody>
      </p:sp>
      <p:sp>
        <p:nvSpPr>
          <p:cNvPr id="679" name="object 679"/>
          <p:cNvSpPr/>
          <p:nvPr/>
        </p:nvSpPr>
        <p:spPr>
          <a:xfrm>
            <a:off x="9174258" y="4425027"/>
            <a:ext cx="11605" cy="3792"/>
          </a:xfrm>
          <a:custGeom>
            <a:avLst/>
            <a:gdLst/>
            <a:ahLst/>
            <a:cxnLst/>
            <a:rect l="l" t="t" r="r" b="b"/>
            <a:pathLst>
              <a:path w="11605" h="3792">
                <a:moveTo>
                  <a:pt x="0" y="3792"/>
                </a:moveTo>
                <a:lnTo>
                  <a:pt x="569" y="3241"/>
                </a:lnTo>
                <a:lnTo>
                  <a:pt x="1210" y="2691"/>
                </a:lnTo>
                <a:lnTo>
                  <a:pt x="1851" y="2140"/>
                </a:lnTo>
                <a:lnTo>
                  <a:pt x="2491" y="1712"/>
                </a:lnTo>
                <a:lnTo>
                  <a:pt x="3132" y="1284"/>
                </a:lnTo>
                <a:lnTo>
                  <a:pt x="3844" y="856"/>
                </a:lnTo>
                <a:lnTo>
                  <a:pt x="4556" y="550"/>
                </a:lnTo>
                <a:lnTo>
                  <a:pt x="5268" y="305"/>
                </a:lnTo>
                <a:lnTo>
                  <a:pt x="5980" y="122"/>
                </a:lnTo>
                <a:lnTo>
                  <a:pt x="6692" y="0"/>
                </a:lnTo>
                <a:lnTo>
                  <a:pt x="7475" y="0"/>
                </a:lnTo>
                <a:lnTo>
                  <a:pt x="8258" y="0"/>
                </a:lnTo>
                <a:lnTo>
                  <a:pt x="9113" y="183"/>
                </a:lnTo>
                <a:lnTo>
                  <a:pt x="9896" y="428"/>
                </a:lnTo>
                <a:lnTo>
                  <a:pt x="10750" y="733"/>
                </a:lnTo>
                <a:lnTo>
                  <a:pt x="11605" y="1223"/>
                </a:lnTo>
              </a:path>
            </a:pathLst>
          </a:custGeom>
          <a:ln w="62">
            <a:solidFill>
              <a:srgbClr val="000000"/>
            </a:solidFill>
          </a:ln>
        </p:spPr>
        <p:txBody>
          <a:bodyPr wrap="square" lIns="0" tIns="0" rIns="0" bIns="0" rtlCol="0">
            <a:noAutofit/>
          </a:bodyPr>
          <a:lstStyle/>
          <a:p>
            <a:endParaRPr/>
          </a:p>
        </p:txBody>
      </p:sp>
      <p:sp>
        <p:nvSpPr>
          <p:cNvPr id="680" name="object 680"/>
          <p:cNvSpPr/>
          <p:nvPr/>
        </p:nvSpPr>
        <p:spPr>
          <a:xfrm>
            <a:off x="9170627" y="4432184"/>
            <a:ext cx="71" cy="3364"/>
          </a:xfrm>
          <a:custGeom>
            <a:avLst/>
            <a:gdLst/>
            <a:ahLst/>
            <a:cxnLst/>
            <a:rect l="l" t="t" r="r" b="b"/>
            <a:pathLst>
              <a:path w="71" h="3364">
                <a:moveTo>
                  <a:pt x="71" y="0"/>
                </a:moveTo>
                <a:lnTo>
                  <a:pt x="0" y="3364"/>
                </a:lnTo>
              </a:path>
            </a:pathLst>
          </a:custGeom>
          <a:ln w="71">
            <a:solidFill>
              <a:srgbClr val="000000"/>
            </a:solidFill>
          </a:ln>
        </p:spPr>
        <p:txBody>
          <a:bodyPr wrap="square" lIns="0" tIns="0" rIns="0" bIns="0" rtlCol="0">
            <a:noAutofit/>
          </a:bodyPr>
          <a:lstStyle/>
          <a:p>
            <a:endParaRPr/>
          </a:p>
        </p:txBody>
      </p:sp>
      <p:sp>
        <p:nvSpPr>
          <p:cNvPr id="681" name="object 681"/>
          <p:cNvSpPr/>
          <p:nvPr/>
        </p:nvSpPr>
        <p:spPr>
          <a:xfrm>
            <a:off x="9184155" y="4355420"/>
            <a:ext cx="32537" cy="14496"/>
          </a:xfrm>
          <a:custGeom>
            <a:avLst/>
            <a:gdLst/>
            <a:ahLst/>
            <a:cxnLst/>
            <a:rect l="l" t="t" r="r" b="b"/>
            <a:pathLst>
              <a:path w="32537" h="14496">
                <a:moveTo>
                  <a:pt x="14524" y="11376"/>
                </a:moveTo>
                <a:lnTo>
                  <a:pt x="16161" y="11988"/>
                </a:lnTo>
                <a:lnTo>
                  <a:pt x="17799" y="12477"/>
                </a:lnTo>
                <a:lnTo>
                  <a:pt x="19436" y="12967"/>
                </a:lnTo>
                <a:lnTo>
                  <a:pt x="21003" y="13395"/>
                </a:lnTo>
                <a:lnTo>
                  <a:pt x="22427" y="13701"/>
                </a:lnTo>
                <a:lnTo>
                  <a:pt x="23851" y="14007"/>
                </a:lnTo>
                <a:lnTo>
                  <a:pt x="25203" y="14251"/>
                </a:lnTo>
                <a:lnTo>
                  <a:pt x="26485" y="14374"/>
                </a:lnTo>
                <a:lnTo>
                  <a:pt x="27624" y="14496"/>
                </a:lnTo>
                <a:lnTo>
                  <a:pt x="28692" y="14496"/>
                </a:lnTo>
                <a:lnTo>
                  <a:pt x="29689" y="14435"/>
                </a:lnTo>
                <a:lnTo>
                  <a:pt x="30472" y="14374"/>
                </a:lnTo>
                <a:lnTo>
                  <a:pt x="31184" y="14190"/>
                </a:lnTo>
                <a:lnTo>
                  <a:pt x="31753" y="13945"/>
                </a:lnTo>
                <a:lnTo>
                  <a:pt x="32181" y="13578"/>
                </a:lnTo>
                <a:lnTo>
                  <a:pt x="32465" y="13211"/>
                </a:lnTo>
                <a:lnTo>
                  <a:pt x="32537" y="12722"/>
                </a:lnTo>
                <a:lnTo>
                  <a:pt x="32465" y="12233"/>
                </a:lnTo>
                <a:lnTo>
                  <a:pt x="32252" y="11682"/>
                </a:lnTo>
                <a:lnTo>
                  <a:pt x="31825" y="11132"/>
                </a:lnTo>
                <a:lnTo>
                  <a:pt x="31326" y="10520"/>
                </a:lnTo>
                <a:lnTo>
                  <a:pt x="30614" y="9847"/>
                </a:lnTo>
                <a:lnTo>
                  <a:pt x="29831" y="9236"/>
                </a:lnTo>
                <a:lnTo>
                  <a:pt x="28906" y="8502"/>
                </a:lnTo>
                <a:lnTo>
                  <a:pt x="27838" y="7829"/>
                </a:lnTo>
                <a:lnTo>
                  <a:pt x="26698" y="7156"/>
                </a:lnTo>
                <a:lnTo>
                  <a:pt x="25488" y="6483"/>
                </a:lnTo>
                <a:lnTo>
                  <a:pt x="24135" y="5749"/>
                </a:lnTo>
                <a:lnTo>
                  <a:pt x="22711" y="5076"/>
                </a:lnTo>
                <a:lnTo>
                  <a:pt x="21145" y="4403"/>
                </a:lnTo>
                <a:lnTo>
                  <a:pt x="19579" y="3731"/>
                </a:lnTo>
                <a:lnTo>
                  <a:pt x="17941" y="3119"/>
                </a:lnTo>
                <a:lnTo>
                  <a:pt x="16304" y="2507"/>
                </a:lnTo>
                <a:lnTo>
                  <a:pt x="14666" y="2018"/>
                </a:lnTo>
                <a:lnTo>
                  <a:pt x="13100" y="1529"/>
                </a:lnTo>
                <a:lnTo>
                  <a:pt x="11533" y="1100"/>
                </a:lnTo>
                <a:lnTo>
                  <a:pt x="10038" y="795"/>
                </a:lnTo>
                <a:lnTo>
                  <a:pt x="8614" y="489"/>
                </a:lnTo>
                <a:lnTo>
                  <a:pt x="7262" y="244"/>
                </a:lnTo>
                <a:lnTo>
                  <a:pt x="6051" y="122"/>
                </a:lnTo>
                <a:lnTo>
                  <a:pt x="4841" y="0"/>
                </a:lnTo>
                <a:lnTo>
                  <a:pt x="3773" y="0"/>
                </a:lnTo>
                <a:lnTo>
                  <a:pt x="2847" y="61"/>
                </a:lnTo>
                <a:lnTo>
                  <a:pt x="1993" y="122"/>
                </a:lnTo>
                <a:lnTo>
                  <a:pt x="1281" y="305"/>
                </a:lnTo>
                <a:lnTo>
                  <a:pt x="711" y="550"/>
                </a:lnTo>
                <a:lnTo>
                  <a:pt x="355" y="917"/>
                </a:lnTo>
                <a:lnTo>
                  <a:pt x="71" y="1284"/>
                </a:lnTo>
                <a:lnTo>
                  <a:pt x="0" y="1712"/>
                </a:lnTo>
                <a:lnTo>
                  <a:pt x="71" y="2201"/>
                </a:lnTo>
                <a:lnTo>
                  <a:pt x="284" y="2752"/>
                </a:lnTo>
                <a:lnTo>
                  <a:pt x="711" y="3364"/>
                </a:lnTo>
                <a:lnTo>
                  <a:pt x="1210" y="3975"/>
                </a:lnTo>
                <a:lnTo>
                  <a:pt x="1851" y="4587"/>
                </a:lnTo>
                <a:lnTo>
                  <a:pt x="2634" y="5260"/>
                </a:lnTo>
                <a:lnTo>
                  <a:pt x="3559" y="5933"/>
                </a:lnTo>
                <a:lnTo>
                  <a:pt x="4627" y="6605"/>
                </a:lnTo>
                <a:lnTo>
                  <a:pt x="5766" y="7339"/>
                </a:lnTo>
                <a:lnTo>
                  <a:pt x="6977" y="8012"/>
                </a:lnTo>
                <a:lnTo>
                  <a:pt x="8330" y="8746"/>
                </a:lnTo>
                <a:lnTo>
                  <a:pt x="9753" y="9419"/>
                </a:lnTo>
                <a:lnTo>
                  <a:pt x="11320" y="10092"/>
                </a:lnTo>
                <a:lnTo>
                  <a:pt x="12886" y="10765"/>
                </a:lnTo>
                <a:lnTo>
                  <a:pt x="14524" y="11376"/>
                </a:lnTo>
                <a:close/>
              </a:path>
            </a:pathLst>
          </a:custGeom>
          <a:solidFill>
            <a:srgbClr val="999999"/>
          </a:solidFill>
        </p:spPr>
        <p:txBody>
          <a:bodyPr wrap="square" lIns="0" tIns="0" rIns="0" bIns="0" rtlCol="0">
            <a:noAutofit/>
          </a:bodyPr>
          <a:lstStyle/>
          <a:p>
            <a:endParaRPr/>
          </a:p>
        </p:txBody>
      </p:sp>
      <p:sp>
        <p:nvSpPr>
          <p:cNvPr id="682" name="object 682"/>
          <p:cNvSpPr/>
          <p:nvPr/>
        </p:nvSpPr>
        <p:spPr>
          <a:xfrm>
            <a:off x="9184155" y="4355420"/>
            <a:ext cx="32537" cy="14496"/>
          </a:xfrm>
          <a:custGeom>
            <a:avLst/>
            <a:gdLst/>
            <a:ahLst/>
            <a:cxnLst/>
            <a:rect l="l" t="t" r="r" b="b"/>
            <a:pathLst>
              <a:path w="32537" h="14496">
                <a:moveTo>
                  <a:pt x="14524" y="11376"/>
                </a:moveTo>
                <a:lnTo>
                  <a:pt x="16161" y="11988"/>
                </a:lnTo>
                <a:lnTo>
                  <a:pt x="17799" y="12477"/>
                </a:lnTo>
                <a:lnTo>
                  <a:pt x="19436" y="12967"/>
                </a:lnTo>
                <a:lnTo>
                  <a:pt x="21003" y="13395"/>
                </a:lnTo>
                <a:lnTo>
                  <a:pt x="22427" y="13701"/>
                </a:lnTo>
                <a:lnTo>
                  <a:pt x="23851" y="14007"/>
                </a:lnTo>
                <a:lnTo>
                  <a:pt x="25203" y="14251"/>
                </a:lnTo>
                <a:lnTo>
                  <a:pt x="26485" y="14374"/>
                </a:lnTo>
                <a:lnTo>
                  <a:pt x="27624" y="14496"/>
                </a:lnTo>
                <a:lnTo>
                  <a:pt x="28692" y="14496"/>
                </a:lnTo>
                <a:lnTo>
                  <a:pt x="29689" y="14435"/>
                </a:lnTo>
                <a:lnTo>
                  <a:pt x="30472" y="14374"/>
                </a:lnTo>
                <a:lnTo>
                  <a:pt x="31184" y="14190"/>
                </a:lnTo>
                <a:lnTo>
                  <a:pt x="31753" y="13945"/>
                </a:lnTo>
                <a:lnTo>
                  <a:pt x="32181" y="13578"/>
                </a:lnTo>
                <a:lnTo>
                  <a:pt x="32465" y="13211"/>
                </a:lnTo>
                <a:lnTo>
                  <a:pt x="32537" y="12722"/>
                </a:lnTo>
                <a:lnTo>
                  <a:pt x="32465" y="12233"/>
                </a:lnTo>
                <a:lnTo>
                  <a:pt x="32252" y="11682"/>
                </a:lnTo>
                <a:lnTo>
                  <a:pt x="31825" y="11132"/>
                </a:lnTo>
                <a:lnTo>
                  <a:pt x="31326" y="10520"/>
                </a:lnTo>
                <a:lnTo>
                  <a:pt x="30614" y="9847"/>
                </a:lnTo>
                <a:lnTo>
                  <a:pt x="29831" y="9236"/>
                </a:lnTo>
                <a:lnTo>
                  <a:pt x="28906" y="8502"/>
                </a:lnTo>
                <a:lnTo>
                  <a:pt x="27838" y="7829"/>
                </a:lnTo>
                <a:lnTo>
                  <a:pt x="26698" y="7156"/>
                </a:lnTo>
                <a:lnTo>
                  <a:pt x="25488" y="6483"/>
                </a:lnTo>
                <a:lnTo>
                  <a:pt x="24135" y="5749"/>
                </a:lnTo>
                <a:lnTo>
                  <a:pt x="22711" y="5076"/>
                </a:lnTo>
                <a:lnTo>
                  <a:pt x="21145" y="4403"/>
                </a:lnTo>
                <a:lnTo>
                  <a:pt x="19579" y="3731"/>
                </a:lnTo>
                <a:lnTo>
                  <a:pt x="17941" y="3119"/>
                </a:lnTo>
                <a:lnTo>
                  <a:pt x="16304" y="2507"/>
                </a:lnTo>
                <a:lnTo>
                  <a:pt x="14666" y="2018"/>
                </a:lnTo>
                <a:lnTo>
                  <a:pt x="13100" y="1529"/>
                </a:lnTo>
                <a:lnTo>
                  <a:pt x="11533" y="1100"/>
                </a:lnTo>
                <a:lnTo>
                  <a:pt x="10038" y="795"/>
                </a:lnTo>
                <a:lnTo>
                  <a:pt x="8614" y="489"/>
                </a:lnTo>
                <a:lnTo>
                  <a:pt x="7262" y="244"/>
                </a:lnTo>
                <a:lnTo>
                  <a:pt x="6051" y="122"/>
                </a:lnTo>
                <a:lnTo>
                  <a:pt x="4841" y="0"/>
                </a:lnTo>
                <a:lnTo>
                  <a:pt x="3773" y="0"/>
                </a:lnTo>
                <a:lnTo>
                  <a:pt x="2847" y="61"/>
                </a:lnTo>
                <a:lnTo>
                  <a:pt x="1993" y="122"/>
                </a:lnTo>
                <a:lnTo>
                  <a:pt x="1281" y="305"/>
                </a:lnTo>
                <a:lnTo>
                  <a:pt x="711" y="550"/>
                </a:lnTo>
                <a:lnTo>
                  <a:pt x="355" y="917"/>
                </a:lnTo>
                <a:lnTo>
                  <a:pt x="71" y="1284"/>
                </a:lnTo>
                <a:lnTo>
                  <a:pt x="0" y="1712"/>
                </a:lnTo>
                <a:lnTo>
                  <a:pt x="71" y="2201"/>
                </a:lnTo>
                <a:lnTo>
                  <a:pt x="284" y="2752"/>
                </a:lnTo>
                <a:lnTo>
                  <a:pt x="711" y="3364"/>
                </a:lnTo>
                <a:lnTo>
                  <a:pt x="1210" y="3975"/>
                </a:lnTo>
                <a:lnTo>
                  <a:pt x="1851" y="4587"/>
                </a:lnTo>
                <a:lnTo>
                  <a:pt x="2634" y="5260"/>
                </a:lnTo>
                <a:lnTo>
                  <a:pt x="3559" y="5933"/>
                </a:lnTo>
                <a:lnTo>
                  <a:pt x="4627" y="6605"/>
                </a:lnTo>
                <a:lnTo>
                  <a:pt x="5766" y="7339"/>
                </a:lnTo>
                <a:lnTo>
                  <a:pt x="6977" y="8012"/>
                </a:lnTo>
                <a:lnTo>
                  <a:pt x="8330" y="8746"/>
                </a:lnTo>
                <a:lnTo>
                  <a:pt x="9753" y="9419"/>
                </a:lnTo>
                <a:lnTo>
                  <a:pt x="11320" y="10092"/>
                </a:lnTo>
                <a:lnTo>
                  <a:pt x="12886" y="10765"/>
                </a:lnTo>
                <a:lnTo>
                  <a:pt x="14524" y="11376"/>
                </a:lnTo>
              </a:path>
            </a:pathLst>
          </a:custGeom>
          <a:ln w="62">
            <a:solidFill>
              <a:srgbClr val="000000"/>
            </a:solidFill>
          </a:ln>
        </p:spPr>
        <p:txBody>
          <a:bodyPr wrap="square" lIns="0" tIns="0" rIns="0" bIns="0" rtlCol="0">
            <a:noAutofit/>
          </a:bodyPr>
          <a:lstStyle/>
          <a:p>
            <a:endParaRPr/>
          </a:p>
        </p:txBody>
      </p:sp>
      <p:sp>
        <p:nvSpPr>
          <p:cNvPr id="683" name="object 683"/>
          <p:cNvSpPr/>
          <p:nvPr/>
        </p:nvSpPr>
        <p:spPr>
          <a:xfrm>
            <a:off x="4201669" y="5052061"/>
            <a:ext cx="1491995" cy="894587"/>
          </a:xfrm>
          <a:prstGeom prst="rect">
            <a:avLst/>
          </a:prstGeom>
          <a:blipFill>
            <a:blip r:embed="rId8" cstate="print"/>
            <a:stretch>
              <a:fillRect/>
            </a:stretch>
          </a:blipFill>
        </p:spPr>
        <p:txBody>
          <a:bodyPr wrap="square" lIns="0" tIns="0" rIns="0" bIns="0" rtlCol="0">
            <a:noAutofit/>
          </a:bodyPr>
          <a:lstStyle/>
          <a:p>
            <a:endParaRPr/>
          </a:p>
        </p:txBody>
      </p:sp>
      <p:sp>
        <p:nvSpPr>
          <p:cNvPr id="684" name="object 684"/>
          <p:cNvSpPr/>
          <p:nvPr/>
        </p:nvSpPr>
        <p:spPr>
          <a:xfrm>
            <a:off x="4184651" y="5033963"/>
            <a:ext cx="1476375" cy="879475"/>
          </a:xfrm>
          <a:custGeom>
            <a:avLst/>
            <a:gdLst/>
            <a:ahLst/>
            <a:cxnLst/>
            <a:rect l="l" t="t" r="r" b="b"/>
            <a:pathLst>
              <a:path w="1476375" h="879475">
                <a:moveTo>
                  <a:pt x="0" y="879475"/>
                </a:moveTo>
                <a:lnTo>
                  <a:pt x="1476375" y="879475"/>
                </a:lnTo>
                <a:lnTo>
                  <a:pt x="1476375" y="0"/>
                </a:lnTo>
                <a:lnTo>
                  <a:pt x="0" y="0"/>
                </a:lnTo>
                <a:lnTo>
                  <a:pt x="0" y="879475"/>
                </a:lnTo>
                <a:close/>
              </a:path>
            </a:pathLst>
          </a:custGeom>
          <a:solidFill>
            <a:srgbClr val="037B03"/>
          </a:solidFill>
        </p:spPr>
        <p:txBody>
          <a:bodyPr wrap="square" lIns="0" tIns="0" rIns="0" bIns="0" rtlCol="0">
            <a:noAutofit/>
          </a:bodyPr>
          <a:lstStyle/>
          <a:p>
            <a:endParaRPr/>
          </a:p>
        </p:txBody>
      </p:sp>
      <p:sp>
        <p:nvSpPr>
          <p:cNvPr id="685" name="object 685"/>
          <p:cNvSpPr/>
          <p:nvPr/>
        </p:nvSpPr>
        <p:spPr>
          <a:xfrm>
            <a:off x="4184651" y="5033963"/>
            <a:ext cx="1476375" cy="879475"/>
          </a:xfrm>
          <a:custGeom>
            <a:avLst/>
            <a:gdLst/>
            <a:ahLst/>
            <a:cxnLst/>
            <a:rect l="l" t="t" r="r" b="b"/>
            <a:pathLst>
              <a:path w="1476375" h="879475">
                <a:moveTo>
                  <a:pt x="0" y="879475"/>
                </a:moveTo>
                <a:lnTo>
                  <a:pt x="1476375" y="879475"/>
                </a:lnTo>
                <a:lnTo>
                  <a:pt x="1476375" y="0"/>
                </a:lnTo>
                <a:lnTo>
                  <a:pt x="0" y="0"/>
                </a:lnTo>
                <a:lnTo>
                  <a:pt x="0" y="879475"/>
                </a:lnTo>
                <a:close/>
              </a:path>
            </a:pathLst>
          </a:custGeom>
          <a:ln w="12700">
            <a:solidFill>
              <a:srgbClr val="FFFFFF"/>
            </a:solidFill>
          </a:ln>
        </p:spPr>
        <p:txBody>
          <a:bodyPr wrap="square" lIns="0" tIns="0" rIns="0" bIns="0" rtlCol="0">
            <a:noAutofit/>
          </a:bodyPr>
          <a:lstStyle/>
          <a:p>
            <a:endParaRPr/>
          </a:p>
        </p:txBody>
      </p:sp>
      <p:sp>
        <p:nvSpPr>
          <p:cNvPr id="686" name="object 686"/>
          <p:cNvSpPr/>
          <p:nvPr/>
        </p:nvSpPr>
        <p:spPr>
          <a:xfrm>
            <a:off x="4829175" y="5160557"/>
            <a:ext cx="165506" cy="192493"/>
          </a:xfrm>
          <a:custGeom>
            <a:avLst/>
            <a:gdLst/>
            <a:ahLst/>
            <a:cxnLst/>
            <a:rect l="l" t="t" r="r" b="b"/>
            <a:pathLst>
              <a:path w="165506" h="192493">
                <a:moveTo>
                  <a:pt x="0" y="192493"/>
                </a:moveTo>
                <a:lnTo>
                  <a:pt x="165506" y="192493"/>
                </a:lnTo>
                <a:lnTo>
                  <a:pt x="165506" y="0"/>
                </a:lnTo>
                <a:lnTo>
                  <a:pt x="0" y="0"/>
                </a:lnTo>
                <a:lnTo>
                  <a:pt x="0" y="192493"/>
                </a:lnTo>
                <a:close/>
              </a:path>
            </a:pathLst>
          </a:custGeom>
          <a:solidFill>
            <a:srgbClr val="FFFFFF"/>
          </a:solidFill>
        </p:spPr>
        <p:txBody>
          <a:bodyPr wrap="square" lIns="0" tIns="0" rIns="0" bIns="0" rtlCol="0">
            <a:noAutofit/>
          </a:bodyPr>
          <a:lstStyle/>
          <a:p>
            <a:endParaRPr/>
          </a:p>
        </p:txBody>
      </p:sp>
      <p:sp>
        <p:nvSpPr>
          <p:cNvPr id="687" name="object 687"/>
          <p:cNvSpPr/>
          <p:nvPr/>
        </p:nvSpPr>
        <p:spPr>
          <a:xfrm>
            <a:off x="4994656" y="5105400"/>
            <a:ext cx="55245" cy="247650"/>
          </a:xfrm>
          <a:custGeom>
            <a:avLst/>
            <a:gdLst/>
            <a:ahLst/>
            <a:cxnLst/>
            <a:rect l="l" t="t" r="r" b="b"/>
            <a:pathLst>
              <a:path w="55245" h="247650">
                <a:moveTo>
                  <a:pt x="0" y="55118"/>
                </a:moveTo>
                <a:lnTo>
                  <a:pt x="0" y="247650"/>
                </a:lnTo>
                <a:lnTo>
                  <a:pt x="55245" y="192531"/>
                </a:lnTo>
                <a:lnTo>
                  <a:pt x="55245" y="0"/>
                </a:lnTo>
                <a:lnTo>
                  <a:pt x="0" y="55118"/>
                </a:lnTo>
                <a:close/>
              </a:path>
            </a:pathLst>
          </a:custGeom>
          <a:solidFill>
            <a:srgbClr val="CDCDCD"/>
          </a:solidFill>
        </p:spPr>
        <p:txBody>
          <a:bodyPr wrap="square" lIns="0" tIns="0" rIns="0" bIns="0" rtlCol="0">
            <a:noAutofit/>
          </a:bodyPr>
          <a:lstStyle/>
          <a:p>
            <a:endParaRPr/>
          </a:p>
        </p:txBody>
      </p:sp>
      <p:sp>
        <p:nvSpPr>
          <p:cNvPr id="688" name="object 688"/>
          <p:cNvSpPr/>
          <p:nvPr/>
        </p:nvSpPr>
        <p:spPr>
          <a:xfrm>
            <a:off x="4829176" y="5105400"/>
            <a:ext cx="220725" cy="55118"/>
          </a:xfrm>
          <a:custGeom>
            <a:avLst/>
            <a:gdLst/>
            <a:ahLst/>
            <a:cxnLst/>
            <a:rect l="l" t="t" r="r" b="b"/>
            <a:pathLst>
              <a:path w="220725" h="55118">
                <a:moveTo>
                  <a:pt x="0" y="55118"/>
                </a:moveTo>
                <a:lnTo>
                  <a:pt x="165480" y="55118"/>
                </a:lnTo>
                <a:lnTo>
                  <a:pt x="220725" y="0"/>
                </a:lnTo>
                <a:lnTo>
                  <a:pt x="55117" y="0"/>
                </a:lnTo>
                <a:lnTo>
                  <a:pt x="0" y="55118"/>
                </a:lnTo>
                <a:close/>
              </a:path>
            </a:pathLst>
          </a:custGeom>
          <a:solidFill>
            <a:srgbClr val="FFFFFF"/>
          </a:solidFill>
        </p:spPr>
        <p:txBody>
          <a:bodyPr wrap="square" lIns="0" tIns="0" rIns="0" bIns="0" rtlCol="0">
            <a:noAutofit/>
          </a:bodyPr>
          <a:lstStyle/>
          <a:p>
            <a:endParaRPr/>
          </a:p>
        </p:txBody>
      </p:sp>
      <p:sp>
        <p:nvSpPr>
          <p:cNvPr id="689" name="object 689"/>
          <p:cNvSpPr/>
          <p:nvPr/>
        </p:nvSpPr>
        <p:spPr>
          <a:xfrm>
            <a:off x="4829176" y="5105400"/>
            <a:ext cx="220725" cy="247650"/>
          </a:xfrm>
          <a:custGeom>
            <a:avLst/>
            <a:gdLst/>
            <a:ahLst/>
            <a:cxnLst/>
            <a:rect l="l" t="t" r="r" b="b"/>
            <a:pathLst>
              <a:path w="220725" h="247650">
                <a:moveTo>
                  <a:pt x="0" y="55118"/>
                </a:moveTo>
                <a:lnTo>
                  <a:pt x="55117" y="0"/>
                </a:lnTo>
                <a:lnTo>
                  <a:pt x="220725" y="0"/>
                </a:lnTo>
                <a:lnTo>
                  <a:pt x="220725" y="192531"/>
                </a:lnTo>
                <a:lnTo>
                  <a:pt x="165480" y="247650"/>
                </a:lnTo>
                <a:lnTo>
                  <a:pt x="0" y="247650"/>
                </a:lnTo>
                <a:lnTo>
                  <a:pt x="0" y="55118"/>
                </a:lnTo>
                <a:close/>
              </a:path>
            </a:pathLst>
          </a:custGeom>
          <a:ln w="12700">
            <a:solidFill>
              <a:srgbClr val="000000"/>
            </a:solidFill>
          </a:ln>
        </p:spPr>
        <p:txBody>
          <a:bodyPr wrap="square" lIns="0" tIns="0" rIns="0" bIns="0" rtlCol="0">
            <a:noAutofit/>
          </a:bodyPr>
          <a:lstStyle/>
          <a:p>
            <a:endParaRPr/>
          </a:p>
        </p:txBody>
      </p:sp>
      <p:sp>
        <p:nvSpPr>
          <p:cNvPr id="690" name="object 690"/>
          <p:cNvSpPr/>
          <p:nvPr/>
        </p:nvSpPr>
        <p:spPr>
          <a:xfrm>
            <a:off x="4829176" y="5105400"/>
            <a:ext cx="220725" cy="55118"/>
          </a:xfrm>
          <a:custGeom>
            <a:avLst/>
            <a:gdLst/>
            <a:ahLst/>
            <a:cxnLst/>
            <a:rect l="l" t="t" r="r" b="b"/>
            <a:pathLst>
              <a:path w="220725" h="55118">
                <a:moveTo>
                  <a:pt x="0" y="55118"/>
                </a:moveTo>
                <a:lnTo>
                  <a:pt x="165480" y="55118"/>
                </a:lnTo>
                <a:lnTo>
                  <a:pt x="220725" y="0"/>
                </a:lnTo>
              </a:path>
            </a:pathLst>
          </a:custGeom>
          <a:ln w="12700">
            <a:solidFill>
              <a:srgbClr val="000000"/>
            </a:solidFill>
          </a:ln>
        </p:spPr>
        <p:txBody>
          <a:bodyPr wrap="square" lIns="0" tIns="0" rIns="0" bIns="0" rtlCol="0">
            <a:noAutofit/>
          </a:bodyPr>
          <a:lstStyle/>
          <a:p>
            <a:endParaRPr/>
          </a:p>
        </p:txBody>
      </p:sp>
      <p:sp>
        <p:nvSpPr>
          <p:cNvPr id="691" name="object 691"/>
          <p:cNvSpPr/>
          <p:nvPr/>
        </p:nvSpPr>
        <p:spPr>
          <a:xfrm>
            <a:off x="4994655" y="5160519"/>
            <a:ext cx="0" cy="192531"/>
          </a:xfrm>
          <a:custGeom>
            <a:avLst/>
            <a:gdLst/>
            <a:ahLst/>
            <a:cxnLst/>
            <a:rect l="l" t="t" r="r" b="b"/>
            <a:pathLst>
              <a:path h="192531">
                <a:moveTo>
                  <a:pt x="0" y="0"/>
                </a:moveTo>
                <a:lnTo>
                  <a:pt x="0" y="192531"/>
                </a:lnTo>
              </a:path>
            </a:pathLst>
          </a:custGeom>
          <a:ln w="12700">
            <a:solidFill>
              <a:srgbClr val="000000"/>
            </a:solidFill>
          </a:ln>
        </p:spPr>
        <p:txBody>
          <a:bodyPr wrap="square" lIns="0" tIns="0" rIns="0" bIns="0" rtlCol="0">
            <a:noAutofit/>
          </a:bodyPr>
          <a:lstStyle/>
          <a:p>
            <a:endParaRPr/>
          </a:p>
        </p:txBody>
      </p:sp>
      <p:sp>
        <p:nvSpPr>
          <p:cNvPr id="692" name="object 692"/>
          <p:cNvSpPr/>
          <p:nvPr/>
        </p:nvSpPr>
        <p:spPr>
          <a:xfrm>
            <a:off x="4772025" y="5222468"/>
            <a:ext cx="165506" cy="190906"/>
          </a:xfrm>
          <a:custGeom>
            <a:avLst/>
            <a:gdLst/>
            <a:ahLst/>
            <a:cxnLst/>
            <a:rect l="l" t="t" r="r" b="b"/>
            <a:pathLst>
              <a:path w="165506" h="190906">
                <a:moveTo>
                  <a:pt x="0" y="190906"/>
                </a:moveTo>
                <a:lnTo>
                  <a:pt x="165506" y="190906"/>
                </a:lnTo>
                <a:lnTo>
                  <a:pt x="165506" y="0"/>
                </a:lnTo>
                <a:lnTo>
                  <a:pt x="0" y="0"/>
                </a:lnTo>
                <a:lnTo>
                  <a:pt x="0" y="190906"/>
                </a:lnTo>
                <a:close/>
              </a:path>
            </a:pathLst>
          </a:custGeom>
          <a:solidFill>
            <a:srgbClr val="FFFFFF"/>
          </a:solidFill>
        </p:spPr>
        <p:txBody>
          <a:bodyPr wrap="square" lIns="0" tIns="0" rIns="0" bIns="0" rtlCol="0">
            <a:noAutofit/>
          </a:bodyPr>
          <a:lstStyle/>
          <a:p>
            <a:endParaRPr/>
          </a:p>
        </p:txBody>
      </p:sp>
      <p:sp>
        <p:nvSpPr>
          <p:cNvPr id="693" name="object 693"/>
          <p:cNvSpPr/>
          <p:nvPr/>
        </p:nvSpPr>
        <p:spPr>
          <a:xfrm>
            <a:off x="4937506" y="5167377"/>
            <a:ext cx="55245" cy="245999"/>
          </a:xfrm>
          <a:custGeom>
            <a:avLst/>
            <a:gdLst/>
            <a:ahLst/>
            <a:cxnLst/>
            <a:rect l="l" t="t" r="r" b="b"/>
            <a:pathLst>
              <a:path w="55245" h="245999">
                <a:moveTo>
                  <a:pt x="0" y="55118"/>
                </a:moveTo>
                <a:lnTo>
                  <a:pt x="0" y="245999"/>
                </a:lnTo>
                <a:lnTo>
                  <a:pt x="55245" y="190881"/>
                </a:lnTo>
                <a:lnTo>
                  <a:pt x="55245" y="0"/>
                </a:lnTo>
                <a:lnTo>
                  <a:pt x="0" y="55118"/>
                </a:lnTo>
                <a:close/>
              </a:path>
            </a:pathLst>
          </a:custGeom>
          <a:solidFill>
            <a:srgbClr val="CDCDCD"/>
          </a:solidFill>
        </p:spPr>
        <p:txBody>
          <a:bodyPr wrap="square" lIns="0" tIns="0" rIns="0" bIns="0" rtlCol="0">
            <a:noAutofit/>
          </a:bodyPr>
          <a:lstStyle/>
          <a:p>
            <a:endParaRPr/>
          </a:p>
        </p:txBody>
      </p:sp>
      <p:sp>
        <p:nvSpPr>
          <p:cNvPr id="694" name="object 694"/>
          <p:cNvSpPr/>
          <p:nvPr/>
        </p:nvSpPr>
        <p:spPr>
          <a:xfrm>
            <a:off x="4772026" y="5167376"/>
            <a:ext cx="220725" cy="55118"/>
          </a:xfrm>
          <a:custGeom>
            <a:avLst/>
            <a:gdLst/>
            <a:ahLst/>
            <a:cxnLst/>
            <a:rect l="l" t="t" r="r" b="b"/>
            <a:pathLst>
              <a:path w="220725" h="55118">
                <a:moveTo>
                  <a:pt x="0" y="55118"/>
                </a:moveTo>
                <a:lnTo>
                  <a:pt x="165480" y="55118"/>
                </a:lnTo>
                <a:lnTo>
                  <a:pt x="220725" y="0"/>
                </a:lnTo>
                <a:lnTo>
                  <a:pt x="55117" y="0"/>
                </a:lnTo>
                <a:lnTo>
                  <a:pt x="0" y="55118"/>
                </a:lnTo>
                <a:close/>
              </a:path>
            </a:pathLst>
          </a:custGeom>
          <a:solidFill>
            <a:srgbClr val="FFFFFF"/>
          </a:solidFill>
        </p:spPr>
        <p:txBody>
          <a:bodyPr wrap="square" lIns="0" tIns="0" rIns="0" bIns="0" rtlCol="0">
            <a:noAutofit/>
          </a:bodyPr>
          <a:lstStyle/>
          <a:p>
            <a:endParaRPr/>
          </a:p>
        </p:txBody>
      </p:sp>
      <p:sp>
        <p:nvSpPr>
          <p:cNvPr id="695" name="object 695"/>
          <p:cNvSpPr/>
          <p:nvPr/>
        </p:nvSpPr>
        <p:spPr>
          <a:xfrm>
            <a:off x="4772026" y="5167377"/>
            <a:ext cx="220725" cy="245999"/>
          </a:xfrm>
          <a:custGeom>
            <a:avLst/>
            <a:gdLst/>
            <a:ahLst/>
            <a:cxnLst/>
            <a:rect l="l" t="t" r="r" b="b"/>
            <a:pathLst>
              <a:path w="220725" h="245999">
                <a:moveTo>
                  <a:pt x="0" y="55118"/>
                </a:moveTo>
                <a:lnTo>
                  <a:pt x="55117" y="0"/>
                </a:lnTo>
                <a:lnTo>
                  <a:pt x="220725" y="0"/>
                </a:lnTo>
                <a:lnTo>
                  <a:pt x="220725" y="190881"/>
                </a:lnTo>
                <a:lnTo>
                  <a:pt x="165480" y="245999"/>
                </a:lnTo>
                <a:lnTo>
                  <a:pt x="0" y="245999"/>
                </a:lnTo>
                <a:lnTo>
                  <a:pt x="0" y="55118"/>
                </a:lnTo>
                <a:close/>
              </a:path>
            </a:pathLst>
          </a:custGeom>
          <a:ln w="12700">
            <a:solidFill>
              <a:srgbClr val="000000"/>
            </a:solidFill>
          </a:ln>
        </p:spPr>
        <p:txBody>
          <a:bodyPr wrap="square" lIns="0" tIns="0" rIns="0" bIns="0" rtlCol="0">
            <a:noAutofit/>
          </a:bodyPr>
          <a:lstStyle/>
          <a:p>
            <a:endParaRPr/>
          </a:p>
        </p:txBody>
      </p:sp>
      <p:sp>
        <p:nvSpPr>
          <p:cNvPr id="696" name="object 696"/>
          <p:cNvSpPr/>
          <p:nvPr/>
        </p:nvSpPr>
        <p:spPr>
          <a:xfrm>
            <a:off x="4772026" y="5167376"/>
            <a:ext cx="220725" cy="55118"/>
          </a:xfrm>
          <a:custGeom>
            <a:avLst/>
            <a:gdLst/>
            <a:ahLst/>
            <a:cxnLst/>
            <a:rect l="l" t="t" r="r" b="b"/>
            <a:pathLst>
              <a:path w="220725" h="55118">
                <a:moveTo>
                  <a:pt x="0" y="55118"/>
                </a:moveTo>
                <a:lnTo>
                  <a:pt x="165480" y="55118"/>
                </a:lnTo>
                <a:lnTo>
                  <a:pt x="220725" y="0"/>
                </a:lnTo>
              </a:path>
            </a:pathLst>
          </a:custGeom>
          <a:ln w="12700">
            <a:solidFill>
              <a:srgbClr val="000000"/>
            </a:solidFill>
          </a:ln>
        </p:spPr>
        <p:txBody>
          <a:bodyPr wrap="square" lIns="0" tIns="0" rIns="0" bIns="0" rtlCol="0">
            <a:noAutofit/>
          </a:bodyPr>
          <a:lstStyle/>
          <a:p>
            <a:endParaRPr/>
          </a:p>
        </p:txBody>
      </p:sp>
      <p:sp>
        <p:nvSpPr>
          <p:cNvPr id="697" name="object 697"/>
          <p:cNvSpPr/>
          <p:nvPr/>
        </p:nvSpPr>
        <p:spPr>
          <a:xfrm>
            <a:off x="4937505" y="5222495"/>
            <a:ext cx="0" cy="190881"/>
          </a:xfrm>
          <a:custGeom>
            <a:avLst/>
            <a:gdLst/>
            <a:ahLst/>
            <a:cxnLst/>
            <a:rect l="l" t="t" r="r" b="b"/>
            <a:pathLst>
              <a:path h="190880">
                <a:moveTo>
                  <a:pt x="0" y="0"/>
                </a:moveTo>
                <a:lnTo>
                  <a:pt x="0" y="190880"/>
                </a:lnTo>
              </a:path>
            </a:pathLst>
          </a:custGeom>
          <a:ln w="12700">
            <a:solidFill>
              <a:srgbClr val="000000"/>
            </a:solidFill>
          </a:ln>
        </p:spPr>
        <p:txBody>
          <a:bodyPr wrap="square" lIns="0" tIns="0" rIns="0" bIns="0" rtlCol="0">
            <a:noAutofit/>
          </a:bodyPr>
          <a:lstStyle/>
          <a:p>
            <a:endParaRPr/>
          </a:p>
        </p:txBody>
      </p:sp>
      <p:sp>
        <p:nvSpPr>
          <p:cNvPr id="698" name="object 698"/>
          <p:cNvSpPr/>
          <p:nvPr/>
        </p:nvSpPr>
        <p:spPr>
          <a:xfrm>
            <a:off x="4713351" y="5282858"/>
            <a:ext cx="165506" cy="192493"/>
          </a:xfrm>
          <a:custGeom>
            <a:avLst/>
            <a:gdLst/>
            <a:ahLst/>
            <a:cxnLst/>
            <a:rect l="l" t="t" r="r" b="b"/>
            <a:pathLst>
              <a:path w="165506" h="192493">
                <a:moveTo>
                  <a:pt x="0" y="192493"/>
                </a:moveTo>
                <a:lnTo>
                  <a:pt x="165506" y="192493"/>
                </a:lnTo>
                <a:lnTo>
                  <a:pt x="165506" y="0"/>
                </a:lnTo>
                <a:lnTo>
                  <a:pt x="0" y="0"/>
                </a:lnTo>
                <a:lnTo>
                  <a:pt x="0" y="192493"/>
                </a:lnTo>
                <a:close/>
              </a:path>
            </a:pathLst>
          </a:custGeom>
          <a:solidFill>
            <a:srgbClr val="FFFFFF"/>
          </a:solidFill>
        </p:spPr>
        <p:txBody>
          <a:bodyPr wrap="square" lIns="0" tIns="0" rIns="0" bIns="0" rtlCol="0">
            <a:noAutofit/>
          </a:bodyPr>
          <a:lstStyle/>
          <a:p>
            <a:endParaRPr/>
          </a:p>
        </p:txBody>
      </p:sp>
      <p:sp>
        <p:nvSpPr>
          <p:cNvPr id="699" name="object 699"/>
          <p:cNvSpPr/>
          <p:nvPr/>
        </p:nvSpPr>
        <p:spPr>
          <a:xfrm>
            <a:off x="4878833" y="5227701"/>
            <a:ext cx="55117" cy="247650"/>
          </a:xfrm>
          <a:custGeom>
            <a:avLst/>
            <a:gdLst/>
            <a:ahLst/>
            <a:cxnLst/>
            <a:rect l="l" t="t" r="r" b="b"/>
            <a:pathLst>
              <a:path w="55117" h="247650">
                <a:moveTo>
                  <a:pt x="0" y="55118"/>
                </a:moveTo>
                <a:lnTo>
                  <a:pt x="0" y="247650"/>
                </a:lnTo>
                <a:lnTo>
                  <a:pt x="55117" y="192405"/>
                </a:lnTo>
                <a:lnTo>
                  <a:pt x="55117" y="0"/>
                </a:lnTo>
                <a:lnTo>
                  <a:pt x="0" y="55118"/>
                </a:lnTo>
                <a:close/>
              </a:path>
            </a:pathLst>
          </a:custGeom>
          <a:solidFill>
            <a:srgbClr val="CDCDCD"/>
          </a:solidFill>
        </p:spPr>
        <p:txBody>
          <a:bodyPr wrap="square" lIns="0" tIns="0" rIns="0" bIns="0" rtlCol="0">
            <a:noAutofit/>
          </a:bodyPr>
          <a:lstStyle/>
          <a:p>
            <a:endParaRPr/>
          </a:p>
        </p:txBody>
      </p:sp>
      <p:sp>
        <p:nvSpPr>
          <p:cNvPr id="700" name="object 700"/>
          <p:cNvSpPr/>
          <p:nvPr/>
        </p:nvSpPr>
        <p:spPr>
          <a:xfrm>
            <a:off x="4713352" y="5227701"/>
            <a:ext cx="220599" cy="55118"/>
          </a:xfrm>
          <a:custGeom>
            <a:avLst/>
            <a:gdLst/>
            <a:ahLst/>
            <a:cxnLst/>
            <a:rect l="l" t="t" r="r" b="b"/>
            <a:pathLst>
              <a:path w="220599" h="55118">
                <a:moveTo>
                  <a:pt x="0" y="55118"/>
                </a:moveTo>
                <a:lnTo>
                  <a:pt x="165481" y="55118"/>
                </a:lnTo>
                <a:lnTo>
                  <a:pt x="220599" y="0"/>
                </a:lnTo>
                <a:lnTo>
                  <a:pt x="55118" y="0"/>
                </a:lnTo>
                <a:lnTo>
                  <a:pt x="0" y="55118"/>
                </a:lnTo>
                <a:close/>
              </a:path>
            </a:pathLst>
          </a:custGeom>
          <a:solidFill>
            <a:srgbClr val="FFFFFF"/>
          </a:solidFill>
        </p:spPr>
        <p:txBody>
          <a:bodyPr wrap="square" lIns="0" tIns="0" rIns="0" bIns="0" rtlCol="0">
            <a:noAutofit/>
          </a:bodyPr>
          <a:lstStyle/>
          <a:p>
            <a:endParaRPr/>
          </a:p>
        </p:txBody>
      </p:sp>
      <p:sp>
        <p:nvSpPr>
          <p:cNvPr id="701" name="object 701"/>
          <p:cNvSpPr/>
          <p:nvPr/>
        </p:nvSpPr>
        <p:spPr>
          <a:xfrm>
            <a:off x="4713352" y="5227701"/>
            <a:ext cx="220599" cy="247650"/>
          </a:xfrm>
          <a:custGeom>
            <a:avLst/>
            <a:gdLst/>
            <a:ahLst/>
            <a:cxnLst/>
            <a:rect l="l" t="t" r="r" b="b"/>
            <a:pathLst>
              <a:path w="220599" h="247650">
                <a:moveTo>
                  <a:pt x="0" y="55118"/>
                </a:moveTo>
                <a:lnTo>
                  <a:pt x="55118" y="0"/>
                </a:lnTo>
                <a:lnTo>
                  <a:pt x="220599" y="0"/>
                </a:lnTo>
                <a:lnTo>
                  <a:pt x="220599" y="192405"/>
                </a:lnTo>
                <a:lnTo>
                  <a:pt x="165481" y="247650"/>
                </a:lnTo>
                <a:lnTo>
                  <a:pt x="0" y="247650"/>
                </a:lnTo>
                <a:lnTo>
                  <a:pt x="0" y="55118"/>
                </a:lnTo>
                <a:close/>
              </a:path>
            </a:pathLst>
          </a:custGeom>
          <a:ln w="12700">
            <a:solidFill>
              <a:srgbClr val="000000"/>
            </a:solidFill>
          </a:ln>
        </p:spPr>
        <p:txBody>
          <a:bodyPr wrap="square" lIns="0" tIns="0" rIns="0" bIns="0" rtlCol="0">
            <a:noAutofit/>
          </a:bodyPr>
          <a:lstStyle/>
          <a:p>
            <a:endParaRPr/>
          </a:p>
        </p:txBody>
      </p:sp>
      <p:sp>
        <p:nvSpPr>
          <p:cNvPr id="702" name="object 702"/>
          <p:cNvSpPr/>
          <p:nvPr/>
        </p:nvSpPr>
        <p:spPr>
          <a:xfrm>
            <a:off x="4713352" y="5227701"/>
            <a:ext cx="220599" cy="55118"/>
          </a:xfrm>
          <a:custGeom>
            <a:avLst/>
            <a:gdLst/>
            <a:ahLst/>
            <a:cxnLst/>
            <a:rect l="l" t="t" r="r" b="b"/>
            <a:pathLst>
              <a:path w="220599" h="55118">
                <a:moveTo>
                  <a:pt x="0" y="55118"/>
                </a:moveTo>
                <a:lnTo>
                  <a:pt x="165481" y="55118"/>
                </a:lnTo>
                <a:lnTo>
                  <a:pt x="220599" y="0"/>
                </a:lnTo>
              </a:path>
            </a:pathLst>
          </a:custGeom>
          <a:ln w="12699">
            <a:solidFill>
              <a:srgbClr val="000000"/>
            </a:solidFill>
          </a:ln>
        </p:spPr>
        <p:txBody>
          <a:bodyPr wrap="square" lIns="0" tIns="0" rIns="0" bIns="0" rtlCol="0">
            <a:noAutofit/>
          </a:bodyPr>
          <a:lstStyle/>
          <a:p>
            <a:endParaRPr/>
          </a:p>
        </p:txBody>
      </p:sp>
      <p:sp>
        <p:nvSpPr>
          <p:cNvPr id="703" name="object 703"/>
          <p:cNvSpPr/>
          <p:nvPr/>
        </p:nvSpPr>
        <p:spPr>
          <a:xfrm>
            <a:off x="4878832" y="5282820"/>
            <a:ext cx="0" cy="192531"/>
          </a:xfrm>
          <a:custGeom>
            <a:avLst/>
            <a:gdLst/>
            <a:ahLst/>
            <a:cxnLst/>
            <a:rect l="l" t="t" r="r" b="b"/>
            <a:pathLst>
              <a:path h="192531">
                <a:moveTo>
                  <a:pt x="0" y="0"/>
                </a:moveTo>
                <a:lnTo>
                  <a:pt x="0" y="192531"/>
                </a:lnTo>
              </a:path>
            </a:pathLst>
          </a:custGeom>
          <a:ln w="12700">
            <a:solidFill>
              <a:srgbClr val="000000"/>
            </a:solidFill>
          </a:ln>
        </p:spPr>
        <p:txBody>
          <a:bodyPr wrap="square" lIns="0" tIns="0" rIns="0" bIns="0" rtlCol="0">
            <a:noAutofit/>
          </a:bodyPr>
          <a:lstStyle/>
          <a:p>
            <a:endParaRPr/>
          </a:p>
        </p:txBody>
      </p:sp>
      <p:sp>
        <p:nvSpPr>
          <p:cNvPr id="704" name="object 704"/>
          <p:cNvSpPr/>
          <p:nvPr/>
        </p:nvSpPr>
        <p:spPr>
          <a:xfrm>
            <a:off x="4654550" y="5345164"/>
            <a:ext cx="166700" cy="193687"/>
          </a:xfrm>
          <a:custGeom>
            <a:avLst/>
            <a:gdLst/>
            <a:ahLst/>
            <a:cxnLst/>
            <a:rect l="l" t="t" r="r" b="b"/>
            <a:pathLst>
              <a:path w="166700" h="193687">
                <a:moveTo>
                  <a:pt x="0" y="193687"/>
                </a:moveTo>
                <a:lnTo>
                  <a:pt x="166700" y="193687"/>
                </a:lnTo>
                <a:lnTo>
                  <a:pt x="166700" y="0"/>
                </a:lnTo>
                <a:lnTo>
                  <a:pt x="0" y="0"/>
                </a:lnTo>
                <a:lnTo>
                  <a:pt x="0" y="193687"/>
                </a:lnTo>
                <a:close/>
              </a:path>
            </a:pathLst>
          </a:custGeom>
          <a:solidFill>
            <a:srgbClr val="FFFFFF"/>
          </a:solidFill>
        </p:spPr>
        <p:txBody>
          <a:bodyPr wrap="square" lIns="0" tIns="0" rIns="0" bIns="0" rtlCol="0">
            <a:noAutofit/>
          </a:bodyPr>
          <a:lstStyle/>
          <a:p>
            <a:endParaRPr/>
          </a:p>
        </p:txBody>
      </p:sp>
      <p:sp>
        <p:nvSpPr>
          <p:cNvPr id="705" name="object 705"/>
          <p:cNvSpPr/>
          <p:nvPr/>
        </p:nvSpPr>
        <p:spPr>
          <a:xfrm>
            <a:off x="4821302" y="5289550"/>
            <a:ext cx="55499" cy="249300"/>
          </a:xfrm>
          <a:custGeom>
            <a:avLst/>
            <a:gdLst/>
            <a:ahLst/>
            <a:cxnLst/>
            <a:rect l="l" t="t" r="r" b="b"/>
            <a:pathLst>
              <a:path w="55499" h="249300">
                <a:moveTo>
                  <a:pt x="0" y="55499"/>
                </a:moveTo>
                <a:lnTo>
                  <a:pt x="0" y="249300"/>
                </a:lnTo>
                <a:lnTo>
                  <a:pt x="55499" y="193675"/>
                </a:lnTo>
                <a:lnTo>
                  <a:pt x="55499" y="0"/>
                </a:lnTo>
                <a:lnTo>
                  <a:pt x="0" y="55499"/>
                </a:lnTo>
                <a:close/>
              </a:path>
            </a:pathLst>
          </a:custGeom>
          <a:solidFill>
            <a:srgbClr val="CDCDCD"/>
          </a:solidFill>
        </p:spPr>
        <p:txBody>
          <a:bodyPr wrap="square" lIns="0" tIns="0" rIns="0" bIns="0" rtlCol="0">
            <a:noAutofit/>
          </a:bodyPr>
          <a:lstStyle/>
          <a:p>
            <a:endParaRPr/>
          </a:p>
        </p:txBody>
      </p:sp>
      <p:sp>
        <p:nvSpPr>
          <p:cNvPr id="706" name="object 706"/>
          <p:cNvSpPr/>
          <p:nvPr/>
        </p:nvSpPr>
        <p:spPr>
          <a:xfrm>
            <a:off x="4654550" y="5289551"/>
            <a:ext cx="222250" cy="55499"/>
          </a:xfrm>
          <a:custGeom>
            <a:avLst/>
            <a:gdLst/>
            <a:ahLst/>
            <a:cxnLst/>
            <a:rect l="l" t="t" r="r" b="b"/>
            <a:pathLst>
              <a:path w="222250" h="55499">
                <a:moveTo>
                  <a:pt x="0" y="55499"/>
                </a:moveTo>
                <a:lnTo>
                  <a:pt x="166750" y="55499"/>
                </a:lnTo>
                <a:lnTo>
                  <a:pt x="222250" y="0"/>
                </a:lnTo>
                <a:lnTo>
                  <a:pt x="55499" y="0"/>
                </a:lnTo>
                <a:lnTo>
                  <a:pt x="0" y="55499"/>
                </a:lnTo>
                <a:close/>
              </a:path>
            </a:pathLst>
          </a:custGeom>
          <a:solidFill>
            <a:srgbClr val="FFFFFF"/>
          </a:solidFill>
        </p:spPr>
        <p:txBody>
          <a:bodyPr wrap="square" lIns="0" tIns="0" rIns="0" bIns="0" rtlCol="0">
            <a:noAutofit/>
          </a:bodyPr>
          <a:lstStyle/>
          <a:p>
            <a:endParaRPr/>
          </a:p>
        </p:txBody>
      </p:sp>
      <p:sp>
        <p:nvSpPr>
          <p:cNvPr id="707" name="object 707"/>
          <p:cNvSpPr/>
          <p:nvPr/>
        </p:nvSpPr>
        <p:spPr>
          <a:xfrm>
            <a:off x="4654550" y="5289550"/>
            <a:ext cx="222250" cy="249300"/>
          </a:xfrm>
          <a:custGeom>
            <a:avLst/>
            <a:gdLst/>
            <a:ahLst/>
            <a:cxnLst/>
            <a:rect l="l" t="t" r="r" b="b"/>
            <a:pathLst>
              <a:path w="222250" h="249300">
                <a:moveTo>
                  <a:pt x="0" y="55499"/>
                </a:moveTo>
                <a:lnTo>
                  <a:pt x="55499" y="0"/>
                </a:lnTo>
                <a:lnTo>
                  <a:pt x="222250" y="0"/>
                </a:lnTo>
                <a:lnTo>
                  <a:pt x="222250" y="193675"/>
                </a:lnTo>
                <a:lnTo>
                  <a:pt x="166750" y="249300"/>
                </a:lnTo>
                <a:lnTo>
                  <a:pt x="0" y="249300"/>
                </a:lnTo>
                <a:lnTo>
                  <a:pt x="0" y="55499"/>
                </a:lnTo>
                <a:close/>
              </a:path>
            </a:pathLst>
          </a:custGeom>
          <a:ln w="12700">
            <a:solidFill>
              <a:srgbClr val="000000"/>
            </a:solidFill>
          </a:ln>
        </p:spPr>
        <p:txBody>
          <a:bodyPr wrap="square" lIns="0" tIns="0" rIns="0" bIns="0" rtlCol="0">
            <a:noAutofit/>
          </a:bodyPr>
          <a:lstStyle/>
          <a:p>
            <a:endParaRPr/>
          </a:p>
        </p:txBody>
      </p:sp>
      <p:sp>
        <p:nvSpPr>
          <p:cNvPr id="708" name="object 708"/>
          <p:cNvSpPr/>
          <p:nvPr/>
        </p:nvSpPr>
        <p:spPr>
          <a:xfrm>
            <a:off x="4654550" y="5289551"/>
            <a:ext cx="222250" cy="55499"/>
          </a:xfrm>
          <a:custGeom>
            <a:avLst/>
            <a:gdLst/>
            <a:ahLst/>
            <a:cxnLst/>
            <a:rect l="l" t="t" r="r" b="b"/>
            <a:pathLst>
              <a:path w="222250" h="55499">
                <a:moveTo>
                  <a:pt x="0" y="55499"/>
                </a:moveTo>
                <a:lnTo>
                  <a:pt x="166750" y="55499"/>
                </a:lnTo>
                <a:lnTo>
                  <a:pt x="222250" y="0"/>
                </a:lnTo>
              </a:path>
            </a:pathLst>
          </a:custGeom>
          <a:ln w="12699">
            <a:solidFill>
              <a:srgbClr val="000000"/>
            </a:solidFill>
          </a:ln>
        </p:spPr>
        <p:txBody>
          <a:bodyPr wrap="square" lIns="0" tIns="0" rIns="0" bIns="0" rtlCol="0">
            <a:noAutofit/>
          </a:bodyPr>
          <a:lstStyle/>
          <a:p>
            <a:endParaRPr/>
          </a:p>
        </p:txBody>
      </p:sp>
      <p:sp>
        <p:nvSpPr>
          <p:cNvPr id="709" name="object 709"/>
          <p:cNvSpPr/>
          <p:nvPr/>
        </p:nvSpPr>
        <p:spPr>
          <a:xfrm>
            <a:off x="4821301" y="5345050"/>
            <a:ext cx="0" cy="193801"/>
          </a:xfrm>
          <a:custGeom>
            <a:avLst/>
            <a:gdLst/>
            <a:ahLst/>
            <a:cxnLst/>
            <a:rect l="l" t="t" r="r" b="b"/>
            <a:pathLst>
              <a:path h="193801">
                <a:moveTo>
                  <a:pt x="0" y="0"/>
                </a:moveTo>
                <a:lnTo>
                  <a:pt x="0" y="193801"/>
                </a:lnTo>
              </a:path>
            </a:pathLst>
          </a:custGeom>
          <a:ln w="12700">
            <a:solidFill>
              <a:srgbClr val="000000"/>
            </a:solidFill>
          </a:ln>
        </p:spPr>
        <p:txBody>
          <a:bodyPr wrap="square" lIns="0" tIns="0" rIns="0" bIns="0" rtlCol="0">
            <a:noAutofit/>
          </a:bodyPr>
          <a:lstStyle/>
          <a:p>
            <a:endParaRPr/>
          </a:p>
        </p:txBody>
      </p:sp>
      <p:sp>
        <p:nvSpPr>
          <p:cNvPr id="710" name="object 710"/>
          <p:cNvSpPr/>
          <p:nvPr/>
        </p:nvSpPr>
        <p:spPr>
          <a:xfrm>
            <a:off x="4679951" y="5521388"/>
            <a:ext cx="96837" cy="0"/>
          </a:xfrm>
          <a:custGeom>
            <a:avLst/>
            <a:gdLst/>
            <a:ahLst/>
            <a:cxnLst/>
            <a:rect l="l" t="t" r="r" b="b"/>
            <a:pathLst>
              <a:path w="96837">
                <a:moveTo>
                  <a:pt x="0" y="0"/>
                </a:moveTo>
                <a:lnTo>
                  <a:pt x="96837" y="0"/>
                </a:lnTo>
              </a:path>
            </a:pathLst>
          </a:custGeom>
          <a:ln w="36195">
            <a:solidFill>
              <a:srgbClr val="FFFFFF"/>
            </a:solidFill>
          </a:ln>
        </p:spPr>
        <p:txBody>
          <a:bodyPr wrap="square" lIns="0" tIns="0" rIns="0" bIns="0" rtlCol="0">
            <a:noAutofit/>
          </a:bodyPr>
          <a:lstStyle/>
          <a:p>
            <a:endParaRPr/>
          </a:p>
        </p:txBody>
      </p:sp>
      <p:sp>
        <p:nvSpPr>
          <p:cNvPr id="711" name="object 711"/>
          <p:cNvSpPr/>
          <p:nvPr/>
        </p:nvSpPr>
        <p:spPr>
          <a:xfrm>
            <a:off x="4679951" y="5503927"/>
            <a:ext cx="96837" cy="34925"/>
          </a:xfrm>
          <a:custGeom>
            <a:avLst/>
            <a:gdLst/>
            <a:ahLst/>
            <a:cxnLst/>
            <a:rect l="l" t="t" r="r" b="b"/>
            <a:pathLst>
              <a:path w="96837" h="34925">
                <a:moveTo>
                  <a:pt x="0" y="34925"/>
                </a:moveTo>
                <a:lnTo>
                  <a:pt x="96837" y="34925"/>
                </a:lnTo>
                <a:lnTo>
                  <a:pt x="96837" y="0"/>
                </a:lnTo>
                <a:lnTo>
                  <a:pt x="0" y="0"/>
                </a:lnTo>
                <a:lnTo>
                  <a:pt x="0" y="34925"/>
                </a:lnTo>
                <a:close/>
              </a:path>
            </a:pathLst>
          </a:custGeom>
          <a:ln w="12700">
            <a:solidFill>
              <a:srgbClr val="000000"/>
            </a:solidFill>
          </a:ln>
        </p:spPr>
        <p:txBody>
          <a:bodyPr wrap="square" lIns="0" tIns="0" rIns="0" bIns="0" rtlCol="0">
            <a:noAutofit/>
          </a:bodyPr>
          <a:lstStyle/>
          <a:p>
            <a:endParaRPr/>
          </a:p>
        </p:txBody>
      </p:sp>
      <p:sp>
        <p:nvSpPr>
          <p:cNvPr id="712" name="object 712"/>
          <p:cNvSpPr/>
          <p:nvPr/>
        </p:nvSpPr>
        <p:spPr>
          <a:xfrm>
            <a:off x="4676775" y="5367401"/>
            <a:ext cx="120650" cy="0"/>
          </a:xfrm>
          <a:custGeom>
            <a:avLst/>
            <a:gdLst/>
            <a:ahLst/>
            <a:cxnLst/>
            <a:rect l="l" t="t" r="r" b="b"/>
            <a:pathLst>
              <a:path w="120650">
                <a:moveTo>
                  <a:pt x="0" y="0"/>
                </a:moveTo>
                <a:lnTo>
                  <a:pt x="120650" y="0"/>
                </a:lnTo>
              </a:path>
            </a:pathLst>
          </a:custGeom>
          <a:ln w="26670">
            <a:solidFill>
              <a:srgbClr val="FFFFFF"/>
            </a:solidFill>
          </a:ln>
        </p:spPr>
        <p:txBody>
          <a:bodyPr wrap="square" lIns="0" tIns="0" rIns="0" bIns="0" rtlCol="0">
            <a:noAutofit/>
          </a:bodyPr>
          <a:lstStyle/>
          <a:p>
            <a:endParaRPr/>
          </a:p>
        </p:txBody>
      </p:sp>
      <p:sp>
        <p:nvSpPr>
          <p:cNvPr id="713" name="object 713"/>
          <p:cNvSpPr/>
          <p:nvPr/>
        </p:nvSpPr>
        <p:spPr>
          <a:xfrm>
            <a:off x="4676775" y="5354701"/>
            <a:ext cx="120650" cy="25400"/>
          </a:xfrm>
          <a:custGeom>
            <a:avLst/>
            <a:gdLst/>
            <a:ahLst/>
            <a:cxnLst/>
            <a:rect l="l" t="t" r="r" b="b"/>
            <a:pathLst>
              <a:path w="120650" h="25400">
                <a:moveTo>
                  <a:pt x="0" y="25400"/>
                </a:moveTo>
                <a:lnTo>
                  <a:pt x="120650" y="25400"/>
                </a:lnTo>
                <a:lnTo>
                  <a:pt x="120650" y="0"/>
                </a:lnTo>
                <a:lnTo>
                  <a:pt x="0" y="0"/>
                </a:lnTo>
                <a:lnTo>
                  <a:pt x="0" y="25400"/>
                </a:lnTo>
                <a:close/>
              </a:path>
            </a:pathLst>
          </a:custGeom>
          <a:ln w="12700">
            <a:solidFill>
              <a:srgbClr val="000000"/>
            </a:solidFill>
          </a:ln>
        </p:spPr>
        <p:txBody>
          <a:bodyPr wrap="square" lIns="0" tIns="0" rIns="0" bIns="0" rtlCol="0">
            <a:noAutofit/>
          </a:bodyPr>
          <a:lstStyle/>
          <a:p>
            <a:endParaRPr/>
          </a:p>
        </p:txBody>
      </p:sp>
      <p:sp>
        <p:nvSpPr>
          <p:cNvPr id="714" name="object 714"/>
          <p:cNvSpPr/>
          <p:nvPr/>
        </p:nvSpPr>
        <p:spPr>
          <a:xfrm>
            <a:off x="5173726" y="5160163"/>
            <a:ext cx="164312" cy="192887"/>
          </a:xfrm>
          <a:custGeom>
            <a:avLst/>
            <a:gdLst/>
            <a:ahLst/>
            <a:cxnLst/>
            <a:rect l="l" t="t" r="r" b="b"/>
            <a:pathLst>
              <a:path w="164312" h="192887">
                <a:moveTo>
                  <a:pt x="0" y="192887"/>
                </a:moveTo>
                <a:lnTo>
                  <a:pt x="164312" y="192887"/>
                </a:lnTo>
                <a:lnTo>
                  <a:pt x="164312" y="0"/>
                </a:lnTo>
                <a:lnTo>
                  <a:pt x="0" y="0"/>
                </a:lnTo>
                <a:lnTo>
                  <a:pt x="0" y="192887"/>
                </a:lnTo>
                <a:close/>
              </a:path>
            </a:pathLst>
          </a:custGeom>
          <a:solidFill>
            <a:srgbClr val="FFFFFF"/>
          </a:solidFill>
        </p:spPr>
        <p:txBody>
          <a:bodyPr wrap="square" lIns="0" tIns="0" rIns="0" bIns="0" rtlCol="0">
            <a:noAutofit/>
          </a:bodyPr>
          <a:lstStyle/>
          <a:p>
            <a:endParaRPr/>
          </a:p>
        </p:txBody>
      </p:sp>
      <p:sp>
        <p:nvSpPr>
          <p:cNvPr id="715" name="object 715"/>
          <p:cNvSpPr/>
          <p:nvPr/>
        </p:nvSpPr>
        <p:spPr>
          <a:xfrm>
            <a:off x="5337938" y="5105400"/>
            <a:ext cx="54863" cy="247650"/>
          </a:xfrm>
          <a:custGeom>
            <a:avLst/>
            <a:gdLst/>
            <a:ahLst/>
            <a:cxnLst/>
            <a:rect l="l" t="t" r="r" b="b"/>
            <a:pathLst>
              <a:path w="54863" h="247650">
                <a:moveTo>
                  <a:pt x="0" y="54737"/>
                </a:moveTo>
                <a:lnTo>
                  <a:pt x="0" y="247650"/>
                </a:lnTo>
                <a:lnTo>
                  <a:pt x="54863" y="192912"/>
                </a:lnTo>
                <a:lnTo>
                  <a:pt x="54863" y="0"/>
                </a:lnTo>
                <a:lnTo>
                  <a:pt x="0" y="54737"/>
                </a:lnTo>
                <a:close/>
              </a:path>
            </a:pathLst>
          </a:custGeom>
          <a:solidFill>
            <a:srgbClr val="CDCDCD"/>
          </a:solidFill>
        </p:spPr>
        <p:txBody>
          <a:bodyPr wrap="square" lIns="0" tIns="0" rIns="0" bIns="0" rtlCol="0">
            <a:noAutofit/>
          </a:bodyPr>
          <a:lstStyle/>
          <a:p>
            <a:endParaRPr/>
          </a:p>
        </p:txBody>
      </p:sp>
      <p:sp>
        <p:nvSpPr>
          <p:cNvPr id="716" name="object 716"/>
          <p:cNvSpPr/>
          <p:nvPr/>
        </p:nvSpPr>
        <p:spPr>
          <a:xfrm>
            <a:off x="5173727" y="5105401"/>
            <a:ext cx="219075" cy="54737"/>
          </a:xfrm>
          <a:custGeom>
            <a:avLst/>
            <a:gdLst/>
            <a:ahLst/>
            <a:cxnLst/>
            <a:rect l="l" t="t" r="r" b="b"/>
            <a:pathLst>
              <a:path w="219075" h="54737">
                <a:moveTo>
                  <a:pt x="0" y="54737"/>
                </a:moveTo>
                <a:lnTo>
                  <a:pt x="164211" y="54737"/>
                </a:lnTo>
                <a:lnTo>
                  <a:pt x="219075" y="0"/>
                </a:lnTo>
                <a:lnTo>
                  <a:pt x="54737" y="0"/>
                </a:lnTo>
                <a:lnTo>
                  <a:pt x="0" y="54737"/>
                </a:lnTo>
                <a:close/>
              </a:path>
            </a:pathLst>
          </a:custGeom>
          <a:solidFill>
            <a:srgbClr val="FFFFFF"/>
          </a:solidFill>
        </p:spPr>
        <p:txBody>
          <a:bodyPr wrap="square" lIns="0" tIns="0" rIns="0" bIns="0" rtlCol="0">
            <a:noAutofit/>
          </a:bodyPr>
          <a:lstStyle/>
          <a:p>
            <a:endParaRPr/>
          </a:p>
        </p:txBody>
      </p:sp>
      <p:sp>
        <p:nvSpPr>
          <p:cNvPr id="717" name="object 717"/>
          <p:cNvSpPr/>
          <p:nvPr/>
        </p:nvSpPr>
        <p:spPr>
          <a:xfrm>
            <a:off x="5173727" y="5105400"/>
            <a:ext cx="219075" cy="247650"/>
          </a:xfrm>
          <a:custGeom>
            <a:avLst/>
            <a:gdLst/>
            <a:ahLst/>
            <a:cxnLst/>
            <a:rect l="l" t="t" r="r" b="b"/>
            <a:pathLst>
              <a:path w="219075" h="247650">
                <a:moveTo>
                  <a:pt x="0" y="54737"/>
                </a:moveTo>
                <a:lnTo>
                  <a:pt x="54737" y="0"/>
                </a:lnTo>
                <a:lnTo>
                  <a:pt x="219075" y="0"/>
                </a:lnTo>
                <a:lnTo>
                  <a:pt x="219075" y="192912"/>
                </a:lnTo>
                <a:lnTo>
                  <a:pt x="164211" y="247650"/>
                </a:lnTo>
                <a:lnTo>
                  <a:pt x="0" y="247650"/>
                </a:lnTo>
                <a:lnTo>
                  <a:pt x="0" y="54737"/>
                </a:lnTo>
                <a:close/>
              </a:path>
            </a:pathLst>
          </a:custGeom>
          <a:ln w="12700">
            <a:solidFill>
              <a:srgbClr val="000000"/>
            </a:solidFill>
          </a:ln>
        </p:spPr>
        <p:txBody>
          <a:bodyPr wrap="square" lIns="0" tIns="0" rIns="0" bIns="0" rtlCol="0">
            <a:noAutofit/>
          </a:bodyPr>
          <a:lstStyle/>
          <a:p>
            <a:endParaRPr/>
          </a:p>
        </p:txBody>
      </p:sp>
      <p:sp>
        <p:nvSpPr>
          <p:cNvPr id="718" name="object 718"/>
          <p:cNvSpPr/>
          <p:nvPr/>
        </p:nvSpPr>
        <p:spPr>
          <a:xfrm>
            <a:off x="5173727" y="5105401"/>
            <a:ext cx="219075" cy="54737"/>
          </a:xfrm>
          <a:custGeom>
            <a:avLst/>
            <a:gdLst/>
            <a:ahLst/>
            <a:cxnLst/>
            <a:rect l="l" t="t" r="r" b="b"/>
            <a:pathLst>
              <a:path w="219075" h="54737">
                <a:moveTo>
                  <a:pt x="0" y="54737"/>
                </a:moveTo>
                <a:lnTo>
                  <a:pt x="164211" y="54737"/>
                </a:lnTo>
                <a:lnTo>
                  <a:pt x="219075" y="0"/>
                </a:lnTo>
              </a:path>
            </a:pathLst>
          </a:custGeom>
          <a:ln w="12700">
            <a:solidFill>
              <a:srgbClr val="000000"/>
            </a:solidFill>
          </a:ln>
        </p:spPr>
        <p:txBody>
          <a:bodyPr wrap="square" lIns="0" tIns="0" rIns="0" bIns="0" rtlCol="0">
            <a:noAutofit/>
          </a:bodyPr>
          <a:lstStyle/>
          <a:p>
            <a:endParaRPr/>
          </a:p>
        </p:txBody>
      </p:sp>
      <p:sp>
        <p:nvSpPr>
          <p:cNvPr id="719" name="object 719"/>
          <p:cNvSpPr/>
          <p:nvPr/>
        </p:nvSpPr>
        <p:spPr>
          <a:xfrm>
            <a:off x="5337937" y="5160137"/>
            <a:ext cx="0" cy="192912"/>
          </a:xfrm>
          <a:custGeom>
            <a:avLst/>
            <a:gdLst/>
            <a:ahLst/>
            <a:cxnLst/>
            <a:rect l="l" t="t" r="r" b="b"/>
            <a:pathLst>
              <a:path h="192912">
                <a:moveTo>
                  <a:pt x="0" y="0"/>
                </a:moveTo>
                <a:lnTo>
                  <a:pt x="0" y="192912"/>
                </a:lnTo>
              </a:path>
            </a:pathLst>
          </a:custGeom>
          <a:ln w="12700">
            <a:solidFill>
              <a:srgbClr val="000000"/>
            </a:solidFill>
          </a:ln>
        </p:spPr>
        <p:txBody>
          <a:bodyPr wrap="square" lIns="0" tIns="0" rIns="0" bIns="0" rtlCol="0">
            <a:noAutofit/>
          </a:bodyPr>
          <a:lstStyle/>
          <a:p>
            <a:endParaRPr/>
          </a:p>
        </p:txBody>
      </p:sp>
      <p:sp>
        <p:nvSpPr>
          <p:cNvPr id="720" name="object 720"/>
          <p:cNvSpPr/>
          <p:nvPr/>
        </p:nvSpPr>
        <p:spPr>
          <a:xfrm>
            <a:off x="5116577" y="5221668"/>
            <a:ext cx="163131" cy="191706"/>
          </a:xfrm>
          <a:custGeom>
            <a:avLst/>
            <a:gdLst/>
            <a:ahLst/>
            <a:cxnLst/>
            <a:rect l="l" t="t" r="r" b="b"/>
            <a:pathLst>
              <a:path w="163131" h="191706">
                <a:moveTo>
                  <a:pt x="0" y="191706"/>
                </a:moveTo>
                <a:lnTo>
                  <a:pt x="163131" y="191706"/>
                </a:lnTo>
                <a:lnTo>
                  <a:pt x="163131" y="0"/>
                </a:lnTo>
                <a:lnTo>
                  <a:pt x="0" y="0"/>
                </a:lnTo>
                <a:lnTo>
                  <a:pt x="0" y="191706"/>
                </a:lnTo>
                <a:close/>
              </a:path>
            </a:pathLst>
          </a:custGeom>
          <a:solidFill>
            <a:srgbClr val="FFFFFF"/>
          </a:solidFill>
        </p:spPr>
        <p:txBody>
          <a:bodyPr wrap="square" lIns="0" tIns="0" rIns="0" bIns="0" rtlCol="0">
            <a:noAutofit/>
          </a:bodyPr>
          <a:lstStyle/>
          <a:p>
            <a:endParaRPr/>
          </a:p>
        </p:txBody>
      </p:sp>
      <p:sp>
        <p:nvSpPr>
          <p:cNvPr id="721" name="object 721"/>
          <p:cNvSpPr/>
          <p:nvPr/>
        </p:nvSpPr>
        <p:spPr>
          <a:xfrm>
            <a:off x="5279645" y="5167377"/>
            <a:ext cx="54355" cy="245999"/>
          </a:xfrm>
          <a:custGeom>
            <a:avLst/>
            <a:gdLst/>
            <a:ahLst/>
            <a:cxnLst/>
            <a:rect l="l" t="t" r="r" b="b"/>
            <a:pathLst>
              <a:path w="54355" h="245999">
                <a:moveTo>
                  <a:pt x="0" y="54356"/>
                </a:moveTo>
                <a:lnTo>
                  <a:pt x="0" y="245999"/>
                </a:lnTo>
                <a:lnTo>
                  <a:pt x="54355" y="191643"/>
                </a:lnTo>
                <a:lnTo>
                  <a:pt x="54355" y="0"/>
                </a:lnTo>
                <a:lnTo>
                  <a:pt x="0" y="54356"/>
                </a:lnTo>
                <a:close/>
              </a:path>
            </a:pathLst>
          </a:custGeom>
          <a:solidFill>
            <a:srgbClr val="CDCDCD"/>
          </a:solidFill>
        </p:spPr>
        <p:txBody>
          <a:bodyPr wrap="square" lIns="0" tIns="0" rIns="0" bIns="0" rtlCol="0">
            <a:noAutofit/>
          </a:bodyPr>
          <a:lstStyle/>
          <a:p>
            <a:endParaRPr/>
          </a:p>
        </p:txBody>
      </p:sp>
      <p:sp>
        <p:nvSpPr>
          <p:cNvPr id="722" name="object 722"/>
          <p:cNvSpPr/>
          <p:nvPr/>
        </p:nvSpPr>
        <p:spPr>
          <a:xfrm>
            <a:off x="5116576" y="5167376"/>
            <a:ext cx="217424" cy="54356"/>
          </a:xfrm>
          <a:custGeom>
            <a:avLst/>
            <a:gdLst/>
            <a:ahLst/>
            <a:cxnLst/>
            <a:rect l="l" t="t" r="r" b="b"/>
            <a:pathLst>
              <a:path w="217424" h="54355">
                <a:moveTo>
                  <a:pt x="0" y="54356"/>
                </a:moveTo>
                <a:lnTo>
                  <a:pt x="163068" y="54356"/>
                </a:lnTo>
                <a:lnTo>
                  <a:pt x="217424" y="0"/>
                </a:lnTo>
                <a:lnTo>
                  <a:pt x="54356" y="0"/>
                </a:lnTo>
                <a:lnTo>
                  <a:pt x="0" y="54356"/>
                </a:lnTo>
                <a:close/>
              </a:path>
            </a:pathLst>
          </a:custGeom>
          <a:solidFill>
            <a:srgbClr val="FFFFFF"/>
          </a:solidFill>
        </p:spPr>
        <p:txBody>
          <a:bodyPr wrap="square" lIns="0" tIns="0" rIns="0" bIns="0" rtlCol="0">
            <a:noAutofit/>
          </a:bodyPr>
          <a:lstStyle/>
          <a:p>
            <a:endParaRPr/>
          </a:p>
        </p:txBody>
      </p:sp>
      <p:sp>
        <p:nvSpPr>
          <p:cNvPr id="723" name="object 723"/>
          <p:cNvSpPr/>
          <p:nvPr/>
        </p:nvSpPr>
        <p:spPr>
          <a:xfrm>
            <a:off x="5116576" y="5167377"/>
            <a:ext cx="217424" cy="245999"/>
          </a:xfrm>
          <a:custGeom>
            <a:avLst/>
            <a:gdLst/>
            <a:ahLst/>
            <a:cxnLst/>
            <a:rect l="l" t="t" r="r" b="b"/>
            <a:pathLst>
              <a:path w="217424" h="245999">
                <a:moveTo>
                  <a:pt x="0" y="54356"/>
                </a:moveTo>
                <a:lnTo>
                  <a:pt x="54356" y="0"/>
                </a:lnTo>
                <a:lnTo>
                  <a:pt x="217424" y="0"/>
                </a:lnTo>
                <a:lnTo>
                  <a:pt x="217424" y="191643"/>
                </a:lnTo>
                <a:lnTo>
                  <a:pt x="163068" y="245999"/>
                </a:lnTo>
                <a:lnTo>
                  <a:pt x="0" y="245999"/>
                </a:lnTo>
                <a:lnTo>
                  <a:pt x="0" y="54356"/>
                </a:lnTo>
                <a:close/>
              </a:path>
            </a:pathLst>
          </a:custGeom>
          <a:ln w="12700">
            <a:solidFill>
              <a:srgbClr val="000000"/>
            </a:solidFill>
          </a:ln>
        </p:spPr>
        <p:txBody>
          <a:bodyPr wrap="square" lIns="0" tIns="0" rIns="0" bIns="0" rtlCol="0">
            <a:noAutofit/>
          </a:bodyPr>
          <a:lstStyle/>
          <a:p>
            <a:endParaRPr/>
          </a:p>
        </p:txBody>
      </p:sp>
      <p:sp>
        <p:nvSpPr>
          <p:cNvPr id="724" name="object 724"/>
          <p:cNvSpPr/>
          <p:nvPr/>
        </p:nvSpPr>
        <p:spPr>
          <a:xfrm>
            <a:off x="5116576" y="5167376"/>
            <a:ext cx="217424" cy="54356"/>
          </a:xfrm>
          <a:custGeom>
            <a:avLst/>
            <a:gdLst/>
            <a:ahLst/>
            <a:cxnLst/>
            <a:rect l="l" t="t" r="r" b="b"/>
            <a:pathLst>
              <a:path w="217424" h="54355">
                <a:moveTo>
                  <a:pt x="0" y="54356"/>
                </a:moveTo>
                <a:lnTo>
                  <a:pt x="163068" y="54356"/>
                </a:lnTo>
                <a:lnTo>
                  <a:pt x="217424" y="0"/>
                </a:lnTo>
              </a:path>
            </a:pathLst>
          </a:custGeom>
          <a:ln w="12700">
            <a:solidFill>
              <a:srgbClr val="000000"/>
            </a:solidFill>
          </a:ln>
        </p:spPr>
        <p:txBody>
          <a:bodyPr wrap="square" lIns="0" tIns="0" rIns="0" bIns="0" rtlCol="0">
            <a:noAutofit/>
          </a:bodyPr>
          <a:lstStyle/>
          <a:p>
            <a:endParaRPr/>
          </a:p>
        </p:txBody>
      </p:sp>
      <p:sp>
        <p:nvSpPr>
          <p:cNvPr id="725" name="object 725"/>
          <p:cNvSpPr/>
          <p:nvPr/>
        </p:nvSpPr>
        <p:spPr>
          <a:xfrm>
            <a:off x="5279644" y="5221733"/>
            <a:ext cx="0" cy="191643"/>
          </a:xfrm>
          <a:custGeom>
            <a:avLst/>
            <a:gdLst/>
            <a:ahLst/>
            <a:cxnLst/>
            <a:rect l="l" t="t" r="r" b="b"/>
            <a:pathLst>
              <a:path h="191643">
                <a:moveTo>
                  <a:pt x="0" y="0"/>
                </a:moveTo>
                <a:lnTo>
                  <a:pt x="0" y="191643"/>
                </a:lnTo>
              </a:path>
            </a:pathLst>
          </a:custGeom>
          <a:ln w="12700">
            <a:solidFill>
              <a:srgbClr val="000000"/>
            </a:solidFill>
          </a:ln>
        </p:spPr>
        <p:txBody>
          <a:bodyPr wrap="square" lIns="0" tIns="0" rIns="0" bIns="0" rtlCol="0">
            <a:noAutofit/>
          </a:bodyPr>
          <a:lstStyle/>
          <a:p>
            <a:endParaRPr/>
          </a:p>
        </p:txBody>
      </p:sp>
      <p:sp>
        <p:nvSpPr>
          <p:cNvPr id="726" name="object 726"/>
          <p:cNvSpPr/>
          <p:nvPr/>
        </p:nvSpPr>
        <p:spPr>
          <a:xfrm>
            <a:off x="5059426" y="5282464"/>
            <a:ext cx="164312" cy="192887"/>
          </a:xfrm>
          <a:custGeom>
            <a:avLst/>
            <a:gdLst/>
            <a:ahLst/>
            <a:cxnLst/>
            <a:rect l="l" t="t" r="r" b="b"/>
            <a:pathLst>
              <a:path w="164312" h="192887">
                <a:moveTo>
                  <a:pt x="0" y="192887"/>
                </a:moveTo>
                <a:lnTo>
                  <a:pt x="164312" y="192887"/>
                </a:lnTo>
                <a:lnTo>
                  <a:pt x="164312" y="0"/>
                </a:lnTo>
                <a:lnTo>
                  <a:pt x="0" y="0"/>
                </a:lnTo>
                <a:lnTo>
                  <a:pt x="0" y="192887"/>
                </a:lnTo>
                <a:close/>
              </a:path>
            </a:pathLst>
          </a:custGeom>
          <a:solidFill>
            <a:srgbClr val="FFFFFF"/>
          </a:solidFill>
        </p:spPr>
        <p:txBody>
          <a:bodyPr wrap="square" lIns="0" tIns="0" rIns="0" bIns="0" rtlCol="0">
            <a:noAutofit/>
          </a:bodyPr>
          <a:lstStyle/>
          <a:p>
            <a:endParaRPr/>
          </a:p>
        </p:txBody>
      </p:sp>
      <p:sp>
        <p:nvSpPr>
          <p:cNvPr id="727" name="object 727"/>
          <p:cNvSpPr/>
          <p:nvPr/>
        </p:nvSpPr>
        <p:spPr>
          <a:xfrm>
            <a:off x="5223638" y="5227701"/>
            <a:ext cx="54863" cy="247650"/>
          </a:xfrm>
          <a:custGeom>
            <a:avLst/>
            <a:gdLst/>
            <a:ahLst/>
            <a:cxnLst/>
            <a:rect l="l" t="t" r="r" b="b"/>
            <a:pathLst>
              <a:path w="54863" h="247650">
                <a:moveTo>
                  <a:pt x="0" y="54737"/>
                </a:moveTo>
                <a:lnTo>
                  <a:pt x="0" y="247650"/>
                </a:lnTo>
                <a:lnTo>
                  <a:pt x="54863" y="192786"/>
                </a:lnTo>
                <a:lnTo>
                  <a:pt x="54863" y="0"/>
                </a:lnTo>
                <a:lnTo>
                  <a:pt x="0" y="54737"/>
                </a:lnTo>
                <a:close/>
              </a:path>
            </a:pathLst>
          </a:custGeom>
          <a:solidFill>
            <a:srgbClr val="CDCDCD"/>
          </a:solidFill>
        </p:spPr>
        <p:txBody>
          <a:bodyPr wrap="square" lIns="0" tIns="0" rIns="0" bIns="0" rtlCol="0">
            <a:noAutofit/>
          </a:bodyPr>
          <a:lstStyle/>
          <a:p>
            <a:endParaRPr/>
          </a:p>
        </p:txBody>
      </p:sp>
      <p:sp>
        <p:nvSpPr>
          <p:cNvPr id="728" name="object 728"/>
          <p:cNvSpPr/>
          <p:nvPr/>
        </p:nvSpPr>
        <p:spPr>
          <a:xfrm>
            <a:off x="5059427" y="5227702"/>
            <a:ext cx="219075" cy="54737"/>
          </a:xfrm>
          <a:custGeom>
            <a:avLst/>
            <a:gdLst/>
            <a:ahLst/>
            <a:cxnLst/>
            <a:rect l="l" t="t" r="r" b="b"/>
            <a:pathLst>
              <a:path w="219075" h="54737">
                <a:moveTo>
                  <a:pt x="0" y="54737"/>
                </a:moveTo>
                <a:lnTo>
                  <a:pt x="164211" y="54737"/>
                </a:lnTo>
                <a:lnTo>
                  <a:pt x="219075" y="0"/>
                </a:lnTo>
                <a:lnTo>
                  <a:pt x="54737" y="0"/>
                </a:lnTo>
                <a:lnTo>
                  <a:pt x="0" y="54737"/>
                </a:lnTo>
                <a:close/>
              </a:path>
            </a:pathLst>
          </a:custGeom>
          <a:solidFill>
            <a:srgbClr val="FFFFFF"/>
          </a:solidFill>
        </p:spPr>
        <p:txBody>
          <a:bodyPr wrap="square" lIns="0" tIns="0" rIns="0" bIns="0" rtlCol="0">
            <a:noAutofit/>
          </a:bodyPr>
          <a:lstStyle/>
          <a:p>
            <a:endParaRPr/>
          </a:p>
        </p:txBody>
      </p:sp>
      <p:sp>
        <p:nvSpPr>
          <p:cNvPr id="729" name="object 729"/>
          <p:cNvSpPr/>
          <p:nvPr/>
        </p:nvSpPr>
        <p:spPr>
          <a:xfrm>
            <a:off x="5059427" y="5227701"/>
            <a:ext cx="219075" cy="247650"/>
          </a:xfrm>
          <a:custGeom>
            <a:avLst/>
            <a:gdLst/>
            <a:ahLst/>
            <a:cxnLst/>
            <a:rect l="l" t="t" r="r" b="b"/>
            <a:pathLst>
              <a:path w="219075" h="247650">
                <a:moveTo>
                  <a:pt x="0" y="54737"/>
                </a:moveTo>
                <a:lnTo>
                  <a:pt x="54737" y="0"/>
                </a:lnTo>
                <a:lnTo>
                  <a:pt x="219075" y="0"/>
                </a:lnTo>
                <a:lnTo>
                  <a:pt x="219075" y="192786"/>
                </a:lnTo>
                <a:lnTo>
                  <a:pt x="164211" y="247650"/>
                </a:lnTo>
                <a:lnTo>
                  <a:pt x="0" y="247650"/>
                </a:lnTo>
                <a:lnTo>
                  <a:pt x="0" y="54737"/>
                </a:lnTo>
                <a:close/>
              </a:path>
            </a:pathLst>
          </a:custGeom>
          <a:ln w="12700">
            <a:solidFill>
              <a:srgbClr val="000000"/>
            </a:solidFill>
          </a:ln>
        </p:spPr>
        <p:txBody>
          <a:bodyPr wrap="square" lIns="0" tIns="0" rIns="0" bIns="0" rtlCol="0">
            <a:noAutofit/>
          </a:bodyPr>
          <a:lstStyle/>
          <a:p>
            <a:endParaRPr/>
          </a:p>
        </p:txBody>
      </p:sp>
      <p:sp>
        <p:nvSpPr>
          <p:cNvPr id="730" name="object 730"/>
          <p:cNvSpPr/>
          <p:nvPr/>
        </p:nvSpPr>
        <p:spPr>
          <a:xfrm>
            <a:off x="5059427" y="5227702"/>
            <a:ext cx="219075" cy="54737"/>
          </a:xfrm>
          <a:custGeom>
            <a:avLst/>
            <a:gdLst/>
            <a:ahLst/>
            <a:cxnLst/>
            <a:rect l="l" t="t" r="r" b="b"/>
            <a:pathLst>
              <a:path w="219075" h="54737">
                <a:moveTo>
                  <a:pt x="0" y="54737"/>
                </a:moveTo>
                <a:lnTo>
                  <a:pt x="164211" y="54737"/>
                </a:lnTo>
                <a:lnTo>
                  <a:pt x="219075" y="0"/>
                </a:lnTo>
              </a:path>
            </a:pathLst>
          </a:custGeom>
          <a:ln w="12700">
            <a:solidFill>
              <a:srgbClr val="000000"/>
            </a:solidFill>
          </a:ln>
        </p:spPr>
        <p:txBody>
          <a:bodyPr wrap="square" lIns="0" tIns="0" rIns="0" bIns="0" rtlCol="0">
            <a:noAutofit/>
          </a:bodyPr>
          <a:lstStyle/>
          <a:p>
            <a:endParaRPr/>
          </a:p>
        </p:txBody>
      </p:sp>
      <p:sp>
        <p:nvSpPr>
          <p:cNvPr id="731" name="object 731"/>
          <p:cNvSpPr/>
          <p:nvPr/>
        </p:nvSpPr>
        <p:spPr>
          <a:xfrm>
            <a:off x="5223637" y="5282438"/>
            <a:ext cx="0" cy="192912"/>
          </a:xfrm>
          <a:custGeom>
            <a:avLst/>
            <a:gdLst/>
            <a:ahLst/>
            <a:cxnLst/>
            <a:rect l="l" t="t" r="r" b="b"/>
            <a:pathLst>
              <a:path h="192912">
                <a:moveTo>
                  <a:pt x="0" y="0"/>
                </a:moveTo>
                <a:lnTo>
                  <a:pt x="0" y="192912"/>
                </a:lnTo>
              </a:path>
            </a:pathLst>
          </a:custGeom>
          <a:ln w="12700">
            <a:solidFill>
              <a:srgbClr val="000000"/>
            </a:solidFill>
          </a:ln>
        </p:spPr>
        <p:txBody>
          <a:bodyPr wrap="square" lIns="0" tIns="0" rIns="0" bIns="0" rtlCol="0">
            <a:noAutofit/>
          </a:bodyPr>
          <a:lstStyle/>
          <a:p>
            <a:endParaRPr/>
          </a:p>
        </p:txBody>
      </p:sp>
      <p:sp>
        <p:nvSpPr>
          <p:cNvPr id="732" name="object 732"/>
          <p:cNvSpPr/>
          <p:nvPr/>
        </p:nvSpPr>
        <p:spPr>
          <a:xfrm>
            <a:off x="5002276" y="5344376"/>
            <a:ext cx="164312" cy="194475"/>
          </a:xfrm>
          <a:custGeom>
            <a:avLst/>
            <a:gdLst/>
            <a:ahLst/>
            <a:cxnLst/>
            <a:rect l="l" t="t" r="r" b="b"/>
            <a:pathLst>
              <a:path w="164312" h="194475">
                <a:moveTo>
                  <a:pt x="0" y="194475"/>
                </a:moveTo>
                <a:lnTo>
                  <a:pt x="164312" y="194475"/>
                </a:lnTo>
                <a:lnTo>
                  <a:pt x="164312" y="0"/>
                </a:lnTo>
                <a:lnTo>
                  <a:pt x="0" y="0"/>
                </a:lnTo>
                <a:lnTo>
                  <a:pt x="0" y="194475"/>
                </a:lnTo>
                <a:close/>
              </a:path>
            </a:pathLst>
          </a:custGeom>
          <a:solidFill>
            <a:srgbClr val="FFFFFF"/>
          </a:solidFill>
        </p:spPr>
        <p:txBody>
          <a:bodyPr wrap="square" lIns="0" tIns="0" rIns="0" bIns="0" rtlCol="0">
            <a:noAutofit/>
          </a:bodyPr>
          <a:lstStyle/>
          <a:p>
            <a:endParaRPr/>
          </a:p>
        </p:txBody>
      </p:sp>
      <p:sp>
        <p:nvSpPr>
          <p:cNvPr id="733" name="object 733"/>
          <p:cNvSpPr/>
          <p:nvPr/>
        </p:nvSpPr>
        <p:spPr>
          <a:xfrm>
            <a:off x="5166488" y="5289550"/>
            <a:ext cx="54863" cy="249300"/>
          </a:xfrm>
          <a:custGeom>
            <a:avLst/>
            <a:gdLst/>
            <a:ahLst/>
            <a:cxnLst/>
            <a:rect l="l" t="t" r="r" b="b"/>
            <a:pathLst>
              <a:path w="54863" h="249300">
                <a:moveTo>
                  <a:pt x="0" y="54737"/>
                </a:moveTo>
                <a:lnTo>
                  <a:pt x="0" y="249300"/>
                </a:lnTo>
                <a:lnTo>
                  <a:pt x="54863" y="194437"/>
                </a:lnTo>
                <a:lnTo>
                  <a:pt x="54863" y="0"/>
                </a:lnTo>
                <a:lnTo>
                  <a:pt x="0" y="54737"/>
                </a:lnTo>
                <a:close/>
              </a:path>
            </a:pathLst>
          </a:custGeom>
          <a:solidFill>
            <a:srgbClr val="CDCDCD"/>
          </a:solidFill>
        </p:spPr>
        <p:txBody>
          <a:bodyPr wrap="square" lIns="0" tIns="0" rIns="0" bIns="0" rtlCol="0">
            <a:noAutofit/>
          </a:bodyPr>
          <a:lstStyle/>
          <a:p>
            <a:endParaRPr/>
          </a:p>
        </p:txBody>
      </p:sp>
      <p:sp>
        <p:nvSpPr>
          <p:cNvPr id="734" name="object 734"/>
          <p:cNvSpPr/>
          <p:nvPr/>
        </p:nvSpPr>
        <p:spPr>
          <a:xfrm>
            <a:off x="5002277" y="5289551"/>
            <a:ext cx="219075" cy="54737"/>
          </a:xfrm>
          <a:custGeom>
            <a:avLst/>
            <a:gdLst/>
            <a:ahLst/>
            <a:cxnLst/>
            <a:rect l="l" t="t" r="r" b="b"/>
            <a:pathLst>
              <a:path w="219075" h="54737">
                <a:moveTo>
                  <a:pt x="0" y="54737"/>
                </a:moveTo>
                <a:lnTo>
                  <a:pt x="164211" y="54737"/>
                </a:lnTo>
                <a:lnTo>
                  <a:pt x="219075" y="0"/>
                </a:lnTo>
                <a:lnTo>
                  <a:pt x="54737" y="0"/>
                </a:lnTo>
                <a:lnTo>
                  <a:pt x="0" y="54737"/>
                </a:lnTo>
                <a:close/>
              </a:path>
            </a:pathLst>
          </a:custGeom>
          <a:solidFill>
            <a:srgbClr val="FFFFFF"/>
          </a:solidFill>
        </p:spPr>
        <p:txBody>
          <a:bodyPr wrap="square" lIns="0" tIns="0" rIns="0" bIns="0" rtlCol="0">
            <a:noAutofit/>
          </a:bodyPr>
          <a:lstStyle/>
          <a:p>
            <a:endParaRPr/>
          </a:p>
        </p:txBody>
      </p:sp>
      <p:sp>
        <p:nvSpPr>
          <p:cNvPr id="735" name="object 735"/>
          <p:cNvSpPr/>
          <p:nvPr/>
        </p:nvSpPr>
        <p:spPr>
          <a:xfrm>
            <a:off x="5002277" y="5289550"/>
            <a:ext cx="219075" cy="249300"/>
          </a:xfrm>
          <a:custGeom>
            <a:avLst/>
            <a:gdLst/>
            <a:ahLst/>
            <a:cxnLst/>
            <a:rect l="l" t="t" r="r" b="b"/>
            <a:pathLst>
              <a:path w="219075" h="249300">
                <a:moveTo>
                  <a:pt x="0" y="54737"/>
                </a:moveTo>
                <a:lnTo>
                  <a:pt x="54737" y="0"/>
                </a:lnTo>
                <a:lnTo>
                  <a:pt x="219075" y="0"/>
                </a:lnTo>
                <a:lnTo>
                  <a:pt x="219075" y="194437"/>
                </a:lnTo>
                <a:lnTo>
                  <a:pt x="164211" y="249300"/>
                </a:lnTo>
                <a:lnTo>
                  <a:pt x="0" y="249300"/>
                </a:lnTo>
                <a:lnTo>
                  <a:pt x="0" y="54737"/>
                </a:lnTo>
                <a:close/>
              </a:path>
            </a:pathLst>
          </a:custGeom>
          <a:ln w="12700">
            <a:solidFill>
              <a:srgbClr val="000000"/>
            </a:solidFill>
          </a:ln>
        </p:spPr>
        <p:txBody>
          <a:bodyPr wrap="square" lIns="0" tIns="0" rIns="0" bIns="0" rtlCol="0">
            <a:noAutofit/>
          </a:bodyPr>
          <a:lstStyle/>
          <a:p>
            <a:endParaRPr/>
          </a:p>
        </p:txBody>
      </p:sp>
      <p:sp>
        <p:nvSpPr>
          <p:cNvPr id="736" name="object 736"/>
          <p:cNvSpPr/>
          <p:nvPr/>
        </p:nvSpPr>
        <p:spPr>
          <a:xfrm>
            <a:off x="5002277" y="5289551"/>
            <a:ext cx="219075" cy="54737"/>
          </a:xfrm>
          <a:custGeom>
            <a:avLst/>
            <a:gdLst/>
            <a:ahLst/>
            <a:cxnLst/>
            <a:rect l="l" t="t" r="r" b="b"/>
            <a:pathLst>
              <a:path w="219075" h="54737">
                <a:moveTo>
                  <a:pt x="0" y="54737"/>
                </a:moveTo>
                <a:lnTo>
                  <a:pt x="164211" y="54737"/>
                </a:lnTo>
                <a:lnTo>
                  <a:pt x="219075" y="0"/>
                </a:lnTo>
              </a:path>
            </a:pathLst>
          </a:custGeom>
          <a:ln w="12700">
            <a:solidFill>
              <a:srgbClr val="000000"/>
            </a:solidFill>
          </a:ln>
        </p:spPr>
        <p:txBody>
          <a:bodyPr wrap="square" lIns="0" tIns="0" rIns="0" bIns="0" rtlCol="0">
            <a:noAutofit/>
          </a:bodyPr>
          <a:lstStyle/>
          <a:p>
            <a:endParaRPr/>
          </a:p>
        </p:txBody>
      </p:sp>
      <p:sp>
        <p:nvSpPr>
          <p:cNvPr id="737" name="object 737"/>
          <p:cNvSpPr/>
          <p:nvPr/>
        </p:nvSpPr>
        <p:spPr>
          <a:xfrm>
            <a:off x="5166487" y="5344288"/>
            <a:ext cx="0" cy="194563"/>
          </a:xfrm>
          <a:custGeom>
            <a:avLst/>
            <a:gdLst/>
            <a:ahLst/>
            <a:cxnLst/>
            <a:rect l="l" t="t" r="r" b="b"/>
            <a:pathLst>
              <a:path h="194563">
                <a:moveTo>
                  <a:pt x="0" y="0"/>
                </a:moveTo>
                <a:lnTo>
                  <a:pt x="0" y="194563"/>
                </a:lnTo>
              </a:path>
            </a:pathLst>
          </a:custGeom>
          <a:ln w="12700">
            <a:solidFill>
              <a:srgbClr val="000000"/>
            </a:solidFill>
          </a:ln>
        </p:spPr>
        <p:txBody>
          <a:bodyPr wrap="square" lIns="0" tIns="0" rIns="0" bIns="0" rtlCol="0">
            <a:noAutofit/>
          </a:bodyPr>
          <a:lstStyle/>
          <a:p>
            <a:endParaRPr/>
          </a:p>
        </p:txBody>
      </p:sp>
      <p:sp>
        <p:nvSpPr>
          <p:cNvPr id="738" name="object 738"/>
          <p:cNvSpPr/>
          <p:nvPr/>
        </p:nvSpPr>
        <p:spPr>
          <a:xfrm>
            <a:off x="5026026" y="5521388"/>
            <a:ext cx="98425" cy="0"/>
          </a:xfrm>
          <a:custGeom>
            <a:avLst/>
            <a:gdLst/>
            <a:ahLst/>
            <a:cxnLst/>
            <a:rect l="l" t="t" r="r" b="b"/>
            <a:pathLst>
              <a:path w="98425">
                <a:moveTo>
                  <a:pt x="0" y="0"/>
                </a:moveTo>
                <a:lnTo>
                  <a:pt x="98425" y="0"/>
                </a:lnTo>
              </a:path>
            </a:pathLst>
          </a:custGeom>
          <a:ln w="36195">
            <a:solidFill>
              <a:srgbClr val="FFFFFF"/>
            </a:solidFill>
          </a:ln>
        </p:spPr>
        <p:txBody>
          <a:bodyPr wrap="square" lIns="0" tIns="0" rIns="0" bIns="0" rtlCol="0">
            <a:noAutofit/>
          </a:bodyPr>
          <a:lstStyle/>
          <a:p>
            <a:endParaRPr/>
          </a:p>
        </p:txBody>
      </p:sp>
      <p:sp>
        <p:nvSpPr>
          <p:cNvPr id="739" name="object 739"/>
          <p:cNvSpPr/>
          <p:nvPr/>
        </p:nvSpPr>
        <p:spPr>
          <a:xfrm>
            <a:off x="5026026" y="5503927"/>
            <a:ext cx="98425" cy="34925"/>
          </a:xfrm>
          <a:custGeom>
            <a:avLst/>
            <a:gdLst/>
            <a:ahLst/>
            <a:cxnLst/>
            <a:rect l="l" t="t" r="r" b="b"/>
            <a:pathLst>
              <a:path w="98425" h="34925">
                <a:moveTo>
                  <a:pt x="0" y="34925"/>
                </a:moveTo>
                <a:lnTo>
                  <a:pt x="98425" y="34925"/>
                </a:lnTo>
                <a:lnTo>
                  <a:pt x="98425" y="0"/>
                </a:lnTo>
                <a:lnTo>
                  <a:pt x="0" y="0"/>
                </a:lnTo>
                <a:lnTo>
                  <a:pt x="0" y="34925"/>
                </a:lnTo>
                <a:close/>
              </a:path>
            </a:pathLst>
          </a:custGeom>
          <a:ln w="12700">
            <a:solidFill>
              <a:srgbClr val="000000"/>
            </a:solidFill>
          </a:ln>
        </p:spPr>
        <p:txBody>
          <a:bodyPr wrap="square" lIns="0" tIns="0" rIns="0" bIns="0" rtlCol="0">
            <a:noAutofit/>
          </a:bodyPr>
          <a:lstStyle/>
          <a:p>
            <a:endParaRPr/>
          </a:p>
        </p:txBody>
      </p:sp>
      <p:sp>
        <p:nvSpPr>
          <p:cNvPr id="740" name="object 740"/>
          <p:cNvSpPr/>
          <p:nvPr/>
        </p:nvSpPr>
        <p:spPr>
          <a:xfrm>
            <a:off x="5019676" y="5367401"/>
            <a:ext cx="123825" cy="0"/>
          </a:xfrm>
          <a:custGeom>
            <a:avLst/>
            <a:gdLst/>
            <a:ahLst/>
            <a:cxnLst/>
            <a:rect l="l" t="t" r="r" b="b"/>
            <a:pathLst>
              <a:path w="123825">
                <a:moveTo>
                  <a:pt x="0" y="0"/>
                </a:moveTo>
                <a:lnTo>
                  <a:pt x="123825" y="0"/>
                </a:lnTo>
              </a:path>
            </a:pathLst>
          </a:custGeom>
          <a:ln w="26670">
            <a:solidFill>
              <a:srgbClr val="FFFFFF"/>
            </a:solidFill>
          </a:ln>
        </p:spPr>
        <p:txBody>
          <a:bodyPr wrap="square" lIns="0" tIns="0" rIns="0" bIns="0" rtlCol="0">
            <a:noAutofit/>
          </a:bodyPr>
          <a:lstStyle/>
          <a:p>
            <a:endParaRPr/>
          </a:p>
        </p:txBody>
      </p:sp>
      <p:sp>
        <p:nvSpPr>
          <p:cNvPr id="741" name="object 741"/>
          <p:cNvSpPr/>
          <p:nvPr/>
        </p:nvSpPr>
        <p:spPr>
          <a:xfrm>
            <a:off x="5019676" y="5354701"/>
            <a:ext cx="123825" cy="25400"/>
          </a:xfrm>
          <a:custGeom>
            <a:avLst/>
            <a:gdLst/>
            <a:ahLst/>
            <a:cxnLst/>
            <a:rect l="l" t="t" r="r" b="b"/>
            <a:pathLst>
              <a:path w="123825" h="25400">
                <a:moveTo>
                  <a:pt x="0" y="25400"/>
                </a:moveTo>
                <a:lnTo>
                  <a:pt x="123825" y="25400"/>
                </a:lnTo>
                <a:lnTo>
                  <a:pt x="123825" y="0"/>
                </a:lnTo>
                <a:lnTo>
                  <a:pt x="0" y="0"/>
                </a:lnTo>
                <a:lnTo>
                  <a:pt x="0" y="25400"/>
                </a:lnTo>
                <a:close/>
              </a:path>
            </a:pathLst>
          </a:custGeom>
          <a:ln w="12700">
            <a:solidFill>
              <a:srgbClr val="000000"/>
            </a:solidFill>
          </a:ln>
        </p:spPr>
        <p:txBody>
          <a:bodyPr wrap="square" lIns="0" tIns="0" rIns="0" bIns="0" rtlCol="0">
            <a:noAutofit/>
          </a:bodyPr>
          <a:lstStyle/>
          <a:p>
            <a:endParaRPr/>
          </a:p>
        </p:txBody>
      </p:sp>
      <p:sp>
        <p:nvSpPr>
          <p:cNvPr id="742" name="object 742"/>
          <p:cNvSpPr/>
          <p:nvPr/>
        </p:nvSpPr>
        <p:spPr>
          <a:xfrm>
            <a:off x="4104958" y="5529254"/>
            <a:ext cx="142948" cy="23825"/>
          </a:xfrm>
          <a:custGeom>
            <a:avLst/>
            <a:gdLst/>
            <a:ahLst/>
            <a:cxnLst/>
            <a:rect l="l" t="t" r="r" b="b"/>
            <a:pathLst>
              <a:path w="142948" h="23825">
                <a:moveTo>
                  <a:pt x="0" y="10864"/>
                </a:moveTo>
                <a:lnTo>
                  <a:pt x="139977" y="23825"/>
                </a:lnTo>
                <a:lnTo>
                  <a:pt x="142948" y="11914"/>
                </a:lnTo>
                <a:lnTo>
                  <a:pt x="20798" y="0"/>
                </a:lnTo>
                <a:lnTo>
                  <a:pt x="0" y="10864"/>
                </a:lnTo>
                <a:close/>
              </a:path>
            </a:pathLst>
          </a:custGeom>
          <a:solidFill>
            <a:srgbClr val="C0C0C0"/>
          </a:solidFill>
        </p:spPr>
        <p:txBody>
          <a:bodyPr wrap="square" lIns="0" tIns="0" rIns="0" bIns="0" rtlCol="0">
            <a:noAutofit/>
          </a:bodyPr>
          <a:lstStyle/>
          <a:p>
            <a:endParaRPr/>
          </a:p>
        </p:txBody>
      </p:sp>
      <p:sp>
        <p:nvSpPr>
          <p:cNvPr id="743" name="object 743"/>
          <p:cNvSpPr/>
          <p:nvPr/>
        </p:nvSpPr>
        <p:spPr>
          <a:xfrm>
            <a:off x="4104959" y="5540117"/>
            <a:ext cx="139977" cy="21364"/>
          </a:xfrm>
          <a:custGeom>
            <a:avLst/>
            <a:gdLst/>
            <a:ahLst/>
            <a:cxnLst/>
            <a:rect l="l" t="t" r="r" b="b"/>
            <a:pathLst>
              <a:path w="139977" h="21364">
                <a:moveTo>
                  <a:pt x="0" y="0"/>
                </a:moveTo>
                <a:lnTo>
                  <a:pt x="4958" y="8752"/>
                </a:lnTo>
                <a:lnTo>
                  <a:pt x="139977" y="21364"/>
                </a:lnTo>
                <a:lnTo>
                  <a:pt x="139977" y="13311"/>
                </a:lnTo>
                <a:lnTo>
                  <a:pt x="0" y="0"/>
                </a:lnTo>
                <a:close/>
              </a:path>
            </a:pathLst>
          </a:custGeom>
          <a:solidFill>
            <a:srgbClr val="808080"/>
          </a:solidFill>
        </p:spPr>
        <p:txBody>
          <a:bodyPr wrap="square" lIns="0" tIns="0" rIns="0" bIns="0" rtlCol="0">
            <a:noAutofit/>
          </a:bodyPr>
          <a:lstStyle/>
          <a:p>
            <a:endParaRPr/>
          </a:p>
        </p:txBody>
      </p:sp>
      <p:sp>
        <p:nvSpPr>
          <p:cNvPr id="744" name="object 744"/>
          <p:cNvSpPr/>
          <p:nvPr/>
        </p:nvSpPr>
        <p:spPr>
          <a:xfrm>
            <a:off x="4038929" y="5560782"/>
            <a:ext cx="196768" cy="29427"/>
          </a:xfrm>
          <a:custGeom>
            <a:avLst/>
            <a:gdLst/>
            <a:ahLst/>
            <a:cxnLst/>
            <a:rect l="l" t="t" r="r" b="b"/>
            <a:pathLst>
              <a:path w="196768" h="29427">
                <a:moveTo>
                  <a:pt x="17827" y="0"/>
                </a:moveTo>
                <a:lnTo>
                  <a:pt x="0" y="10864"/>
                </a:lnTo>
                <a:lnTo>
                  <a:pt x="196768" y="29427"/>
                </a:lnTo>
                <a:lnTo>
                  <a:pt x="196768" y="17166"/>
                </a:lnTo>
                <a:lnTo>
                  <a:pt x="17827" y="0"/>
                </a:lnTo>
                <a:close/>
              </a:path>
            </a:pathLst>
          </a:custGeom>
          <a:solidFill>
            <a:srgbClr val="C0C0C0"/>
          </a:solidFill>
        </p:spPr>
        <p:txBody>
          <a:bodyPr wrap="square" lIns="0" tIns="0" rIns="0" bIns="0" rtlCol="0">
            <a:noAutofit/>
          </a:bodyPr>
          <a:lstStyle/>
          <a:p>
            <a:endParaRPr/>
          </a:p>
        </p:txBody>
      </p:sp>
      <p:sp>
        <p:nvSpPr>
          <p:cNvPr id="745" name="object 745"/>
          <p:cNvSpPr/>
          <p:nvPr/>
        </p:nvSpPr>
        <p:spPr>
          <a:xfrm>
            <a:off x="4038929" y="5571995"/>
            <a:ext cx="196768" cy="27666"/>
          </a:xfrm>
          <a:custGeom>
            <a:avLst/>
            <a:gdLst/>
            <a:ahLst/>
            <a:cxnLst/>
            <a:rect l="l" t="t" r="r" b="b"/>
            <a:pathLst>
              <a:path w="196768" h="27666">
                <a:moveTo>
                  <a:pt x="0" y="0"/>
                </a:moveTo>
                <a:lnTo>
                  <a:pt x="7267" y="9803"/>
                </a:lnTo>
                <a:lnTo>
                  <a:pt x="196768" y="27666"/>
                </a:lnTo>
                <a:lnTo>
                  <a:pt x="196768" y="18212"/>
                </a:lnTo>
                <a:lnTo>
                  <a:pt x="0" y="0"/>
                </a:lnTo>
                <a:close/>
              </a:path>
            </a:pathLst>
          </a:custGeom>
          <a:solidFill>
            <a:srgbClr val="808080"/>
          </a:solidFill>
        </p:spPr>
        <p:txBody>
          <a:bodyPr wrap="square" lIns="0" tIns="0" rIns="0" bIns="0" rtlCol="0">
            <a:noAutofit/>
          </a:bodyPr>
          <a:lstStyle/>
          <a:p>
            <a:endParaRPr/>
          </a:p>
        </p:txBody>
      </p:sp>
      <p:sp>
        <p:nvSpPr>
          <p:cNvPr id="746" name="object 746"/>
          <p:cNvSpPr/>
          <p:nvPr/>
        </p:nvSpPr>
        <p:spPr>
          <a:xfrm>
            <a:off x="4238336" y="5381085"/>
            <a:ext cx="124790" cy="232241"/>
          </a:xfrm>
          <a:custGeom>
            <a:avLst/>
            <a:gdLst/>
            <a:ahLst/>
            <a:cxnLst/>
            <a:rect l="l" t="t" r="r" b="b"/>
            <a:pathLst>
              <a:path w="124790" h="232241">
                <a:moveTo>
                  <a:pt x="11878" y="39591"/>
                </a:moveTo>
                <a:lnTo>
                  <a:pt x="0" y="232241"/>
                </a:lnTo>
                <a:lnTo>
                  <a:pt x="115213" y="181447"/>
                </a:lnTo>
                <a:lnTo>
                  <a:pt x="124790" y="0"/>
                </a:lnTo>
                <a:lnTo>
                  <a:pt x="11878" y="39591"/>
                </a:lnTo>
                <a:close/>
              </a:path>
            </a:pathLst>
          </a:custGeom>
          <a:solidFill>
            <a:srgbClr val="C0C0C0"/>
          </a:solidFill>
        </p:spPr>
        <p:txBody>
          <a:bodyPr wrap="square" lIns="0" tIns="0" rIns="0" bIns="0" rtlCol="0">
            <a:noAutofit/>
          </a:bodyPr>
          <a:lstStyle/>
          <a:p>
            <a:endParaRPr/>
          </a:p>
        </p:txBody>
      </p:sp>
      <p:sp>
        <p:nvSpPr>
          <p:cNvPr id="747" name="object 747"/>
          <p:cNvSpPr/>
          <p:nvPr/>
        </p:nvSpPr>
        <p:spPr>
          <a:xfrm>
            <a:off x="4230410" y="5419976"/>
            <a:ext cx="20805" cy="193701"/>
          </a:xfrm>
          <a:custGeom>
            <a:avLst/>
            <a:gdLst/>
            <a:ahLst/>
            <a:cxnLst/>
            <a:rect l="l" t="t" r="r" b="b"/>
            <a:pathLst>
              <a:path w="20805" h="193701">
                <a:moveTo>
                  <a:pt x="20805" y="0"/>
                </a:moveTo>
                <a:lnTo>
                  <a:pt x="12218" y="3851"/>
                </a:lnTo>
                <a:lnTo>
                  <a:pt x="0" y="189849"/>
                </a:lnTo>
                <a:lnTo>
                  <a:pt x="7926" y="193701"/>
                </a:lnTo>
                <a:lnTo>
                  <a:pt x="20805" y="0"/>
                </a:lnTo>
                <a:close/>
              </a:path>
            </a:pathLst>
          </a:custGeom>
          <a:solidFill>
            <a:srgbClr val="9F9F9F"/>
          </a:solidFill>
        </p:spPr>
        <p:txBody>
          <a:bodyPr wrap="square" lIns="0" tIns="0" rIns="0" bIns="0" rtlCol="0">
            <a:noAutofit/>
          </a:bodyPr>
          <a:lstStyle/>
          <a:p>
            <a:endParaRPr/>
          </a:p>
        </p:txBody>
      </p:sp>
      <p:sp>
        <p:nvSpPr>
          <p:cNvPr id="748" name="object 748"/>
          <p:cNvSpPr/>
          <p:nvPr/>
        </p:nvSpPr>
        <p:spPr>
          <a:xfrm>
            <a:off x="4272671" y="5163568"/>
            <a:ext cx="113892" cy="436092"/>
          </a:xfrm>
          <a:custGeom>
            <a:avLst/>
            <a:gdLst/>
            <a:ahLst/>
            <a:cxnLst/>
            <a:rect l="l" t="t" r="r" b="b"/>
            <a:pathLst>
              <a:path w="113892" h="436092">
                <a:moveTo>
                  <a:pt x="35325" y="416479"/>
                </a:moveTo>
                <a:lnTo>
                  <a:pt x="46213" y="405625"/>
                </a:lnTo>
                <a:lnTo>
                  <a:pt x="74939" y="40980"/>
                </a:lnTo>
                <a:lnTo>
                  <a:pt x="99366" y="31517"/>
                </a:lnTo>
                <a:lnTo>
                  <a:pt x="71967" y="394411"/>
                </a:lnTo>
                <a:lnTo>
                  <a:pt x="84846" y="388109"/>
                </a:lnTo>
                <a:lnTo>
                  <a:pt x="113892" y="0"/>
                </a:lnTo>
                <a:lnTo>
                  <a:pt x="32684" y="30817"/>
                </a:lnTo>
                <a:lnTo>
                  <a:pt x="0" y="436092"/>
                </a:lnTo>
                <a:lnTo>
                  <a:pt x="11878" y="431191"/>
                </a:lnTo>
                <a:lnTo>
                  <a:pt x="41264" y="53942"/>
                </a:lnTo>
                <a:lnTo>
                  <a:pt x="63710" y="45182"/>
                </a:lnTo>
                <a:lnTo>
                  <a:pt x="35325" y="416479"/>
                </a:lnTo>
                <a:close/>
              </a:path>
            </a:pathLst>
          </a:custGeom>
          <a:solidFill>
            <a:srgbClr val="BE7E3E"/>
          </a:solidFill>
        </p:spPr>
        <p:txBody>
          <a:bodyPr wrap="square" lIns="0" tIns="0" rIns="0" bIns="0" rtlCol="0">
            <a:noAutofit/>
          </a:bodyPr>
          <a:lstStyle/>
          <a:p>
            <a:endParaRPr/>
          </a:p>
        </p:txBody>
      </p:sp>
      <p:sp>
        <p:nvSpPr>
          <p:cNvPr id="749" name="object 749"/>
          <p:cNvSpPr/>
          <p:nvPr/>
        </p:nvSpPr>
        <p:spPr>
          <a:xfrm>
            <a:off x="4281251" y="5345716"/>
            <a:ext cx="79564" cy="41331"/>
          </a:xfrm>
          <a:custGeom>
            <a:avLst/>
            <a:gdLst/>
            <a:ahLst/>
            <a:cxnLst/>
            <a:rect l="l" t="t" r="r" b="b"/>
            <a:pathLst>
              <a:path w="79564" h="41331">
                <a:moveTo>
                  <a:pt x="0" y="41331"/>
                </a:moveTo>
                <a:lnTo>
                  <a:pt x="78907" y="10853"/>
                </a:lnTo>
                <a:lnTo>
                  <a:pt x="79564" y="0"/>
                </a:lnTo>
                <a:lnTo>
                  <a:pt x="990" y="30467"/>
                </a:lnTo>
                <a:lnTo>
                  <a:pt x="0" y="41331"/>
                </a:lnTo>
                <a:close/>
              </a:path>
            </a:pathLst>
          </a:custGeom>
          <a:solidFill>
            <a:srgbClr val="7E3E00"/>
          </a:solidFill>
        </p:spPr>
        <p:txBody>
          <a:bodyPr wrap="square" lIns="0" tIns="0" rIns="0" bIns="0" rtlCol="0">
            <a:noAutofit/>
          </a:bodyPr>
          <a:lstStyle/>
          <a:p>
            <a:endParaRPr/>
          </a:p>
        </p:txBody>
      </p:sp>
      <p:sp>
        <p:nvSpPr>
          <p:cNvPr id="750" name="object 750"/>
          <p:cNvSpPr/>
          <p:nvPr/>
        </p:nvSpPr>
        <p:spPr>
          <a:xfrm>
            <a:off x="4284549" y="5156906"/>
            <a:ext cx="102014" cy="37479"/>
          </a:xfrm>
          <a:custGeom>
            <a:avLst/>
            <a:gdLst/>
            <a:ahLst/>
            <a:cxnLst/>
            <a:rect l="l" t="t" r="r" b="b"/>
            <a:pathLst>
              <a:path w="102014" h="37479">
                <a:moveTo>
                  <a:pt x="0" y="30477"/>
                </a:moveTo>
                <a:lnTo>
                  <a:pt x="20475" y="37479"/>
                </a:lnTo>
                <a:lnTo>
                  <a:pt x="102014" y="7012"/>
                </a:lnTo>
                <a:lnTo>
                  <a:pt x="82208" y="0"/>
                </a:lnTo>
                <a:lnTo>
                  <a:pt x="0" y="30477"/>
                </a:lnTo>
                <a:close/>
              </a:path>
            </a:pathLst>
          </a:custGeom>
          <a:solidFill>
            <a:srgbClr val="BE7E00"/>
          </a:solidFill>
        </p:spPr>
        <p:txBody>
          <a:bodyPr wrap="square" lIns="0" tIns="0" rIns="0" bIns="0" rtlCol="0">
            <a:noAutofit/>
          </a:bodyPr>
          <a:lstStyle/>
          <a:p>
            <a:endParaRPr/>
          </a:p>
        </p:txBody>
      </p:sp>
      <p:sp>
        <p:nvSpPr>
          <p:cNvPr id="751" name="object 751"/>
          <p:cNvSpPr/>
          <p:nvPr/>
        </p:nvSpPr>
        <p:spPr>
          <a:xfrm>
            <a:off x="4246586" y="5187733"/>
            <a:ext cx="58438" cy="488638"/>
          </a:xfrm>
          <a:custGeom>
            <a:avLst/>
            <a:gdLst/>
            <a:ahLst/>
            <a:cxnLst/>
            <a:rect l="l" t="t" r="r" b="b"/>
            <a:pathLst>
              <a:path w="58438" h="488638">
                <a:moveTo>
                  <a:pt x="37963" y="0"/>
                </a:moveTo>
                <a:lnTo>
                  <a:pt x="0" y="488638"/>
                </a:lnTo>
                <a:lnTo>
                  <a:pt x="26744" y="402474"/>
                </a:lnTo>
                <a:lnTo>
                  <a:pt x="58438" y="6652"/>
                </a:lnTo>
                <a:lnTo>
                  <a:pt x="37963" y="0"/>
                </a:lnTo>
                <a:close/>
              </a:path>
            </a:pathLst>
          </a:custGeom>
          <a:solidFill>
            <a:srgbClr val="7E3E00"/>
          </a:solidFill>
        </p:spPr>
        <p:txBody>
          <a:bodyPr wrap="square" lIns="0" tIns="0" rIns="0" bIns="0" rtlCol="0">
            <a:noAutofit/>
          </a:bodyPr>
          <a:lstStyle/>
          <a:p>
            <a:endParaRPr/>
          </a:p>
        </p:txBody>
      </p:sp>
      <p:sp>
        <p:nvSpPr>
          <p:cNvPr id="752" name="object 752"/>
          <p:cNvSpPr/>
          <p:nvPr/>
        </p:nvSpPr>
        <p:spPr>
          <a:xfrm>
            <a:off x="4282571" y="5213303"/>
            <a:ext cx="40940" cy="387059"/>
          </a:xfrm>
          <a:custGeom>
            <a:avLst/>
            <a:gdLst/>
            <a:ahLst/>
            <a:cxnLst/>
            <a:rect l="l" t="t" r="r" b="b"/>
            <a:pathLst>
              <a:path w="40940" h="387059">
                <a:moveTo>
                  <a:pt x="40940" y="0"/>
                </a:moveTo>
                <a:lnTo>
                  <a:pt x="30373" y="3508"/>
                </a:lnTo>
                <a:lnTo>
                  <a:pt x="0" y="387059"/>
                </a:lnTo>
                <a:lnTo>
                  <a:pt x="14856" y="376555"/>
                </a:lnTo>
                <a:lnTo>
                  <a:pt x="40940" y="0"/>
                </a:lnTo>
                <a:close/>
              </a:path>
            </a:pathLst>
          </a:custGeom>
          <a:solidFill>
            <a:srgbClr val="FFBE1F"/>
          </a:solidFill>
        </p:spPr>
        <p:txBody>
          <a:bodyPr wrap="square" lIns="0" tIns="0" rIns="0" bIns="0" rtlCol="0">
            <a:noAutofit/>
          </a:bodyPr>
          <a:lstStyle/>
          <a:p>
            <a:endParaRPr/>
          </a:p>
        </p:txBody>
      </p:sp>
      <p:sp>
        <p:nvSpPr>
          <p:cNvPr id="753" name="object 753"/>
          <p:cNvSpPr/>
          <p:nvPr/>
        </p:nvSpPr>
        <p:spPr>
          <a:xfrm>
            <a:off x="4316907" y="5200698"/>
            <a:ext cx="39613" cy="382150"/>
          </a:xfrm>
          <a:custGeom>
            <a:avLst/>
            <a:gdLst/>
            <a:ahLst/>
            <a:cxnLst/>
            <a:rect l="l" t="t" r="r" b="b"/>
            <a:pathLst>
              <a:path w="39613" h="382150">
                <a:moveTo>
                  <a:pt x="39613" y="0"/>
                </a:moveTo>
                <a:lnTo>
                  <a:pt x="28722" y="4201"/>
                </a:lnTo>
                <a:lnTo>
                  <a:pt x="0" y="382150"/>
                </a:lnTo>
                <a:lnTo>
                  <a:pt x="13865" y="377249"/>
                </a:lnTo>
                <a:lnTo>
                  <a:pt x="39613" y="0"/>
                </a:lnTo>
                <a:close/>
              </a:path>
            </a:pathLst>
          </a:custGeom>
          <a:solidFill>
            <a:srgbClr val="FFBE1F"/>
          </a:solidFill>
        </p:spPr>
        <p:txBody>
          <a:bodyPr wrap="square" lIns="0" tIns="0" rIns="0" bIns="0" rtlCol="0">
            <a:noAutofit/>
          </a:bodyPr>
          <a:lstStyle/>
          <a:p>
            <a:endParaRPr/>
          </a:p>
        </p:txBody>
      </p:sp>
      <p:sp>
        <p:nvSpPr>
          <p:cNvPr id="754" name="object 754"/>
          <p:cNvSpPr/>
          <p:nvPr/>
        </p:nvSpPr>
        <p:spPr>
          <a:xfrm>
            <a:off x="4287527" y="5354119"/>
            <a:ext cx="77910" cy="57093"/>
          </a:xfrm>
          <a:custGeom>
            <a:avLst/>
            <a:gdLst/>
            <a:ahLst/>
            <a:cxnLst/>
            <a:rect l="l" t="t" r="r" b="b"/>
            <a:pathLst>
              <a:path w="77910" h="57093">
                <a:moveTo>
                  <a:pt x="2641" y="28726"/>
                </a:moveTo>
                <a:lnTo>
                  <a:pt x="0" y="57093"/>
                </a:lnTo>
                <a:lnTo>
                  <a:pt x="75599" y="28726"/>
                </a:lnTo>
                <a:lnTo>
                  <a:pt x="77910" y="0"/>
                </a:lnTo>
                <a:lnTo>
                  <a:pt x="2641" y="28726"/>
                </a:lnTo>
                <a:close/>
              </a:path>
            </a:pathLst>
          </a:custGeom>
          <a:solidFill>
            <a:srgbClr val="BE7E3E"/>
          </a:solidFill>
        </p:spPr>
        <p:txBody>
          <a:bodyPr wrap="square" lIns="0" tIns="0" rIns="0" bIns="0" rtlCol="0">
            <a:noAutofit/>
          </a:bodyPr>
          <a:lstStyle/>
          <a:p>
            <a:endParaRPr/>
          </a:p>
        </p:txBody>
      </p:sp>
      <p:sp>
        <p:nvSpPr>
          <p:cNvPr id="755" name="object 755"/>
          <p:cNvSpPr/>
          <p:nvPr/>
        </p:nvSpPr>
        <p:spPr>
          <a:xfrm>
            <a:off x="4377326" y="5291070"/>
            <a:ext cx="3298" cy="3151"/>
          </a:xfrm>
          <a:custGeom>
            <a:avLst/>
            <a:gdLst/>
            <a:ahLst/>
            <a:cxnLst/>
            <a:rect l="l" t="t" r="r" b="b"/>
            <a:pathLst>
              <a:path w="3298" h="3151">
                <a:moveTo>
                  <a:pt x="0" y="3151"/>
                </a:moveTo>
                <a:lnTo>
                  <a:pt x="3298" y="2100"/>
                </a:lnTo>
                <a:lnTo>
                  <a:pt x="0" y="0"/>
                </a:lnTo>
                <a:lnTo>
                  <a:pt x="0" y="3151"/>
                </a:lnTo>
                <a:close/>
              </a:path>
            </a:pathLst>
          </a:custGeom>
          <a:solidFill>
            <a:srgbClr val="3E1F00"/>
          </a:solidFill>
        </p:spPr>
        <p:txBody>
          <a:bodyPr wrap="square" lIns="0" tIns="0" rIns="0" bIns="0" rtlCol="0">
            <a:noAutofit/>
          </a:bodyPr>
          <a:lstStyle/>
          <a:p>
            <a:endParaRPr/>
          </a:p>
        </p:txBody>
      </p:sp>
      <p:sp>
        <p:nvSpPr>
          <p:cNvPr id="756" name="object 756"/>
          <p:cNvSpPr/>
          <p:nvPr/>
        </p:nvSpPr>
        <p:spPr>
          <a:xfrm>
            <a:off x="4273332" y="5293170"/>
            <a:ext cx="107293" cy="46932"/>
          </a:xfrm>
          <a:custGeom>
            <a:avLst/>
            <a:gdLst/>
            <a:ahLst/>
            <a:cxnLst/>
            <a:rect l="l" t="t" r="r" b="b"/>
            <a:pathLst>
              <a:path w="107293" h="46932">
                <a:moveTo>
                  <a:pt x="20795" y="33278"/>
                </a:moveTo>
                <a:lnTo>
                  <a:pt x="990" y="26619"/>
                </a:lnTo>
                <a:lnTo>
                  <a:pt x="0" y="40280"/>
                </a:lnTo>
                <a:lnTo>
                  <a:pt x="20465" y="46932"/>
                </a:lnTo>
                <a:lnTo>
                  <a:pt x="106632" y="14354"/>
                </a:lnTo>
                <a:lnTo>
                  <a:pt x="107293" y="0"/>
                </a:lnTo>
                <a:lnTo>
                  <a:pt x="20795" y="33278"/>
                </a:lnTo>
                <a:close/>
              </a:path>
            </a:pathLst>
          </a:custGeom>
          <a:solidFill>
            <a:srgbClr val="7E5F3E"/>
          </a:solidFill>
        </p:spPr>
        <p:txBody>
          <a:bodyPr wrap="square" lIns="0" tIns="0" rIns="0" bIns="0" rtlCol="0">
            <a:noAutofit/>
          </a:bodyPr>
          <a:lstStyle/>
          <a:p>
            <a:endParaRPr/>
          </a:p>
        </p:txBody>
      </p:sp>
      <p:sp>
        <p:nvSpPr>
          <p:cNvPr id="757" name="object 757"/>
          <p:cNvSpPr/>
          <p:nvPr/>
        </p:nvSpPr>
        <p:spPr>
          <a:xfrm>
            <a:off x="4379965" y="5256041"/>
            <a:ext cx="3301" cy="3151"/>
          </a:xfrm>
          <a:custGeom>
            <a:avLst/>
            <a:gdLst/>
            <a:ahLst/>
            <a:cxnLst/>
            <a:rect l="l" t="t" r="r" b="b"/>
            <a:pathLst>
              <a:path w="3301" h="3151">
                <a:moveTo>
                  <a:pt x="0" y="3151"/>
                </a:moveTo>
                <a:lnTo>
                  <a:pt x="3301" y="2100"/>
                </a:lnTo>
                <a:lnTo>
                  <a:pt x="0" y="0"/>
                </a:lnTo>
                <a:lnTo>
                  <a:pt x="0" y="3151"/>
                </a:lnTo>
                <a:close/>
              </a:path>
            </a:pathLst>
          </a:custGeom>
          <a:solidFill>
            <a:srgbClr val="3E1F00"/>
          </a:solidFill>
        </p:spPr>
        <p:txBody>
          <a:bodyPr wrap="square" lIns="0" tIns="0" rIns="0" bIns="0" rtlCol="0">
            <a:noAutofit/>
          </a:bodyPr>
          <a:lstStyle/>
          <a:p>
            <a:endParaRPr/>
          </a:p>
        </p:txBody>
      </p:sp>
      <p:sp>
        <p:nvSpPr>
          <p:cNvPr id="758" name="object 758"/>
          <p:cNvSpPr/>
          <p:nvPr/>
        </p:nvSpPr>
        <p:spPr>
          <a:xfrm>
            <a:off x="4275973" y="5258141"/>
            <a:ext cx="107293" cy="46932"/>
          </a:xfrm>
          <a:custGeom>
            <a:avLst/>
            <a:gdLst/>
            <a:ahLst/>
            <a:cxnLst/>
            <a:rect l="l" t="t" r="r" b="b"/>
            <a:pathLst>
              <a:path w="107293" h="46932">
                <a:moveTo>
                  <a:pt x="20795" y="33278"/>
                </a:moveTo>
                <a:lnTo>
                  <a:pt x="987" y="26619"/>
                </a:lnTo>
                <a:lnTo>
                  <a:pt x="0" y="40280"/>
                </a:lnTo>
                <a:lnTo>
                  <a:pt x="20465" y="46932"/>
                </a:lnTo>
                <a:lnTo>
                  <a:pt x="106632" y="14365"/>
                </a:lnTo>
                <a:lnTo>
                  <a:pt x="107293" y="0"/>
                </a:lnTo>
                <a:lnTo>
                  <a:pt x="20795" y="33278"/>
                </a:lnTo>
                <a:close/>
              </a:path>
            </a:pathLst>
          </a:custGeom>
          <a:solidFill>
            <a:srgbClr val="7E5F3E"/>
          </a:solidFill>
        </p:spPr>
        <p:txBody>
          <a:bodyPr wrap="square" lIns="0" tIns="0" rIns="0" bIns="0" rtlCol="0">
            <a:noAutofit/>
          </a:bodyPr>
          <a:lstStyle/>
          <a:p>
            <a:endParaRPr/>
          </a:p>
        </p:txBody>
      </p:sp>
      <p:sp>
        <p:nvSpPr>
          <p:cNvPr id="759" name="object 759"/>
          <p:cNvSpPr/>
          <p:nvPr/>
        </p:nvSpPr>
        <p:spPr>
          <a:xfrm>
            <a:off x="4193764" y="5704749"/>
            <a:ext cx="101353" cy="113493"/>
          </a:xfrm>
          <a:custGeom>
            <a:avLst/>
            <a:gdLst/>
            <a:ahLst/>
            <a:cxnLst/>
            <a:rect l="l" t="t" r="r" b="b"/>
            <a:pathLst>
              <a:path w="101353" h="113493">
                <a:moveTo>
                  <a:pt x="64252" y="111442"/>
                </a:moveTo>
                <a:lnTo>
                  <a:pt x="76331" y="105664"/>
                </a:lnTo>
                <a:lnTo>
                  <a:pt x="86581" y="96718"/>
                </a:lnTo>
                <a:lnTo>
                  <a:pt x="94500" y="85163"/>
                </a:lnTo>
                <a:lnTo>
                  <a:pt x="99591" y="71559"/>
                </a:lnTo>
                <a:lnTo>
                  <a:pt x="101353" y="56746"/>
                </a:lnTo>
                <a:lnTo>
                  <a:pt x="99527" y="41674"/>
                </a:lnTo>
                <a:lnTo>
                  <a:pt x="94381" y="28101"/>
                </a:lnTo>
                <a:lnTo>
                  <a:pt x="90432" y="22393"/>
                </a:lnTo>
                <a:lnTo>
                  <a:pt x="86415" y="16588"/>
                </a:lnTo>
                <a:lnTo>
                  <a:pt x="81890" y="12676"/>
                </a:lnTo>
                <a:lnTo>
                  <a:pt x="76129" y="7694"/>
                </a:lnTo>
                <a:lnTo>
                  <a:pt x="64021" y="1978"/>
                </a:lnTo>
                <a:lnTo>
                  <a:pt x="50841" y="0"/>
                </a:lnTo>
                <a:lnTo>
                  <a:pt x="37332" y="2038"/>
                </a:lnTo>
                <a:lnTo>
                  <a:pt x="25188" y="7785"/>
                </a:lnTo>
                <a:lnTo>
                  <a:pt x="20219" y="12082"/>
                </a:lnTo>
                <a:lnTo>
                  <a:pt x="14896" y="16685"/>
                </a:lnTo>
                <a:lnTo>
                  <a:pt x="12124" y="20693"/>
                </a:lnTo>
                <a:lnTo>
                  <a:pt x="6943" y="28183"/>
                </a:lnTo>
                <a:lnTo>
                  <a:pt x="4328" y="35089"/>
                </a:lnTo>
                <a:lnTo>
                  <a:pt x="1815" y="41725"/>
                </a:lnTo>
                <a:lnTo>
                  <a:pt x="918" y="49145"/>
                </a:lnTo>
                <a:lnTo>
                  <a:pt x="0" y="56746"/>
                </a:lnTo>
                <a:lnTo>
                  <a:pt x="1492" y="69085"/>
                </a:lnTo>
                <a:lnTo>
                  <a:pt x="2814" y="74406"/>
                </a:lnTo>
                <a:lnTo>
                  <a:pt x="6948" y="85318"/>
                </a:lnTo>
                <a:lnTo>
                  <a:pt x="9871" y="89543"/>
                </a:lnTo>
                <a:lnTo>
                  <a:pt x="14903" y="96815"/>
                </a:lnTo>
                <a:lnTo>
                  <a:pt x="24024" y="104699"/>
                </a:lnTo>
                <a:lnTo>
                  <a:pt x="37341" y="111457"/>
                </a:lnTo>
                <a:lnTo>
                  <a:pt x="50841" y="113493"/>
                </a:lnTo>
                <a:lnTo>
                  <a:pt x="64252" y="111442"/>
                </a:lnTo>
                <a:close/>
              </a:path>
            </a:pathLst>
          </a:custGeom>
          <a:solidFill>
            <a:srgbClr val="000000"/>
          </a:solidFill>
        </p:spPr>
        <p:txBody>
          <a:bodyPr wrap="square" lIns="0" tIns="0" rIns="0" bIns="0" rtlCol="0">
            <a:noAutofit/>
          </a:bodyPr>
          <a:lstStyle/>
          <a:p>
            <a:endParaRPr/>
          </a:p>
        </p:txBody>
      </p:sp>
      <p:sp>
        <p:nvSpPr>
          <p:cNvPr id="760" name="object 760"/>
          <p:cNvSpPr/>
          <p:nvPr/>
        </p:nvSpPr>
        <p:spPr>
          <a:xfrm>
            <a:off x="4193764" y="5704749"/>
            <a:ext cx="101353" cy="113493"/>
          </a:xfrm>
          <a:custGeom>
            <a:avLst/>
            <a:gdLst/>
            <a:ahLst/>
            <a:cxnLst/>
            <a:rect l="l" t="t" r="r" b="b"/>
            <a:pathLst>
              <a:path w="101353" h="113493">
                <a:moveTo>
                  <a:pt x="64252" y="111442"/>
                </a:moveTo>
                <a:lnTo>
                  <a:pt x="76331" y="105664"/>
                </a:lnTo>
                <a:lnTo>
                  <a:pt x="86581" y="96718"/>
                </a:lnTo>
                <a:lnTo>
                  <a:pt x="94500" y="85163"/>
                </a:lnTo>
                <a:lnTo>
                  <a:pt x="99591" y="71559"/>
                </a:lnTo>
                <a:lnTo>
                  <a:pt x="101353" y="56746"/>
                </a:lnTo>
                <a:lnTo>
                  <a:pt x="99527" y="41674"/>
                </a:lnTo>
                <a:lnTo>
                  <a:pt x="94381" y="28101"/>
                </a:lnTo>
                <a:lnTo>
                  <a:pt x="90432" y="22393"/>
                </a:lnTo>
                <a:lnTo>
                  <a:pt x="86415" y="16588"/>
                </a:lnTo>
                <a:lnTo>
                  <a:pt x="81890" y="12676"/>
                </a:lnTo>
                <a:lnTo>
                  <a:pt x="76129" y="7694"/>
                </a:lnTo>
                <a:lnTo>
                  <a:pt x="64021" y="1978"/>
                </a:lnTo>
                <a:lnTo>
                  <a:pt x="50841" y="0"/>
                </a:lnTo>
                <a:lnTo>
                  <a:pt x="37332" y="2038"/>
                </a:lnTo>
              </a:path>
              <a:path w="101353" h="113493">
                <a:moveTo>
                  <a:pt x="37332" y="2038"/>
                </a:moveTo>
                <a:lnTo>
                  <a:pt x="25188" y="7785"/>
                </a:lnTo>
                <a:lnTo>
                  <a:pt x="20219" y="12082"/>
                </a:lnTo>
                <a:lnTo>
                  <a:pt x="14896" y="16685"/>
                </a:lnTo>
                <a:lnTo>
                  <a:pt x="12124" y="20693"/>
                </a:lnTo>
                <a:lnTo>
                  <a:pt x="6943" y="28183"/>
                </a:lnTo>
                <a:lnTo>
                  <a:pt x="4328" y="35089"/>
                </a:lnTo>
                <a:lnTo>
                  <a:pt x="1815" y="41725"/>
                </a:lnTo>
                <a:lnTo>
                  <a:pt x="918" y="49145"/>
                </a:lnTo>
                <a:lnTo>
                  <a:pt x="0" y="56746"/>
                </a:lnTo>
                <a:lnTo>
                  <a:pt x="1492" y="69085"/>
                </a:lnTo>
                <a:lnTo>
                  <a:pt x="2814" y="74406"/>
                </a:lnTo>
                <a:lnTo>
                  <a:pt x="6948" y="85318"/>
                </a:lnTo>
                <a:lnTo>
                  <a:pt x="9871" y="89543"/>
                </a:lnTo>
                <a:lnTo>
                  <a:pt x="14903" y="96815"/>
                </a:lnTo>
                <a:lnTo>
                  <a:pt x="24024" y="104699"/>
                </a:lnTo>
                <a:lnTo>
                  <a:pt x="37341" y="111457"/>
                </a:lnTo>
                <a:lnTo>
                  <a:pt x="50841" y="113493"/>
                </a:lnTo>
                <a:lnTo>
                  <a:pt x="64252" y="111442"/>
                </a:lnTo>
              </a:path>
            </a:pathLst>
          </a:custGeom>
          <a:ln w="21774">
            <a:solidFill>
              <a:srgbClr val="000000"/>
            </a:solidFill>
          </a:ln>
        </p:spPr>
        <p:txBody>
          <a:bodyPr wrap="square" lIns="0" tIns="0" rIns="0" bIns="0" rtlCol="0">
            <a:noAutofit/>
          </a:bodyPr>
          <a:lstStyle/>
          <a:p>
            <a:endParaRPr/>
          </a:p>
        </p:txBody>
      </p:sp>
      <p:sp>
        <p:nvSpPr>
          <p:cNvPr id="761" name="object 761"/>
          <p:cNvSpPr/>
          <p:nvPr/>
        </p:nvSpPr>
        <p:spPr>
          <a:xfrm>
            <a:off x="4202684" y="5704749"/>
            <a:ext cx="102010" cy="113493"/>
          </a:xfrm>
          <a:custGeom>
            <a:avLst/>
            <a:gdLst/>
            <a:ahLst/>
            <a:cxnLst/>
            <a:rect l="l" t="t" r="r" b="b"/>
            <a:pathLst>
              <a:path w="102010" h="113493">
                <a:moveTo>
                  <a:pt x="64678" y="111454"/>
                </a:moveTo>
                <a:lnTo>
                  <a:pt x="76823" y="105707"/>
                </a:lnTo>
                <a:lnTo>
                  <a:pt x="87115" y="96808"/>
                </a:lnTo>
                <a:lnTo>
                  <a:pt x="89493" y="93368"/>
                </a:lnTo>
                <a:lnTo>
                  <a:pt x="95067" y="85309"/>
                </a:lnTo>
                <a:lnTo>
                  <a:pt x="97875" y="77894"/>
                </a:lnTo>
                <a:lnTo>
                  <a:pt x="100195" y="71767"/>
                </a:lnTo>
                <a:lnTo>
                  <a:pt x="100975" y="65312"/>
                </a:lnTo>
                <a:lnTo>
                  <a:pt x="102010" y="56746"/>
                </a:lnTo>
                <a:lnTo>
                  <a:pt x="100192" y="41715"/>
                </a:lnTo>
                <a:lnTo>
                  <a:pt x="95063" y="28174"/>
                </a:lnTo>
                <a:lnTo>
                  <a:pt x="92785" y="24883"/>
                </a:lnTo>
                <a:lnTo>
                  <a:pt x="87108" y="16678"/>
                </a:lnTo>
                <a:lnTo>
                  <a:pt x="79081" y="9739"/>
                </a:lnTo>
                <a:lnTo>
                  <a:pt x="70703" y="4889"/>
                </a:lnTo>
                <a:lnTo>
                  <a:pt x="64669" y="2036"/>
                </a:lnTo>
                <a:lnTo>
                  <a:pt x="51168" y="0"/>
                </a:lnTo>
                <a:lnTo>
                  <a:pt x="37555" y="2027"/>
                </a:lnTo>
                <a:lnTo>
                  <a:pt x="25346" y="7743"/>
                </a:lnTo>
                <a:lnTo>
                  <a:pt x="15013" y="16597"/>
                </a:lnTo>
                <a:lnTo>
                  <a:pt x="10182" y="23520"/>
                </a:lnTo>
                <a:lnTo>
                  <a:pt x="7029" y="28039"/>
                </a:lnTo>
                <a:lnTo>
                  <a:pt x="4808" y="33839"/>
                </a:lnTo>
                <a:lnTo>
                  <a:pt x="1867" y="41520"/>
                </a:lnTo>
                <a:lnTo>
                  <a:pt x="1089" y="47758"/>
                </a:lnTo>
                <a:lnTo>
                  <a:pt x="0" y="56490"/>
                </a:lnTo>
                <a:lnTo>
                  <a:pt x="0" y="56746"/>
                </a:lnTo>
                <a:lnTo>
                  <a:pt x="1808" y="71736"/>
                </a:lnTo>
                <a:lnTo>
                  <a:pt x="6920" y="85246"/>
                </a:lnTo>
                <a:lnTo>
                  <a:pt x="11643" y="92075"/>
                </a:lnTo>
                <a:lnTo>
                  <a:pt x="14861" y="96726"/>
                </a:lnTo>
                <a:lnTo>
                  <a:pt x="20195" y="101337"/>
                </a:lnTo>
                <a:lnTo>
                  <a:pt x="25159" y="105628"/>
                </a:lnTo>
                <a:lnTo>
                  <a:pt x="29684" y="107772"/>
                </a:lnTo>
                <a:lnTo>
                  <a:pt x="37341" y="111400"/>
                </a:lnTo>
                <a:lnTo>
                  <a:pt x="42787" y="112238"/>
                </a:lnTo>
                <a:lnTo>
                  <a:pt x="50935" y="113492"/>
                </a:lnTo>
                <a:lnTo>
                  <a:pt x="51168" y="113493"/>
                </a:lnTo>
                <a:lnTo>
                  <a:pt x="64678" y="111454"/>
                </a:lnTo>
                <a:close/>
              </a:path>
            </a:pathLst>
          </a:custGeom>
          <a:solidFill>
            <a:srgbClr val="000000"/>
          </a:solidFill>
        </p:spPr>
        <p:txBody>
          <a:bodyPr wrap="square" lIns="0" tIns="0" rIns="0" bIns="0" rtlCol="0">
            <a:noAutofit/>
          </a:bodyPr>
          <a:lstStyle/>
          <a:p>
            <a:endParaRPr/>
          </a:p>
        </p:txBody>
      </p:sp>
      <p:sp>
        <p:nvSpPr>
          <p:cNvPr id="762" name="object 762"/>
          <p:cNvSpPr/>
          <p:nvPr/>
        </p:nvSpPr>
        <p:spPr>
          <a:xfrm>
            <a:off x="4202684" y="5704749"/>
            <a:ext cx="102010" cy="113493"/>
          </a:xfrm>
          <a:custGeom>
            <a:avLst/>
            <a:gdLst/>
            <a:ahLst/>
            <a:cxnLst/>
            <a:rect l="l" t="t" r="r" b="b"/>
            <a:pathLst>
              <a:path w="102010" h="113493">
                <a:moveTo>
                  <a:pt x="64678" y="111454"/>
                </a:moveTo>
                <a:lnTo>
                  <a:pt x="76823" y="105707"/>
                </a:lnTo>
                <a:lnTo>
                  <a:pt x="87115" y="96808"/>
                </a:lnTo>
                <a:lnTo>
                  <a:pt x="89493" y="93368"/>
                </a:lnTo>
                <a:lnTo>
                  <a:pt x="95067" y="85309"/>
                </a:lnTo>
                <a:lnTo>
                  <a:pt x="97875" y="77894"/>
                </a:lnTo>
                <a:lnTo>
                  <a:pt x="100195" y="71767"/>
                </a:lnTo>
                <a:lnTo>
                  <a:pt x="100975" y="65312"/>
                </a:lnTo>
                <a:lnTo>
                  <a:pt x="102010" y="56746"/>
                </a:lnTo>
                <a:lnTo>
                  <a:pt x="100192" y="41715"/>
                </a:lnTo>
              </a:path>
              <a:path w="102010" h="113493">
                <a:moveTo>
                  <a:pt x="100192" y="41715"/>
                </a:moveTo>
                <a:lnTo>
                  <a:pt x="95063" y="28174"/>
                </a:lnTo>
                <a:lnTo>
                  <a:pt x="92785" y="24883"/>
                </a:lnTo>
                <a:lnTo>
                  <a:pt x="87108" y="16678"/>
                </a:lnTo>
                <a:lnTo>
                  <a:pt x="79081" y="9739"/>
                </a:lnTo>
                <a:lnTo>
                  <a:pt x="70703" y="4889"/>
                </a:lnTo>
                <a:lnTo>
                  <a:pt x="64669" y="2036"/>
                </a:lnTo>
                <a:lnTo>
                  <a:pt x="51168" y="0"/>
                </a:lnTo>
                <a:lnTo>
                  <a:pt x="37555" y="2027"/>
                </a:lnTo>
                <a:lnTo>
                  <a:pt x="25346" y="7743"/>
                </a:lnTo>
                <a:lnTo>
                  <a:pt x="15013" y="16597"/>
                </a:lnTo>
                <a:lnTo>
                  <a:pt x="10182" y="23520"/>
                </a:lnTo>
                <a:lnTo>
                  <a:pt x="7029" y="28039"/>
                </a:lnTo>
                <a:lnTo>
                  <a:pt x="4808" y="33839"/>
                </a:lnTo>
                <a:lnTo>
                  <a:pt x="1867" y="41520"/>
                </a:lnTo>
                <a:lnTo>
                  <a:pt x="1089" y="47758"/>
                </a:lnTo>
                <a:lnTo>
                  <a:pt x="0" y="56490"/>
                </a:lnTo>
                <a:lnTo>
                  <a:pt x="0" y="56746"/>
                </a:lnTo>
                <a:lnTo>
                  <a:pt x="1808" y="71736"/>
                </a:lnTo>
                <a:lnTo>
                  <a:pt x="6920" y="85246"/>
                </a:lnTo>
                <a:lnTo>
                  <a:pt x="11643" y="92075"/>
                </a:lnTo>
                <a:lnTo>
                  <a:pt x="14861" y="96726"/>
                </a:lnTo>
                <a:lnTo>
                  <a:pt x="20195" y="101337"/>
                </a:lnTo>
                <a:lnTo>
                  <a:pt x="25159" y="105628"/>
                </a:lnTo>
                <a:lnTo>
                  <a:pt x="29684" y="107772"/>
                </a:lnTo>
                <a:lnTo>
                  <a:pt x="37341" y="111400"/>
                </a:lnTo>
                <a:lnTo>
                  <a:pt x="42787" y="112238"/>
                </a:lnTo>
                <a:lnTo>
                  <a:pt x="50935" y="113492"/>
                </a:lnTo>
                <a:lnTo>
                  <a:pt x="51168" y="113493"/>
                </a:lnTo>
                <a:lnTo>
                  <a:pt x="64678" y="111454"/>
                </a:lnTo>
              </a:path>
            </a:pathLst>
          </a:custGeom>
          <a:ln w="21774">
            <a:solidFill>
              <a:srgbClr val="000000"/>
            </a:solidFill>
          </a:ln>
        </p:spPr>
        <p:txBody>
          <a:bodyPr wrap="square" lIns="0" tIns="0" rIns="0" bIns="0" rtlCol="0">
            <a:noAutofit/>
          </a:bodyPr>
          <a:lstStyle/>
          <a:p>
            <a:endParaRPr/>
          </a:p>
        </p:txBody>
      </p:sp>
      <p:sp>
        <p:nvSpPr>
          <p:cNvPr id="763" name="object 763"/>
          <p:cNvSpPr/>
          <p:nvPr/>
        </p:nvSpPr>
        <p:spPr>
          <a:xfrm>
            <a:off x="4201694" y="5712452"/>
            <a:ext cx="85833" cy="96337"/>
          </a:xfrm>
          <a:custGeom>
            <a:avLst/>
            <a:gdLst/>
            <a:ahLst/>
            <a:cxnLst/>
            <a:rect l="l" t="t" r="r" b="b"/>
            <a:pathLst>
              <a:path w="85833" h="96337">
                <a:moveTo>
                  <a:pt x="47441" y="95528"/>
                </a:moveTo>
                <a:lnTo>
                  <a:pt x="56274" y="93950"/>
                </a:lnTo>
                <a:lnTo>
                  <a:pt x="63699" y="89704"/>
                </a:lnTo>
                <a:lnTo>
                  <a:pt x="67907" y="87297"/>
                </a:lnTo>
                <a:lnTo>
                  <a:pt x="72328" y="82441"/>
                </a:lnTo>
                <a:lnTo>
                  <a:pt x="77150" y="77146"/>
                </a:lnTo>
                <a:lnTo>
                  <a:pt x="83339" y="64260"/>
                </a:lnTo>
                <a:lnTo>
                  <a:pt x="85815" y="49407"/>
                </a:lnTo>
                <a:lnTo>
                  <a:pt x="85833" y="47993"/>
                </a:lnTo>
                <a:lnTo>
                  <a:pt x="84984" y="41988"/>
                </a:lnTo>
                <a:lnTo>
                  <a:pt x="83709" y="32975"/>
                </a:lnTo>
                <a:lnTo>
                  <a:pt x="80685" y="26316"/>
                </a:lnTo>
                <a:lnTo>
                  <a:pt x="77783" y="19926"/>
                </a:lnTo>
                <a:lnTo>
                  <a:pt x="68725" y="9588"/>
                </a:lnTo>
                <a:lnTo>
                  <a:pt x="61079" y="5018"/>
                </a:lnTo>
                <a:lnTo>
                  <a:pt x="57205" y="2703"/>
                </a:lnTo>
                <a:lnTo>
                  <a:pt x="43891" y="12"/>
                </a:lnTo>
                <a:lnTo>
                  <a:pt x="42911" y="0"/>
                </a:lnTo>
                <a:lnTo>
                  <a:pt x="29497" y="2370"/>
                </a:lnTo>
                <a:lnTo>
                  <a:pt x="25218" y="4798"/>
                </a:lnTo>
                <a:lnTo>
                  <a:pt x="17831" y="8988"/>
                </a:lnTo>
                <a:lnTo>
                  <a:pt x="8582" y="19111"/>
                </a:lnTo>
                <a:lnTo>
                  <a:pt x="2419" y="31997"/>
                </a:lnTo>
                <a:lnTo>
                  <a:pt x="492" y="43922"/>
                </a:lnTo>
                <a:lnTo>
                  <a:pt x="0" y="47993"/>
                </a:lnTo>
                <a:lnTo>
                  <a:pt x="1101" y="55836"/>
                </a:lnTo>
                <a:lnTo>
                  <a:pt x="2106" y="62988"/>
                </a:lnTo>
                <a:lnTo>
                  <a:pt x="7986" y="76084"/>
                </a:lnTo>
                <a:lnTo>
                  <a:pt x="7555" y="75584"/>
                </a:lnTo>
                <a:lnTo>
                  <a:pt x="16978" y="86514"/>
                </a:lnTo>
                <a:lnTo>
                  <a:pt x="20011" y="88369"/>
                </a:lnTo>
                <a:lnTo>
                  <a:pt x="28422" y="93514"/>
                </a:lnTo>
                <a:lnTo>
                  <a:pt x="41656" y="96317"/>
                </a:lnTo>
                <a:lnTo>
                  <a:pt x="42911" y="96337"/>
                </a:lnTo>
                <a:lnTo>
                  <a:pt x="47441" y="95528"/>
                </a:lnTo>
                <a:close/>
              </a:path>
            </a:pathLst>
          </a:custGeom>
          <a:solidFill>
            <a:srgbClr val="000000"/>
          </a:solidFill>
        </p:spPr>
        <p:txBody>
          <a:bodyPr wrap="square" lIns="0" tIns="0" rIns="0" bIns="0" rtlCol="0">
            <a:noAutofit/>
          </a:bodyPr>
          <a:lstStyle/>
          <a:p>
            <a:endParaRPr/>
          </a:p>
        </p:txBody>
      </p:sp>
      <p:sp>
        <p:nvSpPr>
          <p:cNvPr id="764" name="object 764"/>
          <p:cNvSpPr/>
          <p:nvPr/>
        </p:nvSpPr>
        <p:spPr>
          <a:xfrm>
            <a:off x="4201694" y="5712452"/>
            <a:ext cx="85833" cy="96337"/>
          </a:xfrm>
          <a:custGeom>
            <a:avLst/>
            <a:gdLst/>
            <a:ahLst/>
            <a:cxnLst/>
            <a:rect l="l" t="t" r="r" b="b"/>
            <a:pathLst>
              <a:path w="85833" h="96337">
                <a:moveTo>
                  <a:pt x="47441" y="95528"/>
                </a:moveTo>
                <a:lnTo>
                  <a:pt x="56274" y="93950"/>
                </a:lnTo>
                <a:lnTo>
                  <a:pt x="63699" y="89704"/>
                </a:lnTo>
                <a:lnTo>
                  <a:pt x="67907" y="87297"/>
                </a:lnTo>
                <a:lnTo>
                  <a:pt x="72328" y="82441"/>
                </a:lnTo>
                <a:lnTo>
                  <a:pt x="77150" y="77146"/>
                </a:lnTo>
                <a:lnTo>
                  <a:pt x="83339" y="64260"/>
                </a:lnTo>
                <a:lnTo>
                  <a:pt x="85815" y="49407"/>
                </a:lnTo>
                <a:lnTo>
                  <a:pt x="85833" y="47993"/>
                </a:lnTo>
                <a:lnTo>
                  <a:pt x="84984" y="41988"/>
                </a:lnTo>
                <a:lnTo>
                  <a:pt x="83709" y="32975"/>
                </a:lnTo>
                <a:lnTo>
                  <a:pt x="80685" y="26316"/>
                </a:lnTo>
                <a:lnTo>
                  <a:pt x="77783" y="19926"/>
                </a:lnTo>
                <a:lnTo>
                  <a:pt x="68725" y="9588"/>
                </a:lnTo>
                <a:lnTo>
                  <a:pt x="61079" y="5018"/>
                </a:lnTo>
                <a:lnTo>
                  <a:pt x="57205" y="2703"/>
                </a:lnTo>
                <a:lnTo>
                  <a:pt x="43891" y="12"/>
                </a:lnTo>
                <a:lnTo>
                  <a:pt x="42911" y="0"/>
                </a:lnTo>
                <a:lnTo>
                  <a:pt x="29497" y="2370"/>
                </a:lnTo>
                <a:lnTo>
                  <a:pt x="25218" y="4798"/>
                </a:lnTo>
                <a:lnTo>
                  <a:pt x="17831" y="8988"/>
                </a:lnTo>
                <a:lnTo>
                  <a:pt x="8582" y="19111"/>
                </a:lnTo>
                <a:lnTo>
                  <a:pt x="2419" y="31997"/>
                </a:lnTo>
                <a:lnTo>
                  <a:pt x="492" y="43922"/>
                </a:lnTo>
                <a:lnTo>
                  <a:pt x="0" y="47993"/>
                </a:lnTo>
                <a:lnTo>
                  <a:pt x="1101" y="55836"/>
                </a:lnTo>
                <a:lnTo>
                  <a:pt x="2106" y="62988"/>
                </a:lnTo>
                <a:lnTo>
                  <a:pt x="7986" y="76084"/>
                </a:lnTo>
                <a:lnTo>
                  <a:pt x="7555" y="75584"/>
                </a:lnTo>
                <a:lnTo>
                  <a:pt x="16978" y="86514"/>
                </a:lnTo>
                <a:lnTo>
                  <a:pt x="20011" y="88369"/>
                </a:lnTo>
                <a:lnTo>
                  <a:pt x="28422" y="93514"/>
                </a:lnTo>
                <a:lnTo>
                  <a:pt x="41656" y="96317"/>
                </a:lnTo>
                <a:lnTo>
                  <a:pt x="42911" y="96337"/>
                </a:lnTo>
                <a:lnTo>
                  <a:pt x="47441" y="95528"/>
                </a:lnTo>
              </a:path>
            </a:pathLst>
          </a:custGeom>
          <a:ln w="5437">
            <a:solidFill>
              <a:srgbClr val="FFFFFF"/>
            </a:solidFill>
          </a:ln>
        </p:spPr>
        <p:txBody>
          <a:bodyPr wrap="square" lIns="0" tIns="0" rIns="0" bIns="0" rtlCol="0">
            <a:noAutofit/>
          </a:bodyPr>
          <a:lstStyle/>
          <a:p>
            <a:endParaRPr/>
          </a:p>
        </p:txBody>
      </p:sp>
      <p:sp>
        <p:nvSpPr>
          <p:cNvPr id="765" name="object 765"/>
          <p:cNvSpPr/>
          <p:nvPr/>
        </p:nvSpPr>
        <p:spPr>
          <a:xfrm>
            <a:off x="4225460" y="5740831"/>
            <a:ext cx="35652" cy="40630"/>
          </a:xfrm>
          <a:custGeom>
            <a:avLst/>
            <a:gdLst/>
            <a:ahLst/>
            <a:cxnLst/>
            <a:rect l="l" t="t" r="r" b="b"/>
            <a:pathLst>
              <a:path w="35652" h="40630">
                <a:moveTo>
                  <a:pt x="0" y="20313"/>
                </a:moveTo>
                <a:lnTo>
                  <a:pt x="4632" y="33996"/>
                </a:lnTo>
                <a:lnTo>
                  <a:pt x="16058" y="40533"/>
                </a:lnTo>
                <a:lnTo>
                  <a:pt x="17824" y="40630"/>
                </a:lnTo>
                <a:lnTo>
                  <a:pt x="29859" y="35326"/>
                </a:lnTo>
                <a:lnTo>
                  <a:pt x="35567" y="22317"/>
                </a:lnTo>
                <a:lnTo>
                  <a:pt x="35652" y="20313"/>
                </a:lnTo>
                <a:lnTo>
                  <a:pt x="31022" y="6632"/>
                </a:lnTo>
                <a:lnTo>
                  <a:pt x="19591" y="97"/>
                </a:lnTo>
                <a:lnTo>
                  <a:pt x="17824" y="0"/>
                </a:lnTo>
                <a:lnTo>
                  <a:pt x="5794" y="5304"/>
                </a:lnTo>
                <a:lnTo>
                  <a:pt x="84" y="18315"/>
                </a:lnTo>
                <a:lnTo>
                  <a:pt x="0" y="20313"/>
                </a:lnTo>
                <a:close/>
              </a:path>
            </a:pathLst>
          </a:custGeom>
          <a:solidFill>
            <a:srgbClr val="5F5F5F"/>
          </a:solidFill>
        </p:spPr>
        <p:txBody>
          <a:bodyPr wrap="square" lIns="0" tIns="0" rIns="0" bIns="0" rtlCol="0">
            <a:noAutofit/>
          </a:bodyPr>
          <a:lstStyle/>
          <a:p>
            <a:endParaRPr/>
          </a:p>
        </p:txBody>
      </p:sp>
      <p:sp>
        <p:nvSpPr>
          <p:cNvPr id="766" name="object 766"/>
          <p:cNvSpPr/>
          <p:nvPr/>
        </p:nvSpPr>
        <p:spPr>
          <a:xfrm>
            <a:off x="4229750" y="5740481"/>
            <a:ext cx="35985" cy="40630"/>
          </a:xfrm>
          <a:custGeom>
            <a:avLst/>
            <a:gdLst/>
            <a:ahLst/>
            <a:cxnLst/>
            <a:rect l="l" t="t" r="r" b="b"/>
            <a:pathLst>
              <a:path w="35985" h="40630">
                <a:moveTo>
                  <a:pt x="0" y="20313"/>
                </a:moveTo>
                <a:lnTo>
                  <a:pt x="4711" y="33908"/>
                </a:lnTo>
                <a:lnTo>
                  <a:pt x="16167" y="40507"/>
                </a:lnTo>
                <a:lnTo>
                  <a:pt x="18157" y="40630"/>
                </a:lnTo>
                <a:lnTo>
                  <a:pt x="30191" y="35326"/>
                </a:lnTo>
                <a:lnTo>
                  <a:pt x="35900" y="22317"/>
                </a:lnTo>
                <a:lnTo>
                  <a:pt x="35985" y="20313"/>
                </a:lnTo>
                <a:lnTo>
                  <a:pt x="31354" y="6632"/>
                </a:lnTo>
                <a:lnTo>
                  <a:pt x="19924" y="97"/>
                </a:lnTo>
                <a:lnTo>
                  <a:pt x="18157" y="0"/>
                </a:lnTo>
                <a:lnTo>
                  <a:pt x="6054" y="5224"/>
                </a:lnTo>
                <a:lnTo>
                  <a:pt x="111" y="18066"/>
                </a:lnTo>
                <a:lnTo>
                  <a:pt x="0" y="20313"/>
                </a:lnTo>
                <a:close/>
              </a:path>
            </a:pathLst>
          </a:custGeom>
          <a:solidFill>
            <a:srgbClr val="C0C0C0"/>
          </a:solidFill>
        </p:spPr>
        <p:txBody>
          <a:bodyPr wrap="square" lIns="0" tIns="0" rIns="0" bIns="0" rtlCol="0">
            <a:noAutofit/>
          </a:bodyPr>
          <a:lstStyle/>
          <a:p>
            <a:endParaRPr/>
          </a:p>
        </p:txBody>
      </p:sp>
      <p:sp>
        <p:nvSpPr>
          <p:cNvPr id="767" name="object 767"/>
          <p:cNvSpPr/>
          <p:nvPr/>
        </p:nvSpPr>
        <p:spPr>
          <a:xfrm>
            <a:off x="4227439" y="5740481"/>
            <a:ext cx="35985" cy="40630"/>
          </a:xfrm>
          <a:custGeom>
            <a:avLst/>
            <a:gdLst/>
            <a:ahLst/>
            <a:cxnLst/>
            <a:rect l="l" t="t" r="r" b="b"/>
            <a:pathLst>
              <a:path w="35985" h="40630">
                <a:moveTo>
                  <a:pt x="0" y="20313"/>
                </a:moveTo>
                <a:lnTo>
                  <a:pt x="4712" y="33908"/>
                </a:lnTo>
                <a:lnTo>
                  <a:pt x="16167" y="40507"/>
                </a:lnTo>
                <a:lnTo>
                  <a:pt x="18157" y="40630"/>
                </a:lnTo>
                <a:lnTo>
                  <a:pt x="30191" y="35326"/>
                </a:lnTo>
                <a:lnTo>
                  <a:pt x="35900" y="22317"/>
                </a:lnTo>
                <a:lnTo>
                  <a:pt x="35985" y="20313"/>
                </a:lnTo>
                <a:lnTo>
                  <a:pt x="31354" y="6632"/>
                </a:lnTo>
                <a:lnTo>
                  <a:pt x="19924" y="97"/>
                </a:lnTo>
                <a:lnTo>
                  <a:pt x="18157" y="0"/>
                </a:lnTo>
                <a:lnTo>
                  <a:pt x="6055" y="5224"/>
                </a:lnTo>
                <a:lnTo>
                  <a:pt x="111" y="18066"/>
                </a:lnTo>
                <a:lnTo>
                  <a:pt x="0" y="20313"/>
                </a:lnTo>
                <a:close/>
              </a:path>
            </a:pathLst>
          </a:custGeom>
          <a:solidFill>
            <a:srgbClr val="9F9F9F"/>
          </a:solidFill>
        </p:spPr>
        <p:txBody>
          <a:bodyPr wrap="square" lIns="0" tIns="0" rIns="0" bIns="0" rtlCol="0">
            <a:noAutofit/>
          </a:bodyPr>
          <a:lstStyle/>
          <a:p>
            <a:endParaRPr/>
          </a:p>
        </p:txBody>
      </p:sp>
      <p:sp>
        <p:nvSpPr>
          <p:cNvPr id="768" name="object 768"/>
          <p:cNvSpPr/>
          <p:nvPr/>
        </p:nvSpPr>
        <p:spPr>
          <a:xfrm>
            <a:off x="4503765" y="5765697"/>
            <a:ext cx="122149" cy="133105"/>
          </a:xfrm>
          <a:custGeom>
            <a:avLst/>
            <a:gdLst/>
            <a:ahLst/>
            <a:cxnLst/>
            <a:rect l="l" t="t" r="r" b="b"/>
            <a:pathLst>
              <a:path w="122149" h="133105">
                <a:moveTo>
                  <a:pt x="71825" y="131776"/>
                </a:moveTo>
                <a:lnTo>
                  <a:pt x="74846" y="131402"/>
                </a:lnTo>
                <a:lnTo>
                  <a:pt x="78206" y="130116"/>
                </a:lnTo>
                <a:lnTo>
                  <a:pt x="87523" y="126549"/>
                </a:lnTo>
                <a:lnTo>
                  <a:pt x="98751" y="118924"/>
                </a:lnTo>
                <a:lnTo>
                  <a:pt x="108178" y="108906"/>
                </a:lnTo>
                <a:lnTo>
                  <a:pt x="113280" y="100466"/>
                </a:lnTo>
                <a:lnTo>
                  <a:pt x="115451" y="96875"/>
                </a:lnTo>
                <a:lnTo>
                  <a:pt x="116812" y="92974"/>
                </a:lnTo>
                <a:lnTo>
                  <a:pt x="120219" y="83212"/>
                </a:lnTo>
                <a:lnTo>
                  <a:pt x="122128" y="68294"/>
                </a:lnTo>
                <a:lnTo>
                  <a:pt x="122149" y="66556"/>
                </a:lnTo>
                <a:lnTo>
                  <a:pt x="120583" y="51522"/>
                </a:lnTo>
                <a:lnTo>
                  <a:pt x="116119" y="37698"/>
                </a:lnTo>
                <a:lnTo>
                  <a:pt x="113223" y="32643"/>
                </a:lnTo>
                <a:lnTo>
                  <a:pt x="109111" y="25464"/>
                </a:lnTo>
                <a:lnTo>
                  <a:pt x="99909" y="15200"/>
                </a:lnTo>
                <a:lnTo>
                  <a:pt x="88867" y="7285"/>
                </a:lnTo>
                <a:lnTo>
                  <a:pt x="76337" y="2099"/>
                </a:lnTo>
                <a:lnTo>
                  <a:pt x="71124" y="1307"/>
                </a:lnTo>
                <a:lnTo>
                  <a:pt x="62671" y="22"/>
                </a:lnTo>
                <a:lnTo>
                  <a:pt x="61073" y="0"/>
                </a:lnTo>
                <a:lnTo>
                  <a:pt x="52876" y="1013"/>
                </a:lnTo>
                <a:lnTo>
                  <a:pt x="47300" y="1702"/>
                </a:lnTo>
                <a:lnTo>
                  <a:pt x="34624" y="6556"/>
                </a:lnTo>
                <a:lnTo>
                  <a:pt x="23397" y="14183"/>
                </a:lnTo>
                <a:lnTo>
                  <a:pt x="13971" y="24201"/>
                </a:lnTo>
                <a:lnTo>
                  <a:pt x="6698" y="36232"/>
                </a:lnTo>
                <a:lnTo>
                  <a:pt x="1930" y="49896"/>
                </a:lnTo>
                <a:lnTo>
                  <a:pt x="20" y="64813"/>
                </a:lnTo>
                <a:lnTo>
                  <a:pt x="0" y="66556"/>
                </a:lnTo>
                <a:lnTo>
                  <a:pt x="1566" y="81591"/>
                </a:lnTo>
                <a:lnTo>
                  <a:pt x="6030" y="95415"/>
                </a:lnTo>
                <a:lnTo>
                  <a:pt x="9475" y="101429"/>
                </a:lnTo>
                <a:lnTo>
                  <a:pt x="13039" y="107648"/>
                </a:lnTo>
                <a:lnTo>
                  <a:pt x="22241" y="117911"/>
                </a:lnTo>
                <a:lnTo>
                  <a:pt x="33284" y="125824"/>
                </a:lnTo>
                <a:lnTo>
                  <a:pt x="45816" y="131008"/>
                </a:lnTo>
                <a:lnTo>
                  <a:pt x="59484" y="133082"/>
                </a:lnTo>
                <a:lnTo>
                  <a:pt x="61073" y="133105"/>
                </a:lnTo>
                <a:lnTo>
                  <a:pt x="71825" y="131776"/>
                </a:lnTo>
                <a:close/>
              </a:path>
            </a:pathLst>
          </a:custGeom>
          <a:solidFill>
            <a:srgbClr val="000000"/>
          </a:solidFill>
        </p:spPr>
        <p:txBody>
          <a:bodyPr wrap="square" lIns="0" tIns="0" rIns="0" bIns="0" rtlCol="0">
            <a:noAutofit/>
          </a:bodyPr>
          <a:lstStyle/>
          <a:p>
            <a:endParaRPr/>
          </a:p>
        </p:txBody>
      </p:sp>
      <p:sp>
        <p:nvSpPr>
          <p:cNvPr id="769" name="object 769"/>
          <p:cNvSpPr/>
          <p:nvPr/>
        </p:nvSpPr>
        <p:spPr>
          <a:xfrm>
            <a:off x="4503765" y="5765697"/>
            <a:ext cx="122149" cy="133105"/>
          </a:xfrm>
          <a:custGeom>
            <a:avLst/>
            <a:gdLst/>
            <a:ahLst/>
            <a:cxnLst/>
            <a:rect l="l" t="t" r="r" b="b"/>
            <a:pathLst>
              <a:path w="122149" h="133105">
                <a:moveTo>
                  <a:pt x="71825" y="131776"/>
                </a:moveTo>
                <a:lnTo>
                  <a:pt x="74846" y="131402"/>
                </a:lnTo>
                <a:lnTo>
                  <a:pt x="78206" y="130116"/>
                </a:lnTo>
                <a:lnTo>
                  <a:pt x="87523" y="126549"/>
                </a:lnTo>
                <a:lnTo>
                  <a:pt x="98751" y="118924"/>
                </a:lnTo>
                <a:lnTo>
                  <a:pt x="108178" y="108906"/>
                </a:lnTo>
                <a:lnTo>
                  <a:pt x="113280" y="100466"/>
                </a:lnTo>
                <a:lnTo>
                  <a:pt x="115451" y="96875"/>
                </a:lnTo>
                <a:lnTo>
                  <a:pt x="116812" y="92974"/>
                </a:lnTo>
                <a:lnTo>
                  <a:pt x="120219" y="83212"/>
                </a:lnTo>
                <a:lnTo>
                  <a:pt x="122128" y="68294"/>
                </a:lnTo>
                <a:lnTo>
                  <a:pt x="122149" y="66556"/>
                </a:lnTo>
                <a:lnTo>
                  <a:pt x="120583" y="51522"/>
                </a:lnTo>
              </a:path>
              <a:path w="122149" h="133105">
                <a:moveTo>
                  <a:pt x="120583" y="51522"/>
                </a:moveTo>
                <a:lnTo>
                  <a:pt x="116119" y="37698"/>
                </a:lnTo>
                <a:lnTo>
                  <a:pt x="113223" y="32643"/>
                </a:lnTo>
                <a:lnTo>
                  <a:pt x="109111" y="25464"/>
                </a:lnTo>
                <a:lnTo>
                  <a:pt x="99909" y="15200"/>
                </a:lnTo>
                <a:lnTo>
                  <a:pt x="88867" y="7285"/>
                </a:lnTo>
                <a:lnTo>
                  <a:pt x="76337" y="2099"/>
                </a:lnTo>
                <a:lnTo>
                  <a:pt x="71124" y="1307"/>
                </a:lnTo>
                <a:lnTo>
                  <a:pt x="62671" y="22"/>
                </a:lnTo>
                <a:lnTo>
                  <a:pt x="61073" y="0"/>
                </a:lnTo>
                <a:lnTo>
                  <a:pt x="52876" y="1013"/>
                </a:lnTo>
                <a:lnTo>
                  <a:pt x="47300" y="1702"/>
                </a:lnTo>
                <a:lnTo>
                  <a:pt x="34624" y="6556"/>
                </a:lnTo>
                <a:lnTo>
                  <a:pt x="23397" y="14183"/>
                </a:lnTo>
                <a:lnTo>
                  <a:pt x="13971" y="24201"/>
                </a:lnTo>
                <a:lnTo>
                  <a:pt x="6698" y="36232"/>
                </a:lnTo>
                <a:lnTo>
                  <a:pt x="1930" y="49896"/>
                </a:lnTo>
                <a:lnTo>
                  <a:pt x="20" y="64813"/>
                </a:lnTo>
                <a:lnTo>
                  <a:pt x="0" y="66556"/>
                </a:lnTo>
                <a:lnTo>
                  <a:pt x="1566" y="81591"/>
                </a:lnTo>
                <a:lnTo>
                  <a:pt x="6030" y="95415"/>
                </a:lnTo>
                <a:lnTo>
                  <a:pt x="9475" y="101429"/>
                </a:lnTo>
                <a:lnTo>
                  <a:pt x="13039" y="107648"/>
                </a:lnTo>
                <a:lnTo>
                  <a:pt x="22241" y="117911"/>
                </a:lnTo>
                <a:lnTo>
                  <a:pt x="33284" y="125824"/>
                </a:lnTo>
                <a:lnTo>
                  <a:pt x="45816" y="131008"/>
                </a:lnTo>
                <a:lnTo>
                  <a:pt x="59484" y="133082"/>
                </a:lnTo>
                <a:lnTo>
                  <a:pt x="61073" y="133105"/>
                </a:lnTo>
                <a:lnTo>
                  <a:pt x="71825" y="131776"/>
                </a:lnTo>
              </a:path>
            </a:pathLst>
          </a:custGeom>
          <a:ln w="5456">
            <a:solidFill>
              <a:srgbClr val="000000"/>
            </a:solidFill>
          </a:ln>
        </p:spPr>
        <p:txBody>
          <a:bodyPr wrap="square" lIns="0" tIns="0" rIns="0" bIns="0" rtlCol="0">
            <a:noAutofit/>
          </a:bodyPr>
          <a:lstStyle/>
          <a:p>
            <a:endParaRPr/>
          </a:p>
        </p:txBody>
      </p:sp>
      <p:sp>
        <p:nvSpPr>
          <p:cNvPr id="770" name="object 770"/>
          <p:cNvSpPr/>
          <p:nvPr/>
        </p:nvSpPr>
        <p:spPr>
          <a:xfrm>
            <a:off x="4489899" y="5765347"/>
            <a:ext cx="122149" cy="133105"/>
          </a:xfrm>
          <a:custGeom>
            <a:avLst/>
            <a:gdLst/>
            <a:ahLst/>
            <a:cxnLst/>
            <a:rect l="l" t="t" r="r" b="b"/>
            <a:pathLst>
              <a:path w="122149" h="133105">
                <a:moveTo>
                  <a:pt x="74842" y="131402"/>
                </a:moveTo>
                <a:lnTo>
                  <a:pt x="87519" y="126549"/>
                </a:lnTo>
                <a:lnTo>
                  <a:pt x="98748" y="118924"/>
                </a:lnTo>
                <a:lnTo>
                  <a:pt x="108176" y="108907"/>
                </a:lnTo>
                <a:lnTo>
                  <a:pt x="112945" y="101020"/>
                </a:lnTo>
                <a:lnTo>
                  <a:pt x="115450" y="96877"/>
                </a:lnTo>
                <a:lnTo>
                  <a:pt x="120218" y="83214"/>
                </a:lnTo>
                <a:lnTo>
                  <a:pt x="122128" y="68297"/>
                </a:lnTo>
                <a:lnTo>
                  <a:pt x="122149" y="66556"/>
                </a:lnTo>
                <a:lnTo>
                  <a:pt x="120583" y="51523"/>
                </a:lnTo>
                <a:lnTo>
                  <a:pt x="116119" y="37699"/>
                </a:lnTo>
                <a:lnTo>
                  <a:pt x="111754" y="30080"/>
                </a:lnTo>
                <a:lnTo>
                  <a:pt x="109110" y="25465"/>
                </a:lnTo>
                <a:lnTo>
                  <a:pt x="104391" y="20202"/>
                </a:lnTo>
                <a:lnTo>
                  <a:pt x="99908" y="15201"/>
                </a:lnTo>
                <a:lnTo>
                  <a:pt x="88866" y="7286"/>
                </a:lnTo>
                <a:lnTo>
                  <a:pt x="76336" y="2100"/>
                </a:lnTo>
                <a:lnTo>
                  <a:pt x="62670" y="22"/>
                </a:lnTo>
                <a:lnTo>
                  <a:pt x="61069" y="0"/>
                </a:lnTo>
                <a:lnTo>
                  <a:pt x="47300" y="1702"/>
                </a:lnTo>
                <a:lnTo>
                  <a:pt x="34625" y="6557"/>
                </a:lnTo>
                <a:lnTo>
                  <a:pt x="23399" y="14183"/>
                </a:lnTo>
                <a:lnTo>
                  <a:pt x="13972" y="24202"/>
                </a:lnTo>
                <a:lnTo>
                  <a:pt x="10286" y="30300"/>
                </a:lnTo>
                <a:lnTo>
                  <a:pt x="6698" y="36234"/>
                </a:lnTo>
                <a:lnTo>
                  <a:pt x="1930" y="49899"/>
                </a:lnTo>
                <a:lnTo>
                  <a:pt x="1018" y="57021"/>
                </a:lnTo>
                <a:lnTo>
                  <a:pt x="20" y="64816"/>
                </a:lnTo>
                <a:lnTo>
                  <a:pt x="0" y="66556"/>
                </a:lnTo>
                <a:lnTo>
                  <a:pt x="1441" y="80395"/>
                </a:lnTo>
                <a:lnTo>
                  <a:pt x="2653" y="84957"/>
                </a:lnTo>
                <a:lnTo>
                  <a:pt x="6031" y="95416"/>
                </a:lnTo>
                <a:lnTo>
                  <a:pt x="13041" y="107649"/>
                </a:lnTo>
                <a:lnTo>
                  <a:pt x="22244" y="117912"/>
                </a:lnTo>
                <a:lnTo>
                  <a:pt x="28111" y="122116"/>
                </a:lnTo>
                <a:lnTo>
                  <a:pt x="33287" y="125825"/>
                </a:lnTo>
                <a:lnTo>
                  <a:pt x="45818" y="131008"/>
                </a:lnTo>
                <a:lnTo>
                  <a:pt x="59483" y="133083"/>
                </a:lnTo>
                <a:lnTo>
                  <a:pt x="61069" y="133105"/>
                </a:lnTo>
                <a:lnTo>
                  <a:pt x="74842" y="131402"/>
                </a:lnTo>
                <a:close/>
              </a:path>
            </a:pathLst>
          </a:custGeom>
          <a:solidFill>
            <a:srgbClr val="000000"/>
          </a:solidFill>
        </p:spPr>
        <p:txBody>
          <a:bodyPr wrap="square" lIns="0" tIns="0" rIns="0" bIns="0" rtlCol="0">
            <a:noAutofit/>
          </a:bodyPr>
          <a:lstStyle/>
          <a:p>
            <a:endParaRPr/>
          </a:p>
        </p:txBody>
      </p:sp>
      <p:sp>
        <p:nvSpPr>
          <p:cNvPr id="771" name="object 771"/>
          <p:cNvSpPr/>
          <p:nvPr/>
        </p:nvSpPr>
        <p:spPr>
          <a:xfrm>
            <a:off x="4502114" y="5777961"/>
            <a:ext cx="98375" cy="108236"/>
          </a:xfrm>
          <a:custGeom>
            <a:avLst/>
            <a:gdLst/>
            <a:ahLst/>
            <a:cxnLst/>
            <a:rect l="l" t="t" r="r" b="b"/>
            <a:pathLst>
              <a:path w="98375" h="108236">
                <a:moveTo>
                  <a:pt x="53103" y="107633"/>
                </a:moveTo>
                <a:lnTo>
                  <a:pt x="62728" y="106152"/>
                </a:lnTo>
                <a:lnTo>
                  <a:pt x="74841" y="100279"/>
                </a:lnTo>
                <a:lnTo>
                  <a:pt x="80476" y="95230"/>
                </a:lnTo>
                <a:lnTo>
                  <a:pt x="84988" y="91187"/>
                </a:lnTo>
                <a:lnTo>
                  <a:pt x="92632" y="79445"/>
                </a:lnTo>
                <a:lnTo>
                  <a:pt x="97238" y="65624"/>
                </a:lnTo>
                <a:lnTo>
                  <a:pt x="98375" y="53942"/>
                </a:lnTo>
                <a:lnTo>
                  <a:pt x="96458" y="39008"/>
                </a:lnTo>
                <a:lnTo>
                  <a:pt x="91066" y="25680"/>
                </a:lnTo>
                <a:lnTo>
                  <a:pt x="88321" y="22007"/>
                </a:lnTo>
                <a:lnTo>
                  <a:pt x="82743" y="14543"/>
                </a:lnTo>
                <a:lnTo>
                  <a:pt x="72029" y="6184"/>
                </a:lnTo>
                <a:lnTo>
                  <a:pt x="64417" y="3156"/>
                </a:lnTo>
                <a:lnTo>
                  <a:pt x="59468" y="1187"/>
                </a:lnTo>
                <a:lnTo>
                  <a:pt x="49184" y="0"/>
                </a:lnTo>
                <a:lnTo>
                  <a:pt x="35598" y="2096"/>
                </a:lnTo>
                <a:lnTo>
                  <a:pt x="23452" y="7995"/>
                </a:lnTo>
                <a:lnTo>
                  <a:pt x="13290" y="17110"/>
                </a:lnTo>
                <a:lnTo>
                  <a:pt x="9188" y="23419"/>
                </a:lnTo>
                <a:lnTo>
                  <a:pt x="5653" y="28854"/>
                </a:lnTo>
                <a:lnTo>
                  <a:pt x="3421" y="35593"/>
                </a:lnTo>
                <a:lnTo>
                  <a:pt x="1085" y="42643"/>
                </a:lnTo>
                <a:lnTo>
                  <a:pt x="45" y="53473"/>
                </a:lnTo>
                <a:lnTo>
                  <a:pt x="0" y="53942"/>
                </a:lnTo>
                <a:lnTo>
                  <a:pt x="198" y="55506"/>
                </a:lnTo>
                <a:lnTo>
                  <a:pt x="1904" y="68975"/>
                </a:lnTo>
                <a:lnTo>
                  <a:pt x="7261" y="82367"/>
                </a:lnTo>
                <a:lnTo>
                  <a:pt x="15532" y="93547"/>
                </a:lnTo>
                <a:lnTo>
                  <a:pt x="26181" y="101945"/>
                </a:lnTo>
                <a:lnTo>
                  <a:pt x="32588" y="104534"/>
                </a:lnTo>
                <a:lnTo>
                  <a:pt x="38671" y="106992"/>
                </a:lnTo>
                <a:lnTo>
                  <a:pt x="49184" y="108236"/>
                </a:lnTo>
                <a:lnTo>
                  <a:pt x="53103" y="107633"/>
                </a:lnTo>
                <a:close/>
              </a:path>
            </a:pathLst>
          </a:custGeom>
          <a:solidFill>
            <a:srgbClr val="000000"/>
          </a:solidFill>
        </p:spPr>
        <p:txBody>
          <a:bodyPr wrap="square" lIns="0" tIns="0" rIns="0" bIns="0" rtlCol="0">
            <a:noAutofit/>
          </a:bodyPr>
          <a:lstStyle/>
          <a:p>
            <a:endParaRPr/>
          </a:p>
        </p:txBody>
      </p:sp>
      <p:sp>
        <p:nvSpPr>
          <p:cNvPr id="772" name="object 772"/>
          <p:cNvSpPr/>
          <p:nvPr/>
        </p:nvSpPr>
        <p:spPr>
          <a:xfrm>
            <a:off x="4528521" y="5809139"/>
            <a:ext cx="40604" cy="43781"/>
          </a:xfrm>
          <a:custGeom>
            <a:avLst/>
            <a:gdLst/>
            <a:ahLst/>
            <a:cxnLst/>
            <a:rect l="l" t="t" r="r" b="b"/>
            <a:pathLst>
              <a:path w="40604" h="43781">
                <a:moveTo>
                  <a:pt x="0" y="21714"/>
                </a:moveTo>
                <a:lnTo>
                  <a:pt x="4326" y="35453"/>
                </a:lnTo>
                <a:lnTo>
                  <a:pt x="15272" y="43146"/>
                </a:lnTo>
                <a:lnTo>
                  <a:pt x="20135" y="43781"/>
                </a:lnTo>
                <a:lnTo>
                  <a:pt x="32741" y="39094"/>
                </a:lnTo>
                <a:lnTo>
                  <a:pt x="39956" y="27247"/>
                </a:lnTo>
                <a:lnTo>
                  <a:pt x="40604" y="21714"/>
                </a:lnTo>
                <a:lnTo>
                  <a:pt x="36142" y="8245"/>
                </a:lnTo>
                <a:lnTo>
                  <a:pt x="24992" y="625"/>
                </a:lnTo>
                <a:lnTo>
                  <a:pt x="20135" y="0"/>
                </a:lnTo>
                <a:lnTo>
                  <a:pt x="7493" y="4802"/>
                </a:lnTo>
                <a:lnTo>
                  <a:pt x="522" y="16780"/>
                </a:lnTo>
                <a:lnTo>
                  <a:pt x="0" y="21714"/>
                </a:lnTo>
                <a:close/>
              </a:path>
            </a:pathLst>
          </a:custGeom>
          <a:solidFill>
            <a:srgbClr val="5F5F5F"/>
          </a:solidFill>
        </p:spPr>
        <p:txBody>
          <a:bodyPr wrap="square" lIns="0" tIns="0" rIns="0" bIns="0" rtlCol="0">
            <a:noAutofit/>
          </a:bodyPr>
          <a:lstStyle/>
          <a:p>
            <a:endParaRPr/>
          </a:p>
        </p:txBody>
      </p:sp>
      <p:sp>
        <p:nvSpPr>
          <p:cNvPr id="773" name="object 773"/>
          <p:cNvSpPr/>
          <p:nvPr/>
        </p:nvSpPr>
        <p:spPr>
          <a:xfrm>
            <a:off x="4533470" y="5808789"/>
            <a:ext cx="40614" cy="43781"/>
          </a:xfrm>
          <a:custGeom>
            <a:avLst/>
            <a:gdLst/>
            <a:ahLst/>
            <a:cxnLst/>
            <a:rect l="l" t="t" r="r" b="b"/>
            <a:pathLst>
              <a:path w="40614" h="43781">
                <a:moveTo>
                  <a:pt x="0" y="21714"/>
                </a:moveTo>
                <a:lnTo>
                  <a:pt x="4325" y="35450"/>
                </a:lnTo>
                <a:lnTo>
                  <a:pt x="15272" y="43144"/>
                </a:lnTo>
                <a:lnTo>
                  <a:pt x="20145" y="43781"/>
                </a:lnTo>
                <a:lnTo>
                  <a:pt x="32748" y="39094"/>
                </a:lnTo>
                <a:lnTo>
                  <a:pt x="39965" y="27247"/>
                </a:lnTo>
                <a:lnTo>
                  <a:pt x="40614" y="21714"/>
                </a:lnTo>
                <a:lnTo>
                  <a:pt x="36149" y="8245"/>
                </a:lnTo>
                <a:lnTo>
                  <a:pt x="25000" y="625"/>
                </a:lnTo>
                <a:lnTo>
                  <a:pt x="20145" y="0"/>
                </a:lnTo>
                <a:lnTo>
                  <a:pt x="7497" y="4800"/>
                </a:lnTo>
                <a:lnTo>
                  <a:pt x="523" y="16773"/>
                </a:lnTo>
                <a:lnTo>
                  <a:pt x="0" y="21714"/>
                </a:lnTo>
                <a:close/>
              </a:path>
            </a:pathLst>
          </a:custGeom>
          <a:solidFill>
            <a:srgbClr val="C0C0C0"/>
          </a:solidFill>
        </p:spPr>
        <p:txBody>
          <a:bodyPr wrap="square" lIns="0" tIns="0" rIns="0" bIns="0" rtlCol="0">
            <a:noAutofit/>
          </a:bodyPr>
          <a:lstStyle/>
          <a:p>
            <a:endParaRPr/>
          </a:p>
        </p:txBody>
      </p:sp>
      <p:sp>
        <p:nvSpPr>
          <p:cNvPr id="774" name="object 774"/>
          <p:cNvSpPr/>
          <p:nvPr/>
        </p:nvSpPr>
        <p:spPr>
          <a:xfrm>
            <a:off x="4531162" y="5808789"/>
            <a:ext cx="40610" cy="43781"/>
          </a:xfrm>
          <a:custGeom>
            <a:avLst/>
            <a:gdLst/>
            <a:ahLst/>
            <a:cxnLst/>
            <a:rect l="l" t="t" r="r" b="b"/>
            <a:pathLst>
              <a:path w="40610" h="43781">
                <a:moveTo>
                  <a:pt x="0" y="21714"/>
                </a:moveTo>
                <a:lnTo>
                  <a:pt x="4326" y="35453"/>
                </a:lnTo>
                <a:lnTo>
                  <a:pt x="15272" y="43146"/>
                </a:lnTo>
                <a:lnTo>
                  <a:pt x="20135" y="43781"/>
                </a:lnTo>
                <a:lnTo>
                  <a:pt x="32742" y="39095"/>
                </a:lnTo>
                <a:lnTo>
                  <a:pt x="39961" y="27251"/>
                </a:lnTo>
                <a:lnTo>
                  <a:pt x="40610" y="21714"/>
                </a:lnTo>
                <a:lnTo>
                  <a:pt x="36147" y="8246"/>
                </a:lnTo>
                <a:lnTo>
                  <a:pt x="24996" y="627"/>
                </a:lnTo>
                <a:lnTo>
                  <a:pt x="20135" y="0"/>
                </a:lnTo>
                <a:lnTo>
                  <a:pt x="7493" y="4802"/>
                </a:lnTo>
                <a:lnTo>
                  <a:pt x="522" y="16780"/>
                </a:lnTo>
                <a:lnTo>
                  <a:pt x="0" y="21714"/>
                </a:lnTo>
                <a:close/>
              </a:path>
            </a:pathLst>
          </a:custGeom>
          <a:solidFill>
            <a:srgbClr val="9F9F9F"/>
          </a:solidFill>
        </p:spPr>
        <p:txBody>
          <a:bodyPr wrap="square" lIns="0" tIns="0" rIns="0" bIns="0" rtlCol="0">
            <a:noAutofit/>
          </a:bodyPr>
          <a:lstStyle/>
          <a:p>
            <a:endParaRPr/>
          </a:p>
        </p:txBody>
      </p:sp>
      <p:sp>
        <p:nvSpPr>
          <p:cNvPr id="775" name="object 775"/>
          <p:cNvSpPr/>
          <p:nvPr/>
        </p:nvSpPr>
        <p:spPr>
          <a:xfrm>
            <a:off x="4253196" y="5600711"/>
            <a:ext cx="173971" cy="157632"/>
          </a:xfrm>
          <a:custGeom>
            <a:avLst/>
            <a:gdLst/>
            <a:ahLst/>
            <a:cxnLst/>
            <a:rect l="l" t="t" r="r" b="b"/>
            <a:pathLst>
              <a:path w="173971" h="157632">
                <a:moveTo>
                  <a:pt x="0" y="76010"/>
                </a:moveTo>
                <a:lnTo>
                  <a:pt x="173971" y="157632"/>
                </a:lnTo>
                <a:lnTo>
                  <a:pt x="173971" y="7362"/>
                </a:lnTo>
                <a:lnTo>
                  <a:pt x="133367" y="0"/>
                </a:lnTo>
                <a:lnTo>
                  <a:pt x="0" y="76010"/>
                </a:lnTo>
                <a:close/>
              </a:path>
            </a:pathLst>
          </a:custGeom>
          <a:solidFill>
            <a:srgbClr val="3E3E3E"/>
          </a:solidFill>
        </p:spPr>
        <p:txBody>
          <a:bodyPr wrap="square" lIns="0" tIns="0" rIns="0" bIns="0" rtlCol="0">
            <a:noAutofit/>
          </a:bodyPr>
          <a:lstStyle/>
          <a:p>
            <a:endParaRPr/>
          </a:p>
        </p:txBody>
      </p:sp>
      <p:sp>
        <p:nvSpPr>
          <p:cNvPr id="776" name="object 776"/>
          <p:cNvSpPr/>
          <p:nvPr/>
        </p:nvSpPr>
        <p:spPr>
          <a:xfrm>
            <a:off x="4322193" y="5497736"/>
            <a:ext cx="64371" cy="145717"/>
          </a:xfrm>
          <a:custGeom>
            <a:avLst/>
            <a:gdLst/>
            <a:ahLst/>
            <a:cxnLst/>
            <a:rect l="l" t="t" r="r" b="b"/>
            <a:pathLst>
              <a:path w="64371" h="145717">
                <a:moveTo>
                  <a:pt x="32677" y="0"/>
                </a:moveTo>
                <a:lnTo>
                  <a:pt x="0" y="136607"/>
                </a:lnTo>
                <a:lnTo>
                  <a:pt x="42585" y="145717"/>
                </a:lnTo>
                <a:lnTo>
                  <a:pt x="64371" y="20313"/>
                </a:lnTo>
                <a:lnTo>
                  <a:pt x="32677" y="0"/>
                </a:lnTo>
                <a:close/>
              </a:path>
            </a:pathLst>
          </a:custGeom>
          <a:solidFill>
            <a:srgbClr val="9F9F9F"/>
          </a:solidFill>
        </p:spPr>
        <p:txBody>
          <a:bodyPr wrap="square" lIns="0" tIns="0" rIns="0" bIns="0" rtlCol="0">
            <a:noAutofit/>
          </a:bodyPr>
          <a:lstStyle/>
          <a:p>
            <a:endParaRPr/>
          </a:p>
        </p:txBody>
      </p:sp>
      <p:sp>
        <p:nvSpPr>
          <p:cNvPr id="777" name="object 777"/>
          <p:cNvSpPr/>
          <p:nvPr/>
        </p:nvSpPr>
        <p:spPr>
          <a:xfrm>
            <a:off x="4364448" y="5507539"/>
            <a:ext cx="49521" cy="135914"/>
          </a:xfrm>
          <a:custGeom>
            <a:avLst/>
            <a:gdLst/>
            <a:ahLst/>
            <a:cxnLst/>
            <a:rect l="l" t="t" r="r" b="b"/>
            <a:pathLst>
              <a:path w="49521" h="135914">
                <a:moveTo>
                  <a:pt x="20795" y="10510"/>
                </a:moveTo>
                <a:lnTo>
                  <a:pt x="0" y="135914"/>
                </a:lnTo>
                <a:lnTo>
                  <a:pt x="30042" y="124003"/>
                </a:lnTo>
                <a:lnTo>
                  <a:pt x="49521" y="0"/>
                </a:lnTo>
                <a:lnTo>
                  <a:pt x="20795" y="10510"/>
                </a:lnTo>
                <a:close/>
              </a:path>
            </a:pathLst>
          </a:custGeom>
          <a:solidFill>
            <a:srgbClr val="808080"/>
          </a:solidFill>
        </p:spPr>
        <p:txBody>
          <a:bodyPr wrap="square" lIns="0" tIns="0" rIns="0" bIns="0" rtlCol="0">
            <a:noAutofit/>
          </a:bodyPr>
          <a:lstStyle/>
          <a:p>
            <a:endParaRPr/>
          </a:p>
        </p:txBody>
      </p:sp>
      <p:sp>
        <p:nvSpPr>
          <p:cNvPr id="778" name="object 778"/>
          <p:cNvSpPr/>
          <p:nvPr/>
        </p:nvSpPr>
        <p:spPr>
          <a:xfrm>
            <a:off x="4354869" y="5487573"/>
            <a:ext cx="59428" cy="30127"/>
          </a:xfrm>
          <a:custGeom>
            <a:avLst/>
            <a:gdLst/>
            <a:ahLst/>
            <a:cxnLst/>
            <a:rect l="l" t="t" r="r" b="b"/>
            <a:pathLst>
              <a:path w="59428" h="30127">
                <a:moveTo>
                  <a:pt x="0" y="10513"/>
                </a:moveTo>
                <a:lnTo>
                  <a:pt x="30373" y="30127"/>
                </a:lnTo>
                <a:lnTo>
                  <a:pt x="59428" y="19616"/>
                </a:lnTo>
                <a:lnTo>
                  <a:pt x="30042" y="0"/>
                </a:lnTo>
                <a:lnTo>
                  <a:pt x="0" y="10513"/>
                </a:lnTo>
                <a:close/>
              </a:path>
            </a:pathLst>
          </a:custGeom>
          <a:solidFill>
            <a:srgbClr val="C0C0C0"/>
          </a:solidFill>
        </p:spPr>
        <p:txBody>
          <a:bodyPr wrap="square" lIns="0" tIns="0" rIns="0" bIns="0" rtlCol="0">
            <a:noAutofit/>
          </a:bodyPr>
          <a:lstStyle/>
          <a:p>
            <a:endParaRPr/>
          </a:p>
        </p:txBody>
      </p:sp>
      <p:sp>
        <p:nvSpPr>
          <p:cNvPr id="779" name="object 779"/>
          <p:cNvSpPr/>
          <p:nvPr/>
        </p:nvSpPr>
        <p:spPr>
          <a:xfrm>
            <a:off x="4368405" y="5456405"/>
            <a:ext cx="8260" cy="31867"/>
          </a:xfrm>
          <a:custGeom>
            <a:avLst/>
            <a:gdLst/>
            <a:ahLst/>
            <a:cxnLst/>
            <a:rect l="l" t="t" r="r" b="b"/>
            <a:pathLst>
              <a:path w="8260" h="31867">
                <a:moveTo>
                  <a:pt x="7599" y="16805"/>
                </a:moveTo>
                <a:lnTo>
                  <a:pt x="5834" y="14704"/>
                </a:lnTo>
                <a:lnTo>
                  <a:pt x="4952" y="13654"/>
                </a:lnTo>
                <a:lnTo>
                  <a:pt x="2641" y="10153"/>
                </a:lnTo>
                <a:lnTo>
                  <a:pt x="1848" y="8052"/>
                </a:lnTo>
                <a:lnTo>
                  <a:pt x="660" y="4901"/>
                </a:lnTo>
                <a:lnTo>
                  <a:pt x="543" y="4031"/>
                </a:lnTo>
                <a:lnTo>
                  <a:pt x="0" y="0"/>
                </a:lnTo>
                <a:lnTo>
                  <a:pt x="1650" y="26265"/>
                </a:lnTo>
                <a:lnTo>
                  <a:pt x="3609" y="27925"/>
                </a:lnTo>
                <a:lnTo>
                  <a:pt x="4129" y="28366"/>
                </a:lnTo>
                <a:lnTo>
                  <a:pt x="4344" y="28548"/>
                </a:lnTo>
                <a:lnTo>
                  <a:pt x="8260" y="31867"/>
                </a:lnTo>
                <a:lnTo>
                  <a:pt x="7599" y="16805"/>
                </a:lnTo>
                <a:close/>
              </a:path>
            </a:pathLst>
          </a:custGeom>
          <a:solidFill>
            <a:srgbClr val="000000"/>
          </a:solidFill>
        </p:spPr>
        <p:txBody>
          <a:bodyPr wrap="square" lIns="0" tIns="0" rIns="0" bIns="0" rtlCol="0">
            <a:noAutofit/>
          </a:bodyPr>
          <a:lstStyle/>
          <a:p>
            <a:endParaRPr/>
          </a:p>
        </p:txBody>
      </p:sp>
      <p:sp>
        <p:nvSpPr>
          <p:cNvPr id="780" name="object 780"/>
          <p:cNvSpPr/>
          <p:nvPr/>
        </p:nvSpPr>
        <p:spPr>
          <a:xfrm>
            <a:off x="4352889" y="5428029"/>
            <a:ext cx="95084" cy="79861"/>
          </a:xfrm>
          <a:custGeom>
            <a:avLst/>
            <a:gdLst/>
            <a:ahLst/>
            <a:cxnLst/>
            <a:rect l="l" t="t" r="r" b="b"/>
            <a:pathLst>
              <a:path w="95084" h="79861">
                <a:moveTo>
                  <a:pt x="77253" y="79161"/>
                </a:moveTo>
                <a:lnTo>
                  <a:pt x="80558" y="78460"/>
                </a:lnTo>
                <a:lnTo>
                  <a:pt x="86167" y="76010"/>
                </a:lnTo>
                <a:lnTo>
                  <a:pt x="86870" y="75387"/>
                </a:lnTo>
                <a:lnTo>
                  <a:pt x="87750" y="74609"/>
                </a:lnTo>
                <a:lnTo>
                  <a:pt x="90125" y="72508"/>
                </a:lnTo>
                <a:lnTo>
                  <a:pt x="90787" y="71458"/>
                </a:lnTo>
                <a:lnTo>
                  <a:pt x="92772" y="68307"/>
                </a:lnTo>
                <a:lnTo>
                  <a:pt x="92953" y="68019"/>
                </a:lnTo>
                <a:lnTo>
                  <a:pt x="93433" y="67257"/>
                </a:lnTo>
                <a:lnTo>
                  <a:pt x="94754" y="61644"/>
                </a:lnTo>
                <a:lnTo>
                  <a:pt x="95017" y="55788"/>
                </a:lnTo>
                <a:lnTo>
                  <a:pt x="95084" y="54292"/>
                </a:lnTo>
                <a:lnTo>
                  <a:pt x="94109" y="49740"/>
                </a:lnTo>
                <a:lnTo>
                  <a:pt x="93634" y="47521"/>
                </a:lnTo>
                <a:lnTo>
                  <a:pt x="93433" y="46582"/>
                </a:lnTo>
                <a:lnTo>
                  <a:pt x="92866" y="45182"/>
                </a:lnTo>
                <a:lnTo>
                  <a:pt x="92582" y="44482"/>
                </a:lnTo>
                <a:lnTo>
                  <a:pt x="90455" y="39230"/>
                </a:lnTo>
                <a:lnTo>
                  <a:pt x="89969" y="38530"/>
                </a:lnTo>
                <a:lnTo>
                  <a:pt x="87052" y="34328"/>
                </a:lnTo>
                <a:lnTo>
                  <a:pt x="85837" y="32578"/>
                </a:lnTo>
                <a:lnTo>
                  <a:pt x="84738" y="31177"/>
                </a:lnTo>
                <a:lnTo>
                  <a:pt x="83914" y="30127"/>
                </a:lnTo>
                <a:lnTo>
                  <a:pt x="80888" y="26269"/>
                </a:lnTo>
                <a:lnTo>
                  <a:pt x="80534" y="25919"/>
                </a:lnTo>
                <a:lnTo>
                  <a:pt x="78058" y="23468"/>
                </a:lnTo>
                <a:lnTo>
                  <a:pt x="75936" y="21367"/>
                </a:lnTo>
                <a:lnTo>
                  <a:pt x="74030" y="19616"/>
                </a:lnTo>
                <a:lnTo>
                  <a:pt x="73267" y="18916"/>
                </a:lnTo>
                <a:lnTo>
                  <a:pt x="70980" y="16816"/>
                </a:lnTo>
                <a:lnTo>
                  <a:pt x="70678" y="16589"/>
                </a:lnTo>
                <a:lnTo>
                  <a:pt x="70512" y="16465"/>
                </a:lnTo>
                <a:lnTo>
                  <a:pt x="67706" y="14365"/>
                </a:lnTo>
                <a:lnTo>
                  <a:pt x="65368" y="12614"/>
                </a:lnTo>
                <a:lnTo>
                  <a:pt x="64859" y="12264"/>
                </a:lnTo>
                <a:lnTo>
                  <a:pt x="64351" y="11914"/>
                </a:lnTo>
                <a:lnTo>
                  <a:pt x="61808" y="10163"/>
                </a:lnTo>
                <a:lnTo>
                  <a:pt x="59759" y="8752"/>
                </a:lnTo>
                <a:lnTo>
                  <a:pt x="57116" y="7492"/>
                </a:lnTo>
                <a:lnTo>
                  <a:pt x="53152" y="5601"/>
                </a:lnTo>
                <a:lnTo>
                  <a:pt x="47213" y="3501"/>
                </a:lnTo>
                <a:lnTo>
                  <a:pt x="46627" y="3345"/>
                </a:lnTo>
                <a:lnTo>
                  <a:pt x="43253" y="2450"/>
                </a:lnTo>
                <a:lnTo>
                  <a:pt x="40614" y="1750"/>
                </a:lnTo>
                <a:lnTo>
                  <a:pt x="36868" y="1115"/>
                </a:lnTo>
                <a:lnTo>
                  <a:pt x="32353" y="350"/>
                </a:lnTo>
                <a:lnTo>
                  <a:pt x="28514" y="173"/>
                </a:lnTo>
                <a:lnTo>
                  <a:pt x="24763" y="0"/>
                </a:lnTo>
                <a:lnTo>
                  <a:pt x="22561" y="350"/>
                </a:lnTo>
                <a:lnTo>
                  <a:pt x="19427" y="848"/>
                </a:lnTo>
                <a:lnTo>
                  <a:pt x="18157" y="1050"/>
                </a:lnTo>
                <a:lnTo>
                  <a:pt x="16755" y="1400"/>
                </a:lnTo>
                <a:lnTo>
                  <a:pt x="15353" y="1750"/>
                </a:lnTo>
                <a:lnTo>
                  <a:pt x="12548" y="2450"/>
                </a:lnTo>
                <a:lnTo>
                  <a:pt x="10568" y="3501"/>
                </a:lnTo>
                <a:lnTo>
                  <a:pt x="8977" y="4345"/>
                </a:lnTo>
                <a:lnTo>
                  <a:pt x="6609" y="5601"/>
                </a:lnTo>
                <a:lnTo>
                  <a:pt x="2971" y="10163"/>
                </a:lnTo>
                <a:lnTo>
                  <a:pt x="2504" y="11436"/>
                </a:lnTo>
                <a:lnTo>
                  <a:pt x="2329" y="11914"/>
                </a:lnTo>
                <a:lnTo>
                  <a:pt x="2272" y="12068"/>
                </a:lnTo>
                <a:lnTo>
                  <a:pt x="1469" y="14259"/>
                </a:lnTo>
                <a:lnTo>
                  <a:pt x="660" y="16465"/>
                </a:lnTo>
                <a:lnTo>
                  <a:pt x="293" y="19967"/>
                </a:lnTo>
                <a:lnTo>
                  <a:pt x="121" y="21611"/>
                </a:lnTo>
                <a:lnTo>
                  <a:pt x="0" y="22767"/>
                </a:lnTo>
                <a:lnTo>
                  <a:pt x="1287" y="29945"/>
                </a:lnTo>
                <a:lnTo>
                  <a:pt x="1320" y="30127"/>
                </a:lnTo>
                <a:lnTo>
                  <a:pt x="2476" y="33278"/>
                </a:lnTo>
                <a:lnTo>
                  <a:pt x="3631" y="36429"/>
                </a:lnTo>
                <a:lnTo>
                  <a:pt x="4463" y="37823"/>
                </a:lnTo>
                <a:lnTo>
                  <a:pt x="5394" y="39385"/>
                </a:lnTo>
                <a:lnTo>
                  <a:pt x="6973" y="42031"/>
                </a:lnTo>
                <a:lnTo>
                  <a:pt x="7599" y="43081"/>
                </a:lnTo>
                <a:lnTo>
                  <a:pt x="9181" y="45182"/>
                </a:lnTo>
                <a:lnTo>
                  <a:pt x="11296" y="47990"/>
                </a:lnTo>
                <a:lnTo>
                  <a:pt x="11565" y="48347"/>
                </a:lnTo>
                <a:lnTo>
                  <a:pt x="12878" y="50090"/>
                </a:lnTo>
                <a:lnTo>
                  <a:pt x="17167" y="54642"/>
                </a:lnTo>
                <a:lnTo>
                  <a:pt x="15516" y="28376"/>
                </a:lnTo>
                <a:lnTo>
                  <a:pt x="15516" y="24868"/>
                </a:lnTo>
                <a:lnTo>
                  <a:pt x="15840" y="23268"/>
                </a:lnTo>
                <a:lnTo>
                  <a:pt x="15941" y="22767"/>
                </a:lnTo>
                <a:lnTo>
                  <a:pt x="16143" y="21767"/>
                </a:lnTo>
                <a:lnTo>
                  <a:pt x="16507" y="19967"/>
                </a:lnTo>
                <a:lnTo>
                  <a:pt x="18818" y="16465"/>
                </a:lnTo>
                <a:lnTo>
                  <a:pt x="20795" y="15070"/>
                </a:lnTo>
                <a:lnTo>
                  <a:pt x="22786" y="13664"/>
                </a:lnTo>
                <a:lnTo>
                  <a:pt x="26414" y="12264"/>
                </a:lnTo>
                <a:lnTo>
                  <a:pt x="31036" y="11914"/>
                </a:lnTo>
                <a:lnTo>
                  <a:pt x="36645" y="12264"/>
                </a:lnTo>
                <a:lnTo>
                  <a:pt x="37911" y="12614"/>
                </a:lnTo>
                <a:lnTo>
                  <a:pt x="44242" y="14365"/>
                </a:lnTo>
                <a:lnTo>
                  <a:pt x="47409" y="15805"/>
                </a:lnTo>
                <a:lnTo>
                  <a:pt x="48861" y="16465"/>
                </a:lnTo>
                <a:lnTo>
                  <a:pt x="54800" y="19616"/>
                </a:lnTo>
                <a:lnTo>
                  <a:pt x="59400" y="22438"/>
                </a:lnTo>
                <a:lnTo>
                  <a:pt x="61079" y="23468"/>
                </a:lnTo>
                <a:lnTo>
                  <a:pt x="64707" y="25919"/>
                </a:lnTo>
                <a:lnTo>
                  <a:pt x="65062" y="26269"/>
                </a:lnTo>
                <a:lnTo>
                  <a:pt x="66445" y="27632"/>
                </a:lnTo>
                <a:lnTo>
                  <a:pt x="69329" y="30477"/>
                </a:lnTo>
                <a:lnTo>
                  <a:pt x="72148" y="33768"/>
                </a:lnTo>
                <a:lnTo>
                  <a:pt x="72628" y="34328"/>
                </a:lnTo>
                <a:lnTo>
                  <a:pt x="73544" y="35621"/>
                </a:lnTo>
                <a:lnTo>
                  <a:pt x="75605" y="38530"/>
                </a:lnTo>
                <a:lnTo>
                  <a:pt x="77916" y="44482"/>
                </a:lnTo>
                <a:lnTo>
                  <a:pt x="78907" y="49740"/>
                </a:lnTo>
                <a:lnTo>
                  <a:pt x="78907" y="59193"/>
                </a:lnTo>
                <a:lnTo>
                  <a:pt x="75605" y="63395"/>
                </a:lnTo>
                <a:lnTo>
                  <a:pt x="73358" y="64987"/>
                </a:lnTo>
                <a:lnTo>
                  <a:pt x="71637" y="66206"/>
                </a:lnTo>
                <a:lnTo>
                  <a:pt x="67677" y="67257"/>
                </a:lnTo>
                <a:lnTo>
                  <a:pt x="66727" y="67509"/>
                </a:lnTo>
                <a:lnTo>
                  <a:pt x="65038" y="67957"/>
                </a:lnTo>
                <a:lnTo>
                  <a:pt x="63853" y="67728"/>
                </a:lnTo>
                <a:lnTo>
                  <a:pt x="61409" y="67257"/>
                </a:lnTo>
                <a:lnTo>
                  <a:pt x="58600" y="66731"/>
                </a:lnTo>
                <a:lnTo>
                  <a:pt x="55790" y="66206"/>
                </a:lnTo>
                <a:lnTo>
                  <a:pt x="50511" y="64445"/>
                </a:lnTo>
                <a:lnTo>
                  <a:pt x="45893" y="62345"/>
                </a:lnTo>
                <a:lnTo>
                  <a:pt x="43849" y="61022"/>
                </a:lnTo>
                <a:lnTo>
                  <a:pt x="39943" y="58493"/>
                </a:lnTo>
                <a:lnTo>
                  <a:pt x="36975" y="56743"/>
                </a:lnTo>
                <a:lnTo>
                  <a:pt x="33949" y="54409"/>
                </a:lnTo>
                <a:lnTo>
                  <a:pt x="33344" y="53942"/>
                </a:lnTo>
                <a:lnTo>
                  <a:pt x="29055" y="50791"/>
                </a:lnTo>
                <a:lnTo>
                  <a:pt x="28706" y="50494"/>
                </a:lnTo>
                <a:lnTo>
                  <a:pt x="25754" y="47990"/>
                </a:lnTo>
                <a:lnTo>
                  <a:pt x="23795" y="45905"/>
                </a:lnTo>
                <a:lnTo>
                  <a:pt x="23116" y="45182"/>
                </a:lnTo>
                <a:lnTo>
                  <a:pt x="23776" y="60244"/>
                </a:lnTo>
                <a:lnTo>
                  <a:pt x="25285" y="61444"/>
                </a:lnTo>
                <a:lnTo>
                  <a:pt x="26416" y="62345"/>
                </a:lnTo>
                <a:lnTo>
                  <a:pt x="29055" y="64445"/>
                </a:lnTo>
                <a:lnTo>
                  <a:pt x="31914" y="66206"/>
                </a:lnTo>
                <a:lnTo>
                  <a:pt x="32416" y="66515"/>
                </a:lnTo>
                <a:lnTo>
                  <a:pt x="35325" y="68307"/>
                </a:lnTo>
                <a:lnTo>
                  <a:pt x="40283" y="71458"/>
                </a:lnTo>
                <a:lnTo>
                  <a:pt x="46553" y="74609"/>
                </a:lnTo>
                <a:lnTo>
                  <a:pt x="53483" y="77060"/>
                </a:lnTo>
                <a:lnTo>
                  <a:pt x="59759" y="78810"/>
                </a:lnTo>
                <a:lnTo>
                  <a:pt x="62960" y="79235"/>
                </a:lnTo>
                <a:lnTo>
                  <a:pt x="67679" y="79861"/>
                </a:lnTo>
                <a:lnTo>
                  <a:pt x="73948" y="79861"/>
                </a:lnTo>
                <a:lnTo>
                  <a:pt x="77253" y="79161"/>
                </a:lnTo>
                <a:close/>
              </a:path>
            </a:pathLst>
          </a:custGeom>
          <a:solidFill>
            <a:srgbClr val="000000"/>
          </a:solidFill>
        </p:spPr>
        <p:txBody>
          <a:bodyPr wrap="square" lIns="0" tIns="0" rIns="0" bIns="0" rtlCol="0">
            <a:noAutofit/>
          </a:bodyPr>
          <a:lstStyle/>
          <a:p>
            <a:endParaRPr/>
          </a:p>
        </p:txBody>
      </p:sp>
      <p:sp>
        <p:nvSpPr>
          <p:cNvPr id="781" name="object 781"/>
          <p:cNvSpPr/>
          <p:nvPr/>
        </p:nvSpPr>
        <p:spPr>
          <a:xfrm>
            <a:off x="4352889" y="5428029"/>
            <a:ext cx="95084" cy="79861"/>
          </a:xfrm>
          <a:custGeom>
            <a:avLst/>
            <a:gdLst/>
            <a:ahLst/>
            <a:cxnLst/>
            <a:rect l="l" t="t" r="r" b="b"/>
            <a:pathLst>
              <a:path w="95084" h="79861">
                <a:moveTo>
                  <a:pt x="78907" y="49740"/>
                </a:moveTo>
                <a:lnTo>
                  <a:pt x="77916" y="44482"/>
                </a:lnTo>
                <a:lnTo>
                  <a:pt x="75605" y="38530"/>
                </a:lnTo>
                <a:lnTo>
                  <a:pt x="73544" y="35621"/>
                </a:lnTo>
                <a:lnTo>
                  <a:pt x="75605" y="38530"/>
                </a:lnTo>
                <a:lnTo>
                  <a:pt x="75877" y="39230"/>
                </a:lnTo>
                <a:lnTo>
                  <a:pt x="77916" y="44482"/>
                </a:lnTo>
                <a:lnTo>
                  <a:pt x="78312" y="46582"/>
                </a:lnTo>
                <a:lnTo>
                  <a:pt x="78907" y="49740"/>
                </a:lnTo>
                <a:lnTo>
                  <a:pt x="78907" y="54292"/>
                </a:lnTo>
                <a:lnTo>
                  <a:pt x="78907" y="54642"/>
                </a:lnTo>
              </a:path>
              <a:path w="95084" h="79861">
                <a:moveTo>
                  <a:pt x="78907" y="54642"/>
                </a:moveTo>
                <a:lnTo>
                  <a:pt x="78907" y="49740"/>
                </a:lnTo>
              </a:path>
              <a:path w="95084" h="79861">
                <a:moveTo>
                  <a:pt x="69329" y="30477"/>
                </a:moveTo>
                <a:lnTo>
                  <a:pt x="66445" y="27632"/>
                </a:lnTo>
                <a:lnTo>
                  <a:pt x="69329" y="30477"/>
                </a:lnTo>
                <a:lnTo>
                  <a:pt x="71128" y="32578"/>
                </a:lnTo>
                <a:lnTo>
                  <a:pt x="72148" y="33768"/>
                </a:lnTo>
                <a:lnTo>
                  <a:pt x="69329" y="30477"/>
                </a:lnTo>
              </a:path>
              <a:path w="95084" h="79861">
                <a:moveTo>
                  <a:pt x="54800" y="19616"/>
                </a:moveTo>
                <a:lnTo>
                  <a:pt x="48861" y="16465"/>
                </a:lnTo>
                <a:lnTo>
                  <a:pt x="47409" y="15805"/>
                </a:lnTo>
                <a:lnTo>
                  <a:pt x="48861" y="16465"/>
                </a:lnTo>
                <a:lnTo>
                  <a:pt x="49521" y="16816"/>
                </a:lnTo>
                <a:lnTo>
                  <a:pt x="54800" y="19616"/>
                </a:lnTo>
                <a:lnTo>
                  <a:pt x="57654" y="21367"/>
                </a:lnTo>
                <a:lnTo>
                  <a:pt x="59400" y="22438"/>
                </a:lnTo>
                <a:lnTo>
                  <a:pt x="54800" y="19616"/>
                </a:lnTo>
              </a:path>
              <a:path w="95084" h="79861">
                <a:moveTo>
                  <a:pt x="25814" y="7804"/>
                </a:moveTo>
                <a:lnTo>
                  <a:pt x="26414" y="12264"/>
                </a:lnTo>
                <a:lnTo>
                  <a:pt x="30517" y="11953"/>
                </a:lnTo>
              </a:path>
              <a:path w="95084" h="79861">
                <a:moveTo>
                  <a:pt x="24763" y="0"/>
                </a:moveTo>
                <a:lnTo>
                  <a:pt x="22561" y="350"/>
                </a:lnTo>
                <a:lnTo>
                  <a:pt x="19427" y="848"/>
                </a:lnTo>
                <a:lnTo>
                  <a:pt x="18157" y="1050"/>
                </a:lnTo>
              </a:path>
              <a:path w="95084" h="79861">
                <a:moveTo>
                  <a:pt x="25814" y="7804"/>
                </a:moveTo>
                <a:lnTo>
                  <a:pt x="24763" y="0"/>
                </a:lnTo>
              </a:path>
              <a:path w="95084" h="79861">
                <a:moveTo>
                  <a:pt x="65038" y="67957"/>
                </a:moveTo>
                <a:lnTo>
                  <a:pt x="63853" y="67728"/>
                </a:lnTo>
                <a:lnTo>
                  <a:pt x="61409" y="67257"/>
                </a:lnTo>
                <a:lnTo>
                  <a:pt x="58600" y="66731"/>
                </a:lnTo>
                <a:lnTo>
                  <a:pt x="55790" y="66206"/>
                </a:lnTo>
                <a:lnTo>
                  <a:pt x="50511" y="64445"/>
                </a:lnTo>
                <a:lnTo>
                  <a:pt x="45893" y="62345"/>
                </a:lnTo>
                <a:lnTo>
                  <a:pt x="43849" y="61022"/>
                </a:lnTo>
                <a:lnTo>
                  <a:pt x="39943" y="58493"/>
                </a:lnTo>
                <a:lnTo>
                  <a:pt x="36975" y="56743"/>
                </a:lnTo>
                <a:lnTo>
                  <a:pt x="33949" y="54409"/>
                </a:lnTo>
                <a:lnTo>
                  <a:pt x="33344" y="53942"/>
                </a:lnTo>
                <a:lnTo>
                  <a:pt x="29055" y="50791"/>
                </a:lnTo>
                <a:lnTo>
                  <a:pt x="28706" y="50494"/>
                </a:lnTo>
                <a:lnTo>
                  <a:pt x="25754" y="47990"/>
                </a:lnTo>
                <a:lnTo>
                  <a:pt x="23795" y="45905"/>
                </a:lnTo>
                <a:lnTo>
                  <a:pt x="23116" y="45182"/>
                </a:lnTo>
                <a:lnTo>
                  <a:pt x="21351" y="43081"/>
                </a:lnTo>
                <a:lnTo>
                  <a:pt x="20468" y="42031"/>
                </a:lnTo>
                <a:lnTo>
                  <a:pt x="18157" y="38530"/>
                </a:lnTo>
                <a:lnTo>
                  <a:pt x="17365" y="36429"/>
                </a:lnTo>
                <a:lnTo>
                  <a:pt x="16176" y="33278"/>
                </a:lnTo>
                <a:lnTo>
                  <a:pt x="16062" y="32428"/>
                </a:lnTo>
                <a:lnTo>
                  <a:pt x="15516" y="28376"/>
                </a:lnTo>
                <a:lnTo>
                  <a:pt x="15516" y="24868"/>
                </a:lnTo>
                <a:lnTo>
                  <a:pt x="15840" y="23268"/>
                </a:lnTo>
                <a:lnTo>
                  <a:pt x="15941" y="22767"/>
                </a:lnTo>
                <a:lnTo>
                  <a:pt x="16143" y="21767"/>
                </a:lnTo>
                <a:lnTo>
                  <a:pt x="16507" y="19967"/>
                </a:lnTo>
                <a:lnTo>
                  <a:pt x="18818" y="16465"/>
                </a:lnTo>
                <a:lnTo>
                  <a:pt x="20795" y="15070"/>
                </a:lnTo>
                <a:lnTo>
                  <a:pt x="22786" y="13664"/>
                </a:lnTo>
                <a:lnTo>
                  <a:pt x="26414" y="12264"/>
                </a:lnTo>
              </a:path>
              <a:path w="95084" h="79861">
                <a:moveTo>
                  <a:pt x="26414" y="12264"/>
                </a:moveTo>
                <a:lnTo>
                  <a:pt x="25814" y="7804"/>
                </a:lnTo>
              </a:path>
              <a:path w="95084" h="79861">
                <a:moveTo>
                  <a:pt x="78907" y="49740"/>
                </a:moveTo>
                <a:lnTo>
                  <a:pt x="78907" y="54292"/>
                </a:lnTo>
                <a:lnTo>
                  <a:pt x="78907" y="54642"/>
                </a:lnTo>
              </a:path>
              <a:path w="95084" h="79861">
                <a:moveTo>
                  <a:pt x="78907" y="54642"/>
                </a:moveTo>
                <a:lnTo>
                  <a:pt x="78907" y="59193"/>
                </a:lnTo>
                <a:lnTo>
                  <a:pt x="75605" y="63395"/>
                </a:lnTo>
                <a:lnTo>
                  <a:pt x="73358" y="64987"/>
                </a:lnTo>
                <a:lnTo>
                  <a:pt x="71637" y="66206"/>
                </a:lnTo>
                <a:lnTo>
                  <a:pt x="67677" y="67257"/>
                </a:lnTo>
                <a:lnTo>
                  <a:pt x="66727" y="67509"/>
                </a:lnTo>
                <a:lnTo>
                  <a:pt x="65038" y="67957"/>
                </a:lnTo>
              </a:path>
              <a:path w="95084" h="79861">
                <a:moveTo>
                  <a:pt x="77253" y="79161"/>
                </a:moveTo>
                <a:lnTo>
                  <a:pt x="80558" y="78460"/>
                </a:lnTo>
                <a:lnTo>
                  <a:pt x="86167" y="76010"/>
                </a:lnTo>
                <a:lnTo>
                  <a:pt x="86870" y="75387"/>
                </a:lnTo>
                <a:lnTo>
                  <a:pt x="87750" y="74609"/>
                </a:lnTo>
                <a:lnTo>
                  <a:pt x="90125" y="72508"/>
                </a:lnTo>
                <a:lnTo>
                  <a:pt x="90787" y="71458"/>
                </a:lnTo>
                <a:lnTo>
                  <a:pt x="92772" y="68307"/>
                </a:lnTo>
                <a:lnTo>
                  <a:pt x="92953" y="68019"/>
                </a:lnTo>
                <a:lnTo>
                  <a:pt x="93433" y="67257"/>
                </a:lnTo>
                <a:lnTo>
                  <a:pt x="94754" y="61644"/>
                </a:lnTo>
                <a:lnTo>
                  <a:pt x="95017" y="55788"/>
                </a:lnTo>
                <a:lnTo>
                  <a:pt x="95084" y="54292"/>
                </a:lnTo>
                <a:lnTo>
                  <a:pt x="94109" y="49740"/>
                </a:lnTo>
                <a:lnTo>
                  <a:pt x="93634" y="47521"/>
                </a:lnTo>
                <a:lnTo>
                  <a:pt x="93433" y="46582"/>
                </a:lnTo>
                <a:lnTo>
                  <a:pt x="92866" y="45182"/>
                </a:lnTo>
                <a:lnTo>
                  <a:pt x="92582" y="44482"/>
                </a:lnTo>
                <a:lnTo>
                  <a:pt x="90455" y="39230"/>
                </a:lnTo>
                <a:lnTo>
                  <a:pt x="89969" y="38530"/>
                </a:lnTo>
                <a:lnTo>
                  <a:pt x="87052" y="34328"/>
                </a:lnTo>
                <a:lnTo>
                  <a:pt x="85837" y="32578"/>
                </a:lnTo>
                <a:lnTo>
                  <a:pt x="84738" y="31177"/>
                </a:lnTo>
                <a:lnTo>
                  <a:pt x="83914" y="30127"/>
                </a:lnTo>
                <a:lnTo>
                  <a:pt x="80888" y="26269"/>
                </a:lnTo>
                <a:lnTo>
                  <a:pt x="80534" y="25919"/>
                </a:lnTo>
                <a:lnTo>
                  <a:pt x="78058" y="23468"/>
                </a:lnTo>
                <a:lnTo>
                  <a:pt x="75936" y="21367"/>
                </a:lnTo>
                <a:lnTo>
                  <a:pt x="74030" y="19616"/>
                </a:lnTo>
                <a:lnTo>
                  <a:pt x="73267" y="18916"/>
                </a:lnTo>
                <a:lnTo>
                  <a:pt x="70980" y="16816"/>
                </a:lnTo>
                <a:lnTo>
                  <a:pt x="70678" y="16589"/>
                </a:lnTo>
                <a:lnTo>
                  <a:pt x="70512" y="16465"/>
                </a:lnTo>
                <a:lnTo>
                  <a:pt x="67706" y="14365"/>
                </a:lnTo>
                <a:lnTo>
                  <a:pt x="65368" y="12614"/>
                </a:lnTo>
                <a:lnTo>
                  <a:pt x="64859" y="12264"/>
                </a:lnTo>
                <a:lnTo>
                  <a:pt x="64351" y="11914"/>
                </a:lnTo>
                <a:lnTo>
                  <a:pt x="61808" y="10163"/>
                </a:lnTo>
                <a:lnTo>
                  <a:pt x="59759" y="8752"/>
                </a:lnTo>
                <a:lnTo>
                  <a:pt x="57116" y="7492"/>
                </a:lnTo>
                <a:lnTo>
                  <a:pt x="53152" y="5601"/>
                </a:lnTo>
                <a:lnTo>
                  <a:pt x="47213" y="3501"/>
                </a:lnTo>
                <a:lnTo>
                  <a:pt x="46627" y="3345"/>
                </a:lnTo>
                <a:lnTo>
                  <a:pt x="43253" y="2450"/>
                </a:lnTo>
                <a:lnTo>
                  <a:pt x="40614" y="1750"/>
                </a:lnTo>
                <a:lnTo>
                  <a:pt x="36868" y="1115"/>
                </a:lnTo>
                <a:lnTo>
                  <a:pt x="32353" y="350"/>
                </a:lnTo>
                <a:lnTo>
                  <a:pt x="28514" y="173"/>
                </a:lnTo>
                <a:lnTo>
                  <a:pt x="24763" y="0"/>
                </a:lnTo>
              </a:path>
              <a:path w="95084" h="79861">
                <a:moveTo>
                  <a:pt x="24763" y="0"/>
                </a:moveTo>
                <a:lnTo>
                  <a:pt x="25814" y="7804"/>
                </a:lnTo>
              </a:path>
              <a:path w="95084" h="79861">
                <a:moveTo>
                  <a:pt x="18157" y="1050"/>
                </a:moveTo>
                <a:lnTo>
                  <a:pt x="16755" y="1400"/>
                </a:lnTo>
                <a:lnTo>
                  <a:pt x="15353" y="1750"/>
                </a:lnTo>
                <a:lnTo>
                  <a:pt x="12548" y="2450"/>
                </a:lnTo>
                <a:lnTo>
                  <a:pt x="10568" y="3501"/>
                </a:lnTo>
                <a:lnTo>
                  <a:pt x="8977" y="4345"/>
                </a:lnTo>
                <a:lnTo>
                  <a:pt x="6609" y="5601"/>
                </a:lnTo>
                <a:lnTo>
                  <a:pt x="2971" y="10163"/>
                </a:lnTo>
                <a:lnTo>
                  <a:pt x="2504" y="11436"/>
                </a:lnTo>
                <a:lnTo>
                  <a:pt x="2329" y="11914"/>
                </a:lnTo>
                <a:lnTo>
                  <a:pt x="2272" y="12068"/>
                </a:lnTo>
                <a:lnTo>
                  <a:pt x="1469" y="14259"/>
                </a:lnTo>
                <a:lnTo>
                  <a:pt x="660" y="16465"/>
                </a:lnTo>
                <a:lnTo>
                  <a:pt x="293" y="19967"/>
                </a:lnTo>
                <a:lnTo>
                  <a:pt x="121" y="21611"/>
                </a:lnTo>
                <a:lnTo>
                  <a:pt x="0" y="22767"/>
                </a:lnTo>
                <a:lnTo>
                  <a:pt x="1287" y="29945"/>
                </a:lnTo>
                <a:lnTo>
                  <a:pt x="1320" y="30127"/>
                </a:lnTo>
                <a:lnTo>
                  <a:pt x="2476" y="33278"/>
                </a:lnTo>
                <a:lnTo>
                  <a:pt x="3631" y="36429"/>
                </a:lnTo>
                <a:lnTo>
                  <a:pt x="4463" y="37823"/>
                </a:lnTo>
                <a:lnTo>
                  <a:pt x="5394" y="39385"/>
                </a:lnTo>
                <a:lnTo>
                  <a:pt x="6973" y="42031"/>
                </a:lnTo>
                <a:lnTo>
                  <a:pt x="7599" y="43081"/>
                </a:lnTo>
                <a:lnTo>
                  <a:pt x="9181" y="45182"/>
                </a:lnTo>
                <a:lnTo>
                  <a:pt x="11296" y="47990"/>
                </a:lnTo>
                <a:lnTo>
                  <a:pt x="11565" y="48347"/>
                </a:lnTo>
                <a:lnTo>
                  <a:pt x="12878" y="50090"/>
                </a:lnTo>
                <a:lnTo>
                  <a:pt x="17167" y="54642"/>
                </a:lnTo>
                <a:lnTo>
                  <a:pt x="19101" y="56282"/>
                </a:lnTo>
                <a:lnTo>
                  <a:pt x="19645" y="56743"/>
                </a:lnTo>
                <a:lnTo>
                  <a:pt x="19872" y="56935"/>
                </a:lnTo>
                <a:lnTo>
                  <a:pt x="23776" y="60244"/>
                </a:lnTo>
                <a:lnTo>
                  <a:pt x="25285" y="61444"/>
                </a:lnTo>
                <a:lnTo>
                  <a:pt x="26416" y="62345"/>
                </a:lnTo>
                <a:lnTo>
                  <a:pt x="29055" y="64445"/>
                </a:lnTo>
                <a:lnTo>
                  <a:pt x="31914" y="66206"/>
                </a:lnTo>
                <a:lnTo>
                  <a:pt x="32416" y="66515"/>
                </a:lnTo>
                <a:lnTo>
                  <a:pt x="35325" y="68307"/>
                </a:lnTo>
                <a:lnTo>
                  <a:pt x="40283" y="71458"/>
                </a:lnTo>
                <a:lnTo>
                  <a:pt x="46553" y="74609"/>
                </a:lnTo>
                <a:lnTo>
                  <a:pt x="53483" y="77060"/>
                </a:lnTo>
                <a:lnTo>
                  <a:pt x="59759" y="78810"/>
                </a:lnTo>
                <a:lnTo>
                  <a:pt x="62960" y="79235"/>
                </a:lnTo>
                <a:lnTo>
                  <a:pt x="67679" y="79861"/>
                </a:lnTo>
                <a:lnTo>
                  <a:pt x="73948" y="79861"/>
                </a:lnTo>
                <a:lnTo>
                  <a:pt x="77253" y="79161"/>
                </a:lnTo>
              </a:path>
            </a:pathLst>
          </a:custGeom>
          <a:ln w="5456">
            <a:solidFill>
              <a:srgbClr val="000000"/>
            </a:solidFill>
          </a:ln>
        </p:spPr>
        <p:txBody>
          <a:bodyPr wrap="square" lIns="0" tIns="0" rIns="0" bIns="0" rtlCol="0">
            <a:noAutofit/>
          </a:bodyPr>
          <a:lstStyle/>
          <a:p>
            <a:endParaRPr/>
          </a:p>
        </p:txBody>
      </p:sp>
      <p:sp>
        <p:nvSpPr>
          <p:cNvPr id="782" name="object 782"/>
          <p:cNvSpPr/>
          <p:nvPr/>
        </p:nvSpPr>
        <p:spPr>
          <a:xfrm>
            <a:off x="4368076" y="5439942"/>
            <a:ext cx="64381" cy="55692"/>
          </a:xfrm>
          <a:custGeom>
            <a:avLst/>
            <a:gdLst/>
            <a:ahLst/>
            <a:cxnLst/>
            <a:rect l="l" t="t" r="r" b="b"/>
            <a:pathLst>
              <a:path w="64381" h="55692">
                <a:moveTo>
                  <a:pt x="11888" y="350"/>
                </a:moveTo>
                <a:lnTo>
                  <a:pt x="16176" y="0"/>
                </a:lnTo>
                <a:lnTo>
                  <a:pt x="21789" y="350"/>
                </a:lnTo>
                <a:lnTo>
                  <a:pt x="26744" y="1400"/>
                </a:lnTo>
                <a:lnTo>
                  <a:pt x="31696" y="3501"/>
                </a:lnTo>
                <a:lnTo>
                  <a:pt x="35325" y="5251"/>
                </a:lnTo>
                <a:lnTo>
                  <a:pt x="39286" y="7352"/>
                </a:lnTo>
                <a:lnTo>
                  <a:pt x="42921" y="9453"/>
                </a:lnTo>
                <a:lnTo>
                  <a:pt x="47543" y="12604"/>
                </a:lnTo>
                <a:lnTo>
                  <a:pt x="51172" y="15405"/>
                </a:lnTo>
                <a:lnTo>
                  <a:pt x="54803" y="19263"/>
                </a:lnTo>
                <a:lnTo>
                  <a:pt x="57111" y="22064"/>
                </a:lnTo>
                <a:lnTo>
                  <a:pt x="60082" y="26615"/>
                </a:lnTo>
                <a:lnTo>
                  <a:pt x="62070" y="30116"/>
                </a:lnTo>
                <a:lnTo>
                  <a:pt x="63720" y="35375"/>
                </a:lnTo>
                <a:lnTo>
                  <a:pt x="64050" y="40277"/>
                </a:lnTo>
                <a:lnTo>
                  <a:pt x="64381" y="44828"/>
                </a:lnTo>
                <a:lnTo>
                  <a:pt x="62400" y="49380"/>
                </a:lnTo>
                <a:lnTo>
                  <a:pt x="58762" y="53231"/>
                </a:lnTo>
                <a:lnTo>
                  <a:pt x="54803" y="55342"/>
                </a:lnTo>
                <a:lnTo>
                  <a:pt x="50511" y="55692"/>
                </a:lnTo>
                <a:lnTo>
                  <a:pt x="44902" y="54992"/>
                </a:lnTo>
                <a:lnTo>
                  <a:pt x="40274" y="53942"/>
                </a:lnTo>
                <a:lnTo>
                  <a:pt x="35655" y="52531"/>
                </a:lnTo>
                <a:lnTo>
                  <a:pt x="31696" y="50780"/>
                </a:lnTo>
                <a:lnTo>
                  <a:pt x="27074" y="48329"/>
                </a:lnTo>
                <a:lnTo>
                  <a:pt x="23106" y="45879"/>
                </a:lnTo>
                <a:lnTo>
                  <a:pt x="19478" y="43428"/>
                </a:lnTo>
                <a:lnTo>
                  <a:pt x="15519" y="40627"/>
                </a:lnTo>
                <a:lnTo>
                  <a:pt x="11228" y="36776"/>
                </a:lnTo>
                <a:lnTo>
                  <a:pt x="7599" y="32917"/>
                </a:lnTo>
                <a:lnTo>
                  <a:pt x="4952" y="29066"/>
                </a:lnTo>
                <a:lnTo>
                  <a:pt x="1980" y="24515"/>
                </a:lnTo>
                <a:lnTo>
                  <a:pt x="660" y="20663"/>
                </a:lnTo>
                <a:lnTo>
                  <a:pt x="0" y="15405"/>
                </a:lnTo>
                <a:lnTo>
                  <a:pt x="330" y="11203"/>
                </a:lnTo>
                <a:lnTo>
                  <a:pt x="1980" y="7002"/>
                </a:lnTo>
                <a:lnTo>
                  <a:pt x="4621" y="3851"/>
                </a:lnTo>
                <a:lnTo>
                  <a:pt x="7599" y="1750"/>
                </a:lnTo>
                <a:lnTo>
                  <a:pt x="11888" y="350"/>
                </a:lnTo>
              </a:path>
            </a:pathLst>
          </a:custGeom>
          <a:ln w="2739">
            <a:solidFill>
              <a:srgbClr val="000000"/>
            </a:solidFill>
          </a:ln>
        </p:spPr>
        <p:txBody>
          <a:bodyPr wrap="square" lIns="0" tIns="0" rIns="0" bIns="0" rtlCol="0">
            <a:noAutofit/>
          </a:bodyPr>
          <a:lstStyle/>
          <a:p>
            <a:endParaRPr/>
          </a:p>
        </p:txBody>
      </p:sp>
      <p:sp>
        <p:nvSpPr>
          <p:cNvPr id="783" name="object 783"/>
          <p:cNvSpPr/>
          <p:nvPr/>
        </p:nvSpPr>
        <p:spPr>
          <a:xfrm>
            <a:off x="4370387" y="5453947"/>
            <a:ext cx="64047" cy="27322"/>
          </a:xfrm>
          <a:custGeom>
            <a:avLst/>
            <a:gdLst/>
            <a:ahLst/>
            <a:cxnLst/>
            <a:rect l="l" t="t" r="r" b="b"/>
            <a:pathLst>
              <a:path w="64047" h="27322">
                <a:moveTo>
                  <a:pt x="0" y="20313"/>
                </a:moveTo>
                <a:lnTo>
                  <a:pt x="3968" y="27322"/>
                </a:lnTo>
                <a:lnTo>
                  <a:pt x="64047" y="5258"/>
                </a:lnTo>
                <a:lnTo>
                  <a:pt x="56120" y="0"/>
                </a:lnTo>
                <a:lnTo>
                  <a:pt x="0" y="20313"/>
                </a:lnTo>
                <a:close/>
              </a:path>
            </a:pathLst>
          </a:custGeom>
          <a:solidFill>
            <a:srgbClr val="000000"/>
          </a:solidFill>
        </p:spPr>
        <p:txBody>
          <a:bodyPr wrap="square" lIns="0" tIns="0" rIns="0" bIns="0" rtlCol="0">
            <a:noAutofit/>
          </a:bodyPr>
          <a:lstStyle/>
          <a:p>
            <a:endParaRPr/>
          </a:p>
        </p:txBody>
      </p:sp>
      <p:sp>
        <p:nvSpPr>
          <p:cNvPr id="784" name="object 784"/>
          <p:cNvSpPr/>
          <p:nvPr/>
        </p:nvSpPr>
        <p:spPr>
          <a:xfrm>
            <a:off x="4451602" y="5499486"/>
            <a:ext cx="156487" cy="40630"/>
          </a:xfrm>
          <a:custGeom>
            <a:avLst/>
            <a:gdLst/>
            <a:ahLst/>
            <a:cxnLst/>
            <a:rect l="l" t="t" r="r" b="b"/>
            <a:pathLst>
              <a:path w="156487" h="40630">
                <a:moveTo>
                  <a:pt x="0" y="20313"/>
                </a:moveTo>
                <a:lnTo>
                  <a:pt x="149217" y="40630"/>
                </a:lnTo>
                <a:lnTo>
                  <a:pt x="156487" y="20313"/>
                </a:lnTo>
                <a:lnTo>
                  <a:pt x="15850" y="0"/>
                </a:lnTo>
                <a:lnTo>
                  <a:pt x="12218" y="3151"/>
                </a:lnTo>
                <a:lnTo>
                  <a:pt x="7589" y="9102"/>
                </a:lnTo>
                <a:lnTo>
                  <a:pt x="3301" y="14361"/>
                </a:lnTo>
                <a:lnTo>
                  <a:pt x="0" y="20313"/>
                </a:lnTo>
                <a:close/>
              </a:path>
            </a:pathLst>
          </a:custGeom>
          <a:solidFill>
            <a:srgbClr val="BEBE00"/>
          </a:solidFill>
        </p:spPr>
        <p:txBody>
          <a:bodyPr wrap="square" lIns="0" tIns="0" rIns="0" bIns="0" rtlCol="0">
            <a:noAutofit/>
          </a:bodyPr>
          <a:lstStyle/>
          <a:p>
            <a:endParaRPr/>
          </a:p>
        </p:txBody>
      </p:sp>
      <p:sp>
        <p:nvSpPr>
          <p:cNvPr id="785" name="object 785"/>
          <p:cNvSpPr/>
          <p:nvPr/>
        </p:nvSpPr>
        <p:spPr>
          <a:xfrm>
            <a:off x="4443015" y="5518049"/>
            <a:ext cx="188511" cy="127154"/>
          </a:xfrm>
          <a:custGeom>
            <a:avLst/>
            <a:gdLst/>
            <a:ahLst/>
            <a:cxnLst/>
            <a:rect l="l" t="t" r="r" b="b"/>
            <a:pathLst>
              <a:path w="188511" h="127154">
                <a:moveTo>
                  <a:pt x="188511" y="127154"/>
                </a:moveTo>
                <a:lnTo>
                  <a:pt x="187190" y="5601"/>
                </a:lnTo>
                <a:lnTo>
                  <a:pt x="153186" y="350"/>
                </a:lnTo>
                <a:lnTo>
                  <a:pt x="152195" y="6652"/>
                </a:lnTo>
                <a:lnTo>
                  <a:pt x="150544" y="10153"/>
                </a:lnTo>
                <a:lnTo>
                  <a:pt x="147907" y="13664"/>
                </a:lnTo>
                <a:lnTo>
                  <a:pt x="144605" y="16465"/>
                </a:lnTo>
                <a:lnTo>
                  <a:pt x="140967" y="17866"/>
                </a:lnTo>
                <a:lnTo>
                  <a:pt x="136018" y="18916"/>
                </a:lnTo>
                <a:lnTo>
                  <a:pt x="10237" y="0"/>
                </a:lnTo>
                <a:lnTo>
                  <a:pt x="6609" y="3151"/>
                </a:lnTo>
                <a:lnTo>
                  <a:pt x="3308" y="8052"/>
                </a:lnTo>
                <a:lnTo>
                  <a:pt x="1320" y="13664"/>
                </a:lnTo>
                <a:lnTo>
                  <a:pt x="0" y="18916"/>
                </a:lnTo>
                <a:lnTo>
                  <a:pt x="990" y="126454"/>
                </a:lnTo>
                <a:lnTo>
                  <a:pt x="188511" y="127154"/>
                </a:lnTo>
                <a:close/>
              </a:path>
            </a:pathLst>
          </a:custGeom>
          <a:solidFill>
            <a:srgbClr val="FFFF00"/>
          </a:solidFill>
        </p:spPr>
        <p:txBody>
          <a:bodyPr wrap="square" lIns="0" tIns="0" rIns="0" bIns="0" rtlCol="0">
            <a:noAutofit/>
          </a:bodyPr>
          <a:lstStyle/>
          <a:p>
            <a:endParaRPr/>
          </a:p>
        </p:txBody>
      </p:sp>
      <p:sp>
        <p:nvSpPr>
          <p:cNvPr id="786" name="object 786"/>
          <p:cNvSpPr/>
          <p:nvPr/>
        </p:nvSpPr>
        <p:spPr>
          <a:xfrm>
            <a:off x="4544369" y="5497036"/>
            <a:ext cx="75929" cy="41681"/>
          </a:xfrm>
          <a:custGeom>
            <a:avLst/>
            <a:gdLst/>
            <a:ahLst/>
            <a:cxnLst/>
            <a:rect l="l" t="t" r="r" b="b"/>
            <a:pathLst>
              <a:path w="75929" h="41681">
                <a:moveTo>
                  <a:pt x="0" y="37829"/>
                </a:moveTo>
                <a:lnTo>
                  <a:pt x="18818" y="41681"/>
                </a:lnTo>
                <a:lnTo>
                  <a:pt x="75929" y="3151"/>
                </a:lnTo>
                <a:lnTo>
                  <a:pt x="58431" y="0"/>
                </a:lnTo>
                <a:lnTo>
                  <a:pt x="0" y="37829"/>
                </a:lnTo>
                <a:close/>
              </a:path>
            </a:pathLst>
          </a:custGeom>
          <a:solidFill>
            <a:srgbClr val="BE7E1F"/>
          </a:solidFill>
        </p:spPr>
        <p:txBody>
          <a:bodyPr wrap="square" lIns="0" tIns="0" rIns="0" bIns="0" rtlCol="0">
            <a:noAutofit/>
          </a:bodyPr>
          <a:lstStyle/>
          <a:p>
            <a:endParaRPr/>
          </a:p>
        </p:txBody>
      </p:sp>
      <p:sp>
        <p:nvSpPr>
          <p:cNvPr id="787" name="object 787"/>
          <p:cNvSpPr/>
          <p:nvPr/>
        </p:nvSpPr>
        <p:spPr>
          <a:xfrm>
            <a:off x="4536448" y="5535215"/>
            <a:ext cx="30036" cy="28016"/>
          </a:xfrm>
          <a:custGeom>
            <a:avLst/>
            <a:gdLst/>
            <a:ahLst/>
            <a:cxnLst/>
            <a:rect l="l" t="t" r="r" b="b"/>
            <a:pathLst>
              <a:path w="30036" h="28016">
                <a:moveTo>
                  <a:pt x="7920" y="0"/>
                </a:moveTo>
                <a:lnTo>
                  <a:pt x="0" y="23114"/>
                </a:lnTo>
                <a:lnTo>
                  <a:pt x="30036" y="28016"/>
                </a:lnTo>
                <a:lnTo>
                  <a:pt x="29376" y="4201"/>
                </a:lnTo>
                <a:lnTo>
                  <a:pt x="7920" y="0"/>
                </a:lnTo>
                <a:close/>
              </a:path>
            </a:pathLst>
          </a:custGeom>
          <a:solidFill>
            <a:srgbClr val="5F3E1F"/>
          </a:solidFill>
        </p:spPr>
        <p:txBody>
          <a:bodyPr wrap="square" lIns="0" tIns="0" rIns="0" bIns="0" rtlCol="0">
            <a:noAutofit/>
          </a:bodyPr>
          <a:lstStyle/>
          <a:p>
            <a:endParaRPr/>
          </a:p>
        </p:txBody>
      </p:sp>
      <p:sp>
        <p:nvSpPr>
          <p:cNvPr id="788" name="object 788"/>
          <p:cNvSpPr/>
          <p:nvPr/>
        </p:nvSpPr>
        <p:spPr>
          <a:xfrm>
            <a:off x="4418258" y="5541517"/>
            <a:ext cx="156157" cy="40630"/>
          </a:xfrm>
          <a:custGeom>
            <a:avLst/>
            <a:gdLst/>
            <a:ahLst/>
            <a:cxnLst/>
            <a:rect l="l" t="t" r="r" b="b"/>
            <a:pathLst>
              <a:path w="156157" h="40630">
                <a:moveTo>
                  <a:pt x="0" y="20313"/>
                </a:moveTo>
                <a:lnTo>
                  <a:pt x="148887" y="40630"/>
                </a:lnTo>
                <a:lnTo>
                  <a:pt x="156157" y="20313"/>
                </a:lnTo>
                <a:lnTo>
                  <a:pt x="15850" y="0"/>
                </a:lnTo>
                <a:lnTo>
                  <a:pt x="12218" y="3151"/>
                </a:lnTo>
                <a:lnTo>
                  <a:pt x="7589" y="9109"/>
                </a:lnTo>
                <a:lnTo>
                  <a:pt x="3301" y="14361"/>
                </a:lnTo>
                <a:lnTo>
                  <a:pt x="0" y="20313"/>
                </a:lnTo>
                <a:close/>
              </a:path>
            </a:pathLst>
          </a:custGeom>
          <a:solidFill>
            <a:srgbClr val="BEBE00"/>
          </a:solidFill>
        </p:spPr>
        <p:txBody>
          <a:bodyPr wrap="square" lIns="0" tIns="0" rIns="0" bIns="0" rtlCol="0">
            <a:noAutofit/>
          </a:bodyPr>
          <a:lstStyle/>
          <a:p>
            <a:endParaRPr/>
          </a:p>
        </p:txBody>
      </p:sp>
      <p:sp>
        <p:nvSpPr>
          <p:cNvPr id="789" name="object 789"/>
          <p:cNvSpPr/>
          <p:nvPr/>
        </p:nvSpPr>
        <p:spPr>
          <a:xfrm>
            <a:off x="4562526" y="5486172"/>
            <a:ext cx="175632" cy="367099"/>
          </a:xfrm>
          <a:custGeom>
            <a:avLst/>
            <a:gdLst/>
            <a:ahLst/>
            <a:cxnLst/>
            <a:rect l="l" t="t" r="r" b="b"/>
            <a:pathLst>
              <a:path w="175632" h="367099">
                <a:moveTo>
                  <a:pt x="0" y="52545"/>
                </a:moveTo>
                <a:lnTo>
                  <a:pt x="104651" y="367099"/>
                </a:lnTo>
                <a:lnTo>
                  <a:pt x="175302" y="307901"/>
                </a:lnTo>
                <a:lnTo>
                  <a:pt x="175632" y="33978"/>
                </a:lnTo>
                <a:lnTo>
                  <a:pt x="172331" y="24168"/>
                </a:lnTo>
                <a:lnTo>
                  <a:pt x="158795" y="16465"/>
                </a:lnTo>
                <a:lnTo>
                  <a:pt x="78907" y="0"/>
                </a:lnTo>
                <a:lnTo>
                  <a:pt x="0" y="52545"/>
                </a:lnTo>
                <a:close/>
              </a:path>
            </a:pathLst>
          </a:custGeom>
          <a:solidFill>
            <a:srgbClr val="BEBE00"/>
          </a:solidFill>
        </p:spPr>
        <p:txBody>
          <a:bodyPr wrap="square" lIns="0" tIns="0" rIns="0" bIns="0" rtlCol="0">
            <a:noAutofit/>
          </a:bodyPr>
          <a:lstStyle/>
          <a:p>
            <a:endParaRPr/>
          </a:p>
        </p:txBody>
      </p:sp>
      <p:sp>
        <p:nvSpPr>
          <p:cNvPr id="790" name="object 790"/>
          <p:cNvSpPr/>
          <p:nvPr/>
        </p:nvSpPr>
        <p:spPr>
          <a:xfrm>
            <a:off x="4272341" y="5562181"/>
            <a:ext cx="75269" cy="114540"/>
          </a:xfrm>
          <a:custGeom>
            <a:avLst/>
            <a:gdLst/>
            <a:ahLst/>
            <a:cxnLst/>
            <a:rect l="l" t="t" r="r" b="b"/>
            <a:pathLst>
              <a:path w="75269" h="114540">
                <a:moveTo>
                  <a:pt x="0" y="26276"/>
                </a:moveTo>
                <a:lnTo>
                  <a:pt x="4948" y="114540"/>
                </a:lnTo>
                <a:lnTo>
                  <a:pt x="75269" y="87574"/>
                </a:lnTo>
                <a:lnTo>
                  <a:pt x="67679" y="0"/>
                </a:lnTo>
                <a:lnTo>
                  <a:pt x="0" y="26276"/>
                </a:lnTo>
                <a:close/>
              </a:path>
            </a:pathLst>
          </a:custGeom>
          <a:solidFill>
            <a:srgbClr val="808000"/>
          </a:solidFill>
        </p:spPr>
        <p:txBody>
          <a:bodyPr wrap="square" lIns="0" tIns="0" rIns="0" bIns="0" rtlCol="0">
            <a:noAutofit/>
          </a:bodyPr>
          <a:lstStyle/>
          <a:p>
            <a:endParaRPr/>
          </a:p>
        </p:txBody>
      </p:sp>
      <p:sp>
        <p:nvSpPr>
          <p:cNvPr id="791" name="object 791"/>
          <p:cNvSpPr/>
          <p:nvPr/>
        </p:nvSpPr>
        <p:spPr>
          <a:xfrm>
            <a:off x="4236359" y="5538717"/>
            <a:ext cx="435111" cy="335217"/>
          </a:xfrm>
          <a:custGeom>
            <a:avLst/>
            <a:gdLst/>
            <a:ahLst/>
            <a:cxnLst/>
            <a:rect l="l" t="t" r="r" b="b"/>
            <a:pathLst>
              <a:path w="435111" h="335217">
                <a:moveTo>
                  <a:pt x="25744" y="173384"/>
                </a:moveTo>
                <a:lnTo>
                  <a:pt x="31023" y="175484"/>
                </a:lnTo>
                <a:lnTo>
                  <a:pt x="36972" y="178996"/>
                </a:lnTo>
                <a:lnTo>
                  <a:pt x="43572" y="184248"/>
                </a:lnTo>
                <a:lnTo>
                  <a:pt x="49511" y="190900"/>
                </a:lnTo>
                <a:lnTo>
                  <a:pt x="53479" y="196512"/>
                </a:lnTo>
                <a:lnTo>
                  <a:pt x="57111" y="203865"/>
                </a:lnTo>
                <a:lnTo>
                  <a:pt x="59419" y="210167"/>
                </a:lnTo>
                <a:lnTo>
                  <a:pt x="61069" y="217876"/>
                </a:lnTo>
                <a:lnTo>
                  <a:pt x="62060" y="229430"/>
                </a:lnTo>
                <a:lnTo>
                  <a:pt x="357200" y="285476"/>
                </a:lnTo>
                <a:lnTo>
                  <a:pt x="395827" y="334517"/>
                </a:lnTo>
                <a:lnTo>
                  <a:pt x="403084" y="335217"/>
                </a:lnTo>
                <a:lnTo>
                  <a:pt x="434781" y="315954"/>
                </a:lnTo>
                <a:lnTo>
                  <a:pt x="435111" y="42381"/>
                </a:lnTo>
                <a:lnTo>
                  <a:pt x="434120" y="36779"/>
                </a:lnTo>
                <a:lnTo>
                  <a:pt x="423559" y="26965"/>
                </a:lnTo>
                <a:lnTo>
                  <a:pt x="411674" y="22764"/>
                </a:lnTo>
                <a:lnTo>
                  <a:pt x="326167" y="0"/>
                </a:lnTo>
                <a:lnTo>
                  <a:pt x="326827" y="6652"/>
                </a:lnTo>
                <a:lnTo>
                  <a:pt x="327157" y="13661"/>
                </a:lnTo>
                <a:lnTo>
                  <a:pt x="326497" y="21714"/>
                </a:lnTo>
                <a:lnTo>
                  <a:pt x="325837" y="28016"/>
                </a:lnTo>
                <a:lnTo>
                  <a:pt x="321548" y="35029"/>
                </a:lnTo>
                <a:lnTo>
                  <a:pt x="314279" y="39230"/>
                </a:lnTo>
                <a:lnTo>
                  <a:pt x="309330" y="40280"/>
                </a:lnTo>
                <a:lnTo>
                  <a:pt x="183219" y="21364"/>
                </a:lnTo>
                <a:lnTo>
                  <a:pt x="179590" y="24515"/>
                </a:lnTo>
                <a:lnTo>
                  <a:pt x="175959" y="29427"/>
                </a:lnTo>
                <a:lnTo>
                  <a:pt x="173971" y="35029"/>
                </a:lnTo>
                <a:lnTo>
                  <a:pt x="172651" y="40280"/>
                </a:lnTo>
                <a:lnTo>
                  <a:pt x="171660" y="47990"/>
                </a:lnTo>
                <a:lnTo>
                  <a:pt x="171660" y="161480"/>
                </a:lnTo>
                <a:lnTo>
                  <a:pt x="41921" y="137654"/>
                </a:lnTo>
                <a:lnTo>
                  <a:pt x="35982" y="49740"/>
                </a:lnTo>
                <a:lnTo>
                  <a:pt x="0" y="170233"/>
                </a:lnTo>
                <a:lnTo>
                  <a:pt x="6269" y="170583"/>
                </a:lnTo>
                <a:lnTo>
                  <a:pt x="12538" y="170583"/>
                </a:lnTo>
                <a:lnTo>
                  <a:pt x="19805" y="171633"/>
                </a:lnTo>
                <a:lnTo>
                  <a:pt x="25744" y="173384"/>
                </a:lnTo>
                <a:close/>
              </a:path>
            </a:pathLst>
          </a:custGeom>
          <a:solidFill>
            <a:srgbClr val="FFFF00"/>
          </a:solidFill>
        </p:spPr>
        <p:txBody>
          <a:bodyPr wrap="square" lIns="0" tIns="0" rIns="0" bIns="0" rtlCol="0">
            <a:noAutofit/>
          </a:bodyPr>
          <a:lstStyle/>
          <a:p>
            <a:endParaRPr/>
          </a:p>
        </p:txBody>
      </p:sp>
      <p:sp>
        <p:nvSpPr>
          <p:cNvPr id="792" name="object 792"/>
          <p:cNvSpPr/>
          <p:nvPr/>
        </p:nvSpPr>
        <p:spPr>
          <a:xfrm>
            <a:off x="4610066" y="5458506"/>
            <a:ext cx="183222" cy="163923"/>
          </a:xfrm>
          <a:custGeom>
            <a:avLst/>
            <a:gdLst/>
            <a:ahLst/>
            <a:cxnLst/>
            <a:rect l="l" t="t" r="r" b="b"/>
            <a:pathLst>
              <a:path w="183222" h="163923">
                <a:moveTo>
                  <a:pt x="122147" y="54642"/>
                </a:moveTo>
                <a:lnTo>
                  <a:pt x="61073" y="109283"/>
                </a:lnTo>
              </a:path>
              <a:path w="183222" h="163923">
                <a:moveTo>
                  <a:pt x="61073" y="109284"/>
                </a:moveTo>
                <a:lnTo>
                  <a:pt x="122147" y="54642"/>
                </a:lnTo>
              </a:path>
            </a:pathLst>
          </a:custGeom>
          <a:ln w="2728">
            <a:solidFill>
              <a:srgbClr val="808000"/>
            </a:solidFill>
          </a:ln>
        </p:spPr>
        <p:txBody>
          <a:bodyPr wrap="square" lIns="0" tIns="0" rIns="0" bIns="0" rtlCol="0">
            <a:noAutofit/>
          </a:bodyPr>
          <a:lstStyle/>
          <a:p>
            <a:endParaRPr/>
          </a:p>
        </p:txBody>
      </p:sp>
      <p:sp>
        <p:nvSpPr>
          <p:cNvPr id="793" name="object 793"/>
          <p:cNvSpPr/>
          <p:nvPr/>
        </p:nvSpPr>
        <p:spPr>
          <a:xfrm>
            <a:off x="4630536" y="5548870"/>
            <a:ext cx="148557" cy="134514"/>
          </a:xfrm>
          <a:custGeom>
            <a:avLst/>
            <a:gdLst/>
            <a:ahLst/>
            <a:cxnLst/>
            <a:rect l="l" t="t" r="r" b="b"/>
            <a:pathLst>
              <a:path w="148557" h="134514">
                <a:moveTo>
                  <a:pt x="99033" y="44842"/>
                </a:moveTo>
                <a:lnTo>
                  <a:pt x="49521" y="89674"/>
                </a:lnTo>
              </a:path>
              <a:path w="148557" h="134514">
                <a:moveTo>
                  <a:pt x="49521" y="89675"/>
                </a:moveTo>
                <a:lnTo>
                  <a:pt x="99033" y="44842"/>
                </a:lnTo>
              </a:path>
            </a:pathLst>
          </a:custGeom>
          <a:ln w="2728">
            <a:solidFill>
              <a:srgbClr val="808000"/>
            </a:solidFill>
          </a:ln>
        </p:spPr>
        <p:txBody>
          <a:bodyPr wrap="square" lIns="0" tIns="0" rIns="0" bIns="0" rtlCol="0">
            <a:noAutofit/>
          </a:bodyPr>
          <a:lstStyle/>
          <a:p>
            <a:endParaRPr/>
          </a:p>
        </p:txBody>
      </p:sp>
      <p:sp>
        <p:nvSpPr>
          <p:cNvPr id="794" name="object 794"/>
          <p:cNvSpPr/>
          <p:nvPr/>
        </p:nvSpPr>
        <p:spPr>
          <a:xfrm>
            <a:off x="4630536" y="5562182"/>
            <a:ext cx="148557" cy="134507"/>
          </a:xfrm>
          <a:custGeom>
            <a:avLst/>
            <a:gdLst/>
            <a:ahLst/>
            <a:cxnLst/>
            <a:rect l="l" t="t" r="r" b="b"/>
            <a:pathLst>
              <a:path w="148557" h="134507">
                <a:moveTo>
                  <a:pt x="99030" y="44842"/>
                </a:moveTo>
                <a:lnTo>
                  <a:pt x="49521" y="89669"/>
                </a:lnTo>
              </a:path>
              <a:path w="148557" h="134507">
                <a:moveTo>
                  <a:pt x="49521" y="89670"/>
                </a:moveTo>
                <a:lnTo>
                  <a:pt x="99031" y="44842"/>
                </a:lnTo>
              </a:path>
            </a:pathLst>
          </a:custGeom>
          <a:ln w="2728">
            <a:solidFill>
              <a:srgbClr val="808000"/>
            </a:solidFill>
          </a:ln>
        </p:spPr>
        <p:txBody>
          <a:bodyPr wrap="square" lIns="0" tIns="0" rIns="0" bIns="0" rtlCol="0">
            <a:noAutofit/>
          </a:bodyPr>
          <a:lstStyle/>
          <a:p>
            <a:endParaRPr/>
          </a:p>
        </p:txBody>
      </p:sp>
      <p:sp>
        <p:nvSpPr>
          <p:cNvPr id="795" name="object 795"/>
          <p:cNvSpPr/>
          <p:nvPr/>
        </p:nvSpPr>
        <p:spPr>
          <a:xfrm>
            <a:off x="4630536" y="5574797"/>
            <a:ext cx="148557" cy="134503"/>
          </a:xfrm>
          <a:custGeom>
            <a:avLst/>
            <a:gdLst/>
            <a:ahLst/>
            <a:cxnLst/>
            <a:rect l="l" t="t" r="r" b="b"/>
            <a:pathLst>
              <a:path w="148557" h="134503">
                <a:moveTo>
                  <a:pt x="99040" y="44832"/>
                </a:moveTo>
                <a:lnTo>
                  <a:pt x="49521" y="89667"/>
                </a:lnTo>
              </a:path>
              <a:path w="148557" h="134503">
                <a:moveTo>
                  <a:pt x="49521" y="89668"/>
                </a:moveTo>
                <a:lnTo>
                  <a:pt x="99041" y="44832"/>
                </a:lnTo>
              </a:path>
            </a:pathLst>
          </a:custGeom>
          <a:ln w="2728">
            <a:solidFill>
              <a:srgbClr val="808000"/>
            </a:solidFill>
          </a:ln>
        </p:spPr>
        <p:txBody>
          <a:bodyPr wrap="square" lIns="0" tIns="0" rIns="0" bIns="0" rtlCol="0">
            <a:noAutofit/>
          </a:bodyPr>
          <a:lstStyle/>
          <a:p>
            <a:endParaRPr/>
          </a:p>
        </p:txBody>
      </p:sp>
      <p:sp>
        <p:nvSpPr>
          <p:cNvPr id="796" name="object 796"/>
          <p:cNvSpPr/>
          <p:nvPr/>
        </p:nvSpPr>
        <p:spPr>
          <a:xfrm>
            <a:off x="4630536" y="5587408"/>
            <a:ext cx="148557" cy="134507"/>
          </a:xfrm>
          <a:custGeom>
            <a:avLst/>
            <a:gdLst/>
            <a:ahLst/>
            <a:cxnLst/>
            <a:rect l="l" t="t" r="r" b="b"/>
            <a:pathLst>
              <a:path w="148557" h="134507">
                <a:moveTo>
                  <a:pt x="99038" y="44835"/>
                </a:moveTo>
                <a:lnTo>
                  <a:pt x="49521" y="89669"/>
                </a:lnTo>
              </a:path>
              <a:path w="148557" h="134507">
                <a:moveTo>
                  <a:pt x="49521" y="89670"/>
                </a:moveTo>
                <a:lnTo>
                  <a:pt x="99038" y="44835"/>
                </a:lnTo>
              </a:path>
            </a:pathLst>
          </a:custGeom>
          <a:ln w="2728">
            <a:solidFill>
              <a:srgbClr val="808000"/>
            </a:solidFill>
          </a:ln>
        </p:spPr>
        <p:txBody>
          <a:bodyPr wrap="square" lIns="0" tIns="0" rIns="0" bIns="0" rtlCol="0">
            <a:noAutofit/>
          </a:bodyPr>
          <a:lstStyle/>
          <a:p>
            <a:endParaRPr/>
          </a:p>
        </p:txBody>
      </p:sp>
      <p:sp>
        <p:nvSpPr>
          <p:cNvPr id="797" name="object 797"/>
          <p:cNvSpPr/>
          <p:nvPr/>
        </p:nvSpPr>
        <p:spPr>
          <a:xfrm>
            <a:off x="4630536" y="5599312"/>
            <a:ext cx="148557" cy="134507"/>
          </a:xfrm>
          <a:custGeom>
            <a:avLst/>
            <a:gdLst/>
            <a:ahLst/>
            <a:cxnLst/>
            <a:rect l="l" t="t" r="r" b="b"/>
            <a:pathLst>
              <a:path w="148557" h="134507">
                <a:moveTo>
                  <a:pt x="99030" y="44842"/>
                </a:moveTo>
                <a:lnTo>
                  <a:pt x="49521" y="89669"/>
                </a:lnTo>
              </a:path>
              <a:path w="148557" h="134507">
                <a:moveTo>
                  <a:pt x="49521" y="89670"/>
                </a:moveTo>
                <a:lnTo>
                  <a:pt x="99031" y="44842"/>
                </a:lnTo>
              </a:path>
            </a:pathLst>
          </a:custGeom>
          <a:ln w="2728">
            <a:solidFill>
              <a:srgbClr val="808000"/>
            </a:solidFill>
          </a:ln>
        </p:spPr>
        <p:txBody>
          <a:bodyPr wrap="square" lIns="0" tIns="0" rIns="0" bIns="0" rtlCol="0">
            <a:noAutofit/>
          </a:bodyPr>
          <a:lstStyle/>
          <a:p>
            <a:endParaRPr/>
          </a:p>
        </p:txBody>
      </p:sp>
      <p:sp>
        <p:nvSpPr>
          <p:cNvPr id="798" name="object 798"/>
          <p:cNvSpPr/>
          <p:nvPr/>
        </p:nvSpPr>
        <p:spPr>
          <a:xfrm>
            <a:off x="4552295" y="5708249"/>
            <a:ext cx="190812" cy="81272"/>
          </a:xfrm>
          <a:custGeom>
            <a:avLst/>
            <a:gdLst/>
            <a:ahLst/>
            <a:cxnLst/>
            <a:rect l="l" t="t" r="r" b="b"/>
            <a:pathLst>
              <a:path w="190812" h="81272">
                <a:moveTo>
                  <a:pt x="119504" y="62705"/>
                </a:moveTo>
                <a:lnTo>
                  <a:pt x="0" y="41334"/>
                </a:lnTo>
                <a:lnTo>
                  <a:pt x="9900" y="61648"/>
                </a:lnTo>
                <a:lnTo>
                  <a:pt x="119504" y="81272"/>
                </a:lnTo>
                <a:lnTo>
                  <a:pt x="190812" y="17166"/>
                </a:lnTo>
                <a:lnTo>
                  <a:pt x="190812" y="0"/>
                </a:lnTo>
                <a:lnTo>
                  <a:pt x="119504" y="62705"/>
                </a:lnTo>
                <a:close/>
              </a:path>
            </a:pathLst>
          </a:custGeom>
          <a:solidFill>
            <a:srgbClr val="808080"/>
          </a:solidFill>
        </p:spPr>
        <p:txBody>
          <a:bodyPr wrap="square" lIns="0" tIns="0" rIns="0" bIns="0" rtlCol="0">
            <a:noAutofit/>
          </a:bodyPr>
          <a:lstStyle/>
          <a:p>
            <a:endParaRPr/>
          </a:p>
        </p:txBody>
      </p:sp>
      <p:sp>
        <p:nvSpPr>
          <p:cNvPr id="799" name="object 799"/>
          <p:cNvSpPr/>
          <p:nvPr/>
        </p:nvSpPr>
        <p:spPr>
          <a:xfrm>
            <a:off x="4552295" y="5695289"/>
            <a:ext cx="190812" cy="76367"/>
          </a:xfrm>
          <a:custGeom>
            <a:avLst/>
            <a:gdLst/>
            <a:ahLst/>
            <a:cxnLst/>
            <a:rect l="l" t="t" r="r" b="b"/>
            <a:pathLst>
              <a:path w="190812" h="76367">
                <a:moveTo>
                  <a:pt x="119835" y="76367"/>
                </a:moveTo>
                <a:lnTo>
                  <a:pt x="190812" y="14711"/>
                </a:lnTo>
                <a:lnTo>
                  <a:pt x="190812" y="0"/>
                </a:lnTo>
                <a:lnTo>
                  <a:pt x="118844" y="64456"/>
                </a:lnTo>
                <a:lnTo>
                  <a:pt x="4291" y="44142"/>
                </a:lnTo>
                <a:lnTo>
                  <a:pt x="0" y="54645"/>
                </a:lnTo>
                <a:lnTo>
                  <a:pt x="119835" y="76367"/>
                </a:lnTo>
                <a:close/>
              </a:path>
            </a:pathLst>
          </a:custGeom>
          <a:solidFill>
            <a:srgbClr val="C0C0C0"/>
          </a:solidFill>
        </p:spPr>
        <p:txBody>
          <a:bodyPr wrap="square" lIns="0" tIns="0" rIns="0" bIns="0" rtlCol="0">
            <a:noAutofit/>
          </a:bodyPr>
          <a:lstStyle/>
          <a:p>
            <a:endParaRPr/>
          </a:p>
        </p:txBody>
      </p:sp>
      <p:sp>
        <p:nvSpPr>
          <p:cNvPr id="800" name="object 800"/>
          <p:cNvSpPr/>
          <p:nvPr/>
        </p:nvSpPr>
        <p:spPr>
          <a:xfrm>
            <a:off x="4738158" y="5692838"/>
            <a:ext cx="4948" cy="7009"/>
          </a:xfrm>
          <a:custGeom>
            <a:avLst/>
            <a:gdLst/>
            <a:ahLst/>
            <a:cxnLst/>
            <a:rect l="l" t="t" r="r" b="b"/>
            <a:pathLst>
              <a:path w="4948" h="7009">
                <a:moveTo>
                  <a:pt x="4948" y="2450"/>
                </a:moveTo>
                <a:lnTo>
                  <a:pt x="0" y="0"/>
                </a:lnTo>
                <a:lnTo>
                  <a:pt x="0" y="7009"/>
                </a:lnTo>
                <a:lnTo>
                  <a:pt x="4948" y="2450"/>
                </a:lnTo>
                <a:close/>
              </a:path>
            </a:pathLst>
          </a:custGeom>
          <a:solidFill>
            <a:srgbClr val="9F9F9F"/>
          </a:solidFill>
        </p:spPr>
        <p:txBody>
          <a:bodyPr wrap="square" lIns="0" tIns="0" rIns="0" bIns="0" rtlCol="0">
            <a:noAutofit/>
          </a:bodyPr>
          <a:lstStyle/>
          <a:p>
            <a:endParaRPr/>
          </a:p>
        </p:txBody>
      </p:sp>
      <p:sp>
        <p:nvSpPr>
          <p:cNvPr id="801" name="object 801"/>
          <p:cNvSpPr/>
          <p:nvPr/>
        </p:nvSpPr>
        <p:spPr>
          <a:xfrm>
            <a:off x="4437076" y="5609476"/>
            <a:ext cx="120171" cy="97023"/>
          </a:xfrm>
          <a:custGeom>
            <a:avLst/>
            <a:gdLst/>
            <a:ahLst/>
            <a:cxnLst/>
            <a:rect l="l" t="t" r="r" b="b"/>
            <a:pathLst>
              <a:path w="120171" h="97023">
                <a:moveTo>
                  <a:pt x="120171" y="17866"/>
                </a:moveTo>
                <a:lnTo>
                  <a:pt x="58440" y="8688"/>
                </a:lnTo>
                <a:lnTo>
                  <a:pt x="0" y="0"/>
                </a:lnTo>
                <a:lnTo>
                  <a:pt x="0" y="79161"/>
                </a:lnTo>
                <a:lnTo>
                  <a:pt x="47151" y="86169"/>
                </a:lnTo>
                <a:lnTo>
                  <a:pt x="120171" y="97023"/>
                </a:lnTo>
                <a:lnTo>
                  <a:pt x="120171" y="17866"/>
                </a:lnTo>
                <a:close/>
              </a:path>
            </a:pathLst>
          </a:custGeom>
          <a:solidFill>
            <a:srgbClr val="BEBE00"/>
          </a:solidFill>
        </p:spPr>
        <p:txBody>
          <a:bodyPr wrap="square" lIns="0" tIns="0" rIns="0" bIns="0" rtlCol="0">
            <a:noAutofit/>
          </a:bodyPr>
          <a:lstStyle/>
          <a:p>
            <a:endParaRPr/>
          </a:p>
        </p:txBody>
      </p:sp>
      <p:sp>
        <p:nvSpPr>
          <p:cNvPr id="802" name="object 802"/>
          <p:cNvSpPr/>
          <p:nvPr/>
        </p:nvSpPr>
        <p:spPr>
          <a:xfrm>
            <a:off x="4437076" y="5609476"/>
            <a:ext cx="120171" cy="97023"/>
          </a:xfrm>
          <a:custGeom>
            <a:avLst/>
            <a:gdLst/>
            <a:ahLst/>
            <a:cxnLst/>
            <a:rect l="l" t="t" r="r" b="b"/>
            <a:pathLst>
              <a:path w="120171" h="97023">
                <a:moveTo>
                  <a:pt x="120171" y="17866"/>
                </a:moveTo>
                <a:lnTo>
                  <a:pt x="58440" y="8688"/>
                </a:lnTo>
                <a:lnTo>
                  <a:pt x="0" y="0"/>
                </a:lnTo>
                <a:lnTo>
                  <a:pt x="0" y="79161"/>
                </a:lnTo>
                <a:lnTo>
                  <a:pt x="47151" y="86169"/>
                </a:lnTo>
                <a:lnTo>
                  <a:pt x="120171" y="97023"/>
                </a:lnTo>
                <a:lnTo>
                  <a:pt x="120171" y="17866"/>
                </a:lnTo>
              </a:path>
            </a:pathLst>
          </a:custGeom>
          <a:ln w="5490">
            <a:solidFill>
              <a:srgbClr val="000000"/>
            </a:solidFill>
          </a:ln>
        </p:spPr>
        <p:txBody>
          <a:bodyPr wrap="square" lIns="0" tIns="0" rIns="0" bIns="0" rtlCol="0">
            <a:noAutofit/>
          </a:bodyPr>
          <a:lstStyle/>
          <a:p>
            <a:endParaRPr/>
          </a:p>
        </p:txBody>
      </p:sp>
      <p:sp>
        <p:nvSpPr>
          <p:cNvPr id="803" name="object 803"/>
          <p:cNvSpPr/>
          <p:nvPr/>
        </p:nvSpPr>
        <p:spPr>
          <a:xfrm>
            <a:off x="4319545" y="5607374"/>
            <a:ext cx="355563" cy="54642"/>
          </a:xfrm>
          <a:custGeom>
            <a:avLst/>
            <a:gdLst/>
            <a:ahLst/>
            <a:cxnLst/>
            <a:rect l="l" t="t" r="r" b="b"/>
            <a:pathLst>
              <a:path w="355563" h="54642">
                <a:moveTo>
                  <a:pt x="239680" y="36833"/>
                </a:moveTo>
                <a:lnTo>
                  <a:pt x="118521" y="18214"/>
                </a:lnTo>
              </a:path>
              <a:path w="355563" h="54642">
                <a:moveTo>
                  <a:pt x="118521" y="18215"/>
                </a:moveTo>
                <a:lnTo>
                  <a:pt x="239680" y="36834"/>
                </a:lnTo>
              </a:path>
            </a:pathLst>
          </a:custGeom>
          <a:ln w="2728">
            <a:solidFill>
              <a:srgbClr val="000000"/>
            </a:solidFill>
          </a:ln>
        </p:spPr>
        <p:txBody>
          <a:bodyPr wrap="square" lIns="0" tIns="0" rIns="0" bIns="0" rtlCol="0">
            <a:noAutofit/>
          </a:bodyPr>
          <a:lstStyle/>
          <a:p>
            <a:endParaRPr/>
          </a:p>
        </p:txBody>
      </p:sp>
      <p:sp>
        <p:nvSpPr>
          <p:cNvPr id="804" name="object 804"/>
          <p:cNvSpPr/>
          <p:nvPr/>
        </p:nvSpPr>
        <p:spPr>
          <a:xfrm>
            <a:off x="4317894" y="5599311"/>
            <a:ext cx="358531" cy="55696"/>
          </a:xfrm>
          <a:custGeom>
            <a:avLst/>
            <a:gdLst/>
            <a:ahLst/>
            <a:cxnLst/>
            <a:rect l="l" t="t" r="r" b="b"/>
            <a:pathLst>
              <a:path w="358531" h="55696">
                <a:moveTo>
                  <a:pt x="241660" y="37541"/>
                </a:moveTo>
                <a:lnTo>
                  <a:pt x="119511" y="18565"/>
                </a:lnTo>
              </a:path>
              <a:path w="358531" h="55696">
                <a:moveTo>
                  <a:pt x="119511" y="18566"/>
                </a:moveTo>
                <a:lnTo>
                  <a:pt x="241660" y="37541"/>
                </a:lnTo>
              </a:path>
            </a:pathLst>
          </a:custGeom>
          <a:ln w="2728">
            <a:solidFill>
              <a:srgbClr val="000000"/>
            </a:solidFill>
          </a:ln>
        </p:spPr>
        <p:txBody>
          <a:bodyPr wrap="square" lIns="0" tIns="0" rIns="0" bIns="0" rtlCol="0">
            <a:noAutofit/>
          </a:bodyPr>
          <a:lstStyle/>
          <a:p>
            <a:endParaRPr/>
          </a:p>
        </p:txBody>
      </p:sp>
      <p:sp>
        <p:nvSpPr>
          <p:cNvPr id="805" name="object 805"/>
          <p:cNvSpPr/>
          <p:nvPr/>
        </p:nvSpPr>
        <p:spPr>
          <a:xfrm>
            <a:off x="4318555" y="5615777"/>
            <a:ext cx="357541" cy="53592"/>
          </a:xfrm>
          <a:custGeom>
            <a:avLst/>
            <a:gdLst/>
            <a:ahLst/>
            <a:cxnLst/>
            <a:rect l="l" t="t" r="r" b="b"/>
            <a:pathLst>
              <a:path w="357541" h="53592">
                <a:moveTo>
                  <a:pt x="241000" y="36123"/>
                </a:moveTo>
                <a:lnTo>
                  <a:pt x="119181" y="17864"/>
                </a:lnTo>
              </a:path>
              <a:path w="357541" h="53592">
                <a:moveTo>
                  <a:pt x="119181" y="17865"/>
                </a:moveTo>
                <a:lnTo>
                  <a:pt x="241000" y="36124"/>
                </a:lnTo>
              </a:path>
            </a:pathLst>
          </a:custGeom>
          <a:ln w="2728">
            <a:solidFill>
              <a:srgbClr val="000000"/>
            </a:solidFill>
          </a:ln>
        </p:spPr>
        <p:txBody>
          <a:bodyPr wrap="square" lIns="0" tIns="0" rIns="0" bIns="0" rtlCol="0">
            <a:noAutofit/>
          </a:bodyPr>
          <a:lstStyle/>
          <a:p>
            <a:endParaRPr/>
          </a:p>
        </p:txBody>
      </p:sp>
      <p:sp>
        <p:nvSpPr>
          <p:cNvPr id="806" name="object 806"/>
          <p:cNvSpPr/>
          <p:nvPr/>
        </p:nvSpPr>
        <p:spPr>
          <a:xfrm>
            <a:off x="4319545" y="5630842"/>
            <a:ext cx="355563" cy="54642"/>
          </a:xfrm>
          <a:custGeom>
            <a:avLst/>
            <a:gdLst/>
            <a:ahLst/>
            <a:cxnLst/>
            <a:rect l="l" t="t" r="r" b="b"/>
            <a:pathLst>
              <a:path w="355563" h="54642">
                <a:moveTo>
                  <a:pt x="239680" y="36833"/>
                </a:moveTo>
                <a:lnTo>
                  <a:pt x="118521" y="18214"/>
                </a:lnTo>
              </a:path>
              <a:path w="355563" h="54642">
                <a:moveTo>
                  <a:pt x="118521" y="18215"/>
                </a:moveTo>
                <a:lnTo>
                  <a:pt x="239680" y="36834"/>
                </a:lnTo>
              </a:path>
            </a:pathLst>
          </a:custGeom>
          <a:ln w="2728">
            <a:solidFill>
              <a:srgbClr val="000000"/>
            </a:solidFill>
          </a:ln>
        </p:spPr>
        <p:txBody>
          <a:bodyPr wrap="square" lIns="0" tIns="0" rIns="0" bIns="0" rtlCol="0">
            <a:noAutofit/>
          </a:bodyPr>
          <a:lstStyle/>
          <a:p>
            <a:endParaRPr/>
          </a:p>
        </p:txBody>
      </p:sp>
      <p:sp>
        <p:nvSpPr>
          <p:cNvPr id="807" name="object 807"/>
          <p:cNvSpPr/>
          <p:nvPr/>
        </p:nvSpPr>
        <p:spPr>
          <a:xfrm>
            <a:off x="4317894" y="5622780"/>
            <a:ext cx="358531" cy="55703"/>
          </a:xfrm>
          <a:custGeom>
            <a:avLst/>
            <a:gdLst/>
            <a:ahLst/>
            <a:cxnLst/>
            <a:rect l="l" t="t" r="r" b="b"/>
            <a:pathLst>
              <a:path w="358531" h="55703">
                <a:moveTo>
                  <a:pt x="241660" y="37545"/>
                </a:moveTo>
                <a:lnTo>
                  <a:pt x="119511" y="18567"/>
                </a:lnTo>
              </a:path>
              <a:path w="358531" h="55703">
                <a:moveTo>
                  <a:pt x="119511" y="18568"/>
                </a:moveTo>
                <a:lnTo>
                  <a:pt x="241660" y="37546"/>
                </a:lnTo>
              </a:path>
            </a:pathLst>
          </a:custGeom>
          <a:ln w="2728">
            <a:solidFill>
              <a:srgbClr val="000000"/>
            </a:solidFill>
          </a:ln>
        </p:spPr>
        <p:txBody>
          <a:bodyPr wrap="square" lIns="0" tIns="0" rIns="0" bIns="0" rtlCol="0">
            <a:noAutofit/>
          </a:bodyPr>
          <a:lstStyle/>
          <a:p>
            <a:endParaRPr/>
          </a:p>
        </p:txBody>
      </p:sp>
      <p:sp>
        <p:nvSpPr>
          <p:cNvPr id="808" name="object 808"/>
          <p:cNvSpPr/>
          <p:nvPr/>
        </p:nvSpPr>
        <p:spPr>
          <a:xfrm>
            <a:off x="4318555" y="5639245"/>
            <a:ext cx="357541" cy="53592"/>
          </a:xfrm>
          <a:custGeom>
            <a:avLst/>
            <a:gdLst/>
            <a:ahLst/>
            <a:cxnLst/>
            <a:rect l="l" t="t" r="r" b="b"/>
            <a:pathLst>
              <a:path w="357541" h="53592">
                <a:moveTo>
                  <a:pt x="241000" y="36123"/>
                </a:moveTo>
                <a:lnTo>
                  <a:pt x="119181" y="17864"/>
                </a:lnTo>
              </a:path>
              <a:path w="357541" h="53592">
                <a:moveTo>
                  <a:pt x="119181" y="17865"/>
                </a:moveTo>
                <a:lnTo>
                  <a:pt x="241000" y="36124"/>
                </a:lnTo>
              </a:path>
            </a:pathLst>
          </a:custGeom>
          <a:ln w="2728">
            <a:solidFill>
              <a:srgbClr val="000000"/>
            </a:solidFill>
          </a:ln>
        </p:spPr>
        <p:txBody>
          <a:bodyPr wrap="square" lIns="0" tIns="0" rIns="0" bIns="0" rtlCol="0">
            <a:noAutofit/>
          </a:bodyPr>
          <a:lstStyle/>
          <a:p>
            <a:endParaRPr/>
          </a:p>
        </p:txBody>
      </p:sp>
      <p:sp>
        <p:nvSpPr>
          <p:cNvPr id="809" name="object 809"/>
          <p:cNvSpPr/>
          <p:nvPr/>
        </p:nvSpPr>
        <p:spPr>
          <a:xfrm>
            <a:off x="4319875" y="5653957"/>
            <a:ext cx="355563" cy="54642"/>
          </a:xfrm>
          <a:custGeom>
            <a:avLst/>
            <a:gdLst/>
            <a:ahLst/>
            <a:cxnLst/>
            <a:rect l="l" t="t" r="r" b="b"/>
            <a:pathLst>
              <a:path w="355563" h="54642">
                <a:moveTo>
                  <a:pt x="239680" y="36833"/>
                </a:moveTo>
                <a:lnTo>
                  <a:pt x="118521" y="18214"/>
                </a:lnTo>
              </a:path>
              <a:path w="355563" h="54642">
                <a:moveTo>
                  <a:pt x="118521" y="18215"/>
                </a:moveTo>
                <a:lnTo>
                  <a:pt x="239680" y="36834"/>
                </a:lnTo>
              </a:path>
            </a:pathLst>
          </a:custGeom>
          <a:ln w="2728">
            <a:solidFill>
              <a:srgbClr val="000000"/>
            </a:solidFill>
          </a:ln>
        </p:spPr>
        <p:txBody>
          <a:bodyPr wrap="square" lIns="0" tIns="0" rIns="0" bIns="0" rtlCol="0">
            <a:noAutofit/>
          </a:bodyPr>
          <a:lstStyle/>
          <a:p>
            <a:endParaRPr/>
          </a:p>
        </p:txBody>
      </p:sp>
      <p:sp>
        <p:nvSpPr>
          <p:cNvPr id="810" name="object 810"/>
          <p:cNvSpPr/>
          <p:nvPr/>
        </p:nvSpPr>
        <p:spPr>
          <a:xfrm>
            <a:off x="4318225" y="5645904"/>
            <a:ext cx="358531" cy="55692"/>
          </a:xfrm>
          <a:custGeom>
            <a:avLst/>
            <a:gdLst/>
            <a:ahLst/>
            <a:cxnLst/>
            <a:rect l="l" t="t" r="r" b="b"/>
            <a:pathLst>
              <a:path w="358531" h="55692">
                <a:moveTo>
                  <a:pt x="241660" y="37538"/>
                </a:moveTo>
                <a:lnTo>
                  <a:pt x="119511" y="18564"/>
                </a:lnTo>
              </a:path>
              <a:path w="358531" h="55692">
                <a:moveTo>
                  <a:pt x="119511" y="18565"/>
                </a:moveTo>
                <a:lnTo>
                  <a:pt x="241660" y="37539"/>
                </a:lnTo>
              </a:path>
            </a:pathLst>
          </a:custGeom>
          <a:ln w="2728">
            <a:solidFill>
              <a:srgbClr val="000000"/>
            </a:solidFill>
          </a:ln>
        </p:spPr>
        <p:txBody>
          <a:bodyPr wrap="square" lIns="0" tIns="0" rIns="0" bIns="0" rtlCol="0">
            <a:noAutofit/>
          </a:bodyPr>
          <a:lstStyle/>
          <a:p>
            <a:endParaRPr/>
          </a:p>
        </p:txBody>
      </p:sp>
      <p:sp>
        <p:nvSpPr>
          <p:cNvPr id="811" name="object 811"/>
          <p:cNvSpPr/>
          <p:nvPr/>
        </p:nvSpPr>
        <p:spPr>
          <a:xfrm>
            <a:off x="4318885" y="5662368"/>
            <a:ext cx="357541" cy="53595"/>
          </a:xfrm>
          <a:custGeom>
            <a:avLst/>
            <a:gdLst/>
            <a:ahLst/>
            <a:cxnLst/>
            <a:rect l="l" t="t" r="r" b="b"/>
            <a:pathLst>
              <a:path w="357541" h="53595">
                <a:moveTo>
                  <a:pt x="241000" y="36126"/>
                </a:moveTo>
                <a:lnTo>
                  <a:pt x="119181" y="17865"/>
                </a:lnTo>
              </a:path>
              <a:path w="357541" h="53595">
                <a:moveTo>
                  <a:pt x="119181" y="17866"/>
                </a:moveTo>
                <a:lnTo>
                  <a:pt x="241000" y="36126"/>
                </a:lnTo>
              </a:path>
            </a:pathLst>
          </a:custGeom>
          <a:ln w="2728">
            <a:solidFill>
              <a:srgbClr val="000000"/>
            </a:solidFill>
          </a:ln>
        </p:spPr>
        <p:txBody>
          <a:bodyPr wrap="square" lIns="0" tIns="0" rIns="0" bIns="0" rtlCol="0">
            <a:noAutofit/>
          </a:bodyPr>
          <a:lstStyle/>
          <a:p>
            <a:endParaRPr/>
          </a:p>
        </p:txBody>
      </p:sp>
      <p:sp>
        <p:nvSpPr>
          <p:cNvPr id="812" name="object 812"/>
          <p:cNvSpPr/>
          <p:nvPr/>
        </p:nvSpPr>
        <p:spPr>
          <a:xfrm>
            <a:off x="4473391" y="5487573"/>
            <a:ext cx="14196" cy="29777"/>
          </a:xfrm>
          <a:custGeom>
            <a:avLst/>
            <a:gdLst/>
            <a:ahLst/>
            <a:cxnLst/>
            <a:rect l="l" t="t" r="r" b="b"/>
            <a:pathLst>
              <a:path w="14196" h="29777">
                <a:moveTo>
                  <a:pt x="0" y="1050"/>
                </a:moveTo>
                <a:lnTo>
                  <a:pt x="0" y="28026"/>
                </a:lnTo>
                <a:lnTo>
                  <a:pt x="14196" y="29777"/>
                </a:lnTo>
                <a:lnTo>
                  <a:pt x="14196" y="0"/>
                </a:lnTo>
                <a:lnTo>
                  <a:pt x="0" y="1050"/>
                </a:lnTo>
                <a:close/>
              </a:path>
            </a:pathLst>
          </a:custGeom>
          <a:solidFill>
            <a:srgbClr val="808000"/>
          </a:solidFill>
        </p:spPr>
        <p:txBody>
          <a:bodyPr wrap="square" lIns="0" tIns="0" rIns="0" bIns="0" rtlCol="0">
            <a:noAutofit/>
          </a:bodyPr>
          <a:lstStyle/>
          <a:p>
            <a:endParaRPr/>
          </a:p>
        </p:txBody>
      </p:sp>
      <p:sp>
        <p:nvSpPr>
          <p:cNvPr id="813" name="object 813"/>
          <p:cNvSpPr/>
          <p:nvPr/>
        </p:nvSpPr>
        <p:spPr>
          <a:xfrm>
            <a:off x="4467122" y="5478469"/>
            <a:ext cx="27065" cy="14004"/>
          </a:xfrm>
          <a:custGeom>
            <a:avLst/>
            <a:gdLst/>
            <a:ahLst/>
            <a:cxnLst/>
            <a:rect l="l" t="t" r="r" b="b"/>
            <a:pathLst>
              <a:path w="27065" h="14004">
                <a:moveTo>
                  <a:pt x="0" y="7002"/>
                </a:moveTo>
                <a:lnTo>
                  <a:pt x="0" y="10853"/>
                </a:lnTo>
                <a:lnTo>
                  <a:pt x="5939" y="14004"/>
                </a:lnTo>
                <a:lnTo>
                  <a:pt x="21125" y="14004"/>
                </a:lnTo>
                <a:lnTo>
                  <a:pt x="27065" y="10853"/>
                </a:lnTo>
                <a:lnTo>
                  <a:pt x="27065" y="3151"/>
                </a:lnTo>
                <a:lnTo>
                  <a:pt x="21125" y="0"/>
                </a:lnTo>
                <a:lnTo>
                  <a:pt x="5939" y="0"/>
                </a:lnTo>
                <a:lnTo>
                  <a:pt x="0" y="3151"/>
                </a:lnTo>
                <a:lnTo>
                  <a:pt x="0" y="7002"/>
                </a:lnTo>
                <a:close/>
              </a:path>
            </a:pathLst>
          </a:custGeom>
          <a:solidFill>
            <a:srgbClr val="000000"/>
          </a:solidFill>
        </p:spPr>
        <p:txBody>
          <a:bodyPr wrap="square" lIns="0" tIns="0" rIns="0" bIns="0" rtlCol="0">
            <a:noAutofit/>
          </a:bodyPr>
          <a:lstStyle/>
          <a:p>
            <a:endParaRPr/>
          </a:p>
        </p:txBody>
      </p:sp>
      <p:sp>
        <p:nvSpPr>
          <p:cNvPr id="814" name="object 814"/>
          <p:cNvSpPr/>
          <p:nvPr/>
        </p:nvSpPr>
        <p:spPr>
          <a:xfrm>
            <a:off x="4337042" y="5640645"/>
            <a:ext cx="5288" cy="20320"/>
          </a:xfrm>
          <a:custGeom>
            <a:avLst/>
            <a:gdLst/>
            <a:ahLst/>
            <a:cxnLst/>
            <a:rect l="l" t="t" r="r" b="b"/>
            <a:pathLst>
              <a:path w="5288" h="20320">
                <a:moveTo>
                  <a:pt x="0" y="20320"/>
                </a:moveTo>
                <a:lnTo>
                  <a:pt x="5288" y="17512"/>
                </a:lnTo>
                <a:lnTo>
                  <a:pt x="5288" y="0"/>
                </a:lnTo>
                <a:lnTo>
                  <a:pt x="0" y="2107"/>
                </a:lnTo>
                <a:lnTo>
                  <a:pt x="0" y="20320"/>
                </a:lnTo>
                <a:close/>
              </a:path>
            </a:pathLst>
          </a:custGeom>
          <a:solidFill>
            <a:srgbClr val="FFFF00"/>
          </a:solidFill>
        </p:spPr>
        <p:txBody>
          <a:bodyPr wrap="square" lIns="0" tIns="0" rIns="0" bIns="0" rtlCol="0">
            <a:noAutofit/>
          </a:bodyPr>
          <a:lstStyle/>
          <a:p>
            <a:endParaRPr/>
          </a:p>
        </p:txBody>
      </p:sp>
      <p:sp>
        <p:nvSpPr>
          <p:cNvPr id="815" name="object 815"/>
          <p:cNvSpPr/>
          <p:nvPr/>
        </p:nvSpPr>
        <p:spPr>
          <a:xfrm>
            <a:off x="4333740" y="5639596"/>
            <a:ext cx="12218" cy="6309"/>
          </a:xfrm>
          <a:custGeom>
            <a:avLst/>
            <a:gdLst/>
            <a:ahLst/>
            <a:cxnLst/>
            <a:rect l="l" t="t" r="r" b="b"/>
            <a:pathLst>
              <a:path w="12218" h="6309">
                <a:moveTo>
                  <a:pt x="0" y="3158"/>
                </a:moveTo>
                <a:lnTo>
                  <a:pt x="0" y="4908"/>
                </a:lnTo>
                <a:lnTo>
                  <a:pt x="2971" y="6309"/>
                </a:lnTo>
                <a:lnTo>
                  <a:pt x="9580" y="6309"/>
                </a:lnTo>
                <a:lnTo>
                  <a:pt x="12218" y="4908"/>
                </a:lnTo>
                <a:lnTo>
                  <a:pt x="12218" y="1400"/>
                </a:lnTo>
                <a:lnTo>
                  <a:pt x="9580" y="0"/>
                </a:lnTo>
                <a:lnTo>
                  <a:pt x="2971" y="0"/>
                </a:lnTo>
                <a:lnTo>
                  <a:pt x="0" y="1400"/>
                </a:lnTo>
                <a:lnTo>
                  <a:pt x="0" y="3158"/>
                </a:lnTo>
                <a:close/>
              </a:path>
            </a:pathLst>
          </a:custGeom>
          <a:solidFill>
            <a:srgbClr val="000000"/>
          </a:solidFill>
        </p:spPr>
        <p:txBody>
          <a:bodyPr wrap="square" lIns="0" tIns="0" rIns="0" bIns="0" rtlCol="0">
            <a:noAutofit/>
          </a:bodyPr>
          <a:lstStyle/>
          <a:p>
            <a:endParaRPr/>
          </a:p>
        </p:txBody>
      </p:sp>
      <p:sp>
        <p:nvSpPr>
          <p:cNvPr id="816" name="object 816"/>
          <p:cNvSpPr/>
          <p:nvPr/>
        </p:nvSpPr>
        <p:spPr>
          <a:xfrm>
            <a:off x="3252852" y="1411351"/>
            <a:ext cx="915987" cy="1193800"/>
          </a:xfrm>
          <a:custGeom>
            <a:avLst/>
            <a:gdLst/>
            <a:ahLst/>
            <a:cxnLst/>
            <a:rect l="l" t="t" r="r" b="b"/>
            <a:pathLst>
              <a:path w="915987" h="1193800">
                <a:moveTo>
                  <a:pt x="0" y="1193800"/>
                </a:moveTo>
                <a:lnTo>
                  <a:pt x="915987" y="1193800"/>
                </a:lnTo>
                <a:lnTo>
                  <a:pt x="915987" y="0"/>
                </a:lnTo>
                <a:lnTo>
                  <a:pt x="0" y="0"/>
                </a:lnTo>
                <a:lnTo>
                  <a:pt x="0" y="1193800"/>
                </a:lnTo>
                <a:close/>
              </a:path>
            </a:pathLst>
          </a:custGeom>
          <a:solidFill>
            <a:srgbClr val="CCEBFF"/>
          </a:solidFill>
        </p:spPr>
        <p:txBody>
          <a:bodyPr wrap="square" lIns="0" tIns="0" rIns="0" bIns="0" rtlCol="0">
            <a:noAutofit/>
          </a:bodyPr>
          <a:lstStyle/>
          <a:p>
            <a:endParaRPr/>
          </a:p>
        </p:txBody>
      </p:sp>
      <p:sp>
        <p:nvSpPr>
          <p:cNvPr id="817" name="object 817"/>
          <p:cNvSpPr/>
          <p:nvPr/>
        </p:nvSpPr>
        <p:spPr>
          <a:xfrm>
            <a:off x="3401929" y="1678814"/>
            <a:ext cx="644" cy="4005"/>
          </a:xfrm>
          <a:custGeom>
            <a:avLst/>
            <a:gdLst/>
            <a:ahLst/>
            <a:cxnLst/>
            <a:rect l="l" t="t" r="r" b="b"/>
            <a:pathLst>
              <a:path w="644" h="4005">
                <a:moveTo>
                  <a:pt x="214" y="324"/>
                </a:moveTo>
                <a:lnTo>
                  <a:pt x="0" y="0"/>
                </a:lnTo>
                <a:lnTo>
                  <a:pt x="107" y="4005"/>
                </a:lnTo>
                <a:lnTo>
                  <a:pt x="644" y="4005"/>
                </a:lnTo>
                <a:lnTo>
                  <a:pt x="537" y="649"/>
                </a:lnTo>
                <a:lnTo>
                  <a:pt x="214" y="324"/>
                </a:lnTo>
                <a:close/>
              </a:path>
            </a:pathLst>
          </a:custGeom>
          <a:solidFill>
            <a:srgbClr val="000000"/>
          </a:solidFill>
        </p:spPr>
        <p:txBody>
          <a:bodyPr wrap="square" lIns="0" tIns="0" rIns="0" bIns="0" rtlCol="0">
            <a:noAutofit/>
          </a:bodyPr>
          <a:lstStyle/>
          <a:p>
            <a:endParaRPr/>
          </a:p>
        </p:txBody>
      </p:sp>
      <p:sp>
        <p:nvSpPr>
          <p:cNvPr id="818" name="object 818"/>
          <p:cNvSpPr/>
          <p:nvPr/>
        </p:nvSpPr>
        <p:spPr>
          <a:xfrm>
            <a:off x="3425665" y="1667013"/>
            <a:ext cx="12136" cy="15480"/>
          </a:xfrm>
          <a:custGeom>
            <a:avLst/>
            <a:gdLst/>
            <a:ahLst/>
            <a:cxnLst/>
            <a:rect l="l" t="t" r="r" b="b"/>
            <a:pathLst>
              <a:path w="12136" h="15480">
                <a:moveTo>
                  <a:pt x="5155" y="3680"/>
                </a:moveTo>
                <a:lnTo>
                  <a:pt x="12136" y="3680"/>
                </a:lnTo>
                <a:lnTo>
                  <a:pt x="12136" y="0"/>
                </a:lnTo>
                <a:lnTo>
                  <a:pt x="0" y="0"/>
                </a:lnTo>
                <a:lnTo>
                  <a:pt x="0" y="15480"/>
                </a:lnTo>
                <a:lnTo>
                  <a:pt x="5155" y="15480"/>
                </a:lnTo>
                <a:lnTo>
                  <a:pt x="5155" y="10067"/>
                </a:lnTo>
                <a:lnTo>
                  <a:pt x="10740" y="10067"/>
                </a:lnTo>
                <a:lnTo>
                  <a:pt x="10740" y="6387"/>
                </a:lnTo>
                <a:lnTo>
                  <a:pt x="5155" y="6387"/>
                </a:lnTo>
                <a:lnTo>
                  <a:pt x="5155" y="3680"/>
                </a:lnTo>
                <a:close/>
              </a:path>
            </a:pathLst>
          </a:custGeom>
          <a:solidFill>
            <a:srgbClr val="000000"/>
          </a:solidFill>
        </p:spPr>
        <p:txBody>
          <a:bodyPr wrap="square" lIns="0" tIns="0" rIns="0" bIns="0" rtlCol="0">
            <a:noAutofit/>
          </a:bodyPr>
          <a:lstStyle/>
          <a:p>
            <a:endParaRPr/>
          </a:p>
        </p:txBody>
      </p:sp>
      <p:sp>
        <p:nvSpPr>
          <p:cNvPr id="819" name="object 819"/>
          <p:cNvSpPr/>
          <p:nvPr/>
        </p:nvSpPr>
        <p:spPr>
          <a:xfrm>
            <a:off x="3439628" y="1670911"/>
            <a:ext cx="8162" cy="11583"/>
          </a:xfrm>
          <a:custGeom>
            <a:avLst/>
            <a:gdLst/>
            <a:ahLst/>
            <a:cxnLst/>
            <a:rect l="l" t="t" r="r" b="b"/>
            <a:pathLst>
              <a:path w="8162" h="11583">
                <a:moveTo>
                  <a:pt x="4188" y="324"/>
                </a:moveTo>
                <a:lnTo>
                  <a:pt x="0" y="324"/>
                </a:lnTo>
                <a:lnTo>
                  <a:pt x="0" y="11583"/>
                </a:lnTo>
                <a:lnTo>
                  <a:pt x="4618" y="11583"/>
                </a:lnTo>
                <a:lnTo>
                  <a:pt x="4618" y="6928"/>
                </a:lnTo>
                <a:lnTo>
                  <a:pt x="4833" y="6278"/>
                </a:lnTo>
                <a:lnTo>
                  <a:pt x="4940" y="5737"/>
                </a:lnTo>
                <a:lnTo>
                  <a:pt x="5262" y="5304"/>
                </a:lnTo>
                <a:lnTo>
                  <a:pt x="5585" y="4979"/>
                </a:lnTo>
                <a:lnTo>
                  <a:pt x="6122" y="4763"/>
                </a:lnTo>
                <a:lnTo>
                  <a:pt x="6551" y="4546"/>
                </a:lnTo>
                <a:lnTo>
                  <a:pt x="7948" y="4546"/>
                </a:lnTo>
                <a:lnTo>
                  <a:pt x="8162" y="4654"/>
                </a:lnTo>
                <a:lnTo>
                  <a:pt x="8162" y="0"/>
                </a:lnTo>
                <a:lnTo>
                  <a:pt x="6981" y="0"/>
                </a:lnTo>
                <a:lnTo>
                  <a:pt x="6444" y="216"/>
                </a:lnTo>
                <a:lnTo>
                  <a:pt x="5907" y="324"/>
                </a:lnTo>
                <a:lnTo>
                  <a:pt x="5477" y="649"/>
                </a:lnTo>
                <a:lnTo>
                  <a:pt x="5155" y="1082"/>
                </a:lnTo>
                <a:lnTo>
                  <a:pt x="4725" y="1515"/>
                </a:lnTo>
                <a:lnTo>
                  <a:pt x="4403" y="2056"/>
                </a:lnTo>
                <a:lnTo>
                  <a:pt x="4188" y="2706"/>
                </a:lnTo>
                <a:lnTo>
                  <a:pt x="4188" y="324"/>
                </a:lnTo>
                <a:close/>
              </a:path>
            </a:pathLst>
          </a:custGeom>
          <a:solidFill>
            <a:srgbClr val="000000"/>
          </a:solidFill>
        </p:spPr>
        <p:txBody>
          <a:bodyPr wrap="square" lIns="0" tIns="0" rIns="0" bIns="0" rtlCol="0">
            <a:noAutofit/>
          </a:bodyPr>
          <a:lstStyle/>
          <a:p>
            <a:endParaRPr/>
          </a:p>
        </p:txBody>
      </p:sp>
      <p:sp>
        <p:nvSpPr>
          <p:cNvPr id="820" name="object 820"/>
          <p:cNvSpPr/>
          <p:nvPr/>
        </p:nvSpPr>
        <p:spPr>
          <a:xfrm>
            <a:off x="3452948" y="1677948"/>
            <a:ext cx="2685" cy="4871"/>
          </a:xfrm>
          <a:custGeom>
            <a:avLst/>
            <a:gdLst/>
            <a:ahLst/>
            <a:cxnLst/>
            <a:rect l="l" t="t" r="r" b="b"/>
            <a:pathLst>
              <a:path w="2685" h="4871">
                <a:moveTo>
                  <a:pt x="537" y="1407"/>
                </a:moveTo>
                <a:lnTo>
                  <a:pt x="322" y="974"/>
                </a:lnTo>
                <a:lnTo>
                  <a:pt x="107" y="541"/>
                </a:lnTo>
                <a:lnTo>
                  <a:pt x="0" y="0"/>
                </a:lnTo>
                <a:lnTo>
                  <a:pt x="0" y="4654"/>
                </a:lnTo>
                <a:lnTo>
                  <a:pt x="644" y="4763"/>
                </a:lnTo>
                <a:lnTo>
                  <a:pt x="1181" y="4871"/>
                </a:lnTo>
                <a:lnTo>
                  <a:pt x="2255" y="4871"/>
                </a:lnTo>
                <a:lnTo>
                  <a:pt x="2685" y="1623"/>
                </a:lnTo>
                <a:lnTo>
                  <a:pt x="1825" y="1840"/>
                </a:lnTo>
                <a:lnTo>
                  <a:pt x="1288" y="1840"/>
                </a:lnTo>
                <a:lnTo>
                  <a:pt x="966" y="1623"/>
                </a:lnTo>
                <a:lnTo>
                  <a:pt x="537" y="1407"/>
                </a:lnTo>
                <a:close/>
              </a:path>
            </a:pathLst>
          </a:custGeom>
          <a:solidFill>
            <a:srgbClr val="000000"/>
          </a:solidFill>
        </p:spPr>
        <p:txBody>
          <a:bodyPr wrap="square" lIns="0" tIns="0" rIns="0" bIns="0" rtlCol="0">
            <a:noAutofit/>
          </a:bodyPr>
          <a:lstStyle/>
          <a:p>
            <a:endParaRPr/>
          </a:p>
        </p:txBody>
      </p:sp>
      <p:sp>
        <p:nvSpPr>
          <p:cNvPr id="821" name="object 821"/>
          <p:cNvSpPr/>
          <p:nvPr/>
        </p:nvSpPr>
        <p:spPr>
          <a:xfrm>
            <a:off x="3484847" y="1673508"/>
            <a:ext cx="4511" cy="0"/>
          </a:xfrm>
          <a:custGeom>
            <a:avLst/>
            <a:gdLst/>
            <a:ahLst/>
            <a:cxnLst/>
            <a:rect l="l" t="t" r="r" b="b"/>
            <a:pathLst>
              <a:path w="4511">
                <a:moveTo>
                  <a:pt x="0" y="0"/>
                </a:moveTo>
                <a:lnTo>
                  <a:pt x="4511" y="0"/>
                </a:lnTo>
              </a:path>
            </a:pathLst>
          </a:custGeom>
          <a:ln w="5816">
            <a:solidFill>
              <a:srgbClr val="000000"/>
            </a:solidFill>
          </a:ln>
        </p:spPr>
        <p:txBody>
          <a:bodyPr wrap="square" lIns="0" tIns="0" rIns="0" bIns="0" rtlCol="0">
            <a:noAutofit/>
          </a:bodyPr>
          <a:lstStyle/>
          <a:p>
            <a:endParaRPr/>
          </a:p>
        </p:txBody>
      </p:sp>
      <p:sp>
        <p:nvSpPr>
          <p:cNvPr id="822" name="object 822"/>
          <p:cNvSpPr/>
          <p:nvPr/>
        </p:nvSpPr>
        <p:spPr>
          <a:xfrm>
            <a:off x="3484847" y="1680220"/>
            <a:ext cx="4511" cy="0"/>
          </a:xfrm>
          <a:custGeom>
            <a:avLst/>
            <a:gdLst/>
            <a:ahLst/>
            <a:cxnLst/>
            <a:rect l="l" t="t" r="r" b="b"/>
            <a:pathLst>
              <a:path w="4511">
                <a:moveTo>
                  <a:pt x="0" y="0"/>
                </a:moveTo>
                <a:lnTo>
                  <a:pt x="4511" y="0"/>
                </a:lnTo>
              </a:path>
            </a:pathLst>
          </a:custGeom>
          <a:ln w="5816">
            <a:solidFill>
              <a:srgbClr val="000000"/>
            </a:solidFill>
          </a:ln>
        </p:spPr>
        <p:txBody>
          <a:bodyPr wrap="square" lIns="0" tIns="0" rIns="0" bIns="0" rtlCol="0">
            <a:noAutofit/>
          </a:bodyPr>
          <a:lstStyle/>
          <a:p>
            <a:endParaRPr/>
          </a:p>
        </p:txBody>
      </p:sp>
      <p:sp>
        <p:nvSpPr>
          <p:cNvPr id="823" name="object 823"/>
          <p:cNvSpPr/>
          <p:nvPr/>
        </p:nvSpPr>
        <p:spPr>
          <a:xfrm>
            <a:off x="3463043" y="1670911"/>
            <a:ext cx="19440" cy="11583"/>
          </a:xfrm>
          <a:custGeom>
            <a:avLst/>
            <a:gdLst/>
            <a:ahLst/>
            <a:cxnLst/>
            <a:rect l="l" t="t" r="r" b="b"/>
            <a:pathLst>
              <a:path w="19440" h="11583">
                <a:moveTo>
                  <a:pt x="4511" y="11583"/>
                </a:moveTo>
                <a:lnTo>
                  <a:pt x="4511" y="5845"/>
                </a:lnTo>
                <a:lnTo>
                  <a:pt x="4618" y="4871"/>
                </a:lnTo>
                <a:lnTo>
                  <a:pt x="4940" y="4113"/>
                </a:lnTo>
                <a:lnTo>
                  <a:pt x="5370" y="3572"/>
                </a:lnTo>
                <a:lnTo>
                  <a:pt x="6122" y="3464"/>
                </a:lnTo>
                <a:lnTo>
                  <a:pt x="6551" y="3464"/>
                </a:lnTo>
                <a:lnTo>
                  <a:pt x="6873" y="3572"/>
                </a:lnTo>
                <a:lnTo>
                  <a:pt x="7088" y="3788"/>
                </a:lnTo>
                <a:lnTo>
                  <a:pt x="7303" y="4330"/>
                </a:lnTo>
                <a:lnTo>
                  <a:pt x="7411" y="4654"/>
                </a:lnTo>
                <a:lnTo>
                  <a:pt x="7518" y="5196"/>
                </a:lnTo>
                <a:lnTo>
                  <a:pt x="7518" y="11583"/>
                </a:lnTo>
                <a:lnTo>
                  <a:pt x="12029" y="11583"/>
                </a:lnTo>
                <a:lnTo>
                  <a:pt x="12029" y="5304"/>
                </a:lnTo>
                <a:lnTo>
                  <a:pt x="12136" y="4871"/>
                </a:lnTo>
                <a:lnTo>
                  <a:pt x="12244" y="4546"/>
                </a:lnTo>
                <a:lnTo>
                  <a:pt x="12351" y="4221"/>
                </a:lnTo>
                <a:lnTo>
                  <a:pt x="12566" y="3788"/>
                </a:lnTo>
                <a:lnTo>
                  <a:pt x="12781" y="3680"/>
                </a:lnTo>
                <a:lnTo>
                  <a:pt x="12996" y="3572"/>
                </a:lnTo>
                <a:lnTo>
                  <a:pt x="13318" y="3464"/>
                </a:lnTo>
                <a:lnTo>
                  <a:pt x="13855" y="3464"/>
                </a:lnTo>
                <a:lnTo>
                  <a:pt x="14177" y="3572"/>
                </a:lnTo>
                <a:lnTo>
                  <a:pt x="14392" y="3788"/>
                </a:lnTo>
                <a:lnTo>
                  <a:pt x="14607" y="4005"/>
                </a:lnTo>
                <a:lnTo>
                  <a:pt x="14714" y="4330"/>
                </a:lnTo>
                <a:lnTo>
                  <a:pt x="14822" y="4763"/>
                </a:lnTo>
                <a:lnTo>
                  <a:pt x="14929" y="5196"/>
                </a:lnTo>
                <a:lnTo>
                  <a:pt x="14929" y="11583"/>
                </a:lnTo>
                <a:lnTo>
                  <a:pt x="19440" y="11583"/>
                </a:lnTo>
                <a:lnTo>
                  <a:pt x="19440" y="4005"/>
                </a:lnTo>
                <a:lnTo>
                  <a:pt x="19333" y="3247"/>
                </a:lnTo>
                <a:lnTo>
                  <a:pt x="19225" y="2598"/>
                </a:lnTo>
                <a:lnTo>
                  <a:pt x="19010" y="1948"/>
                </a:lnTo>
                <a:lnTo>
                  <a:pt x="18796" y="1515"/>
                </a:lnTo>
                <a:lnTo>
                  <a:pt x="18473" y="1082"/>
                </a:lnTo>
                <a:lnTo>
                  <a:pt x="18044" y="757"/>
                </a:lnTo>
                <a:lnTo>
                  <a:pt x="17614" y="433"/>
                </a:lnTo>
                <a:lnTo>
                  <a:pt x="17077" y="216"/>
                </a:lnTo>
                <a:lnTo>
                  <a:pt x="16540" y="108"/>
                </a:lnTo>
                <a:lnTo>
                  <a:pt x="15896" y="0"/>
                </a:lnTo>
                <a:lnTo>
                  <a:pt x="14714" y="0"/>
                </a:lnTo>
                <a:lnTo>
                  <a:pt x="14070" y="108"/>
                </a:lnTo>
                <a:lnTo>
                  <a:pt x="13533" y="324"/>
                </a:lnTo>
                <a:lnTo>
                  <a:pt x="13103" y="541"/>
                </a:lnTo>
                <a:lnTo>
                  <a:pt x="12566" y="757"/>
                </a:lnTo>
                <a:lnTo>
                  <a:pt x="12136" y="1190"/>
                </a:lnTo>
                <a:lnTo>
                  <a:pt x="11814" y="1515"/>
                </a:lnTo>
                <a:lnTo>
                  <a:pt x="11385" y="2056"/>
                </a:lnTo>
                <a:lnTo>
                  <a:pt x="11170" y="1515"/>
                </a:lnTo>
                <a:lnTo>
                  <a:pt x="10847" y="1190"/>
                </a:lnTo>
                <a:lnTo>
                  <a:pt x="10525" y="757"/>
                </a:lnTo>
                <a:lnTo>
                  <a:pt x="10096" y="541"/>
                </a:lnTo>
                <a:lnTo>
                  <a:pt x="9559" y="324"/>
                </a:lnTo>
                <a:lnTo>
                  <a:pt x="9022" y="108"/>
                </a:lnTo>
                <a:lnTo>
                  <a:pt x="8377" y="0"/>
                </a:lnTo>
                <a:lnTo>
                  <a:pt x="7196" y="0"/>
                </a:lnTo>
                <a:lnTo>
                  <a:pt x="6766" y="108"/>
                </a:lnTo>
                <a:lnTo>
                  <a:pt x="6229" y="324"/>
                </a:lnTo>
                <a:lnTo>
                  <a:pt x="5692" y="541"/>
                </a:lnTo>
                <a:lnTo>
                  <a:pt x="5262" y="866"/>
                </a:lnTo>
                <a:lnTo>
                  <a:pt x="4833" y="1190"/>
                </a:lnTo>
                <a:lnTo>
                  <a:pt x="4403" y="1515"/>
                </a:lnTo>
                <a:lnTo>
                  <a:pt x="4081" y="1948"/>
                </a:lnTo>
                <a:lnTo>
                  <a:pt x="4081" y="324"/>
                </a:lnTo>
                <a:lnTo>
                  <a:pt x="0" y="324"/>
                </a:lnTo>
                <a:lnTo>
                  <a:pt x="0" y="11583"/>
                </a:lnTo>
                <a:lnTo>
                  <a:pt x="4511" y="11583"/>
                </a:lnTo>
                <a:close/>
              </a:path>
            </a:pathLst>
          </a:custGeom>
          <a:solidFill>
            <a:srgbClr val="000000"/>
          </a:solidFill>
        </p:spPr>
        <p:txBody>
          <a:bodyPr wrap="square" lIns="0" tIns="0" rIns="0" bIns="0" rtlCol="0">
            <a:noAutofit/>
          </a:bodyPr>
          <a:lstStyle/>
          <a:p>
            <a:endParaRPr/>
          </a:p>
        </p:txBody>
      </p:sp>
      <p:sp>
        <p:nvSpPr>
          <p:cNvPr id="824" name="object 824"/>
          <p:cNvSpPr/>
          <p:nvPr/>
        </p:nvSpPr>
        <p:spPr>
          <a:xfrm>
            <a:off x="3448328" y="1670910"/>
            <a:ext cx="12888" cy="11908"/>
          </a:xfrm>
          <a:custGeom>
            <a:avLst/>
            <a:gdLst/>
            <a:ahLst/>
            <a:cxnLst/>
            <a:rect l="l" t="t" r="r" b="b"/>
            <a:pathLst>
              <a:path w="12888" h="11908">
                <a:moveTo>
                  <a:pt x="4511" y="5304"/>
                </a:moveTo>
                <a:lnTo>
                  <a:pt x="4618" y="4763"/>
                </a:lnTo>
                <a:lnTo>
                  <a:pt x="4725" y="4330"/>
                </a:lnTo>
                <a:lnTo>
                  <a:pt x="4940" y="3897"/>
                </a:lnTo>
                <a:lnTo>
                  <a:pt x="5262" y="3572"/>
                </a:lnTo>
                <a:lnTo>
                  <a:pt x="5585" y="3247"/>
                </a:lnTo>
                <a:lnTo>
                  <a:pt x="6014" y="3139"/>
                </a:lnTo>
                <a:lnTo>
                  <a:pt x="6551" y="3031"/>
                </a:lnTo>
                <a:lnTo>
                  <a:pt x="6981" y="3139"/>
                </a:lnTo>
                <a:lnTo>
                  <a:pt x="7411" y="3247"/>
                </a:lnTo>
                <a:lnTo>
                  <a:pt x="7733" y="3572"/>
                </a:lnTo>
                <a:lnTo>
                  <a:pt x="7948" y="3897"/>
                </a:lnTo>
                <a:lnTo>
                  <a:pt x="8162" y="4330"/>
                </a:lnTo>
                <a:lnTo>
                  <a:pt x="8270" y="4871"/>
                </a:lnTo>
                <a:lnTo>
                  <a:pt x="8377" y="5304"/>
                </a:lnTo>
                <a:lnTo>
                  <a:pt x="8377" y="5845"/>
                </a:lnTo>
                <a:lnTo>
                  <a:pt x="8270" y="7144"/>
                </a:lnTo>
                <a:lnTo>
                  <a:pt x="7948" y="8119"/>
                </a:lnTo>
                <a:lnTo>
                  <a:pt x="7303" y="8660"/>
                </a:lnTo>
                <a:lnTo>
                  <a:pt x="6873" y="11908"/>
                </a:lnTo>
                <a:lnTo>
                  <a:pt x="7303" y="11799"/>
                </a:lnTo>
                <a:lnTo>
                  <a:pt x="7733" y="11799"/>
                </a:lnTo>
                <a:lnTo>
                  <a:pt x="8162" y="11691"/>
                </a:lnTo>
                <a:lnTo>
                  <a:pt x="8485" y="11583"/>
                </a:lnTo>
                <a:lnTo>
                  <a:pt x="8914" y="11475"/>
                </a:lnTo>
                <a:lnTo>
                  <a:pt x="9344" y="11475"/>
                </a:lnTo>
                <a:lnTo>
                  <a:pt x="9666" y="11366"/>
                </a:lnTo>
                <a:lnTo>
                  <a:pt x="10310" y="11041"/>
                </a:lnTo>
                <a:lnTo>
                  <a:pt x="10955" y="10500"/>
                </a:lnTo>
                <a:lnTo>
                  <a:pt x="11492" y="9959"/>
                </a:lnTo>
                <a:lnTo>
                  <a:pt x="12029" y="9309"/>
                </a:lnTo>
                <a:lnTo>
                  <a:pt x="12244" y="8985"/>
                </a:lnTo>
                <a:lnTo>
                  <a:pt x="12351" y="8552"/>
                </a:lnTo>
                <a:lnTo>
                  <a:pt x="12566" y="8227"/>
                </a:lnTo>
                <a:lnTo>
                  <a:pt x="12673" y="7794"/>
                </a:lnTo>
                <a:lnTo>
                  <a:pt x="12781" y="7253"/>
                </a:lnTo>
                <a:lnTo>
                  <a:pt x="12781" y="6820"/>
                </a:lnTo>
                <a:lnTo>
                  <a:pt x="12888" y="6278"/>
                </a:lnTo>
                <a:lnTo>
                  <a:pt x="12888" y="4979"/>
                </a:lnTo>
                <a:lnTo>
                  <a:pt x="12781" y="4330"/>
                </a:lnTo>
                <a:lnTo>
                  <a:pt x="12566" y="3680"/>
                </a:lnTo>
                <a:lnTo>
                  <a:pt x="12351" y="3031"/>
                </a:lnTo>
                <a:lnTo>
                  <a:pt x="12029" y="2489"/>
                </a:lnTo>
                <a:lnTo>
                  <a:pt x="11599" y="1948"/>
                </a:lnTo>
                <a:lnTo>
                  <a:pt x="11170" y="1515"/>
                </a:lnTo>
                <a:lnTo>
                  <a:pt x="10740" y="1190"/>
                </a:lnTo>
                <a:lnTo>
                  <a:pt x="10310" y="866"/>
                </a:lnTo>
                <a:lnTo>
                  <a:pt x="9773" y="649"/>
                </a:lnTo>
                <a:lnTo>
                  <a:pt x="9236" y="433"/>
                </a:lnTo>
                <a:lnTo>
                  <a:pt x="8699" y="216"/>
                </a:lnTo>
                <a:lnTo>
                  <a:pt x="8162" y="108"/>
                </a:lnTo>
                <a:lnTo>
                  <a:pt x="7625" y="108"/>
                </a:lnTo>
                <a:lnTo>
                  <a:pt x="6981" y="0"/>
                </a:lnTo>
                <a:lnTo>
                  <a:pt x="5585" y="0"/>
                </a:lnTo>
                <a:lnTo>
                  <a:pt x="5155" y="108"/>
                </a:lnTo>
                <a:lnTo>
                  <a:pt x="4725" y="108"/>
                </a:lnTo>
                <a:lnTo>
                  <a:pt x="4403" y="216"/>
                </a:lnTo>
                <a:lnTo>
                  <a:pt x="3974" y="324"/>
                </a:lnTo>
                <a:lnTo>
                  <a:pt x="3544" y="541"/>
                </a:lnTo>
                <a:lnTo>
                  <a:pt x="3222" y="649"/>
                </a:lnTo>
                <a:lnTo>
                  <a:pt x="2470" y="974"/>
                </a:lnTo>
                <a:lnTo>
                  <a:pt x="1933" y="1407"/>
                </a:lnTo>
                <a:lnTo>
                  <a:pt x="1288" y="1948"/>
                </a:lnTo>
                <a:lnTo>
                  <a:pt x="859" y="2598"/>
                </a:lnTo>
                <a:lnTo>
                  <a:pt x="644" y="2922"/>
                </a:lnTo>
                <a:lnTo>
                  <a:pt x="429" y="3355"/>
                </a:lnTo>
                <a:lnTo>
                  <a:pt x="322" y="3788"/>
                </a:lnTo>
                <a:lnTo>
                  <a:pt x="214" y="4113"/>
                </a:lnTo>
                <a:lnTo>
                  <a:pt x="107" y="4654"/>
                </a:lnTo>
                <a:lnTo>
                  <a:pt x="0" y="5087"/>
                </a:lnTo>
                <a:lnTo>
                  <a:pt x="0" y="6820"/>
                </a:lnTo>
                <a:lnTo>
                  <a:pt x="107" y="7469"/>
                </a:lnTo>
                <a:lnTo>
                  <a:pt x="322" y="8119"/>
                </a:lnTo>
                <a:lnTo>
                  <a:pt x="537" y="8660"/>
                </a:lnTo>
                <a:lnTo>
                  <a:pt x="751" y="9201"/>
                </a:lnTo>
                <a:lnTo>
                  <a:pt x="1074" y="9742"/>
                </a:lnTo>
                <a:lnTo>
                  <a:pt x="1503" y="10175"/>
                </a:lnTo>
                <a:lnTo>
                  <a:pt x="1933" y="10500"/>
                </a:lnTo>
                <a:lnTo>
                  <a:pt x="2470" y="10825"/>
                </a:lnTo>
                <a:lnTo>
                  <a:pt x="2899" y="11150"/>
                </a:lnTo>
                <a:lnTo>
                  <a:pt x="3436" y="11366"/>
                </a:lnTo>
                <a:lnTo>
                  <a:pt x="3974" y="11583"/>
                </a:lnTo>
                <a:lnTo>
                  <a:pt x="4618" y="11691"/>
                </a:lnTo>
                <a:lnTo>
                  <a:pt x="4618" y="7036"/>
                </a:lnTo>
                <a:lnTo>
                  <a:pt x="4511" y="6495"/>
                </a:lnTo>
                <a:lnTo>
                  <a:pt x="4511" y="5304"/>
                </a:lnTo>
                <a:close/>
              </a:path>
            </a:pathLst>
          </a:custGeom>
          <a:solidFill>
            <a:srgbClr val="000000"/>
          </a:solidFill>
        </p:spPr>
        <p:txBody>
          <a:bodyPr wrap="square" lIns="0" tIns="0" rIns="0" bIns="0" rtlCol="0">
            <a:noAutofit/>
          </a:bodyPr>
          <a:lstStyle/>
          <a:p>
            <a:endParaRPr/>
          </a:p>
        </p:txBody>
      </p:sp>
      <p:sp>
        <p:nvSpPr>
          <p:cNvPr id="825" name="object 825"/>
          <p:cNvSpPr/>
          <p:nvPr/>
        </p:nvSpPr>
        <p:spPr>
          <a:xfrm>
            <a:off x="3296779" y="1667013"/>
            <a:ext cx="14177" cy="15480"/>
          </a:xfrm>
          <a:custGeom>
            <a:avLst/>
            <a:gdLst/>
            <a:ahLst/>
            <a:cxnLst/>
            <a:rect l="l" t="t" r="r" b="b"/>
            <a:pathLst>
              <a:path w="14177" h="15480">
                <a:moveTo>
                  <a:pt x="7840" y="6928"/>
                </a:moveTo>
                <a:lnTo>
                  <a:pt x="5262" y="6928"/>
                </a:lnTo>
                <a:lnTo>
                  <a:pt x="5262" y="3680"/>
                </a:lnTo>
                <a:lnTo>
                  <a:pt x="6659" y="3680"/>
                </a:lnTo>
                <a:lnTo>
                  <a:pt x="7840" y="3788"/>
                </a:lnTo>
                <a:lnTo>
                  <a:pt x="8592" y="4113"/>
                </a:lnTo>
                <a:lnTo>
                  <a:pt x="9129" y="4546"/>
                </a:lnTo>
                <a:lnTo>
                  <a:pt x="9236" y="5196"/>
                </a:lnTo>
                <a:lnTo>
                  <a:pt x="9451" y="10500"/>
                </a:lnTo>
                <a:lnTo>
                  <a:pt x="10203" y="10392"/>
                </a:lnTo>
                <a:lnTo>
                  <a:pt x="10847" y="10175"/>
                </a:lnTo>
                <a:lnTo>
                  <a:pt x="11385" y="9959"/>
                </a:lnTo>
                <a:lnTo>
                  <a:pt x="11922" y="9742"/>
                </a:lnTo>
                <a:lnTo>
                  <a:pt x="12351" y="9418"/>
                </a:lnTo>
                <a:lnTo>
                  <a:pt x="12781" y="9093"/>
                </a:lnTo>
                <a:lnTo>
                  <a:pt x="13103" y="8660"/>
                </a:lnTo>
                <a:lnTo>
                  <a:pt x="13425" y="8227"/>
                </a:lnTo>
                <a:lnTo>
                  <a:pt x="13640" y="7902"/>
                </a:lnTo>
                <a:lnTo>
                  <a:pt x="13855" y="7469"/>
                </a:lnTo>
                <a:lnTo>
                  <a:pt x="13962" y="6928"/>
                </a:lnTo>
                <a:lnTo>
                  <a:pt x="14070" y="6495"/>
                </a:lnTo>
                <a:lnTo>
                  <a:pt x="14177" y="5954"/>
                </a:lnTo>
                <a:lnTo>
                  <a:pt x="14177" y="4763"/>
                </a:lnTo>
                <a:lnTo>
                  <a:pt x="14070" y="4221"/>
                </a:lnTo>
                <a:lnTo>
                  <a:pt x="13855" y="3680"/>
                </a:lnTo>
                <a:lnTo>
                  <a:pt x="13747" y="3139"/>
                </a:lnTo>
                <a:lnTo>
                  <a:pt x="13533" y="2598"/>
                </a:lnTo>
                <a:lnTo>
                  <a:pt x="13210" y="2165"/>
                </a:lnTo>
                <a:lnTo>
                  <a:pt x="12888" y="1732"/>
                </a:lnTo>
                <a:lnTo>
                  <a:pt x="12459" y="1407"/>
                </a:lnTo>
                <a:lnTo>
                  <a:pt x="12029" y="1082"/>
                </a:lnTo>
                <a:lnTo>
                  <a:pt x="11599" y="757"/>
                </a:lnTo>
                <a:lnTo>
                  <a:pt x="11062" y="541"/>
                </a:lnTo>
                <a:lnTo>
                  <a:pt x="10418" y="324"/>
                </a:lnTo>
                <a:lnTo>
                  <a:pt x="9773" y="216"/>
                </a:lnTo>
                <a:lnTo>
                  <a:pt x="9022" y="108"/>
                </a:lnTo>
                <a:lnTo>
                  <a:pt x="8270" y="0"/>
                </a:lnTo>
                <a:lnTo>
                  <a:pt x="0" y="0"/>
                </a:lnTo>
                <a:lnTo>
                  <a:pt x="0" y="15480"/>
                </a:lnTo>
                <a:lnTo>
                  <a:pt x="5262" y="15480"/>
                </a:lnTo>
                <a:lnTo>
                  <a:pt x="5262" y="10608"/>
                </a:lnTo>
                <a:lnTo>
                  <a:pt x="8699" y="10608"/>
                </a:lnTo>
                <a:lnTo>
                  <a:pt x="8699" y="6495"/>
                </a:lnTo>
                <a:lnTo>
                  <a:pt x="8485" y="6711"/>
                </a:lnTo>
                <a:lnTo>
                  <a:pt x="8162" y="6820"/>
                </a:lnTo>
                <a:lnTo>
                  <a:pt x="7840" y="6928"/>
                </a:lnTo>
                <a:close/>
              </a:path>
            </a:pathLst>
          </a:custGeom>
          <a:solidFill>
            <a:srgbClr val="000000"/>
          </a:solidFill>
        </p:spPr>
        <p:txBody>
          <a:bodyPr wrap="square" lIns="0" tIns="0" rIns="0" bIns="0" rtlCol="0">
            <a:noAutofit/>
          </a:bodyPr>
          <a:lstStyle/>
          <a:p>
            <a:endParaRPr/>
          </a:p>
        </p:txBody>
      </p:sp>
      <p:sp>
        <p:nvSpPr>
          <p:cNvPr id="826" name="object 826"/>
          <p:cNvSpPr/>
          <p:nvPr/>
        </p:nvSpPr>
        <p:spPr>
          <a:xfrm>
            <a:off x="3305479" y="1672209"/>
            <a:ext cx="751" cy="5412"/>
          </a:xfrm>
          <a:custGeom>
            <a:avLst/>
            <a:gdLst/>
            <a:ahLst/>
            <a:cxnLst/>
            <a:rect l="l" t="t" r="r" b="b"/>
            <a:pathLst>
              <a:path w="751" h="5412">
                <a:moveTo>
                  <a:pt x="751" y="5304"/>
                </a:moveTo>
                <a:lnTo>
                  <a:pt x="537" y="0"/>
                </a:lnTo>
                <a:lnTo>
                  <a:pt x="537" y="433"/>
                </a:lnTo>
                <a:lnTo>
                  <a:pt x="429" y="757"/>
                </a:lnTo>
                <a:lnTo>
                  <a:pt x="214" y="1082"/>
                </a:lnTo>
                <a:lnTo>
                  <a:pt x="0" y="1299"/>
                </a:lnTo>
                <a:lnTo>
                  <a:pt x="0" y="5412"/>
                </a:lnTo>
                <a:lnTo>
                  <a:pt x="751" y="5304"/>
                </a:lnTo>
                <a:close/>
              </a:path>
            </a:pathLst>
          </a:custGeom>
          <a:solidFill>
            <a:srgbClr val="000000"/>
          </a:solidFill>
        </p:spPr>
        <p:txBody>
          <a:bodyPr wrap="square" lIns="0" tIns="0" rIns="0" bIns="0" rtlCol="0">
            <a:noAutofit/>
          </a:bodyPr>
          <a:lstStyle/>
          <a:p>
            <a:endParaRPr/>
          </a:p>
        </p:txBody>
      </p:sp>
      <p:sp>
        <p:nvSpPr>
          <p:cNvPr id="827" name="object 827"/>
          <p:cNvSpPr/>
          <p:nvPr/>
        </p:nvSpPr>
        <p:spPr>
          <a:xfrm>
            <a:off x="3312245" y="1671236"/>
            <a:ext cx="12244" cy="11583"/>
          </a:xfrm>
          <a:custGeom>
            <a:avLst/>
            <a:gdLst/>
            <a:ahLst/>
            <a:cxnLst/>
            <a:rect l="l" t="t" r="r" b="b"/>
            <a:pathLst>
              <a:path w="12244" h="11583">
                <a:moveTo>
                  <a:pt x="4833" y="7686"/>
                </a:moveTo>
                <a:lnTo>
                  <a:pt x="4725" y="7361"/>
                </a:lnTo>
                <a:lnTo>
                  <a:pt x="4618" y="7036"/>
                </a:lnTo>
                <a:lnTo>
                  <a:pt x="4511" y="6603"/>
                </a:lnTo>
                <a:lnTo>
                  <a:pt x="4511" y="0"/>
                </a:lnTo>
                <a:lnTo>
                  <a:pt x="0" y="0"/>
                </a:lnTo>
                <a:lnTo>
                  <a:pt x="0" y="7469"/>
                </a:lnTo>
                <a:lnTo>
                  <a:pt x="107" y="8119"/>
                </a:lnTo>
                <a:lnTo>
                  <a:pt x="214" y="8552"/>
                </a:lnTo>
                <a:lnTo>
                  <a:pt x="322" y="9093"/>
                </a:lnTo>
                <a:lnTo>
                  <a:pt x="429" y="9526"/>
                </a:lnTo>
                <a:lnTo>
                  <a:pt x="644" y="9851"/>
                </a:lnTo>
                <a:lnTo>
                  <a:pt x="966" y="10175"/>
                </a:lnTo>
                <a:lnTo>
                  <a:pt x="1181" y="10500"/>
                </a:lnTo>
                <a:lnTo>
                  <a:pt x="1503" y="10717"/>
                </a:lnTo>
                <a:lnTo>
                  <a:pt x="1825" y="11041"/>
                </a:lnTo>
                <a:lnTo>
                  <a:pt x="2148" y="11150"/>
                </a:lnTo>
                <a:lnTo>
                  <a:pt x="2577" y="11366"/>
                </a:lnTo>
                <a:lnTo>
                  <a:pt x="3007" y="11475"/>
                </a:lnTo>
                <a:lnTo>
                  <a:pt x="3436" y="11475"/>
                </a:lnTo>
                <a:lnTo>
                  <a:pt x="3866" y="11583"/>
                </a:lnTo>
                <a:lnTo>
                  <a:pt x="4403" y="11583"/>
                </a:lnTo>
                <a:lnTo>
                  <a:pt x="4833" y="11475"/>
                </a:lnTo>
                <a:lnTo>
                  <a:pt x="5477" y="11475"/>
                </a:lnTo>
                <a:lnTo>
                  <a:pt x="5799" y="11366"/>
                </a:lnTo>
                <a:lnTo>
                  <a:pt x="6122" y="11258"/>
                </a:lnTo>
                <a:lnTo>
                  <a:pt x="6444" y="11150"/>
                </a:lnTo>
                <a:lnTo>
                  <a:pt x="6659" y="11041"/>
                </a:lnTo>
                <a:lnTo>
                  <a:pt x="6981" y="10825"/>
                </a:lnTo>
                <a:lnTo>
                  <a:pt x="7196" y="10608"/>
                </a:lnTo>
                <a:lnTo>
                  <a:pt x="7518" y="10392"/>
                </a:lnTo>
                <a:lnTo>
                  <a:pt x="7840" y="10067"/>
                </a:lnTo>
                <a:lnTo>
                  <a:pt x="8055" y="9634"/>
                </a:lnTo>
                <a:lnTo>
                  <a:pt x="8055" y="11258"/>
                </a:lnTo>
                <a:lnTo>
                  <a:pt x="12244" y="11258"/>
                </a:lnTo>
                <a:lnTo>
                  <a:pt x="12244" y="0"/>
                </a:lnTo>
                <a:lnTo>
                  <a:pt x="7733" y="0"/>
                </a:lnTo>
                <a:lnTo>
                  <a:pt x="7733" y="6170"/>
                </a:lnTo>
                <a:lnTo>
                  <a:pt x="7625" y="6711"/>
                </a:lnTo>
                <a:lnTo>
                  <a:pt x="7411" y="7253"/>
                </a:lnTo>
                <a:lnTo>
                  <a:pt x="7303" y="7577"/>
                </a:lnTo>
                <a:lnTo>
                  <a:pt x="7088" y="7794"/>
                </a:lnTo>
                <a:lnTo>
                  <a:pt x="6766" y="8010"/>
                </a:lnTo>
                <a:lnTo>
                  <a:pt x="6444" y="8119"/>
                </a:lnTo>
                <a:lnTo>
                  <a:pt x="5585" y="8119"/>
                </a:lnTo>
                <a:lnTo>
                  <a:pt x="5262" y="8010"/>
                </a:lnTo>
                <a:lnTo>
                  <a:pt x="5048" y="7902"/>
                </a:lnTo>
                <a:lnTo>
                  <a:pt x="4833" y="7686"/>
                </a:lnTo>
                <a:close/>
              </a:path>
            </a:pathLst>
          </a:custGeom>
          <a:solidFill>
            <a:srgbClr val="000000"/>
          </a:solidFill>
        </p:spPr>
        <p:txBody>
          <a:bodyPr wrap="square" lIns="0" tIns="0" rIns="0" bIns="0" rtlCol="0">
            <a:noAutofit/>
          </a:bodyPr>
          <a:lstStyle/>
          <a:p>
            <a:endParaRPr/>
          </a:p>
        </p:txBody>
      </p:sp>
      <p:sp>
        <p:nvSpPr>
          <p:cNvPr id="828" name="object 828"/>
          <p:cNvSpPr/>
          <p:nvPr/>
        </p:nvSpPr>
        <p:spPr>
          <a:xfrm>
            <a:off x="3326316" y="1670910"/>
            <a:ext cx="12781" cy="11908"/>
          </a:xfrm>
          <a:custGeom>
            <a:avLst/>
            <a:gdLst/>
            <a:ahLst/>
            <a:cxnLst/>
            <a:rect l="l" t="t" r="r" b="b"/>
            <a:pathLst>
              <a:path w="12781" h="11908">
                <a:moveTo>
                  <a:pt x="4940" y="8119"/>
                </a:moveTo>
                <a:lnTo>
                  <a:pt x="4725" y="7686"/>
                </a:lnTo>
                <a:lnTo>
                  <a:pt x="4618" y="7144"/>
                </a:lnTo>
                <a:lnTo>
                  <a:pt x="4511" y="6603"/>
                </a:lnTo>
                <a:lnTo>
                  <a:pt x="4511" y="6062"/>
                </a:lnTo>
                <a:lnTo>
                  <a:pt x="4618" y="4763"/>
                </a:lnTo>
                <a:lnTo>
                  <a:pt x="5048" y="3788"/>
                </a:lnTo>
                <a:lnTo>
                  <a:pt x="5585" y="3247"/>
                </a:lnTo>
                <a:lnTo>
                  <a:pt x="6444" y="3031"/>
                </a:lnTo>
                <a:lnTo>
                  <a:pt x="6766" y="3031"/>
                </a:lnTo>
                <a:lnTo>
                  <a:pt x="7088" y="3139"/>
                </a:lnTo>
                <a:lnTo>
                  <a:pt x="7411" y="3247"/>
                </a:lnTo>
                <a:lnTo>
                  <a:pt x="7625" y="3464"/>
                </a:lnTo>
                <a:lnTo>
                  <a:pt x="7840" y="3680"/>
                </a:lnTo>
                <a:lnTo>
                  <a:pt x="7948" y="4005"/>
                </a:lnTo>
                <a:lnTo>
                  <a:pt x="8055" y="4330"/>
                </a:lnTo>
                <a:lnTo>
                  <a:pt x="8162" y="4654"/>
                </a:lnTo>
                <a:lnTo>
                  <a:pt x="12673" y="4654"/>
                </a:lnTo>
                <a:lnTo>
                  <a:pt x="12566" y="3897"/>
                </a:lnTo>
                <a:lnTo>
                  <a:pt x="12351" y="3247"/>
                </a:lnTo>
                <a:lnTo>
                  <a:pt x="12029" y="2598"/>
                </a:lnTo>
                <a:lnTo>
                  <a:pt x="11707" y="2056"/>
                </a:lnTo>
                <a:lnTo>
                  <a:pt x="11277" y="1623"/>
                </a:lnTo>
                <a:lnTo>
                  <a:pt x="10740" y="1190"/>
                </a:lnTo>
                <a:lnTo>
                  <a:pt x="10203" y="866"/>
                </a:lnTo>
                <a:lnTo>
                  <a:pt x="9559" y="541"/>
                </a:lnTo>
                <a:lnTo>
                  <a:pt x="8914" y="324"/>
                </a:lnTo>
                <a:lnTo>
                  <a:pt x="8162" y="108"/>
                </a:lnTo>
                <a:lnTo>
                  <a:pt x="7303" y="0"/>
                </a:lnTo>
                <a:lnTo>
                  <a:pt x="5477" y="0"/>
                </a:lnTo>
                <a:lnTo>
                  <a:pt x="4940" y="108"/>
                </a:lnTo>
                <a:lnTo>
                  <a:pt x="4511" y="216"/>
                </a:lnTo>
                <a:lnTo>
                  <a:pt x="3974" y="324"/>
                </a:lnTo>
                <a:lnTo>
                  <a:pt x="3544" y="433"/>
                </a:lnTo>
                <a:lnTo>
                  <a:pt x="3222" y="649"/>
                </a:lnTo>
                <a:lnTo>
                  <a:pt x="2792" y="866"/>
                </a:lnTo>
                <a:lnTo>
                  <a:pt x="2148" y="1299"/>
                </a:lnTo>
                <a:lnTo>
                  <a:pt x="1503" y="1840"/>
                </a:lnTo>
                <a:lnTo>
                  <a:pt x="1074" y="2489"/>
                </a:lnTo>
                <a:lnTo>
                  <a:pt x="644" y="3139"/>
                </a:lnTo>
                <a:lnTo>
                  <a:pt x="322" y="3788"/>
                </a:lnTo>
                <a:lnTo>
                  <a:pt x="214" y="4546"/>
                </a:lnTo>
                <a:lnTo>
                  <a:pt x="0" y="5412"/>
                </a:lnTo>
                <a:lnTo>
                  <a:pt x="0" y="6711"/>
                </a:lnTo>
                <a:lnTo>
                  <a:pt x="107" y="7253"/>
                </a:lnTo>
                <a:lnTo>
                  <a:pt x="214" y="7794"/>
                </a:lnTo>
                <a:lnTo>
                  <a:pt x="322" y="8335"/>
                </a:lnTo>
                <a:lnTo>
                  <a:pt x="537" y="8876"/>
                </a:lnTo>
                <a:lnTo>
                  <a:pt x="859" y="9309"/>
                </a:lnTo>
                <a:lnTo>
                  <a:pt x="1181" y="9742"/>
                </a:lnTo>
                <a:lnTo>
                  <a:pt x="1611" y="10175"/>
                </a:lnTo>
                <a:lnTo>
                  <a:pt x="2040" y="10608"/>
                </a:lnTo>
                <a:lnTo>
                  <a:pt x="2470" y="10933"/>
                </a:lnTo>
                <a:lnTo>
                  <a:pt x="3007" y="11258"/>
                </a:lnTo>
                <a:lnTo>
                  <a:pt x="3651" y="11475"/>
                </a:lnTo>
                <a:lnTo>
                  <a:pt x="4296" y="11583"/>
                </a:lnTo>
                <a:lnTo>
                  <a:pt x="4940" y="11799"/>
                </a:lnTo>
                <a:lnTo>
                  <a:pt x="5692" y="11908"/>
                </a:lnTo>
                <a:lnTo>
                  <a:pt x="7088" y="11908"/>
                </a:lnTo>
                <a:lnTo>
                  <a:pt x="7733" y="11799"/>
                </a:lnTo>
                <a:lnTo>
                  <a:pt x="8377" y="11799"/>
                </a:lnTo>
                <a:lnTo>
                  <a:pt x="8914" y="11691"/>
                </a:lnTo>
                <a:lnTo>
                  <a:pt x="9451" y="11475"/>
                </a:lnTo>
                <a:lnTo>
                  <a:pt x="9881" y="11366"/>
                </a:lnTo>
                <a:lnTo>
                  <a:pt x="10418" y="11041"/>
                </a:lnTo>
                <a:lnTo>
                  <a:pt x="10847" y="10825"/>
                </a:lnTo>
                <a:lnTo>
                  <a:pt x="11277" y="10500"/>
                </a:lnTo>
                <a:lnTo>
                  <a:pt x="11599" y="10175"/>
                </a:lnTo>
                <a:lnTo>
                  <a:pt x="11922" y="9742"/>
                </a:lnTo>
                <a:lnTo>
                  <a:pt x="12136" y="9309"/>
                </a:lnTo>
                <a:lnTo>
                  <a:pt x="12351" y="8876"/>
                </a:lnTo>
                <a:lnTo>
                  <a:pt x="12566" y="8335"/>
                </a:lnTo>
                <a:lnTo>
                  <a:pt x="12673" y="7794"/>
                </a:lnTo>
                <a:lnTo>
                  <a:pt x="12781" y="7253"/>
                </a:lnTo>
                <a:lnTo>
                  <a:pt x="8162" y="7253"/>
                </a:lnTo>
                <a:lnTo>
                  <a:pt x="8055" y="8010"/>
                </a:lnTo>
                <a:lnTo>
                  <a:pt x="7733" y="8443"/>
                </a:lnTo>
                <a:lnTo>
                  <a:pt x="7196" y="8768"/>
                </a:lnTo>
                <a:lnTo>
                  <a:pt x="6551" y="8876"/>
                </a:lnTo>
                <a:lnTo>
                  <a:pt x="6014" y="8876"/>
                </a:lnTo>
                <a:lnTo>
                  <a:pt x="5585" y="8660"/>
                </a:lnTo>
                <a:lnTo>
                  <a:pt x="5262" y="8443"/>
                </a:lnTo>
                <a:lnTo>
                  <a:pt x="4940" y="8119"/>
                </a:lnTo>
                <a:close/>
              </a:path>
            </a:pathLst>
          </a:custGeom>
          <a:solidFill>
            <a:srgbClr val="000000"/>
          </a:solidFill>
        </p:spPr>
        <p:txBody>
          <a:bodyPr wrap="square" lIns="0" tIns="0" rIns="0" bIns="0" rtlCol="0">
            <a:noAutofit/>
          </a:bodyPr>
          <a:lstStyle/>
          <a:p>
            <a:endParaRPr/>
          </a:p>
        </p:txBody>
      </p:sp>
      <p:sp>
        <p:nvSpPr>
          <p:cNvPr id="829" name="object 829"/>
          <p:cNvSpPr/>
          <p:nvPr/>
        </p:nvSpPr>
        <p:spPr>
          <a:xfrm>
            <a:off x="3341030" y="1667013"/>
            <a:ext cx="12244" cy="15480"/>
          </a:xfrm>
          <a:custGeom>
            <a:avLst/>
            <a:gdLst/>
            <a:ahLst/>
            <a:cxnLst/>
            <a:rect l="l" t="t" r="r" b="b"/>
            <a:pathLst>
              <a:path w="12244" h="15480">
                <a:moveTo>
                  <a:pt x="0" y="0"/>
                </a:moveTo>
                <a:lnTo>
                  <a:pt x="0" y="15480"/>
                </a:lnTo>
                <a:lnTo>
                  <a:pt x="4511" y="15480"/>
                </a:lnTo>
                <a:lnTo>
                  <a:pt x="4511" y="9634"/>
                </a:lnTo>
                <a:lnTo>
                  <a:pt x="4618" y="8660"/>
                </a:lnTo>
                <a:lnTo>
                  <a:pt x="4940" y="7902"/>
                </a:lnTo>
                <a:lnTo>
                  <a:pt x="5370" y="7469"/>
                </a:lnTo>
                <a:lnTo>
                  <a:pt x="6122" y="7361"/>
                </a:lnTo>
                <a:lnTo>
                  <a:pt x="6551" y="7361"/>
                </a:lnTo>
                <a:lnTo>
                  <a:pt x="6873" y="7469"/>
                </a:lnTo>
                <a:lnTo>
                  <a:pt x="7088" y="7686"/>
                </a:lnTo>
                <a:lnTo>
                  <a:pt x="7303" y="7902"/>
                </a:lnTo>
                <a:lnTo>
                  <a:pt x="7518" y="8227"/>
                </a:lnTo>
                <a:lnTo>
                  <a:pt x="7625" y="8552"/>
                </a:lnTo>
                <a:lnTo>
                  <a:pt x="7733" y="9093"/>
                </a:lnTo>
                <a:lnTo>
                  <a:pt x="7733" y="15480"/>
                </a:lnTo>
                <a:lnTo>
                  <a:pt x="12244" y="15480"/>
                </a:lnTo>
                <a:lnTo>
                  <a:pt x="12244" y="8010"/>
                </a:lnTo>
                <a:lnTo>
                  <a:pt x="12136" y="7577"/>
                </a:lnTo>
                <a:lnTo>
                  <a:pt x="12136" y="7144"/>
                </a:lnTo>
                <a:lnTo>
                  <a:pt x="12029" y="6711"/>
                </a:lnTo>
                <a:lnTo>
                  <a:pt x="11814" y="6278"/>
                </a:lnTo>
                <a:lnTo>
                  <a:pt x="11707" y="5845"/>
                </a:lnTo>
                <a:lnTo>
                  <a:pt x="11385" y="5520"/>
                </a:lnTo>
                <a:lnTo>
                  <a:pt x="11170" y="5196"/>
                </a:lnTo>
                <a:lnTo>
                  <a:pt x="10955" y="4871"/>
                </a:lnTo>
                <a:lnTo>
                  <a:pt x="10633" y="4654"/>
                </a:lnTo>
                <a:lnTo>
                  <a:pt x="10310" y="4438"/>
                </a:lnTo>
                <a:lnTo>
                  <a:pt x="9881" y="4221"/>
                </a:lnTo>
                <a:lnTo>
                  <a:pt x="9451" y="4113"/>
                </a:lnTo>
                <a:lnTo>
                  <a:pt x="9022" y="4005"/>
                </a:lnTo>
                <a:lnTo>
                  <a:pt x="8485" y="3897"/>
                </a:lnTo>
                <a:lnTo>
                  <a:pt x="7411" y="3897"/>
                </a:lnTo>
                <a:lnTo>
                  <a:pt x="6981" y="4005"/>
                </a:lnTo>
                <a:lnTo>
                  <a:pt x="6551" y="4113"/>
                </a:lnTo>
                <a:lnTo>
                  <a:pt x="6122" y="4221"/>
                </a:lnTo>
                <a:lnTo>
                  <a:pt x="5692" y="4438"/>
                </a:lnTo>
                <a:lnTo>
                  <a:pt x="5370" y="4763"/>
                </a:lnTo>
                <a:lnTo>
                  <a:pt x="4940" y="5196"/>
                </a:lnTo>
                <a:lnTo>
                  <a:pt x="4511" y="5629"/>
                </a:lnTo>
                <a:lnTo>
                  <a:pt x="4511" y="0"/>
                </a:lnTo>
                <a:lnTo>
                  <a:pt x="0" y="0"/>
                </a:lnTo>
                <a:close/>
              </a:path>
            </a:pathLst>
          </a:custGeom>
          <a:solidFill>
            <a:srgbClr val="000000"/>
          </a:solidFill>
        </p:spPr>
        <p:txBody>
          <a:bodyPr wrap="square" lIns="0" tIns="0" rIns="0" bIns="0" rtlCol="0">
            <a:noAutofit/>
          </a:bodyPr>
          <a:lstStyle/>
          <a:p>
            <a:endParaRPr/>
          </a:p>
        </p:txBody>
      </p:sp>
      <p:sp>
        <p:nvSpPr>
          <p:cNvPr id="830" name="object 830"/>
          <p:cNvSpPr/>
          <p:nvPr/>
        </p:nvSpPr>
        <p:spPr>
          <a:xfrm>
            <a:off x="3354885" y="1670910"/>
            <a:ext cx="13210" cy="11908"/>
          </a:xfrm>
          <a:custGeom>
            <a:avLst/>
            <a:gdLst/>
            <a:ahLst/>
            <a:cxnLst/>
            <a:rect l="l" t="t" r="r" b="b"/>
            <a:pathLst>
              <a:path w="13210" h="11908">
                <a:moveTo>
                  <a:pt x="12566" y="10175"/>
                </a:moveTo>
                <a:lnTo>
                  <a:pt x="12566" y="3572"/>
                </a:lnTo>
                <a:lnTo>
                  <a:pt x="12459" y="2922"/>
                </a:lnTo>
                <a:lnTo>
                  <a:pt x="12351" y="2381"/>
                </a:lnTo>
                <a:lnTo>
                  <a:pt x="12136" y="1948"/>
                </a:lnTo>
                <a:lnTo>
                  <a:pt x="11922" y="1515"/>
                </a:lnTo>
                <a:lnTo>
                  <a:pt x="11599" y="1082"/>
                </a:lnTo>
                <a:lnTo>
                  <a:pt x="11170" y="757"/>
                </a:lnTo>
                <a:lnTo>
                  <a:pt x="10633" y="541"/>
                </a:lnTo>
                <a:lnTo>
                  <a:pt x="10310" y="433"/>
                </a:lnTo>
                <a:lnTo>
                  <a:pt x="9988" y="324"/>
                </a:lnTo>
                <a:lnTo>
                  <a:pt x="9559" y="216"/>
                </a:lnTo>
                <a:lnTo>
                  <a:pt x="9129" y="108"/>
                </a:lnTo>
                <a:lnTo>
                  <a:pt x="8699" y="108"/>
                </a:lnTo>
                <a:lnTo>
                  <a:pt x="8270" y="0"/>
                </a:lnTo>
                <a:lnTo>
                  <a:pt x="6014" y="0"/>
                </a:lnTo>
                <a:lnTo>
                  <a:pt x="5477" y="108"/>
                </a:lnTo>
                <a:lnTo>
                  <a:pt x="4940" y="108"/>
                </a:lnTo>
                <a:lnTo>
                  <a:pt x="4511" y="216"/>
                </a:lnTo>
                <a:lnTo>
                  <a:pt x="3974" y="324"/>
                </a:lnTo>
                <a:lnTo>
                  <a:pt x="3651" y="433"/>
                </a:lnTo>
                <a:lnTo>
                  <a:pt x="3222" y="541"/>
                </a:lnTo>
                <a:lnTo>
                  <a:pt x="2577" y="757"/>
                </a:lnTo>
                <a:lnTo>
                  <a:pt x="2040" y="1082"/>
                </a:lnTo>
                <a:lnTo>
                  <a:pt x="1611" y="1407"/>
                </a:lnTo>
                <a:lnTo>
                  <a:pt x="1288" y="1840"/>
                </a:lnTo>
                <a:lnTo>
                  <a:pt x="1074" y="2381"/>
                </a:lnTo>
                <a:lnTo>
                  <a:pt x="859" y="2814"/>
                </a:lnTo>
                <a:lnTo>
                  <a:pt x="751" y="3355"/>
                </a:lnTo>
                <a:lnTo>
                  <a:pt x="751" y="3897"/>
                </a:lnTo>
                <a:lnTo>
                  <a:pt x="5155" y="3897"/>
                </a:lnTo>
                <a:lnTo>
                  <a:pt x="5262" y="3355"/>
                </a:lnTo>
                <a:lnTo>
                  <a:pt x="5585" y="3031"/>
                </a:lnTo>
                <a:lnTo>
                  <a:pt x="6014" y="2814"/>
                </a:lnTo>
                <a:lnTo>
                  <a:pt x="6659" y="2706"/>
                </a:lnTo>
                <a:lnTo>
                  <a:pt x="6981" y="2706"/>
                </a:lnTo>
                <a:lnTo>
                  <a:pt x="7303" y="2814"/>
                </a:lnTo>
                <a:lnTo>
                  <a:pt x="7518" y="2922"/>
                </a:lnTo>
                <a:lnTo>
                  <a:pt x="7733" y="3031"/>
                </a:lnTo>
                <a:lnTo>
                  <a:pt x="7948" y="3247"/>
                </a:lnTo>
                <a:lnTo>
                  <a:pt x="8055" y="3464"/>
                </a:lnTo>
                <a:lnTo>
                  <a:pt x="8055" y="3897"/>
                </a:lnTo>
                <a:lnTo>
                  <a:pt x="7948" y="4113"/>
                </a:lnTo>
                <a:lnTo>
                  <a:pt x="7733" y="4221"/>
                </a:lnTo>
                <a:lnTo>
                  <a:pt x="7518" y="4330"/>
                </a:lnTo>
                <a:lnTo>
                  <a:pt x="7303" y="4438"/>
                </a:lnTo>
                <a:lnTo>
                  <a:pt x="6981" y="4438"/>
                </a:lnTo>
                <a:lnTo>
                  <a:pt x="6659" y="4546"/>
                </a:lnTo>
                <a:lnTo>
                  <a:pt x="6229" y="4654"/>
                </a:lnTo>
                <a:lnTo>
                  <a:pt x="5799" y="4763"/>
                </a:lnTo>
                <a:lnTo>
                  <a:pt x="5370" y="4763"/>
                </a:lnTo>
                <a:lnTo>
                  <a:pt x="4833" y="4871"/>
                </a:lnTo>
                <a:lnTo>
                  <a:pt x="4296" y="4979"/>
                </a:lnTo>
                <a:lnTo>
                  <a:pt x="3759" y="5087"/>
                </a:lnTo>
                <a:lnTo>
                  <a:pt x="3222" y="5196"/>
                </a:lnTo>
                <a:lnTo>
                  <a:pt x="2792" y="5304"/>
                </a:lnTo>
                <a:lnTo>
                  <a:pt x="2255" y="5412"/>
                </a:lnTo>
                <a:lnTo>
                  <a:pt x="1825" y="5629"/>
                </a:lnTo>
                <a:lnTo>
                  <a:pt x="1503" y="5737"/>
                </a:lnTo>
                <a:lnTo>
                  <a:pt x="1181" y="5954"/>
                </a:lnTo>
                <a:lnTo>
                  <a:pt x="859" y="6278"/>
                </a:lnTo>
                <a:lnTo>
                  <a:pt x="537" y="6711"/>
                </a:lnTo>
                <a:lnTo>
                  <a:pt x="214" y="7253"/>
                </a:lnTo>
                <a:lnTo>
                  <a:pt x="107" y="7902"/>
                </a:lnTo>
                <a:lnTo>
                  <a:pt x="0" y="8552"/>
                </a:lnTo>
                <a:lnTo>
                  <a:pt x="0" y="9093"/>
                </a:lnTo>
                <a:lnTo>
                  <a:pt x="214" y="9634"/>
                </a:lnTo>
                <a:lnTo>
                  <a:pt x="322" y="10067"/>
                </a:lnTo>
                <a:lnTo>
                  <a:pt x="644" y="10500"/>
                </a:lnTo>
                <a:lnTo>
                  <a:pt x="966" y="10825"/>
                </a:lnTo>
                <a:lnTo>
                  <a:pt x="1288" y="11150"/>
                </a:lnTo>
                <a:lnTo>
                  <a:pt x="1718" y="11366"/>
                </a:lnTo>
                <a:lnTo>
                  <a:pt x="2148" y="11583"/>
                </a:lnTo>
                <a:lnTo>
                  <a:pt x="2577" y="11691"/>
                </a:lnTo>
                <a:lnTo>
                  <a:pt x="3007" y="11691"/>
                </a:lnTo>
                <a:lnTo>
                  <a:pt x="3544" y="11799"/>
                </a:lnTo>
                <a:lnTo>
                  <a:pt x="3974" y="11908"/>
                </a:lnTo>
                <a:lnTo>
                  <a:pt x="4618" y="11908"/>
                </a:lnTo>
                <a:lnTo>
                  <a:pt x="5262" y="11799"/>
                </a:lnTo>
                <a:lnTo>
                  <a:pt x="5048" y="9201"/>
                </a:lnTo>
                <a:lnTo>
                  <a:pt x="4833" y="8876"/>
                </a:lnTo>
                <a:lnTo>
                  <a:pt x="4725" y="8443"/>
                </a:lnTo>
                <a:lnTo>
                  <a:pt x="4725" y="8119"/>
                </a:lnTo>
                <a:lnTo>
                  <a:pt x="4833" y="7902"/>
                </a:lnTo>
                <a:lnTo>
                  <a:pt x="4940" y="7686"/>
                </a:lnTo>
                <a:lnTo>
                  <a:pt x="5155" y="7577"/>
                </a:lnTo>
                <a:lnTo>
                  <a:pt x="5477" y="7469"/>
                </a:lnTo>
                <a:lnTo>
                  <a:pt x="5799" y="7253"/>
                </a:lnTo>
                <a:lnTo>
                  <a:pt x="6229" y="7144"/>
                </a:lnTo>
                <a:lnTo>
                  <a:pt x="6659" y="7036"/>
                </a:lnTo>
                <a:lnTo>
                  <a:pt x="7088" y="6928"/>
                </a:lnTo>
                <a:lnTo>
                  <a:pt x="7518" y="6820"/>
                </a:lnTo>
                <a:lnTo>
                  <a:pt x="7840" y="6711"/>
                </a:lnTo>
                <a:lnTo>
                  <a:pt x="8055" y="6603"/>
                </a:lnTo>
                <a:lnTo>
                  <a:pt x="8055" y="7469"/>
                </a:lnTo>
                <a:lnTo>
                  <a:pt x="7948" y="8010"/>
                </a:lnTo>
                <a:lnTo>
                  <a:pt x="7948" y="10717"/>
                </a:lnTo>
                <a:lnTo>
                  <a:pt x="8377" y="10392"/>
                </a:lnTo>
                <a:lnTo>
                  <a:pt x="8592" y="11583"/>
                </a:lnTo>
                <a:lnTo>
                  <a:pt x="13210" y="11583"/>
                </a:lnTo>
                <a:lnTo>
                  <a:pt x="13210" y="11366"/>
                </a:lnTo>
                <a:lnTo>
                  <a:pt x="12996" y="11258"/>
                </a:lnTo>
                <a:lnTo>
                  <a:pt x="12888" y="11041"/>
                </a:lnTo>
                <a:lnTo>
                  <a:pt x="12673" y="10825"/>
                </a:lnTo>
                <a:lnTo>
                  <a:pt x="12673" y="10392"/>
                </a:lnTo>
                <a:lnTo>
                  <a:pt x="12566" y="10175"/>
                </a:lnTo>
                <a:close/>
              </a:path>
            </a:pathLst>
          </a:custGeom>
          <a:solidFill>
            <a:srgbClr val="000000"/>
          </a:solidFill>
        </p:spPr>
        <p:txBody>
          <a:bodyPr wrap="square" lIns="0" tIns="0" rIns="0" bIns="0" rtlCol="0">
            <a:noAutofit/>
          </a:bodyPr>
          <a:lstStyle/>
          <a:p>
            <a:endParaRPr/>
          </a:p>
        </p:txBody>
      </p:sp>
      <p:sp>
        <p:nvSpPr>
          <p:cNvPr id="831" name="object 831"/>
          <p:cNvSpPr/>
          <p:nvPr/>
        </p:nvSpPr>
        <p:spPr>
          <a:xfrm>
            <a:off x="3359934" y="1678921"/>
            <a:ext cx="2899" cy="3788"/>
          </a:xfrm>
          <a:custGeom>
            <a:avLst/>
            <a:gdLst/>
            <a:ahLst/>
            <a:cxnLst/>
            <a:rect l="l" t="t" r="r" b="b"/>
            <a:pathLst>
              <a:path w="2899" h="3788">
                <a:moveTo>
                  <a:pt x="2899" y="0"/>
                </a:moveTo>
                <a:lnTo>
                  <a:pt x="2685" y="433"/>
                </a:lnTo>
                <a:lnTo>
                  <a:pt x="2470" y="757"/>
                </a:lnTo>
                <a:lnTo>
                  <a:pt x="2148" y="1082"/>
                </a:lnTo>
                <a:lnTo>
                  <a:pt x="1825" y="1190"/>
                </a:lnTo>
                <a:lnTo>
                  <a:pt x="1396" y="1407"/>
                </a:lnTo>
                <a:lnTo>
                  <a:pt x="966" y="1407"/>
                </a:lnTo>
                <a:lnTo>
                  <a:pt x="429" y="1299"/>
                </a:lnTo>
                <a:lnTo>
                  <a:pt x="0" y="1190"/>
                </a:lnTo>
                <a:lnTo>
                  <a:pt x="214" y="3788"/>
                </a:lnTo>
                <a:lnTo>
                  <a:pt x="859" y="3680"/>
                </a:lnTo>
                <a:lnTo>
                  <a:pt x="1396" y="3572"/>
                </a:lnTo>
                <a:lnTo>
                  <a:pt x="1933" y="3355"/>
                </a:lnTo>
                <a:lnTo>
                  <a:pt x="2362" y="3031"/>
                </a:lnTo>
                <a:lnTo>
                  <a:pt x="2899" y="2706"/>
                </a:lnTo>
                <a:lnTo>
                  <a:pt x="2899" y="0"/>
                </a:lnTo>
                <a:close/>
              </a:path>
            </a:pathLst>
          </a:custGeom>
          <a:solidFill>
            <a:srgbClr val="000000"/>
          </a:solidFill>
        </p:spPr>
        <p:txBody>
          <a:bodyPr wrap="square" lIns="0" tIns="0" rIns="0" bIns="0" rtlCol="0">
            <a:noAutofit/>
          </a:bodyPr>
          <a:lstStyle/>
          <a:p>
            <a:endParaRPr/>
          </a:p>
        </p:txBody>
      </p:sp>
      <p:sp>
        <p:nvSpPr>
          <p:cNvPr id="832" name="object 832"/>
          <p:cNvSpPr/>
          <p:nvPr/>
        </p:nvSpPr>
        <p:spPr>
          <a:xfrm>
            <a:off x="3369493" y="1670910"/>
            <a:ext cx="11707" cy="11908"/>
          </a:xfrm>
          <a:custGeom>
            <a:avLst/>
            <a:gdLst/>
            <a:ahLst/>
            <a:cxnLst/>
            <a:rect l="l" t="t" r="r" b="b"/>
            <a:pathLst>
              <a:path w="11707" h="11908">
                <a:moveTo>
                  <a:pt x="2899" y="11583"/>
                </a:moveTo>
                <a:lnTo>
                  <a:pt x="3544" y="11691"/>
                </a:lnTo>
                <a:lnTo>
                  <a:pt x="4188" y="11691"/>
                </a:lnTo>
                <a:lnTo>
                  <a:pt x="4940" y="11799"/>
                </a:lnTo>
                <a:lnTo>
                  <a:pt x="5692" y="11908"/>
                </a:lnTo>
                <a:lnTo>
                  <a:pt x="6444" y="11908"/>
                </a:lnTo>
                <a:lnTo>
                  <a:pt x="7303" y="11799"/>
                </a:lnTo>
                <a:lnTo>
                  <a:pt x="8055" y="11583"/>
                </a:lnTo>
                <a:lnTo>
                  <a:pt x="8807" y="11475"/>
                </a:lnTo>
                <a:lnTo>
                  <a:pt x="9451" y="11258"/>
                </a:lnTo>
                <a:lnTo>
                  <a:pt x="9988" y="10933"/>
                </a:lnTo>
                <a:lnTo>
                  <a:pt x="10525" y="10608"/>
                </a:lnTo>
                <a:lnTo>
                  <a:pt x="10955" y="10175"/>
                </a:lnTo>
                <a:lnTo>
                  <a:pt x="11277" y="9742"/>
                </a:lnTo>
                <a:lnTo>
                  <a:pt x="11492" y="9309"/>
                </a:lnTo>
                <a:lnTo>
                  <a:pt x="11599" y="8768"/>
                </a:lnTo>
                <a:lnTo>
                  <a:pt x="11707" y="8119"/>
                </a:lnTo>
                <a:lnTo>
                  <a:pt x="11707" y="7686"/>
                </a:lnTo>
                <a:lnTo>
                  <a:pt x="11599" y="7361"/>
                </a:lnTo>
                <a:lnTo>
                  <a:pt x="11492" y="6928"/>
                </a:lnTo>
                <a:lnTo>
                  <a:pt x="11385" y="6603"/>
                </a:lnTo>
                <a:lnTo>
                  <a:pt x="11170" y="6278"/>
                </a:lnTo>
                <a:lnTo>
                  <a:pt x="10847" y="5954"/>
                </a:lnTo>
                <a:lnTo>
                  <a:pt x="10633" y="5737"/>
                </a:lnTo>
                <a:lnTo>
                  <a:pt x="10310" y="5520"/>
                </a:lnTo>
                <a:lnTo>
                  <a:pt x="9988" y="5304"/>
                </a:lnTo>
                <a:lnTo>
                  <a:pt x="9559" y="5087"/>
                </a:lnTo>
                <a:lnTo>
                  <a:pt x="9129" y="4979"/>
                </a:lnTo>
                <a:lnTo>
                  <a:pt x="8807" y="4763"/>
                </a:lnTo>
                <a:lnTo>
                  <a:pt x="8485" y="4654"/>
                </a:lnTo>
                <a:lnTo>
                  <a:pt x="8162" y="4546"/>
                </a:lnTo>
                <a:lnTo>
                  <a:pt x="7840" y="4546"/>
                </a:lnTo>
                <a:lnTo>
                  <a:pt x="7303" y="4438"/>
                </a:lnTo>
                <a:lnTo>
                  <a:pt x="6766" y="4221"/>
                </a:lnTo>
                <a:lnTo>
                  <a:pt x="6122" y="4113"/>
                </a:lnTo>
                <a:lnTo>
                  <a:pt x="5477" y="3897"/>
                </a:lnTo>
                <a:lnTo>
                  <a:pt x="5048" y="3680"/>
                </a:lnTo>
                <a:lnTo>
                  <a:pt x="4833" y="3464"/>
                </a:lnTo>
                <a:lnTo>
                  <a:pt x="4725" y="3247"/>
                </a:lnTo>
                <a:lnTo>
                  <a:pt x="4833" y="2922"/>
                </a:lnTo>
                <a:lnTo>
                  <a:pt x="4940" y="2598"/>
                </a:lnTo>
                <a:lnTo>
                  <a:pt x="5262" y="2489"/>
                </a:lnTo>
                <a:lnTo>
                  <a:pt x="5799" y="2381"/>
                </a:lnTo>
                <a:lnTo>
                  <a:pt x="6336" y="2489"/>
                </a:lnTo>
                <a:lnTo>
                  <a:pt x="6766" y="2706"/>
                </a:lnTo>
                <a:lnTo>
                  <a:pt x="7088" y="3031"/>
                </a:lnTo>
                <a:lnTo>
                  <a:pt x="7196" y="3464"/>
                </a:lnTo>
                <a:lnTo>
                  <a:pt x="11277" y="3464"/>
                </a:lnTo>
                <a:lnTo>
                  <a:pt x="11277" y="3031"/>
                </a:lnTo>
                <a:lnTo>
                  <a:pt x="11170" y="2598"/>
                </a:lnTo>
                <a:lnTo>
                  <a:pt x="10955" y="2165"/>
                </a:lnTo>
                <a:lnTo>
                  <a:pt x="10633" y="1732"/>
                </a:lnTo>
                <a:lnTo>
                  <a:pt x="10310" y="1407"/>
                </a:lnTo>
                <a:lnTo>
                  <a:pt x="9988" y="1082"/>
                </a:lnTo>
                <a:lnTo>
                  <a:pt x="9451" y="757"/>
                </a:lnTo>
                <a:lnTo>
                  <a:pt x="8914" y="433"/>
                </a:lnTo>
                <a:lnTo>
                  <a:pt x="8270" y="216"/>
                </a:lnTo>
                <a:lnTo>
                  <a:pt x="7518" y="108"/>
                </a:lnTo>
                <a:lnTo>
                  <a:pt x="6766" y="0"/>
                </a:lnTo>
                <a:lnTo>
                  <a:pt x="4833" y="0"/>
                </a:lnTo>
                <a:lnTo>
                  <a:pt x="4403" y="108"/>
                </a:lnTo>
                <a:lnTo>
                  <a:pt x="3974" y="108"/>
                </a:lnTo>
                <a:lnTo>
                  <a:pt x="3544" y="216"/>
                </a:lnTo>
                <a:lnTo>
                  <a:pt x="3222" y="324"/>
                </a:lnTo>
                <a:lnTo>
                  <a:pt x="2899" y="433"/>
                </a:lnTo>
                <a:lnTo>
                  <a:pt x="2577" y="541"/>
                </a:lnTo>
                <a:lnTo>
                  <a:pt x="2040" y="866"/>
                </a:lnTo>
                <a:lnTo>
                  <a:pt x="1503" y="1190"/>
                </a:lnTo>
                <a:lnTo>
                  <a:pt x="1181" y="1515"/>
                </a:lnTo>
                <a:lnTo>
                  <a:pt x="859" y="1948"/>
                </a:lnTo>
                <a:lnTo>
                  <a:pt x="644" y="2381"/>
                </a:lnTo>
                <a:lnTo>
                  <a:pt x="429" y="2814"/>
                </a:lnTo>
                <a:lnTo>
                  <a:pt x="322" y="3247"/>
                </a:lnTo>
                <a:lnTo>
                  <a:pt x="322" y="4330"/>
                </a:lnTo>
                <a:lnTo>
                  <a:pt x="537" y="4763"/>
                </a:lnTo>
                <a:lnTo>
                  <a:pt x="644" y="5304"/>
                </a:lnTo>
                <a:lnTo>
                  <a:pt x="966" y="5629"/>
                </a:lnTo>
                <a:lnTo>
                  <a:pt x="1288" y="5954"/>
                </a:lnTo>
                <a:lnTo>
                  <a:pt x="1718" y="6170"/>
                </a:lnTo>
                <a:lnTo>
                  <a:pt x="2148" y="6387"/>
                </a:lnTo>
                <a:lnTo>
                  <a:pt x="2577" y="6603"/>
                </a:lnTo>
                <a:lnTo>
                  <a:pt x="3007" y="6711"/>
                </a:lnTo>
                <a:lnTo>
                  <a:pt x="3544" y="6928"/>
                </a:lnTo>
                <a:lnTo>
                  <a:pt x="4081" y="7036"/>
                </a:lnTo>
                <a:lnTo>
                  <a:pt x="4725" y="7253"/>
                </a:lnTo>
                <a:lnTo>
                  <a:pt x="5370" y="7361"/>
                </a:lnTo>
                <a:lnTo>
                  <a:pt x="5799" y="7469"/>
                </a:lnTo>
                <a:lnTo>
                  <a:pt x="6229" y="7577"/>
                </a:lnTo>
                <a:lnTo>
                  <a:pt x="6444" y="7686"/>
                </a:lnTo>
                <a:lnTo>
                  <a:pt x="6766" y="7902"/>
                </a:lnTo>
                <a:lnTo>
                  <a:pt x="6981" y="8010"/>
                </a:lnTo>
                <a:lnTo>
                  <a:pt x="7196" y="8227"/>
                </a:lnTo>
                <a:lnTo>
                  <a:pt x="7196" y="8660"/>
                </a:lnTo>
                <a:lnTo>
                  <a:pt x="7088" y="8876"/>
                </a:lnTo>
                <a:lnTo>
                  <a:pt x="6873" y="9201"/>
                </a:lnTo>
                <a:lnTo>
                  <a:pt x="6659" y="9309"/>
                </a:lnTo>
                <a:lnTo>
                  <a:pt x="6444" y="9309"/>
                </a:lnTo>
                <a:lnTo>
                  <a:pt x="6229" y="9418"/>
                </a:lnTo>
                <a:lnTo>
                  <a:pt x="5907" y="9418"/>
                </a:lnTo>
                <a:lnTo>
                  <a:pt x="5262" y="9309"/>
                </a:lnTo>
                <a:lnTo>
                  <a:pt x="4725" y="9093"/>
                </a:lnTo>
                <a:lnTo>
                  <a:pt x="4403" y="8660"/>
                </a:lnTo>
                <a:lnTo>
                  <a:pt x="4296" y="8010"/>
                </a:lnTo>
                <a:lnTo>
                  <a:pt x="0" y="8010"/>
                </a:lnTo>
                <a:lnTo>
                  <a:pt x="107" y="8660"/>
                </a:lnTo>
                <a:lnTo>
                  <a:pt x="214" y="9309"/>
                </a:lnTo>
                <a:lnTo>
                  <a:pt x="537" y="9851"/>
                </a:lnTo>
                <a:lnTo>
                  <a:pt x="859" y="10284"/>
                </a:lnTo>
                <a:lnTo>
                  <a:pt x="1288" y="10717"/>
                </a:lnTo>
                <a:lnTo>
                  <a:pt x="1718" y="11041"/>
                </a:lnTo>
                <a:lnTo>
                  <a:pt x="2255" y="11366"/>
                </a:lnTo>
                <a:lnTo>
                  <a:pt x="2899" y="11583"/>
                </a:lnTo>
                <a:close/>
              </a:path>
            </a:pathLst>
          </a:custGeom>
          <a:solidFill>
            <a:srgbClr val="000000"/>
          </a:solidFill>
        </p:spPr>
        <p:txBody>
          <a:bodyPr wrap="square" lIns="0" tIns="0" rIns="0" bIns="0" rtlCol="0">
            <a:noAutofit/>
          </a:bodyPr>
          <a:lstStyle/>
          <a:p>
            <a:endParaRPr/>
          </a:p>
        </p:txBody>
      </p:sp>
      <p:sp>
        <p:nvSpPr>
          <p:cNvPr id="833" name="object 833"/>
          <p:cNvSpPr/>
          <p:nvPr/>
        </p:nvSpPr>
        <p:spPr>
          <a:xfrm>
            <a:off x="3382597" y="1670910"/>
            <a:ext cx="13103" cy="11908"/>
          </a:xfrm>
          <a:custGeom>
            <a:avLst/>
            <a:gdLst/>
            <a:ahLst/>
            <a:cxnLst/>
            <a:rect l="l" t="t" r="r" b="b"/>
            <a:pathLst>
              <a:path w="13103" h="11908">
                <a:moveTo>
                  <a:pt x="5692" y="2814"/>
                </a:moveTo>
                <a:lnTo>
                  <a:pt x="6122" y="2706"/>
                </a:lnTo>
                <a:lnTo>
                  <a:pt x="6981" y="2706"/>
                </a:lnTo>
                <a:lnTo>
                  <a:pt x="7303" y="2814"/>
                </a:lnTo>
                <a:lnTo>
                  <a:pt x="7625" y="3031"/>
                </a:lnTo>
                <a:lnTo>
                  <a:pt x="7948" y="3247"/>
                </a:lnTo>
                <a:lnTo>
                  <a:pt x="8270" y="3572"/>
                </a:lnTo>
                <a:lnTo>
                  <a:pt x="8485" y="3897"/>
                </a:lnTo>
                <a:lnTo>
                  <a:pt x="8592" y="4221"/>
                </a:lnTo>
                <a:lnTo>
                  <a:pt x="8592" y="4654"/>
                </a:lnTo>
                <a:lnTo>
                  <a:pt x="4511" y="4654"/>
                </a:lnTo>
                <a:lnTo>
                  <a:pt x="4511" y="4221"/>
                </a:lnTo>
                <a:lnTo>
                  <a:pt x="4618" y="3897"/>
                </a:lnTo>
                <a:lnTo>
                  <a:pt x="4833" y="3572"/>
                </a:lnTo>
                <a:lnTo>
                  <a:pt x="5048" y="3247"/>
                </a:lnTo>
                <a:lnTo>
                  <a:pt x="4940" y="108"/>
                </a:lnTo>
                <a:lnTo>
                  <a:pt x="4296" y="216"/>
                </a:lnTo>
                <a:lnTo>
                  <a:pt x="3651" y="433"/>
                </a:lnTo>
                <a:lnTo>
                  <a:pt x="3007" y="757"/>
                </a:lnTo>
                <a:lnTo>
                  <a:pt x="2470" y="1082"/>
                </a:lnTo>
                <a:lnTo>
                  <a:pt x="2040" y="1407"/>
                </a:lnTo>
                <a:lnTo>
                  <a:pt x="1611" y="1840"/>
                </a:lnTo>
                <a:lnTo>
                  <a:pt x="1181" y="2273"/>
                </a:lnTo>
                <a:lnTo>
                  <a:pt x="859" y="2706"/>
                </a:lnTo>
                <a:lnTo>
                  <a:pt x="644" y="3247"/>
                </a:lnTo>
                <a:lnTo>
                  <a:pt x="429" y="3788"/>
                </a:lnTo>
                <a:lnTo>
                  <a:pt x="214" y="4330"/>
                </a:lnTo>
                <a:lnTo>
                  <a:pt x="107" y="4871"/>
                </a:lnTo>
                <a:lnTo>
                  <a:pt x="0" y="5520"/>
                </a:lnTo>
                <a:lnTo>
                  <a:pt x="0" y="6928"/>
                </a:lnTo>
                <a:lnTo>
                  <a:pt x="214" y="7686"/>
                </a:lnTo>
                <a:lnTo>
                  <a:pt x="429" y="8443"/>
                </a:lnTo>
                <a:lnTo>
                  <a:pt x="751" y="9201"/>
                </a:lnTo>
                <a:lnTo>
                  <a:pt x="1181" y="9851"/>
                </a:lnTo>
                <a:lnTo>
                  <a:pt x="1718" y="10392"/>
                </a:lnTo>
                <a:lnTo>
                  <a:pt x="2362" y="10825"/>
                </a:lnTo>
                <a:lnTo>
                  <a:pt x="3007" y="11258"/>
                </a:lnTo>
                <a:lnTo>
                  <a:pt x="3329" y="11366"/>
                </a:lnTo>
                <a:lnTo>
                  <a:pt x="3759" y="11475"/>
                </a:lnTo>
                <a:lnTo>
                  <a:pt x="4188" y="11583"/>
                </a:lnTo>
                <a:lnTo>
                  <a:pt x="4618" y="11691"/>
                </a:lnTo>
                <a:lnTo>
                  <a:pt x="5048" y="11799"/>
                </a:lnTo>
                <a:lnTo>
                  <a:pt x="5477" y="11799"/>
                </a:lnTo>
                <a:lnTo>
                  <a:pt x="6014" y="11908"/>
                </a:lnTo>
                <a:lnTo>
                  <a:pt x="7088" y="11908"/>
                </a:lnTo>
                <a:lnTo>
                  <a:pt x="7733" y="11799"/>
                </a:lnTo>
                <a:lnTo>
                  <a:pt x="8377" y="11799"/>
                </a:lnTo>
                <a:lnTo>
                  <a:pt x="8914" y="11691"/>
                </a:lnTo>
                <a:lnTo>
                  <a:pt x="9451" y="11475"/>
                </a:lnTo>
                <a:lnTo>
                  <a:pt x="9881" y="11366"/>
                </a:lnTo>
                <a:lnTo>
                  <a:pt x="10310" y="11041"/>
                </a:lnTo>
                <a:lnTo>
                  <a:pt x="10740" y="10825"/>
                </a:lnTo>
                <a:lnTo>
                  <a:pt x="11492" y="10175"/>
                </a:lnTo>
                <a:lnTo>
                  <a:pt x="12029" y="9526"/>
                </a:lnTo>
                <a:lnTo>
                  <a:pt x="12459" y="8876"/>
                </a:lnTo>
                <a:lnTo>
                  <a:pt x="12673" y="8119"/>
                </a:lnTo>
                <a:lnTo>
                  <a:pt x="8377" y="8119"/>
                </a:lnTo>
                <a:lnTo>
                  <a:pt x="8055" y="8552"/>
                </a:lnTo>
                <a:lnTo>
                  <a:pt x="7733" y="8876"/>
                </a:lnTo>
                <a:lnTo>
                  <a:pt x="7303" y="8985"/>
                </a:lnTo>
                <a:lnTo>
                  <a:pt x="6766" y="9093"/>
                </a:lnTo>
                <a:lnTo>
                  <a:pt x="6336" y="9093"/>
                </a:lnTo>
                <a:lnTo>
                  <a:pt x="5907" y="8985"/>
                </a:lnTo>
                <a:lnTo>
                  <a:pt x="5477" y="8768"/>
                </a:lnTo>
                <a:lnTo>
                  <a:pt x="5155" y="8552"/>
                </a:lnTo>
                <a:lnTo>
                  <a:pt x="4833" y="8227"/>
                </a:lnTo>
                <a:lnTo>
                  <a:pt x="4725" y="7902"/>
                </a:lnTo>
                <a:lnTo>
                  <a:pt x="4511" y="7469"/>
                </a:lnTo>
                <a:lnTo>
                  <a:pt x="4511" y="7036"/>
                </a:lnTo>
                <a:lnTo>
                  <a:pt x="13103" y="7036"/>
                </a:lnTo>
                <a:lnTo>
                  <a:pt x="13103" y="6387"/>
                </a:lnTo>
                <a:lnTo>
                  <a:pt x="12996" y="5737"/>
                </a:lnTo>
                <a:lnTo>
                  <a:pt x="12888" y="5196"/>
                </a:lnTo>
                <a:lnTo>
                  <a:pt x="12673" y="4546"/>
                </a:lnTo>
                <a:lnTo>
                  <a:pt x="12459" y="3897"/>
                </a:lnTo>
                <a:lnTo>
                  <a:pt x="12244" y="3355"/>
                </a:lnTo>
                <a:lnTo>
                  <a:pt x="11922" y="2814"/>
                </a:lnTo>
                <a:lnTo>
                  <a:pt x="11599" y="2273"/>
                </a:lnTo>
                <a:lnTo>
                  <a:pt x="11170" y="1840"/>
                </a:lnTo>
                <a:lnTo>
                  <a:pt x="10633" y="1299"/>
                </a:lnTo>
                <a:lnTo>
                  <a:pt x="10096" y="974"/>
                </a:lnTo>
                <a:lnTo>
                  <a:pt x="9451" y="649"/>
                </a:lnTo>
                <a:lnTo>
                  <a:pt x="8807" y="324"/>
                </a:lnTo>
                <a:lnTo>
                  <a:pt x="8055" y="108"/>
                </a:lnTo>
                <a:lnTo>
                  <a:pt x="7196" y="0"/>
                </a:lnTo>
                <a:lnTo>
                  <a:pt x="6336" y="0"/>
                </a:lnTo>
                <a:lnTo>
                  <a:pt x="5692" y="2814"/>
                </a:lnTo>
                <a:close/>
              </a:path>
            </a:pathLst>
          </a:custGeom>
          <a:solidFill>
            <a:srgbClr val="000000"/>
          </a:solidFill>
        </p:spPr>
        <p:txBody>
          <a:bodyPr wrap="square" lIns="0" tIns="0" rIns="0" bIns="0" rtlCol="0">
            <a:noAutofit/>
          </a:bodyPr>
          <a:lstStyle/>
          <a:p>
            <a:endParaRPr/>
          </a:p>
        </p:txBody>
      </p:sp>
      <p:sp>
        <p:nvSpPr>
          <p:cNvPr id="834" name="object 834"/>
          <p:cNvSpPr/>
          <p:nvPr/>
        </p:nvSpPr>
        <p:spPr>
          <a:xfrm>
            <a:off x="3387536" y="1670911"/>
            <a:ext cx="1396" cy="3247"/>
          </a:xfrm>
          <a:custGeom>
            <a:avLst/>
            <a:gdLst/>
            <a:ahLst/>
            <a:cxnLst/>
            <a:rect l="l" t="t" r="r" b="b"/>
            <a:pathLst>
              <a:path w="1396" h="3247">
                <a:moveTo>
                  <a:pt x="644" y="0"/>
                </a:moveTo>
                <a:lnTo>
                  <a:pt x="0" y="108"/>
                </a:lnTo>
                <a:lnTo>
                  <a:pt x="107" y="3247"/>
                </a:lnTo>
                <a:lnTo>
                  <a:pt x="429" y="3031"/>
                </a:lnTo>
                <a:lnTo>
                  <a:pt x="751" y="2814"/>
                </a:lnTo>
                <a:lnTo>
                  <a:pt x="1396" y="0"/>
                </a:lnTo>
                <a:lnTo>
                  <a:pt x="644" y="0"/>
                </a:lnTo>
                <a:close/>
              </a:path>
            </a:pathLst>
          </a:custGeom>
          <a:solidFill>
            <a:srgbClr val="000000"/>
          </a:solidFill>
        </p:spPr>
        <p:txBody>
          <a:bodyPr wrap="square" lIns="0" tIns="0" rIns="0" bIns="0" rtlCol="0">
            <a:noAutofit/>
          </a:bodyPr>
          <a:lstStyle/>
          <a:p>
            <a:endParaRPr/>
          </a:p>
        </p:txBody>
      </p:sp>
      <p:sp>
        <p:nvSpPr>
          <p:cNvPr id="835" name="object 835"/>
          <p:cNvSpPr/>
          <p:nvPr/>
        </p:nvSpPr>
        <p:spPr>
          <a:xfrm>
            <a:off x="3396988" y="1667014"/>
            <a:ext cx="12566" cy="15805"/>
          </a:xfrm>
          <a:custGeom>
            <a:avLst/>
            <a:gdLst/>
            <a:ahLst/>
            <a:cxnLst/>
            <a:rect l="l" t="t" r="r" b="b"/>
            <a:pathLst>
              <a:path w="12566" h="15805">
                <a:moveTo>
                  <a:pt x="7840" y="11366"/>
                </a:moveTo>
                <a:lnTo>
                  <a:pt x="7733" y="11799"/>
                </a:lnTo>
                <a:lnTo>
                  <a:pt x="7518" y="12124"/>
                </a:lnTo>
                <a:lnTo>
                  <a:pt x="7196" y="12449"/>
                </a:lnTo>
                <a:lnTo>
                  <a:pt x="6766" y="12557"/>
                </a:lnTo>
                <a:lnTo>
                  <a:pt x="6336" y="12665"/>
                </a:lnTo>
                <a:lnTo>
                  <a:pt x="5907" y="12557"/>
                </a:lnTo>
                <a:lnTo>
                  <a:pt x="5477" y="12449"/>
                </a:lnTo>
                <a:lnTo>
                  <a:pt x="5585" y="15805"/>
                </a:lnTo>
                <a:lnTo>
                  <a:pt x="6122" y="15696"/>
                </a:lnTo>
                <a:lnTo>
                  <a:pt x="6551" y="15588"/>
                </a:lnTo>
                <a:lnTo>
                  <a:pt x="7088" y="15372"/>
                </a:lnTo>
                <a:lnTo>
                  <a:pt x="7411" y="15155"/>
                </a:lnTo>
                <a:lnTo>
                  <a:pt x="7840" y="14830"/>
                </a:lnTo>
                <a:lnTo>
                  <a:pt x="8162" y="14397"/>
                </a:lnTo>
                <a:lnTo>
                  <a:pt x="8377" y="13964"/>
                </a:lnTo>
                <a:lnTo>
                  <a:pt x="8485" y="15480"/>
                </a:lnTo>
                <a:lnTo>
                  <a:pt x="12566" y="15480"/>
                </a:lnTo>
                <a:lnTo>
                  <a:pt x="12566" y="0"/>
                </a:lnTo>
                <a:lnTo>
                  <a:pt x="8055" y="0"/>
                </a:lnTo>
                <a:lnTo>
                  <a:pt x="8055" y="5304"/>
                </a:lnTo>
                <a:lnTo>
                  <a:pt x="7733" y="4979"/>
                </a:lnTo>
                <a:lnTo>
                  <a:pt x="7411" y="4654"/>
                </a:lnTo>
                <a:lnTo>
                  <a:pt x="6981" y="4438"/>
                </a:lnTo>
                <a:lnTo>
                  <a:pt x="6551" y="4221"/>
                </a:lnTo>
                <a:lnTo>
                  <a:pt x="6122" y="4113"/>
                </a:lnTo>
                <a:lnTo>
                  <a:pt x="5692" y="4005"/>
                </a:lnTo>
                <a:lnTo>
                  <a:pt x="5262" y="3897"/>
                </a:lnTo>
                <a:lnTo>
                  <a:pt x="4296" y="3897"/>
                </a:lnTo>
                <a:lnTo>
                  <a:pt x="3866" y="4005"/>
                </a:lnTo>
                <a:lnTo>
                  <a:pt x="3436" y="4113"/>
                </a:lnTo>
                <a:lnTo>
                  <a:pt x="3007" y="4221"/>
                </a:lnTo>
                <a:lnTo>
                  <a:pt x="2577" y="4438"/>
                </a:lnTo>
                <a:lnTo>
                  <a:pt x="2148" y="4763"/>
                </a:lnTo>
                <a:lnTo>
                  <a:pt x="1825" y="5087"/>
                </a:lnTo>
                <a:lnTo>
                  <a:pt x="1396" y="5412"/>
                </a:lnTo>
                <a:lnTo>
                  <a:pt x="1074" y="5737"/>
                </a:lnTo>
                <a:lnTo>
                  <a:pt x="859" y="6170"/>
                </a:lnTo>
                <a:lnTo>
                  <a:pt x="537" y="6711"/>
                </a:lnTo>
                <a:lnTo>
                  <a:pt x="322" y="7253"/>
                </a:lnTo>
                <a:lnTo>
                  <a:pt x="214" y="7794"/>
                </a:lnTo>
                <a:lnTo>
                  <a:pt x="107" y="8443"/>
                </a:lnTo>
                <a:lnTo>
                  <a:pt x="0" y="9093"/>
                </a:lnTo>
                <a:lnTo>
                  <a:pt x="0" y="10825"/>
                </a:lnTo>
                <a:lnTo>
                  <a:pt x="107" y="11366"/>
                </a:lnTo>
                <a:lnTo>
                  <a:pt x="214" y="11799"/>
                </a:lnTo>
                <a:lnTo>
                  <a:pt x="322" y="12232"/>
                </a:lnTo>
                <a:lnTo>
                  <a:pt x="429" y="12665"/>
                </a:lnTo>
                <a:lnTo>
                  <a:pt x="537" y="13098"/>
                </a:lnTo>
                <a:lnTo>
                  <a:pt x="751" y="13423"/>
                </a:lnTo>
                <a:lnTo>
                  <a:pt x="1074" y="14073"/>
                </a:lnTo>
                <a:lnTo>
                  <a:pt x="1503" y="14506"/>
                </a:lnTo>
                <a:lnTo>
                  <a:pt x="2040" y="14939"/>
                </a:lnTo>
                <a:lnTo>
                  <a:pt x="2577" y="15263"/>
                </a:lnTo>
                <a:lnTo>
                  <a:pt x="3114" y="15480"/>
                </a:lnTo>
                <a:lnTo>
                  <a:pt x="3759" y="15588"/>
                </a:lnTo>
                <a:lnTo>
                  <a:pt x="4403" y="15696"/>
                </a:lnTo>
                <a:lnTo>
                  <a:pt x="5048" y="15805"/>
                </a:lnTo>
                <a:lnTo>
                  <a:pt x="4940" y="11799"/>
                </a:lnTo>
                <a:lnTo>
                  <a:pt x="4725" y="11475"/>
                </a:lnTo>
                <a:lnTo>
                  <a:pt x="4618" y="11041"/>
                </a:lnTo>
                <a:lnTo>
                  <a:pt x="4511" y="10500"/>
                </a:lnTo>
                <a:lnTo>
                  <a:pt x="4511" y="9418"/>
                </a:lnTo>
                <a:lnTo>
                  <a:pt x="4618" y="8985"/>
                </a:lnTo>
                <a:lnTo>
                  <a:pt x="4725" y="8552"/>
                </a:lnTo>
                <a:lnTo>
                  <a:pt x="4940" y="8119"/>
                </a:lnTo>
                <a:lnTo>
                  <a:pt x="5155" y="7794"/>
                </a:lnTo>
                <a:lnTo>
                  <a:pt x="5477" y="7469"/>
                </a:lnTo>
                <a:lnTo>
                  <a:pt x="5799" y="7361"/>
                </a:lnTo>
                <a:lnTo>
                  <a:pt x="6229" y="7253"/>
                </a:lnTo>
                <a:lnTo>
                  <a:pt x="6659" y="7253"/>
                </a:lnTo>
                <a:lnTo>
                  <a:pt x="7088" y="7469"/>
                </a:lnTo>
                <a:lnTo>
                  <a:pt x="7411" y="7686"/>
                </a:lnTo>
                <a:lnTo>
                  <a:pt x="7625" y="8010"/>
                </a:lnTo>
                <a:lnTo>
                  <a:pt x="7840" y="8443"/>
                </a:lnTo>
                <a:lnTo>
                  <a:pt x="8055" y="8876"/>
                </a:lnTo>
                <a:lnTo>
                  <a:pt x="8162" y="9418"/>
                </a:lnTo>
                <a:lnTo>
                  <a:pt x="8162" y="10392"/>
                </a:lnTo>
                <a:lnTo>
                  <a:pt x="8055" y="10933"/>
                </a:lnTo>
                <a:lnTo>
                  <a:pt x="7840" y="11366"/>
                </a:lnTo>
                <a:close/>
              </a:path>
            </a:pathLst>
          </a:custGeom>
          <a:solidFill>
            <a:srgbClr val="000000"/>
          </a:solidFill>
        </p:spPr>
        <p:txBody>
          <a:bodyPr wrap="square" lIns="0" tIns="0" rIns="0" bIns="0" rtlCol="0">
            <a:noAutofit/>
          </a:bodyPr>
          <a:lstStyle/>
          <a:p>
            <a:endParaRPr/>
          </a:p>
        </p:txBody>
      </p:sp>
      <p:sp>
        <p:nvSpPr>
          <p:cNvPr id="836" name="object 836"/>
          <p:cNvSpPr/>
          <p:nvPr/>
        </p:nvSpPr>
        <p:spPr>
          <a:xfrm>
            <a:off x="3296135" y="1689205"/>
            <a:ext cx="394501" cy="0"/>
          </a:xfrm>
          <a:custGeom>
            <a:avLst/>
            <a:gdLst/>
            <a:ahLst/>
            <a:cxnLst/>
            <a:rect l="l" t="t" r="r" b="b"/>
            <a:pathLst>
              <a:path w="394501">
                <a:moveTo>
                  <a:pt x="0" y="0"/>
                </a:moveTo>
                <a:lnTo>
                  <a:pt x="394501" y="0"/>
                </a:lnTo>
              </a:path>
            </a:pathLst>
          </a:custGeom>
          <a:ln w="108">
            <a:solidFill>
              <a:srgbClr val="000000"/>
            </a:solidFill>
          </a:ln>
        </p:spPr>
        <p:txBody>
          <a:bodyPr wrap="square" lIns="0" tIns="0" rIns="0" bIns="0" rtlCol="0">
            <a:noAutofit/>
          </a:bodyPr>
          <a:lstStyle/>
          <a:p>
            <a:endParaRPr/>
          </a:p>
        </p:txBody>
      </p:sp>
      <p:sp>
        <p:nvSpPr>
          <p:cNvPr id="837" name="object 837"/>
          <p:cNvSpPr/>
          <p:nvPr/>
        </p:nvSpPr>
        <p:spPr>
          <a:xfrm>
            <a:off x="3296135" y="1721682"/>
            <a:ext cx="394501" cy="0"/>
          </a:xfrm>
          <a:custGeom>
            <a:avLst/>
            <a:gdLst/>
            <a:ahLst/>
            <a:cxnLst/>
            <a:rect l="l" t="t" r="r" b="b"/>
            <a:pathLst>
              <a:path w="394501">
                <a:moveTo>
                  <a:pt x="0" y="0"/>
                </a:moveTo>
                <a:lnTo>
                  <a:pt x="394501" y="0"/>
                </a:lnTo>
              </a:path>
            </a:pathLst>
          </a:custGeom>
          <a:ln w="108">
            <a:solidFill>
              <a:srgbClr val="000000"/>
            </a:solidFill>
          </a:ln>
        </p:spPr>
        <p:txBody>
          <a:bodyPr wrap="square" lIns="0" tIns="0" rIns="0" bIns="0" rtlCol="0">
            <a:noAutofit/>
          </a:bodyPr>
          <a:lstStyle/>
          <a:p>
            <a:endParaRPr/>
          </a:p>
        </p:txBody>
      </p:sp>
      <p:sp>
        <p:nvSpPr>
          <p:cNvPr id="838" name="object 838"/>
          <p:cNvSpPr/>
          <p:nvPr/>
        </p:nvSpPr>
        <p:spPr>
          <a:xfrm>
            <a:off x="3296135" y="1754158"/>
            <a:ext cx="394501" cy="0"/>
          </a:xfrm>
          <a:custGeom>
            <a:avLst/>
            <a:gdLst/>
            <a:ahLst/>
            <a:cxnLst/>
            <a:rect l="l" t="t" r="r" b="b"/>
            <a:pathLst>
              <a:path w="394501">
                <a:moveTo>
                  <a:pt x="0" y="0"/>
                </a:moveTo>
                <a:lnTo>
                  <a:pt x="394501" y="0"/>
                </a:lnTo>
              </a:path>
            </a:pathLst>
          </a:custGeom>
          <a:ln w="108">
            <a:solidFill>
              <a:srgbClr val="000000"/>
            </a:solidFill>
          </a:ln>
        </p:spPr>
        <p:txBody>
          <a:bodyPr wrap="square" lIns="0" tIns="0" rIns="0" bIns="0" rtlCol="0">
            <a:noAutofit/>
          </a:bodyPr>
          <a:lstStyle/>
          <a:p>
            <a:endParaRPr/>
          </a:p>
        </p:txBody>
      </p:sp>
      <p:sp>
        <p:nvSpPr>
          <p:cNvPr id="839" name="object 839"/>
          <p:cNvSpPr/>
          <p:nvPr/>
        </p:nvSpPr>
        <p:spPr>
          <a:xfrm>
            <a:off x="3296135" y="1786635"/>
            <a:ext cx="394501" cy="0"/>
          </a:xfrm>
          <a:custGeom>
            <a:avLst/>
            <a:gdLst/>
            <a:ahLst/>
            <a:cxnLst/>
            <a:rect l="l" t="t" r="r" b="b"/>
            <a:pathLst>
              <a:path w="394501">
                <a:moveTo>
                  <a:pt x="0" y="0"/>
                </a:moveTo>
                <a:lnTo>
                  <a:pt x="394501" y="0"/>
                </a:lnTo>
              </a:path>
            </a:pathLst>
          </a:custGeom>
          <a:ln w="108">
            <a:solidFill>
              <a:srgbClr val="000000"/>
            </a:solidFill>
          </a:ln>
        </p:spPr>
        <p:txBody>
          <a:bodyPr wrap="square" lIns="0" tIns="0" rIns="0" bIns="0" rtlCol="0">
            <a:noAutofit/>
          </a:bodyPr>
          <a:lstStyle/>
          <a:p>
            <a:endParaRPr/>
          </a:p>
        </p:txBody>
      </p:sp>
      <p:sp>
        <p:nvSpPr>
          <p:cNvPr id="840" name="object 840"/>
          <p:cNvSpPr/>
          <p:nvPr/>
        </p:nvSpPr>
        <p:spPr>
          <a:xfrm>
            <a:off x="3296135" y="1819111"/>
            <a:ext cx="394501" cy="0"/>
          </a:xfrm>
          <a:custGeom>
            <a:avLst/>
            <a:gdLst/>
            <a:ahLst/>
            <a:cxnLst/>
            <a:rect l="l" t="t" r="r" b="b"/>
            <a:pathLst>
              <a:path w="394501">
                <a:moveTo>
                  <a:pt x="0" y="0"/>
                </a:moveTo>
                <a:lnTo>
                  <a:pt x="394501" y="0"/>
                </a:lnTo>
              </a:path>
            </a:pathLst>
          </a:custGeom>
          <a:ln w="108">
            <a:solidFill>
              <a:srgbClr val="000000"/>
            </a:solidFill>
          </a:ln>
        </p:spPr>
        <p:txBody>
          <a:bodyPr wrap="square" lIns="0" tIns="0" rIns="0" bIns="0" rtlCol="0">
            <a:noAutofit/>
          </a:bodyPr>
          <a:lstStyle/>
          <a:p>
            <a:endParaRPr/>
          </a:p>
        </p:txBody>
      </p:sp>
      <p:sp>
        <p:nvSpPr>
          <p:cNvPr id="841" name="object 841"/>
          <p:cNvSpPr/>
          <p:nvPr/>
        </p:nvSpPr>
        <p:spPr>
          <a:xfrm>
            <a:off x="3296135" y="1884064"/>
            <a:ext cx="394501" cy="0"/>
          </a:xfrm>
          <a:custGeom>
            <a:avLst/>
            <a:gdLst/>
            <a:ahLst/>
            <a:cxnLst/>
            <a:rect l="l" t="t" r="r" b="b"/>
            <a:pathLst>
              <a:path w="394501">
                <a:moveTo>
                  <a:pt x="0" y="0"/>
                </a:moveTo>
                <a:lnTo>
                  <a:pt x="394501" y="0"/>
                </a:lnTo>
              </a:path>
            </a:pathLst>
          </a:custGeom>
          <a:ln w="108">
            <a:solidFill>
              <a:srgbClr val="000000"/>
            </a:solidFill>
          </a:ln>
        </p:spPr>
        <p:txBody>
          <a:bodyPr wrap="square" lIns="0" tIns="0" rIns="0" bIns="0" rtlCol="0">
            <a:noAutofit/>
          </a:bodyPr>
          <a:lstStyle/>
          <a:p>
            <a:endParaRPr/>
          </a:p>
        </p:txBody>
      </p:sp>
      <p:sp>
        <p:nvSpPr>
          <p:cNvPr id="842" name="object 842"/>
          <p:cNvSpPr/>
          <p:nvPr/>
        </p:nvSpPr>
        <p:spPr>
          <a:xfrm>
            <a:off x="3296135" y="1916541"/>
            <a:ext cx="394501" cy="0"/>
          </a:xfrm>
          <a:custGeom>
            <a:avLst/>
            <a:gdLst/>
            <a:ahLst/>
            <a:cxnLst/>
            <a:rect l="l" t="t" r="r" b="b"/>
            <a:pathLst>
              <a:path w="394501">
                <a:moveTo>
                  <a:pt x="0" y="0"/>
                </a:moveTo>
                <a:lnTo>
                  <a:pt x="394501" y="0"/>
                </a:lnTo>
              </a:path>
            </a:pathLst>
          </a:custGeom>
          <a:ln w="108">
            <a:solidFill>
              <a:srgbClr val="000000"/>
            </a:solidFill>
          </a:ln>
        </p:spPr>
        <p:txBody>
          <a:bodyPr wrap="square" lIns="0" tIns="0" rIns="0" bIns="0" rtlCol="0">
            <a:noAutofit/>
          </a:bodyPr>
          <a:lstStyle/>
          <a:p>
            <a:endParaRPr/>
          </a:p>
        </p:txBody>
      </p:sp>
      <p:sp>
        <p:nvSpPr>
          <p:cNvPr id="843" name="object 843"/>
          <p:cNvSpPr/>
          <p:nvPr/>
        </p:nvSpPr>
        <p:spPr>
          <a:xfrm>
            <a:off x="3296135" y="1949017"/>
            <a:ext cx="394501" cy="0"/>
          </a:xfrm>
          <a:custGeom>
            <a:avLst/>
            <a:gdLst/>
            <a:ahLst/>
            <a:cxnLst/>
            <a:rect l="l" t="t" r="r" b="b"/>
            <a:pathLst>
              <a:path w="394501">
                <a:moveTo>
                  <a:pt x="0" y="0"/>
                </a:moveTo>
                <a:lnTo>
                  <a:pt x="394501" y="0"/>
                </a:lnTo>
              </a:path>
            </a:pathLst>
          </a:custGeom>
          <a:ln w="108">
            <a:solidFill>
              <a:srgbClr val="000000"/>
            </a:solidFill>
          </a:ln>
        </p:spPr>
        <p:txBody>
          <a:bodyPr wrap="square" lIns="0" tIns="0" rIns="0" bIns="0" rtlCol="0">
            <a:noAutofit/>
          </a:bodyPr>
          <a:lstStyle/>
          <a:p>
            <a:endParaRPr/>
          </a:p>
        </p:txBody>
      </p:sp>
      <p:sp>
        <p:nvSpPr>
          <p:cNvPr id="844" name="object 844"/>
          <p:cNvSpPr/>
          <p:nvPr/>
        </p:nvSpPr>
        <p:spPr>
          <a:xfrm>
            <a:off x="3716306" y="1689205"/>
            <a:ext cx="407390" cy="0"/>
          </a:xfrm>
          <a:custGeom>
            <a:avLst/>
            <a:gdLst/>
            <a:ahLst/>
            <a:cxnLst/>
            <a:rect l="l" t="t" r="r" b="b"/>
            <a:pathLst>
              <a:path w="407390">
                <a:moveTo>
                  <a:pt x="0" y="0"/>
                </a:moveTo>
                <a:lnTo>
                  <a:pt x="407390" y="0"/>
                </a:lnTo>
              </a:path>
            </a:pathLst>
          </a:custGeom>
          <a:ln w="108">
            <a:solidFill>
              <a:srgbClr val="000000"/>
            </a:solidFill>
          </a:ln>
        </p:spPr>
        <p:txBody>
          <a:bodyPr wrap="square" lIns="0" tIns="0" rIns="0" bIns="0" rtlCol="0">
            <a:noAutofit/>
          </a:bodyPr>
          <a:lstStyle/>
          <a:p>
            <a:endParaRPr/>
          </a:p>
        </p:txBody>
      </p:sp>
      <p:sp>
        <p:nvSpPr>
          <p:cNvPr id="845" name="object 845"/>
          <p:cNvSpPr/>
          <p:nvPr/>
        </p:nvSpPr>
        <p:spPr>
          <a:xfrm>
            <a:off x="3716306" y="1721682"/>
            <a:ext cx="407390" cy="0"/>
          </a:xfrm>
          <a:custGeom>
            <a:avLst/>
            <a:gdLst/>
            <a:ahLst/>
            <a:cxnLst/>
            <a:rect l="l" t="t" r="r" b="b"/>
            <a:pathLst>
              <a:path w="407390">
                <a:moveTo>
                  <a:pt x="0" y="0"/>
                </a:moveTo>
                <a:lnTo>
                  <a:pt x="407390" y="0"/>
                </a:lnTo>
              </a:path>
            </a:pathLst>
          </a:custGeom>
          <a:ln w="108">
            <a:solidFill>
              <a:srgbClr val="000000"/>
            </a:solidFill>
          </a:ln>
        </p:spPr>
        <p:txBody>
          <a:bodyPr wrap="square" lIns="0" tIns="0" rIns="0" bIns="0" rtlCol="0">
            <a:noAutofit/>
          </a:bodyPr>
          <a:lstStyle/>
          <a:p>
            <a:endParaRPr/>
          </a:p>
        </p:txBody>
      </p:sp>
      <p:sp>
        <p:nvSpPr>
          <p:cNvPr id="846" name="object 846"/>
          <p:cNvSpPr/>
          <p:nvPr/>
        </p:nvSpPr>
        <p:spPr>
          <a:xfrm>
            <a:off x="3716306" y="1754158"/>
            <a:ext cx="407390" cy="0"/>
          </a:xfrm>
          <a:custGeom>
            <a:avLst/>
            <a:gdLst/>
            <a:ahLst/>
            <a:cxnLst/>
            <a:rect l="l" t="t" r="r" b="b"/>
            <a:pathLst>
              <a:path w="407390">
                <a:moveTo>
                  <a:pt x="0" y="0"/>
                </a:moveTo>
                <a:lnTo>
                  <a:pt x="407390" y="0"/>
                </a:lnTo>
              </a:path>
            </a:pathLst>
          </a:custGeom>
          <a:ln w="108">
            <a:solidFill>
              <a:srgbClr val="000000"/>
            </a:solidFill>
          </a:ln>
        </p:spPr>
        <p:txBody>
          <a:bodyPr wrap="square" lIns="0" tIns="0" rIns="0" bIns="0" rtlCol="0">
            <a:noAutofit/>
          </a:bodyPr>
          <a:lstStyle/>
          <a:p>
            <a:endParaRPr/>
          </a:p>
        </p:txBody>
      </p:sp>
      <p:sp>
        <p:nvSpPr>
          <p:cNvPr id="847" name="object 847"/>
          <p:cNvSpPr/>
          <p:nvPr/>
        </p:nvSpPr>
        <p:spPr>
          <a:xfrm>
            <a:off x="3716306" y="1786635"/>
            <a:ext cx="407390" cy="0"/>
          </a:xfrm>
          <a:custGeom>
            <a:avLst/>
            <a:gdLst/>
            <a:ahLst/>
            <a:cxnLst/>
            <a:rect l="l" t="t" r="r" b="b"/>
            <a:pathLst>
              <a:path w="407390">
                <a:moveTo>
                  <a:pt x="0" y="0"/>
                </a:moveTo>
                <a:lnTo>
                  <a:pt x="407390" y="0"/>
                </a:lnTo>
              </a:path>
            </a:pathLst>
          </a:custGeom>
          <a:ln w="108">
            <a:solidFill>
              <a:srgbClr val="000000"/>
            </a:solidFill>
          </a:ln>
        </p:spPr>
        <p:txBody>
          <a:bodyPr wrap="square" lIns="0" tIns="0" rIns="0" bIns="0" rtlCol="0">
            <a:noAutofit/>
          </a:bodyPr>
          <a:lstStyle/>
          <a:p>
            <a:endParaRPr/>
          </a:p>
        </p:txBody>
      </p:sp>
      <p:sp>
        <p:nvSpPr>
          <p:cNvPr id="848" name="object 848"/>
          <p:cNvSpPr/>
          <p:nvPr/>
        </p:nvSpPr>
        <p:spPr>
          <a:xfrm>
            <a:off x="3716306" y="1819111"/>
            <a:ext cx="407390" cy="0"/>
          </a:xfrm>
          <a:custGeom>
            <a:avLst/>
            <a:gdLst/>
            <a:ahLst/>
            <a:cxnLst/>
            <a:rect l="l" t="t" r="r" b="b"/>
            <a:pathLst>
              <a:path w="407390">
                <a:moveTo>
                  <a:pt x="0" y="0"/>
                </a:moveTo>
                <a:lnTo>
                  <a:pt x="407390" y="0"/>
                </a:lnTo>
              </a:path>
            </a:pathLst>
          </a:custGeom>
          <a:ln w="108">
            <a:solidFill>
              <a:srgbClr val="000000"/>
            </a:solidFill>
          </a:ln>
        </p:spPr>
        <p:txBody>
          <a:bodyPr wrap="square" lIns="0" tIns="0" rIns="0" bIns="0" rtlCol="0">
            <a:noAutofit/>
          </a:bodyPr>
          <a:lstStyle/>
          <a:p>
            <a:endParaRPr/>
          </a:p>
        </p:txBody>
      </p:sp>
      <p:sp>
        <p:nvSpPr>
          <p:cNvPr id="849" name="object 849"/>
          <p:cNvSpPr/>
          <p:nvPr/>
        </p:nvSpPr>
        <p:spPr>
          <a:xfrm>
            <a:off x="3716306" y="1884064"/>
            <a:ext cx="407390" cy="0"/>
          </a:xfrm>
          <a:custGeom>
            <a:avLst/>
            <a:gdLst/>
            <a:ahLst/>
            <a:cxnLst/>
            <a:rect l="l" t="t" r="r" b="b"/>
            <a:pathLst>
              <a:path w="407390">
                <a:moveTo>
                  <a:pt x="0" y="0"/>
                </a:moveTo>
                <a:lnTo>
                  <a:pt x="407390" y="0"/>
                </a:lnTo>
              </a:path>
            </a:pathLst>
          </a:custGeom>
          <a:ln w="108">
            <a:solidFill>
              <a:srgbClr val="000000"/>
            </a:solidFill>
          </a:ln>
        </p:spPr>
        <p:txBody>
          <a:bodyPr wrap="square" lIns="0" tIns="0" rIns="0" bIns="0" rtlCol="0">
            <a:noAutofit/>
          </a:bodyPr>
          <a:lstStyle/>
          <a:p>
            <a:endParaRPr/>
          </a:p>
        </p:txBody>
      </p:sp>
      <p:sp>
        <p:nvSpPr>
          <p:cNvPr id="850" name="object 850"/>
          <p:cNvSpPr/>
          <p:nvPr/>
        </p:nvSpPr>
        <p:spPr>
          <a:xfrm>
            <a:off x="3716306" y="1916541"/>
            <a:ext cx="407390" cy="0"/>
          </a:xfrm>
          <a:custGeom>
            <a:avLst/>
            <a:gdLst/>
            <a:ahLst/>
            <a:cxnLst/>
            <a:rect l="l" t="t" r="r" b="b"/>
            <a:pathLst>
              <a:path w="407390">
                <a:moveTo>
                  <a:pt x="0" y="0"/>
                </a:moveTo>
                <a:lnTo>
                  <a:pt x="407390" y="0"/>
                </a:lnTo>
              </a:path>
            </a:pathLst>
          </a:custGeom>
          <a:ln w="108">
            <a:solidFill>
              <a:srgbClr val="000000"/>
            </a:solidFill>
          </a:ln>
        </p:spPr>
        <p:txBody>
          <a:bodyPr wrap="square" lIns="0" tIns="0" rIns="0" bIns="0" rtlCol="0">
            <a:noAutofit/>
          </a:bodyPr>
          <a:lstStyle/>
          <a:p>
            <a:endParaRPr/>
          </a:p>
        </p:txBody>
      </p:sp>
      <p:sp>
        <p:nvSpPr>
          <p:cNvPr id="851" name="object 851"/>
          <p:cNvSpPr/>
          <p:nvPr/>
        </p:nvSpPr>
        <p:spPr>
          <a:xfrm>
            <a:off x="3716306" y="1949017"/>
            <a:ext cx="407390" cy="0"/>
          </a:xfrm>
          <a:custGeom>
            <a:avLst/>
            <a:gdLst/>
            <a:ahLst/>
            <a:cxnLst/>
            <a:rect l="l" t="t" r="r" b="b"/>
            <a:pathLst>
              <a:path w="407390">
                <a:moveTo>
                  <a:pt x="0" y="0"/>
                </a:moveTo>
                <a:lnTo>
                  <a:pt x="407390" y="0"/>
                </a:lnTo>
              </a:path>
            </a:pathLst>
          </a:custGeom>
          <a:ln w="108">
            <a:solidFill>
              <a:srgbClr val="000000"/>
            </a:solidFill>
          </a:ln>
        </p:spPr>
        <p:txBody>
          <a:bodyPr wrap="square" lIns="0" tIns="0" rIns="0" bIns="0" rtlCol="0">
            <a:noAutofit/>
          </a:bodyPr>
          <a:lstStyle/>
          <a:p>
            <a:endParaRPr/>
          </a:p>
        </p:txBody>
      </p:sp>
      <p:sp>
        <p:nvSpPr>
          <p:cNvPr id="852" name="object 852"/>
          <p:cNvSpPr/>
          <p:nvPr/>
        </p:nvSpPr>
        <p:spPr>
          <a:xfrm>
            <a:off x="3441454" y="1877461"/>
            <a:ext cx="2148" cy="0"/>
          </a:xfrm>
          <a:custGeom>
            <a:avLst/>
            <a:gdLst/>
            <a:ahLst/>
            <a:cxnLst/>
            <a:rect l="l" t="t" r="r" b="b"/>
            <a:pathLst>
              <a:path w="2148">
                <a:moveTo>
                  <a:pt x="0" y="0"/>
                </a:moveTo>
                <a:lnTo>
                  <a:pt x="2148" y="0"/>
                </a:lnTo>
              </a:path>
            </a:pathLst>
          </a:custGeom>
          <a:ln w="3435">
            <a:solidFill>
              <a:srgbClr val="000000"/>
            </a:solidFill>
          </a:ln>
        </p:spPr>
        <p:txBody>
          <a:bodyPr wrap="square" lIns="0" tIns="0" rIns="0" bIns="0" rtlCol="0">
            <a:noAutofit/>
          </a:bodyPr>
          <a:lstStyle/>
          <a:p>
            <a:endParaRPr/>
          </a:p>
        </p:txBody>
      </p:sp>
      <p:sp>
        <p:nvSpPr>
          <p:cNvPr id="853" name="object 853"/>
          <p:cNvSpPr/>
          <p:nvPr/>
        </p:nvSpPr>
        <p:spPr>
          <a:xfrm>
            <a:off x="3441454" y="1868475"/>
            <a:ext cx="2148" cy="0"/>
          </a:xfrm>
          <a:custGeom>
            <a:avLst/>
            <a:gdLst/>
            <a:ahLst/>
            <a:cxnLst/>
            <a:rect l="l" t="t" r="r" b="b"/>
            <a:pathLst>
              <a:path w="2148">
                <a:moveTo>
                  <a:pt x="0" y="0"/>
                </a:moveTo>
                <a:lnTo>
                  <a:pt x="2148" y="0"/>
                </a:lnTo>
              </a:path>
            </a:pathLst>
          </a:custGeom>
          <a:ln w="3651">
            <a:solidFill>
              <a:srgbClr val="000000"/>
            </a:solidFill>
          </a:ln>
        </p:spPr>
        <p:txBody>
          <a:bodyPr wrap="square" lIns="0" tIns="0" rIns="0" bIns="0" rtlCol="0">
            <a:noAutofit/>
          </a:bodyPr>
          <a:lstStyle/>
          <a:p>
            <a:endParaRPr/>
          </a:p>
        </p:txBody>
      </p:sp>
      <p:sp>
        <p:nvSpPr>
          <p:cNvPr id="854" name="object 854"/>
          <p:cNvSpPr/>
          <p:nvPr/>
        </p:nvSpPr>
        <p:spPr>
          <a:xfrm>
            <a:off x="3324275" y="1866961"/>
            <a:ext cx="9773" cy="16129"/>
          </a:xfrm>
          <a:custGeom>
            <a:avLst/>
            <a:gdLst/>
            <a:ahLst/>
            <a:cxnLst/>
            <a:rect l="l" t="t" r="r" b="b"/>
            <a:pathLst>
              <a:path w="9773" h="16129">
                <a:moveTo>
                  <a:pt x="1933" y="5087"/>
                </a:moveTo>
                <a:lnTo>
                  <a:pt x="2040" y="4330"/>
                </a:lnTo>
                <a:lnTo>
                  <a:pt x="2148" y="649"/>
                </a:lnTo>
                <a:lnTo>
                  <a:pt x="1718" y="1082"/>
                </a:lnTo>
                <a:lnTo>
                  <a:pt x="1288" y="1515"/>
                </a:lnTo>
                <a:lnTo>
                  <a:pt x="859" y="2056"/>
                </a:lnTo>
                <a:lnTo>
                  <a:pt x="537" y="2706"/>
                </a:lnTo>
                <a:lnTo>
                  <a:pt x="322" y="3355"/>
                </a:lnTo>
                <a:lnTo>
                  <a:pt x="107" y="4113"/>
                </a:lnTo>
                <a:lnTo>
                  <a:pt x="0" y="4871"/>
                </a:lnTo>
                <a:lnTo>
                  <a:pt x="0" y="6387"/>
                </a:lnTo>
                <a:lnTo>
                  <a:pt x="107" y="7144"/>
                </a:lnTo>
                <a:lnTo>
                  <a:pt x="322" y="7902"/>
                </a:lnTo>
                <a:lnTo>
                  <a:pt x="537" y="8660"/>
                </a:lnTo>
                <a:lnTo>
                  <a:pt x="751" y="9309"/>
                </a:lnTo>
                <a:lnTo>
                  <a:pt x="1074" y="9959"/>
                </a:lnTo>
                <a:lnTo>
                  <a:pt x="1503" y="10500"/>
                </a:lnTo>
                <a:lnTo>
                  <a:pt x="2040" y="11041"/>
                </a:lnTo>
                <a:lnTo>
                  <a:pt x="2685" y="11366"/>
                </a:lnTo>
                <a:lnTo>
                  <a:pt x="3329" y="11691"/>
                </a:lnTo>
                <a:lnTo>
                  <a:pt x="4081" y="11799"/>
                </a:lnTo>
                <a:lnTo>
                  <a:pt x="4940" y="11908"/>
                </a:lnTo>
                <a:lnTo>
                  <a:pt x="5907" y="11799"/>
                </a:lnTo>
                <a:lnTo>
                  <a:pt x="6766" y="11583"/>
                </a:lnTo>
                <a:lnTo>
                  <a:pt x="7411" y="11041"/>
                </a:lnTo>
                <a:lnTo>
                  <a:pt x="7948" y="10392"/>
                </a:lnTo>
                <a:lnTo>
                  <a:pt x="7948" y="16129"/>
                </a:lnTo>
                <a:lnTo>
                  <a:pt x="9773" y="16129"/>
                </a:lnTo>
                <a:lnTo>
                  <a:pt x="9773" y="324"/>
                </a:lnTo>
                <a:lnTo>
                  <a:pt x="7948" y="324"/>
                </a:lnTo>
                <a:lnTo>
                  <a:pt x="7948" y="1840"/>
                </a:lnTo>
                <a:lnTo>
                  <a:pt x="7733" y="1407"/>
                </a:lnTo>
                <a:lnTo>
                  <a:pt x="7411" y="1082"/>
                </a:lnTo>
                <a:lnTo>
                  <a:pt x="7088" y="757"/>
                </a:lnTo>
                <a:lnTo>
                  <a:pt x="6659" y="541"/>
                </a:lnTo>
                <a:lnTo>
                  <a:pt x="6229" y="324"/>
                </a:lnTo>
                <a:lnTo>
                  <a:pt x="5799" y="108"/>
                </a:lnTo>
                <a:lnTo>
                  <a:pt x="5262" y="0"/>
                </a:lnTo>
                <a:lnTo>
                  <a:pt x="3974" y="0"/>
                </a:lnTo>
                <a:lnTo>
                  <a:pt x="3329" y="108"/>
                </a:lnTo>
                <a:lnTo>
                  <a:pt x="2685" y="324"/>
                </a:lnTo>
                <a:lnTo>
                  <a:pt x="2255" y="3572"/>
                </a:lnTo>
                <a:lnTo>
                  <a:pt x="2470" y="2922"/>
                </a:lnTo>
                <a:lnTo>
                  <a:pt x="2899" y="2381"/>
                </a:lnTo>
                <a:lnTo>
                  <a:pt x="3436" y="1948"/>
                </a:lnTo>
                <a:lnTo>
                  <a:pt x="4081" y="1732"/>
                </a:lnTo>
                <a:lnTo>
                  <a:pt x="4940" y="1623"/>
                </a:lnTo>
                <a:lnTo>
                  <a:pt x="5692" y="1732"/>
                </a:lnTo>
                <a:lnTo>
                  <a:pt x="6229" y="1948"/>
                </a:lnTo>
                <a:lnTo>
                  <a:pt x="6766" y="2273"/>
                </a:lnTo>
                <a:lnTo>
                  <a:pt x="7196" y="2814"/>
                </a:lnTo>
                <a:lnTo>
                  <a:pt x="7518" y="3572"/>
                </a:lnTo>
                <a:lnTo>
                  <a:pt x="7733" y="4330"/>
                </a:lnTo>
                <a:lnTo>
                  <a:pt x="7948" y="5304"/>
                </a:lnTo>
                <a:lnTo>
                  <a:pt x="7948" y="6495"/>
                </a:lnTo>
                <a:lnTo>
                  <a:pt x="7840" y="7361"/>
                </a:lnTo>
                <a:lnTo>
                  <a:pt x="7733" y="8227"/>
                </a:lnTo>
                <a:lnTo>
                  <a:pt x="7411" y="8876"/>
                </a:lnTo>
                <a:lnTo>
                  <a:pt x="6981" y="9418"/>
                </a:lnTo>
                <a:lnTo>
                  <a:pt x="6444" y="9742"/>
                </a:lnTo>
                <a:lnTo>
                  <a:pt x="6014" y="10067"/>
                </a:lnTo>
                <a:lnTo>
                  <a:pt x="5477" y="10175"/>
                </a:lnTo>
                <a:lnTo>
                  <a:pt x="4940" y="10284"/>
                </a:lnTo>
                <a:lnTo>
                  <a:pt x="4188" y="10175"/>
                </a:lnTo>
                <a:lnTo>
                  <a:pt x="3544" y="9959"/>
                </a:lnTo>
                <a:lnTo>
                  <a:pt x="3114" y="9634"/>
                </a:lnTo>
                <a:lnTo>
                  <a:pt x="2685" y="9093"/>
                </a:lnTo>
                <a:lnTo>
                  <a:pt x="2362" y="8443"/>
                </a:lnTo>
                <a:lnTo>
                  <a:pt x="2148" y="7686"/>
                </a:lnTo>
                <a:lnTo>
                  <a:pt x="1933" y="6928"/>
                </a:lnTo>
                <a:lnTo>
                  <a:pt x="1933" y="5087"/>
                </a:lnTo>
                <a:close/>
              </a:path>
            </a:pathLst>
          </a:custGeom>
          <a:solidFill>
            <a:srgbClr val="000000"/>
          </a:solidFill>
        </p:spPr>
        <p:txBody>
          <a:bodyPr wrap="square" lIns="0" tIns="0" rIns="0" bIns="0" rtlCol="0">
            <a:noAutofit/>
          </a:bodyPr>
          <a:lstStyle/>
          <a:p>
            <a:endParaRPr/>
          </a:p>
        </p:txBody>
      </p:sp>
      <p:sp>
        <p:nvSpPr>
          <p:cNvPr id="855" name="object 855"/>
          <p:cNvSpPr/>
          <p:nvPr/>
        </p:nvSpPr>
        <p:spPr>
          <a:xfrm>
            <a:off x="3297852" y="1863063"/>
            <a:ext cx="9236" cy="2056"/>
          </a:xfrm>
          <a:custGeom>
            <a:avLst/>
            <a:gdLst/>
            <a:ahLst/>
            <a:cxnLst/>
            <a:rect l="l" t="t" r="r" b="b"/>
            <a:pathLst>
              <a:path w="9236" h="2056">
                <a:moveTo>
                  <a:pt x="0" y="0"/>
                </a:moveTo>
                <a:lnTo>
                  <a:pt x="1933" y="1840"/>
                </a:lnTo>
                <a:lnTo>
                  <a:pt x="8270" y="1840"/>
                </a:lnTo>
                <a:lnTo>
                  <a:pt x="8807" y="2056"/>
                </a:lnTo>
                <a:lnTo>
                  <a:pt x="9236" y="216"/>
                </a:lnTo>
                <a:lnTo>
                  <a:pt x="8592" y="108"/>
                </a:lnTo>
                <a:lnTo>
                  <a:pt x="7948" y="0"/>
                </a:lnTo>
                <a:lnTo>
                  <a:pt x="0" y="0"/>
                </a:lnTo>
                <a:close/>
              </a:path>
            </a:pathLst>
          </a:custGeom>
          <a:solidFill>
            <a:srgbClr val="000000"/>
          </a:solidFill>
        </p:spPr>
        <p:txBody>
          <a:bodyPr wrap="square" lIns="0" tIns="0" rIns="0" bIns="0" rtlCol="0">
            <a:noAutofit/>
          </a:bodyPr>
          <a:lstStyle/>
          <a:p>
            <a:endParaRPr/>
          </a:p>
        </p:txBody>
      </p:sp>
      <p:sp>
        <p:nvSpPr>
          <p:cNvPr id="856" name="object 856"/>
          <p:cNvSpPr/>
          <p:nvPr/>
        </p:nvSpPr>
        <p:spPr>
          <a:xfrm>
            <a:off x="3297853" y="1863063"/>
            <a:ext cx="12781" cy="15480"/>
          </a:xfrm>
          <a:custGeom>
            <a:avLst/>
            <a:gdLst/>
            <a:ahLst/>
            <a:cxnLst/>
            <a:rect l="l" t="t" r="r" b="b"/>
            <a:pathLst>
              <a:path w="12781" h="15480">
                <a:moveTo>
                  <a:pt x="12029" y="10825"/>
                </a:moveTo>
                <a:lnTo>
                  <a:pt x="11922" y="10392"/>
                </a:lnTo>
                <a:lnTo>
                  <a:pt x="11814" y="9959"/>
                </a:lnTo>
                <a:lnTo>
                  <a:pt x="11707" y="9526"/>
                </a:lnTo>
                <a:lnTo>
                  <a:pt x="11599" y="9201"/>
                </a:lnTo>
                <a:lnTo>
                  <a:pt x="11385" y="8876"/>
                </a:lnTo>
                <a:lnTo>
                  <a:pt x="11170" y="8552"/>
                </a:lnTo>
                <a:lnTo>
                  <a:pt x="10955" y="8227"/>
                </a:lnTo>
                <a:lnTo>
                  <a:pt x="10633" y="8119"/>
                </a:lnTo>
                <a:lnTo>
                  <a:pt x="10203" y="7902"/>
                </a:lnTo>
                <a:lnTo>
                  <a:pt x="10740" y="7577"/>
                </a:lnTo>
                <a:lnTo>
                  <a:pt x="11062" y="7253"/>
                </a:lnTo>
                <a:lnTo>
                  <a:pt x="11492" y="6820"/>
                </a:lnTo>
                <a:lnTo>
                  <a:pt x="11707" y="6387"/>
                </a:lnTo>
                <a:lnTo>
                  <a:pt x="11922" y="5954"/>
                </a:lnTo>
                <a:lnTo>
                  <a:pt x="12136" y="5412"/>
                </a:lnTo>
                <a:lnTo>
                  <a:pt x="12244" y="4871"/>
                </a:lnTo>
                <a:lnTo>
                  <a:pt x="12244" y="3572"/>
                </a:lnTo>
                <a:lnTo>
                  <a:pt x="12136" y="3031"/>
                </a:lnTo>
                <a:lnTo>
                  <a:pt x="11922" y="2489"/>
                </a:lnTo>
                <a:lnTo>
                  <a:pt x="11599" y="1948"/>
                </a:lnTo>
                <a:lnTo>
                  <a:pt x="11170" y="1515"/>
                </a:lnTo>
                <a:lnTo>
                  <a:pt x="10740" y="1082"/>
                </a:lnTo>
                <a:lnTo>
                  <a:pt x="10310" y="757"/>
                </a:lnTo>
                <a:lnTo>
                  <a:pt x="9773" y="433"/>
                </a:lnTo>
                <a:lnTo>
                  <a:pt x="9236" y="216"/>
                </a:lnTo>
                <a:lnTo>
                  <a:pt x="8807" y="2056"/>
                </a:lnTo>
                <a:lnTo>
                  <a:pt x="9236" y="2273"/>
                </a:lnTo>
                <a:lnTo>
                  <a:pt x="9559" y="2598"/>
                </a:lnTo>
                <a:lnTo>
                  <a:pt x="9881" y="3031"/>
                </a:lnTo>
                <a:lnTo>
                  <a:pt x="10096" y="3464"/>
                </a:lnTo>
                <a:lnTo>
                  <a:pt x="10203" y="3897"/>
                </a:lnTo>
                <a:lnTo>
                  <a:pt x="10203" y="4763"/>
                </a:lnTo>
                <a:lnTo>
                  <a:pt x="10096" y="5087"/>
                </a:lnTo>
                <a:lnTo>
                  <a:pt x="9988" y="5412"/>
                </a:lnTo>
                <a:lnTo>
                  <a:pt x="9881" y="5737"/>
                </a:lnTo>
                <a:lnTo>
                  <a:pt x="9666" y="6062"/>
                </a:lnTo>
                <a:lnTo>
                  <a:pt x="9451" y="6278"/>
                </a:lnTo>
                <a:lnTo>
                  <a:pt x="9236" y="6495"/>
                </a:lnTo>
                <a:lnTo>
                  <a:pt x="8914" y="6711"/>
                </a:lnTo>
                <a:lnTo>
                  <a:pt x="8592" y="6820"/>
                </a:lnTo>
                <a:lnTo>
                  <a:pt x="8162" y="6928"/>
                </a:lnTo>
                <a:lnTo>
                  <a:pt x="7840" y="7036"/>
                </a:lnTo>
                <a:lnTo>
                  <a:pt x="1933" y="7036"/>
                </a:lnTo>
                <a:lnTo>
                  <a:pt x="1933" y="1840"/>
                </a:lnTo>
                <a:lnTo>
                  <a:pt x="0" y="0"/>
                </a:lnTo>
                <a:lnTo>
                  <a:pt x="0" y="15480"/>
                </a:lnTo>
                <a:lnTo>
                  <a:pt x="1933" y="15480"/>
                </a:lnTo>
                <a:lnTo>
                  <a:pt x="1933" y="8985"/>
                </a:lnTo>
                <a:lnTo>
                  <a:pt x="7948" y="8985"/>
                </a:lnTo>
                <a:lnTo>
                  <a:pt x="8485" y="9093"/>
                </a:lnTo>
                <a:lnTo>
                  <a:pt x="9022" y="9309"/>
                </a:lnTo>
                <a:lnTo>
                  <a:pt x="9344" y="9526"/>
                </a:lnTo>
                <a:lnTo>
                  <a:pt x="9559" y="9851"/>
                </a:lnTo>
                <a:lnTo>
                  <a:pt x="9773" y="10175"/>
                </a:lnTo>
                <a:lnTo>
                  <a:pt x="9881" y="10500"/>
                </a:lnTo>
                <a:lnTo>
                  <a:pt x="9988" y="10825"/>
                </a:lnTo>
                <a:lnTo>
                  <a:pt x="9988" y="12341"/>
                </a:lnTo>
                <a:lnTo>
                  <a:pt x="10096" y="13098"/>
                </a:lnTo>
                <a:lnTo>
                  <a:pt x="10096" y="13856"/>
                </a:lnTo>
                <a:lnTo>
                  <a:pt x="10203" y="14506"/>
                </a:lnTo>
                <a:lnTo>
                  <a:pt x="10203" y="15047"/>
                </a:lnTo>
                <a:lnTo>
                  <a:pt x="10310" y="15480"/>
                </a:lnTo>
                <a:lnTo>
                  <a:pt x="12781" y="15480"/>
                </a:lnTo>
                <a:lnTo>
                  <a:pt x="12781" y="15155"/>
                </a:lnTo>
                <a:lnTo>
                  <a:pt x="12566" y="15047"/>
                </a:lnTo>
                <a:lnTo>
                  <a:pt x="12351" y="14939"/>
                </a:lnTo>
                <a:lnTo>
                  <a:pt x="12244" y="14722"/>
                </a:lnTo>
                <a:lnTo>
                  <a:pt x="12136" y="14397"/>
                </a:lnTo>
                <a:lnTo>
                  <a:pt x="12029" y="14073"/>
                </a:lnTo>
                <a:lnTo>
                  <a:pt x="12029" y="10825"/>
                </a:lnTo>
                <a:close/>
              </a:path>
            </a:pathLst>
          </a:custGeom>
          <a:solidFill>
            <a:srgbClr val="000000"/>
          </a:solidFill>
        </p:spPr>
        <p:txBody>
          <a:bodyPr wrap="square" lIns="0" tIns="0" rIns="0" bIns="0" rtlCol="0">
            <a:noAutofit/>
          </a:bodyPr>
          <a:lstStyle/>
          <a:p>
            <a:endParaRPr/>
          </a:p>
        </p:txBody>
      </p:sp>
      <p:sp>
        <p:nvSpPr>
          <p:cNvPr id="857" name="object 857"/>
          <p:cNvSpPr/>
          <p:nvPr/>
        </p:nvSpPr>
        <p:spPr>
          <a:xfrm>
            <a:off x="3314393" y="1867393"/>
            <a:ext cx="966" cy="3788"/>
          </a:xfrm>
          <a:custGeom>
            <a:avLst/>
            <a:gdLst/>
            <a:ahLst/>
            <a:cxnLst/>
            <a:rect l="l" t="t" r="r" b="b"/>
            <a:pathLst>
              <a:path w="966" h="3788">
                <a:moveTo>
                  <a:pt x="429" y="324"/>
                </a:moveTo>
                <a:lnTo>
                  <a:pt x="0" y="649"/>
                </a:lnTo>
                <a:lnTo>
                  <a:pt x="107" y="3788"/>
                </a:lnTo>
                <a:lnTo>
                  <a:pt x="214" y="3355"/>
                </a:lnTo>
                <a:lnTo>
                  <a:pt x="429" y="2922"/>
                </a:lnTo>
                <a:lnTo>
                  <a:pt x="644" y="2598"/>
                </a:lnTo>
                <a:lnTo>
                  <a:pt x="966" y="0"/>
                </a:lnTo>
                <a:lnTo>
                  <a:pt x="429" y="324"/>
                </a:lnTo>
                <a:close/>
              </a:path>
            </a:pathLst>
          </a:custGeom>
          <a:solidFill>
            <a:srgbClr val="000000"/>
          </a:solidFill>
        </p:spPr>
        <p:txBody>
          <a:bodyPr wrap="square" lIns="0" tIns="0" rIns="0" bIns="0" rtlCol="0">
            <a:noAutofit/>
          </a:bodyPr>
          <a:lstStyle/>
          <a:p>
            <a:endParaRPr/>
          </a:p>
        </p:txBody>
      </p:sp>
      <p:sp>
        <p:nvSpPr>
          <p:cNvPr id="858" name="object 858"/>
          <p:cNvSpPr/>
          <p:nvPr/>
        </p:nvSpPr>
        <p:spPr>
          <a:xfrm>
            <a:off x="3312353" y="1866743"/>
            <a:ext cx="10203" cy="12124"/>
          </a:xfrm>
          <a:custGeom>
            <a:avLst/>
            <a:gdLst/>
            <a:ahLst/>
            <a:cxnLst/>
            <a:rect l="l" t="t" r="r" b="b"/>
            <a:pathLst>
              <a:path w="10203" h="12124">
                <a:moveTo>
                  <a:pt x="0" y="6495"/>
                </a:moveTo>
                <a:lnTo>
                  <a:pt x="0" y="7036"/>
                </a:lnTo>
                <a:lnTo>
                  <a:pt x="107" y="7577"/>
                </a:lnTo>
                <a:lnTo>
                  <a:pt x="214" y="8010"/>
                </a:lnTo>
                <a:lnTo>
                  <a:pt x="322" y="8443"/>
                </a:lnTo>
                <a:lnTo>
                  <a:pt x="429" y="8985"/>
                </a:lnTo>
                <a:lnTo>
                  <a:pt x="644" y="9418"/>
                </a:lnTo>
                <a:lnTo>
                  <a:pt x="859" y="9742"/>
                </a:lnTo>
                <a:lnTo>
                  <a:pt x="1074" y="10175"/>
                </a:lnTo>
                <a:lnTo>
                  <a:pt x="1396" y="10608"/>
                </a:lnTo>
                <a:lnTo>
                  <a:pt x="1825" y="11041"/>
                </a:lnTo>
                <a:lnTo>
                  <a:pt x="2255" y="11366"/>
                </a:lnTo>
                <a:lnTo>
                  <a:pt x="2792" y="11691"/>
                </a:lnTo>
                <a:lnTo>
                  <a:pt x="3329" y="11799"/>
                </a:lnTo>
                <a:lnTo>
                  <a:pt x="3866" y="12016"/>
                </a:lnTo>
                <a:lnTo>
                  <a:pt x="4403" y="12124"/>
                </a:lnTo>
                <a:lnTo>
                  <a:pt x="5585" y="12124"/>
                </a:lnTo>
                <a:lnTo>
                  <a:pt x="6122" y="12016"/>
                </a:lnTo>
                <a:lnTo>
                  <a:pt x="6551" y="12016"/>
                </a:lnTo>
                <a:lnTo>
                  <a:pt x="6873" y="11908"/>
                </a:lnTo>
                <a:lnTo>
                  <a:pt x="7196" y="11799"/>
                </a:lnTo>
                <a:lnTo>
                  <a:pt x="7518" y="11691"/>
                </a:lnTo>
                <a:lnTo>
                  <a:pt x="7840" y="11475"/>
                </a:lnTo>
                <a:lnTo>
                  <a:pt x="8055" y="11366"/>
                </a:lnTo>
                <a:lnTo>
                  <a:pt x="8485" y="11041"/>
                </a:lnTo>
                <a:lnTo>
                  <a:pt x="8914" y="10717"/>
                </a:lnTo>
                <a:lnTo>
                  <a:pt x="9236" y="10284"/>
                </a:lnTo>
                <a:lnTo>
                  <a:pt x="9559" y="9851"/>
                </a:lnTo>
                <a:lnTo>
                  <a:pt x="9773" y="9418"/>
                </a:lnTo>
                <a:lnTo>
                  <a:pt x="9988" y="8985"/>
                </a:lnTo>
                <a:lnTo>
                  <a:pt x="10096" y="8552"/>
                </a:lnTo>
                <a:lnTo>
                  <a:pt x="10096" y="8227"/>
                </a:lnTo>
                <a:lnTo>
                  <a:pt x="8162" y="8227"/>
                </a:lnTo>
                <a:lnTo>
                  <a:pt x="8162" y="8443"/>
                </a:lnTo>
                <a:lnTo>
                  <a:pt x="8055" y="8660"/>
                </a:lnTo>
                <a:lnTo>
                  <a:pt x="7948" y="8985"/>
                </a:lnTo>
                <a:lnTo>
                  <a:pt x="7840" y="9201"/>
                </a:lnTo>
                <a:lnTo>
                  <a:pt x="7625" y="9526"/>
                </a:lnTo>
                <a:lnTo>
                  <a:pt x="7303" y="9742"/>
                </a:lnTo>
                <a:lnTo>
                  <a:pt x="7088" y="9959"/>
                </a:lnTo>
                <a:lnTo>
                  <a:pt x="6766" y="10175"/>
                </a:lnTo>
                <a:lnTo>
                  <a:pt x="6444" y="10284"/>
                </a:lnTo>
                <a:lnTo>
                  <a:pt x="6014" y="10392"/>
                </a:lnTo>
                <a:lnTo>
                  <a:pt x="5692" y="10500"/>
                </a:lnTo>
                <a:lnTo>
                  <a:pt x="5262" y="10500"/>
                </a:lnTo>
                <a:lnTo>
                  <a:pt x="4511" y="10392"/>
                </a:lnTo>
                <a:lnTo>
                  <a:pt x="3866" y="10284"/>
                </a:lnTo>
                <a:lnTo>
                  <a:pt x="3329" y="9959"/>
                </a:lnTo>
                <a:lnTo>
                  <a:pt x="2899" y="9526"/>
                </a:lnTo>
                <a:lnTo>
                  <a:pt x="2577" y="8985"/>
                </a:lnTo>
                <a:lnTo>
                  <a:pt x="2255" y="8335"/>
                </a:lnTo>
                <a:lnTo>
                  <a:pt x="2148" y="7686"/>
                </a:lnTo>
                <a:lnTo>
                  <a:pt x="2040" y="6820"/>
                </a:lnTo>
                <a:lnTo>
                  <a:pt x="10203" y="6820"/>
                </a:lnTo>
                <a:lnTo>
                  <a:pt x="10203" y="5520"/>
                </a:lnTo>
                <a:lnTo>
                  <a:pt x="10096" y="4979"/>
                </a:lnTo>
                <a:lnTo>
                  <a:pt x="9988" y="4438"/>
                </a:lnTo>
                <a:lnTo>
                  <a:pt x="9881" y="3897"/>
                </a:lnTo>
                <a:lnTo>
                  <a:pt x="9773" y="3355"/>
                </a:lnTo>
                <a:lnTo>
                  <a:pt x="9559" y="2922"/>
                </a:lnTo>
                <a:lnTo>
                  <a:pt x="9344" y="2489"/>
                </a:lnTo>
                <a:lnTo>
                  <a:pt x="9129" y="2056"/>
                </a:lnTo>
                <a:lnTo>
                  <a:pt x="8807" y="1732"/>
                </a:lnTo>
                <a:lnTo>
                  <a:pt x="8592" y="1407"/>
                </a:lnTo>
                <a:lnTo>
                  <a:pt x="8270" y="1082"/>
                </a:lnTo>
                <a:lnTo>
                  <a:pt x="7948" y="866"/>
                </a:lnTo>
                <a:lnTo>
                  <a:pt x="7625" y="649"/>
                </a:lnTo>
                <a:lnTo>
                  <a:pt x="7303" y="433"/>
                </a:lnTo>
                <a:lnTo>
                  <a:pt x="6873" y="324"/>
                </a:lnTo>
                <a:lnTo>
                  <a:pt x="6444" y="216"/>
                </a:lnTo>
                <a:lnTo>
                  <a:pt x="6122" y="108"/>
                </a:lnTo>
                <a:lnTo>
                  <a:pt x="5799" y="0"/>
                </a:lnTo>
                <a:lnTo>
                  <a:pt x="4833" y="0"/>
                </a:lnTo>
                <a:lnTo>
                  <a:pt x="4403" y="108"/>
                </a:lnTo>
                <a:lnTo>
                  <a:pt x="3866" y="216"/>
                </a:lnTo>
                <a:lnTo>
                  <a:pt x="3436" y="433"/>
                </a:lnTo>
                <a:lnTo>
                  <a:pt x="3007" y="649"/>
                </a:lnTo>
                <a:lnTo>
                  <a:pt x="2685" y="3247"/>
                </a:lnTo>
                <a:lnTo>
                  <a:pt x="3007" y="2922"/>
                </a:lnTo>
                <a:lnTo>
                  <a:pt x="3329" y="2598"/>
                </a:lnTo>
                <a:lnTo>
                  <a:pt x="3651" y="2381"/>
                </a:lnTo>
                <a:lnTo>
                  <a:pt x="3974" y="2165"/>
                </a:lnTo>
                <a:lnTo>
                  <a:pt x="4403" y="1948"/>
                </a:lnTo>
                <a:lnTo>
                  <a:pt x="4725" y="1840"/>
                </a:lnTo>
                <a:lnTo>
                  <a:pt x="5155" y="1840"/>
                </a:lnTo>
                <a:lnTo>
                  <a:pt x="5907" y="1948"/>
                </a:lnTo>
                <a:lnTo>
                  <a:pt x="6551" y="2056"/>
                </a:lnTo>
                <a:lnTo>
                  <a:pt x="7088" y="2381"/>
                </a:lnTo>
                <a:lnTo>
                  <a:pt x="7518" y="2814"/>
                </a:lnTo>
                <a:lnTo>
                  <a:pt x="7840" y="3355"/>
                </a:lnTo>
                <a:lnTo>
                  <a:pt x="8055" y="3897"/>
                </a:lnTo>
                <a:lnTo>
                  <a:pt x="8162" y="4546"/>
                </a:lnTo>
                <a:lnTo>
                  <a:pt x="8270" y="5304"/>
                </a:lnTo>
                <a:lnTo>
                  <a:pt x="2040" y="5304"/>
                </a:lnTo>
                <a:lnTo>
                  <a:pt x="2040" y="4871"/>
                </a:lnTo>
                <a:lnTo>
                  <a:pt x="2148" y="4438"/>
                </a:lnTo>
                <a:lnTo>
                  <a:pt x="2040" y="1299"/>
                </a:lnTo>
                <a:lnTo>
                  <a:pt x="1718" y="1623"/>
                </a:lnTo>
                <a:lnTo>
                  <a:pt x="1288" y="2056"/>
                </a:lnTo>
                <a:lnTo>
                  <a:pt x="966" y="2598"/>
                </a:lnTo>
                <a:lnTo>
                  <a:pt x="644" y="3139"/>
                </a:lnTo>
                <a:lnTo>
                  <a:pt x="429" y="3680"/>
                </a:lnTo>
                <a:lnTo>
                  <a:pt x="322" y="4330"/>
                </a:lnTo>
                <a:lnTo>
                  <a:pt x="107" y="5087"/>
                </a:lnTo>
                <a:lnTo>
                  <a:pt x="0" y="5737"/>
                </a:lnTo>
                <a:lnTo>
                  <a:pt x="0" y="6495"/>
                </a:lnTo>
                <a:close/>
              </a:path>
            </a:pathLst>
          </a:custGeom>
          <a:solidFill>
            <a:srgbClr val="000000"/>
          </a:solidFill>
        </p:spPr>
        <p:txBody>
          <a:bodyPr wrap="square" lIns="0" tIns="0" rIns="0" bIns="0" rtlCol="0">
            <a:noAutofit/>
          </a:bodyPr>
          <a:lstStyle/>
          <a:p>
            <a:endParaRPr/>
          </a:p>
        </p:txBody>
      </p:sp>
      <p:sp>
        <p:nvSpPr>
          <p:cNvPr id="859" name="object 859"/>
          <p:cNvSpPr/>
          <p:nvPr/>
        </p:nvSpPr>
        <p:spPr>
          <a:xfrm>
            <a:off x="3326315" y="1867286"/>
            <a:ext cx="644" cy="4005"/>
          </a:xfrm>
          <a:custGeom>
            <a:avLst/>
            <a:gdLst/>
            <a:ahLst/>
            <a:cxnLst/>
            <a:rect l="l" t="t" r="r" b="b"/>
            <a:pathLst>
              <a:path w="644" h="4005">
                <a:moveTo>
                  <a:pt x="107" y="324"/>
                </a:moveTo>
                <a:lnTo>
                  <a:pt x="0" y="4005"/>
                </a:lnTo>
                <a:lnTo>
                  <a:pt x="214" y="3247"/>
                </a:lnTo>
                <a:lnTo>
                  <a:pt x="644" y="0"/>
                </a:lnTo>
                <a:lnTo>
                  <a:pt x="107" y="324"/>
                </a:lnTo>
                <a:close/>
              </a:path>
            </a:pathLst>
          </a:custGeom>
          <a:solidFill>
            <a:srgbClr val="000000"/>
          </a:solidFill>
        </p:spPr>
        <p:txBody>
          <a:bodyPr wrap="square" lIns="0" tIns="0" rIns="0" bIns="0" rtlCol="0">
            <a:noAutofit/>
          </a:bodyPr>
          <a:lstStyle/>
          <a:p>
            <a:endParaRPr/>
          </a:p>
        </p:txBody>
      </p:sp>
      <p:sp>
        <p:nvSpPr>
          <p:cNvPr id="860" name="object 860"/>
          <p:cNvSpPr/>
          <p:nvPr/>
        </p:nvSpPr>
        <p:spPr>
          <a:xfrm>
            <a:off x="3336949" y="1867286"/>
            <a:ext cx="8807" cy="11691"/>
          </a:xfrm>
          <a:custGeom>
            <a:avLst/>
            <a:gdLst/>
            <a:ahLst/>
            <a:cxnLst/>
            <a:rect l="l" t="t" r="r" b="b"/>
            <a:pathLst>
              <a:path w="8807" h="11691">
                <a:moveTo>
                  <a:pt x="3974" y="10284"/>
                </a:moveTo>
                <a:lnTo>
                  <a:pt x="3222" y="10284"/>
                </a:lnTo>
                <a:lnTo>
                  <a:pt x="2899" y="10175"/>
                </a:lnTo>
                <a:lnTo>
                  <a:pt x="2577" y="9959"/>
                </a:lnTo>
                <a:lnTo>
                  <a:pt x="2148" y="9418"/>
                </a:lnTo>
                <a:lnTo>
                  <a:pt x="1933" y="9093"/>
                </a:lnTo>
                <a:lnTo>
                  <a:pt x="1825" y="8660"/>
                </a:lnTo>
                <a:lnTo>
                  <a:pt x="1825" y="0"/>
                </a:lnTo>
                <a:lnTo>
                  <a:pt x="0" y="0"/>
                </a:lnTo>
                <a:lnTo>
                  <a:pt x="0" y="9201"/>
                </a:lnTo>
                <a:lnTo>
                  <a:pt x="214" y="9851"/>
                </a:lnTo>
                <a:lnTo>
                  <a:pt x="429" y="10392"/>
                </a:lnTo>
                <a:lnTo>
                  <a:pt x="859" y="10933"/>
                </a:lnTo>
                <a:lnTo>
                  <a:pt x="1288" y="11258"/>
                </a:lnTo>
                <a:lnTo>
                  <a:pt x="1825" y="11475"/>
                </a:lnTo>
                <a:lnTo>
                  <a:pt x="2470" y="11583"/>
                </a:lnTo>
                <a:lnTo>
                  <a:pt x="3114" y="11691"/>
                </a:lnTo>
                <a:lnTo>
                  <a:pt x="3651" y="11691"/>
                </a:lnTo>
                <a:lnTo>
                  <a:pt x="4188" y="11583"/>
                </a:lnTo>
                <a:lnTo>
                  <a:pt x="4725" y="11475"/>
                </a:lnTo>
                <a:lnTo>
                  <a:pt x="5262" y="11258"/>
                </a:lnTo>
                <a:lnTo>
                  <a:pt x="5692" y="11150"/>
                </a:lnTo>
                <a:lnTo>
                  <a:pt x="6229" y="10825"/>
                </a:lnTo>
                <a:lnTo>
                  <a:pt x="6659" y="10608"/>
                </a:lnTo>
                <a:lnTo>
                  <a:pt x="6981" y="10175"/>
                </a:lnTo>
                <a:lnTo>
                  <a:pt x="6981" y="11258"/>
                </a:lnTo>
                <a:lnTo>
                  <a:pt x="8807" y="11258"/>
                </a:lnTo>
                <a:lnTo>
                  <a:pt x="8807" y="0"/>
                </a:lnTo>
                <a:lnTo>
                  <a:pt x="6981" y="0"/>
                </a:lnTo>
                <a:lnTo>
                  <a:pt x="6981" y="7469"/>
                </a:lnTo>
                <a:lnTo>
                  <a:pt x="6766" y="8010"/>
                </a:lnTo>
                <a:lnTo>
                  <a:pt x="6551" y="8552"/>
                </a:lnTo>
                <a:lnTo>
                  <a:pt x="6122" y="9093"/>
                </a:lnTo>
                <a:lnTo>
                  <a:pt x="5692" y="9526"/>
                </a:lnTo>
                <a:lnTo>
                  <a:pt x="5262" y="9851"/>
                </a:lnTo>
                <a:lnTo>
                  <a:pt x="4725" y="10067"/>
                </a:lnTo>
                <a:lnTo>
                  <a:pt x="4188" y="10284"/>
                </a:lnTo>
                <a:lnTo>
                  <a:pt x="3974" y="10284"/>
                </a:lnTo>
                <a:close/>
              </a:path>
            </a:pathLst>
          </a:custGeom>
          <a:solidFill>
            <a:srgbClr val="000000"/>
          </a:solidFill>
        </p:spPr>
        <p:txBody>
          <a:bodyPr wrap="square" lIns="0" tIns="0" rIns="0" bIns="0" rtlCol="0">
            <a:noAutofit/>
          </a:bodyPr>
          <a:lstStyle/>
          <a:p>
            <a:endParaRPr/>
          </a:p>
        </p:txBody>
      </p:sp>
      <p:sp>
        <p:nvSpPr>
          <p:cNvPr id="861" name="object 861"/>
          <p:cNvSpPr/>
          <p:nvPr/>
        </p:nvSpPr>
        <p:spPr>
          <a:xfrm>
            <a:off x="3348656" y="1864145"/>
            <a:ext cx="1825" cy="0"/>
          </a:xfrm>
          <a:custGeom>
            <a:avLst/>
            <a:gdLst/>
            <a:ahLst/>
            <a:cxnLst/>
            <a:rect l="l" t="t" r="r" b="b"/>
            <a:pathLst>
              <a:path w="1825">
                <a:moveTo>
                  <a:pt x="0" y="0"/>
                </a:moveTo>
                <a:lnTo>
                  <a:pt x="1825" y="0"/>
                </a:lnTo>
              </a:path>
            </a:pathLst>
          </a:custGeom>
          <a:ln w="3435">
            <a:solidFill>
              <a:srgbClr val="000000"/>
            </a:solidFill>
          </a:ln>
        </p:spPr>
        <p:txBody>
          <a:bodyPr wrap="square" lIns="0" tIns="0" rIns="0" bIns="0" rtlCol="0">
            <a:noAutofit/>
          </a:bodyPr>
          <a:lstStyle/>
          <a:p>
            <a:endParaRPr/>
          </a:p>
        </p:txBody>
      </p:sp>
      <p:sp>
        <p:nvSpPr>
          <p:cNvPr id="862" name="object 862"/>
          <p:cNvSpPr/>
          <p:nvPr/>
        </p:nvSpPr>
        <p:spPr>
          <a:xfrm>
            <a:off x="3348656" y="1872914"/>
            <a:ext cx="1825" cy="0"/>
          </a:xfrm>
          <a:custGeom>
            <a:avLst/>
            <a:gdLst/>
            <a:ahLst/>
            <a:cxnLst/>
            <a:rect l="l" t="t" r="r" b="b"/>
            <a:pathLst>
              <a:path w="1825">
                <a:moveTo>
                  <a:pt x="0" y="0"/>
                </a:moveTo>
                <a:lnTo>
                  <a:pt x="1825" y="0"/>
                </a:lnTo>
              </a:path>
            </a:pathLst>
          </a:custGeom>
          <a:ln w="12528">
            <a:solidFill>
              <a:srgbClr val="000000"/>
            </a:solidFill>
          </a:ln>
        </p:spPr>
        <p:txBody>
          <a:bodyPr wrap="square" lIns="0" tIns="0" rIns="0" bIns="0" rtlCol="0">
            <a:noAutofit/>
          </a:bodyPr>
          <a:lstStyle/>
          <a:p>
            <a:endParaRPr/>
          </a:p>
        </p:txBody>
      </p:sp>
      <p:sp>
        <p:nvSpPr>
          <p:cNvPr id="863" name="object 863"/>
          <p:cNvSpPr/>
          <p:nvPr/>
        </p:nvSpPr>
        <p:spPr>
          <a:xfrm>
            <a:off x="3352953" y="1866960"/>
            <a:ext cx="9129" cy="11908"/>
          </a:xfrm>
          <a:custGeom>
            <a:avLst/>
            <a:gdLst/>
            <a:ahLst/>
            <a:cxnLst/>
            <a:rect l="l" t="t" r="r" b="b"/>
            <a:pathLst>
              <a:path w="9129" h="11908">
                <a:moveTo>
                  <a:pt x="322" y="3031"/>
                </a:moveTo>
                <a:lnTo>
                  <a:pt x="322" y="4005"/>
                </a:lnTo>
                <a:lnTo>
                  <a:pt x="429" y="4438"/>
                </a:lnTo>
                <a:lnTo>
                  <a:pt x="644" y="4763"/>
                </a:lnTo>
                <a:lnTo>
                  <a:pt x="751" y="5087"/>
                </a:lnTo>
                <a:lnTo>
                  <a:pt x="966" y="5304"/>
                </a:lnTo>
                <a:lnTo>
                  <a:pt x="1288" y="5520"/>
                </a:lnTo>
                <a:lnTo>
                  <a:pt x="1611" y="5737"/>
                </a:lnTo>
                <a:lnTo>
                  <a:pt x="1933" y="5954"/>
                </a:lnTo>
                <a:lnTo>
                  <a:pt x="2255" y="6062"/>
                </a:lnTo>
                <a:lnTo>
                  <a:pt x="2577" y="6278"/>
                </a:lnTo>
                <a:lnTo>
                  <a:pt x="3007" y="6387"/>
                </a:lnTo>
                <a:lnTo>
                  <a:pt x="3436" y="6495"/>
                </a:lnTo>
                <a:lnTo>
                  <a:pt x="3866" y="6603"/>
                </a:lnTo>
                <a:lnTo>
                  <a:pt x="4296" y="6711"/>
                </a:lnTo>
                <a:lnTo>
                  <a:pt x="4618" y="6820"/>
                </a:lnTo>
                <a:lnTo>
                  <a:pt x="5048" y="6928"/>
                </a:lnTo>
                <a:lnTo>
                  <a:pt x="5585" y="7036"/>
                </a:lnTo>
                <a:lnTo>
                  <a:pt x="6122" y="7253"/>
                </a:lnTo>
                <a:lnTo>
                  <a:pt x="6444" y="7361"/>
                </a:lnTo>
                <a:lnTo>
                  <a:pt x="6766" y="7577"/>
                </a:lnTo>
                <a:lnTo>
                  <a:pt x="6981" y="7794"/>
                </a:lnTo>
                <a:lnTo>
                  <a:pt x="7196" y="8010"/>
                </a:lnTo>
                <a:lnTo>
                  <a:pt x="7303" y="8227"/>
                </a:lnTo>
                <a:lnTo>
                  <a:pt x="7303" y="8552"/>
                </a:lnTo>
                <a:lnTo>
                  <a:pt x="7196" y="8985"/>
                </a:lnTo>
                <a:lnTo>
                  <a:pt x="7088" y="9309"/>
                </a:lnTo>
                <a:lnTo>
                  <a:pt x="6873" y="9634"/>
                </a:lnTo>
                <a:lnTo>
                  <a:pt x="6551" y="9851"/>
                </a:lnTo>
                <a:lnTo>
                  <a:pt x="6122" y="10067"/>
                </a:lnTo>
                <a:lnTo>
                  <a:pt x="5692" y="10175"/>
                </a:lnTo>
                <a:lnTo>
                  <a:pt x="5155" y="10284"/>
                </a:lnTo>
                <a:lnTo>
                  <a:pt x="3866" y="10284"/>
                </a:lnTo>
                <a:lnTo>
                  <a:pt x="3222" y="10067"/>
                </a:lnTo>
                <a:lnTo>
                  <a:pt x="2792" y="9959"/>
                </a:lnTo>
                <a:lnTo>
                  <a:pt x="2362" y="9634"/>
                </a:lnTo>
                <a:lnTo>
                  <a:pt x="2040" y="9309"/>
                </a:lnTo>
                <a:lnTo>
                  <a:pt x="1933" y="8876"/>
                </a:lnTo>
                <a:lnTo>
                  <a:pt x="1718" y="8443"/>
                </a:lnTo>
                <a:lnTo>
                  <a:pt x="1718" y="8010"/>
                </a:lnTo>
                <a:lnTo>
                  <a:pt x="0" y="8010"/>
                </a:lnTo>
                <a:lnTo>
                  <a:pt x="0" y="8443"/>
                </a:lnTo>
                <a:lnTo>
                  <a:pt x="107" y="8985"/>
                </a:lnTo>
                <a:lnTo>
                  <a:pt x="214" y="9418"/>
                </a:lnTo>
                <a:lnTo>
                  <a:pt x="322" y="9851"/>
                </a:lnTo>
                <a:lnTo>
                  <a:pt x="537" y="10284"/>
                </a:lnTo>
                <a:lnTo>
                  <a:pt x="859" y="10608"/>
                </a:lnTo>
                <a:lnTo>
                  <a:pt x="1181" y="11041"/>
                </a:lnTo>
                <a:lnTo>
                  <a:pt x="1718" y="11366"/>
                </a:lnTo>
                <a:lnTo>
                  <a:pt x="2255" y="11583"/>
                </a:lnTo>
                <a:lnTo>
                  <a:pt x="3007" y="11799"/>
                </a:lnTo>
                <a:lnTo>
                  <a:pt x="3759" y="11908"/>
                </a:lnTo>
                <a:lnTo>
                  <a:pt x="5370" y="11908"/>
                </a:lnTo>
                <a:lnTo>
                  <a:pt x="5907" y="11799"/>
                </a:lnTo>
                <a:lnTo>
                  <a:pt x="6444" y="11583"/>
                </a:lnTo>
                <a:lnTo>
                  <a:pt x="6981" y="11475"/>
                </a:lnTo>
                <a:lnTo>
                  <a:pt x="7411" y="11258"/>
                </a:lnTo>
                <a:lnTo>
                  <a:pt x="7840" y="10933"/>
                </a:lnTo>
                <a:lnTo>
                  <a:pt x="8162" y="10608"/>
                </a:lnTo>
                <a:lnTo>
                  <a:pt x="8485" y="10175"/>
                </a:lnTo>
                <a:lnTo>
                  <a:pt x="8807" y="9742"/>
                </a:lnTo>
                <a:lnTo>
                  <a:pt x="9022" y="9309"/>
                </a:lnTo>
                <a:lnTo>
                  <a:pt x="9129" y="8768"/>
                </a:lnTo>
                <a:lnTo>
                  <a:pt x="9129" y="7794"/>
                </a:lnTo>
                <a:lnTo>
                  <a:pt x="9022" y="7361"/>
                </a:lnTo>
                <a:lnTo>
                  <a:pt x="8807" y="7036"/>
                </a:lnTo>
                <a:lnTo>
                  <a:pt x="8592" y="6711"/>
                </a:lnTo>
                <a:lnTo>
                  <a:pt x="8377" y="6387"/>
                </a:lnTo>
                <a:lnTo>
                  <a:pt x="8055" y="6170"/>
                </a:lnTo>
                <a:lnTo>
                  <a:pt x="7733" y="5954"/>
                </a:lnTo>
                <a:lnTo>
                  <a:pt x="7411" y="5737"/>
                </a:lnTo>
                <a:lnTo>
                  <a:pt x="6981" y="5520"/>
                </a:lnTo>
                <a:lnTo>
                  <a:pt x="6551" y="5412"/>
                </a:lnTo>
                <a:lnTo>
                  <a:pt x="6122" y="5196"/>
                </a:lnTo>
                <a:lnTo>
                  <a:pt x="5692" y="5087"/>
                </a:lnTo>
                <a:lnTo>
                  <a:pt x="5262" y="4979"/>
                </a:lnTo>
                <a:lnTo>
                  <a:pt x="4833" y="4871"/>
                </a:lnTo>
                <a:lnTo>
                  <a:pt x="4403" y="4871"/>
                </a:lnTo>
                <a:lnTo>
                  <a:pt x="4081" y="4763"/>
                </a:lnTo>
                <a:lnTo>
                  <a:pt x="3651" y="4654"/>
                </a:lnTo>
                <a:lnTo>
                  <a:pt x="3329" y="4546"/>
                </a:lnTo>
                <a:lnTo>
                  <a:pt x="3114" y="4546"/>
                </a:lnTo>
                <a:lnTo>
                  <a:pt x="2899" y="4438"/>
                </a:lnTo>
                <a:lnTo>
                  <a:pt x="2685" y="4330"/>
                </a:lnTo>
                <a:lnTo>
                  <a:pt x="2470" y="4221"/>
                </a:lnTo>
                <a:lnTo>
                  <a:pt x="2255" y="4005"/>
                </a:lnTo>
                <a:lnTo>
                  <a:pt x="2148" y="3788"/>
                </a:lnTo>
                <a:lnTo>
                  <a:pt x="2040" y="3464"/>
                </a:lnTo>
                <a:lnTo>
                  <a:pt x="2040" y="2922"/>
                </a:lnTo>
                <a:lnTo>
                  <a:pt x="2148" y="2706"/>
                </a:lnTo>
                <a:lnTo>
                  <a:pt x="2255" y="2489"/>
                </a:lnTo>
                <a:lnTo>
                  <a:pt x="2470" y="2273"/>
                </a:lnTo>
                <a:lnTo>
                  <a:pt x="2685" y="2165"/>
                </a:lnTo>
                <a:lnTo>
                  <a:pt x="2899" y="1948"/>
                </a:lnTo>
                <a:lnTo>
                  <a:pt x="3114" y="1840"/>
                </a:lnTo>
                <a:lnTo>
                  <a:pt x="3329" y="1732"/>
                </a:lnTo>
                <a:lnTo>
                  <a:pt x="3651" y="1732"/>
                </a:lnTo>
                <a:lnTo>
                  <a:pt x="3866" y="1623"/>
                </a:lnTo>
                <a:lnTo>
                  <a:pt x="4296" y="1623"/>
                </a:lnTo>
                <a:lnTo>
                  <a:pt x="5477" y="1732"/>
                </a:lnTo>
                <a:lnTo>
                  <a:pt x="6336" y="2056"/>
                </a:lnTo>
                <a:lnTo>
                  <a:pt x="6766" y="2706"/>
                </a:lnTo>
                <a:lnTo>
                  <a:pt x="6981" y="3572"/>
                </a:lnTo>
                <a:lnTo>
                  <a:pt x="8807" y="3572"/>
                </a:lnTo>
                <a:lnTo>
                  <a:pt x="8807" y="3247"/>
                </a:lnTo>
                <a:lnTo>
                  <a:pt x="8699" y="2922"/>
                </a:lnTo>
                <a:lnTo>
                  <a:pt x="8592" y="2598"/>
                </a:lnTo>
                <a:lnTo>
                  <a:pt x="8485" y="2165"/>
                </a:lnTo>
                <a:lnTo>
                  <a:pt x="8270" y="1732"/>
                </a:lnTo>
                <a:lnTo>
                  <a:pt x="8055" y="1407"/>
                </a:lnTo>
                <a:lnTo>
                  <a:pt x="7625" y="974"/>
                </a:lnTo>
                <a:lnTo>
                  <a:pt x="7196" y="649"/>
                </a:lnTo>
                <a:lnTo>
                  <a:pt x="6766" y="324"/>
                </a:lnTo>
                <a:lnTo>
                  <a:pt x="6122" y="108"/>
                </a:lnTo>
                <a:lnTo>
                  <a:pt x="5370" y="0"/>
                </a:lnTo>
                <a:lnTo>
                  <a:pt x="3974" y="0"/>
                </a:lnTo>
                <a:lnTo>
                  <a:pt x="3436" y="108"/>
                </a:lnTo>
                <a:lnTo>
                  <a:pt x="3007" y="216"/>
                </a:lnTo>
                <a:lnTo>
                  <a:pt x="2470" y="324"/>
                </a:lnTo>
                <a:lnTo>
                  <a:pt x="2040" y="541"/>
                </a:lnTo>
                <a:lnTo>
                  <a:pt x="1611" y="866"/>
                </a:lnTo>
                <a:lnTo>
                  <a:pt x="1288" y="1190"/>
                </a:lnTo>
                <a:lnTo>
                  <a:pt x="966" y="1515"/>
                </a:lnTo>
                <a:lnTo>
                  <a:pt x="644" y="1948"/>
                </a:lnTo>
                <a:lnTo>
                  <a:pt x="537" y="2489"/>
                </a:lnTo>
                <a:lnTo>
                  <a:pt x="322" y="3031"/>
                </a:lnTo>
                <a:close/>
              </a:path>
            </a:pathLst>
          </a:custGeom>
          <a:solidFill>
            <a:srgbClr val="000000"/>
          </a:solidFill>
        </p:spPr>
        <p:txBody>
          <a:bodyPr wrap="square" lIns="0" tIns="0" rIns="0" bIns="0" rtlCol="0">
            <a:noAutofit/>
          </a:bodyPr>
          <a:lstStyle/>
          <a:p>
            <a:endParaRPr/>
          </a:p>
        </p:txBody>
      </p:sp>
      <p:sp>
        <p:nvSpPr>
          <p:cNvPr id="864" name="object 864"/>
          <p:cNvSpPr/>
          <p:nvPr/>
        </p:nvSpPr>
        <p:spPr>
          <a:xfrm>
            <a:off x="3364230" y="1864145"/>
            <a:ext cx="1825" cy="0"/>
          </a:xfrm>
          <a:custGeom>
            <a:avLst/>
            <a:gdLst/>
            <a:ahLst/>
            <a:cxnLst/>
            <a:rect l="l" t="t" r="r" b="b"/>
            <a:pathLst>
              <a:path w="1825">
                <a:moveTo>
                  <a:pt x="0" y="0"/>
                </a:moveTo>
                <a:lnTo>
                  <a:pt x="1825" y="0"/>
                </a:lnTo>
              </a:path>
            </a:pathLst>
          </a:custGeom>
          <a:ln w="3435">
            <a:solidFill>
              <a:srgbClr val="000000"/>
            </a:solidFill>
          </a:ln>
        </p:spPr>
        <p:txBody>
          <a:bodyPr wrap="square" lIns="0" tIns="0" rIns="0" bIns="0" rtlCol="0">
            <a:noAutofit/>
          </a:bodyPr>
          <a:lstStyle/>
          <a:p>
            <a:endParaRPr/>
          </a:p>
        </p:txBody>
      </p:sp>
      <p:sp>
        <p:nvSpPr>
          <p:cNvPr id="865" name="object 865"/>
          <p:cNvSpPr/>
          <p:nvPr/>
        </p:nvSpPr>
        <p:spPr>
          <a:xfrm>
            <a:off x="3364230" y="1872914"/>
            <a:ext cx="1825" cy="0"/>
          </a:xfrm>
          <a:custGeom>
            <a:avLst/>
            <a:gdLst/>
            <a:ahLst/>
            <a:cxnLst/>
            <a:rect l="l" t="t" r="r" b="b"/>
            <a:pathLst>
              <a:path w="1825">
                <a:moveTo>
                  <a:pt x="0" y="0"/>
                </a:moveTo>
                <a:lnTo>
                  <a:pt x="1825" y="0"/>
                </a:lnTo>
              </a:path>
            </a:pathLst>
          </a:custGeom>
          <a:ln w="12528">
            <a:solidFill>
              <a:srgbClr val="000000"/>
            </a:solidFill>
          </a:ln>
        </p:spPr>
        <p:txBody>
          <a:bodyPr wrap="square" lIns="0" tIns="0" rIns="0" bIns="0" rtlCol="0">
            <a:noAutofit/>
          </a:bodyPr>
          <a:lstStyle/>
          <a:p>
            <a:endParaRPr/>
          </a:p>
        </p:txBody>
      </p:sp>
      <p:sp>
        <p:nvSpPr>
          <p:cNvPr id="866" name="object 866"/>
          <p:cNvSpPr/>
          <p:nvPr/>
        </p:nvSpPr>
        <p:spPr>
          <a:xfrm>
            <a:off x="3367881" y="1864145"/>
            <a:ext cx="5262" cy="14830"/>
          </a:xfrm>
          <a:custGeom>
            <a:avLst/>
            <a:gdLst/>
            <a:ahLst/>
            <a:cxnLst/>
            <a:rect l="l" t="t" r="r" b="b"/>
            <a:pathLst>
              <a:path w="5262" h="14830">
                <a:moveTo>
                  <a:pt x="3866" y="14830"/>
                </a:moveTo>
                <a:lnTo>
                  <a:pt x="4833" y="14830"/>
                </a:lnTo>
                <a:lnTo>
                  <a:pt x="5262" y="14722"/>
                </a:lnTo>
                <a:lnTo>
                  <a:pt x="5262" y="13098"/>
                </a:lnTo>
                <a:lnTo>
                  <a:pt x="4618" y="13098"/>
                </a:lnTo>
                <a:lnTo>
                  <a:pt x="4296" y="13207"/>
                </a:lnTo>
                <a:lnTo>
                  <a:pt x="4081" y="13098"/>
                </a:lnTo>
                <a:lnTo>
                  <a:pt x="3866" y="13098"/>
                </a:lnTo>
                <a:lnTo>
                  <a:pt x="3651" y="12882"/>
                </a:lnTo>
                <a:lnTo>
                  <a:pt x="3544" y="12557"/>
                </a:lnTo>
                <a:lnTo>
                  <a:pt x="3436" y="12341"/>
                </a:lnTo>
                <a:lnTo>
                  <a:pt x="3329" y="12124"/>
                </a:lnTo>
                <a:lnTo>
                  <a:pt x="3329" y="4979"/>
                </a:lnTo>
                <a:lnTo>
                  <a:pt x="5262" y="4979"/>
                </a:lnTo>
                <a:lnTo>
                  <a:pt x="5262" y="3139"/>
                </a:lnTo>
                <a:lnTo>
                  <a:pt x="3329" y="3139"/>
                </a:lnTo>
                <a:lnTo>
                  <a:pt x="3329" y="0"/>
                </a:lnTo>
                <a:lnTo>
                  <a:pt x="1503" y="0"/>
                </a:lnTo>
                <a:lnTo>
                  <a:pt x="1503" y="3139"/>
                </a:lnTo>
                <a:lnTo>
                  <a:pt x="0" y="3139"/>
                </a:lnTo>
                <a:lnTo>
                  <a:pt x="0" y="4979"/>
                </a:lnTo>
                <a:lnTo>
                  <a:pt x="1503" y="4979"/>
                </a:lnTo>
                <a:lnTo>
                  <a:pt x="1503" y="13207"/>
                </a:lnTo>
                <a:lnTo>
                  <a:pt x="1611" y="13640"/>
                </a:lnTo>
                <a:lnTo>
                  <a:pt x="1718" y="13964"/>
                </a:lnTo>
                <a:lnTo>
                  <a:pt x="1933" y="14289"/>
                </a:lnTo>
                <a:lnTo>
                  <a:pt x="2255" y="14397"/>
                </a:lnTo>
                <a:lnTo>
                  <a:pt x="2577" y="14614"/>
                </a:lnTo>
                <a:lnTo>
                  <a:pt x="2899" y="14722"/>
                </a:lnTo>
                <a:lnTo>
                  <a:pt x="3329" y="14830"/>
                </a:lnTo>
                <a:lnTo>
                  <a:pt x="3866" y="14830"/>
                </a:lnTo>
                <a:close/>
              </a:path>
            </a:pathLst>
          </a:custGeom>
          <a:solidFill>
            <a:srgbClr val="000000"/>
          </a:solidFill>
        </p:spPr>
        <p:txBody>
          <a:bodyPr wrap="square" lIns="0" tIns="0" rIns="0" bIns="0" rtlCol="0">
            <a:noAutofit/>
          </a:bodyPr>
          <a:lstStyle/>
          <a:p>
            <a:endParaRPr/>
          </a:p>
        </p:txBody>
      </p:sp>
      <p:sp>
        <p:nvSpPr>
          <p:cNvPr id="867" name="object 867"/>
          <p:cNvSpPr/>
          <p:nvPr/>
        </p:nvSpPr>
        <p:spPr>
          <a:xfrm>
            <a:off x="3374971" y="1864145"/>
            <a:ext cx="1825" cy="0"/>
          </a:xfrm>
          <a:custGeom>
            <a:avLst/>
            <a:gdLst/>
            <a:ahLst/>
            <a:cxnLst/>
            <a:rect l="l" t="t" r="r" b="b"/>
            <a:pathLst>
              <a:path w="1825">
                <a:moveTo>
                  <a:pt x="0" y="0"/>
                </a:moveTo>
                <a:lnTo>
                  <a:pt x="1825" y="0"/>
                </a:lnTo>
              </a:path>
            </a:pathLst>
          </a:custGeom>
          <a:ln w="3435">
            <a:solidFill>
              <a:srgbClr val="000000"/>
            </a:solidFill>
          </a:ln>
        </p:spPr>
        <p:txBody>
          <a:bodyPr wrap="square" lIns="0" tIns="0" rIns="0" bIns="0" rtlCol="0">
            <a:noAutofit/>
          </a:bodyPr>
          <a:lstStyle/>
          <a:p>
            <a:endParaRPr/>
          </a:p>
        </p:txBody>
      </p:sp>
      <p:sp>
        <p:nvSpPr>
          <p:cNvPr id="868" name="object 868"/>
          <p:cNvSpPr/>
          <p:nvPr/>
        </p:nvSpPr>
        <p:spPr>
          <a:xfrm>
            <a:off x="3374971" y="1872914"/>
            <a:ext cx="1825" cy="0"/>
          </a:xfrm>
          <a:custGeom>
            <a:avLst/>
            <a:gdLst/>
            <a:ahLst/>
            <a:cxnLst/>
            <a:rect l="l" t="t" r="r" b="b"/>
            <a:pathLst>
              <a:path w="1825">
                <a:moveTo>
                  <a:pt x="0" y="0"/>
                </a:moveTo>
                <a:lnTo>
                  <a:pt x="1825" y="0"/>
                </a:lnTo>
              </a:path>
            </a:pathLst>
          </a:custGeom>
          <a:ln w="12528">
            <a:solidFill>
              <a:srgbClr val="000000"/>
            </a:solidFill>
          </a:ln>
        </p:spPr>
        <p:txBody>
          <a:bodyPr wrap="square" lIns="0" tIns="0" rIns="0" bIns="0" rtlCol="0">
            <a:noAutofit/>
          </a:bodyPr>
          <a:lstStyle/>
          <a:p>
            <a:endParaRPr/>
          </a:p>
        </p:txBody>
      </p:sp>
      <p:sp>
        <p:nvSpPr>
          <p:cNvPr id="869" name="object 869"/>
          <p:cNvSpPr/>
          <p:nvPr/>
        </p:nvSpPr>
        <p:spPr>
          <a:xfrm>
            <a:off x="3380985" y="1866960"/>
            <a:ext cx="8592" cy="11908"/>
          </a:xfrm>
          <a:custGeom>
            <a:avLst/>
            <a:gdLst/>
            <a:ahLst/>
            <a:cxnLst/>
            <a:rect l="l" t="t" r="r" b="b"/>
            <a:pathLst>
              <a:path w="8592" h="11908">
                <a:moveTo>
                  <a:pt x="4188" y="11799"/>
                </a:moveTo>
                <a:lnTo>
                  <a:pt x="4940" y="11691"/>
                </a:lnTo>
                <a:lnTo>
                  <a:pt x="5585" y="11475"/>
                </a:lnTo>
                <a:lnTo>
                  <a:pt x="6229" y="11150"/>
                </a:lnTo>
                <a:lnTo>
                  <a:pt x="6766" y="10608"/>
                </a:lnTo>
                <a:lnTo>
                  <a:pt x="7303" y="10067"/>
                </a:lnTo>
                <a:lnTo>
                  <a:pt x="7625" y="9526"/>
                </a:lnTo>
                <a:lnTo>
                  <a:pt x="7948" y="8876"/>
                </a:lnTo>
                <a:lnTo>
                  <a:pt x="8270" y="8119"/>
                </a:lnTo>
                <a:lnTo>
                  <a:pt x="8485" y="7361"/>
                </a:lnTo>
                <a:lnTo>
                  <a:pt x="8592" y="6711"/>
                </a:lnTo>
                <a:lnTo>
                  <a:pt x="8592" y="5196"/>
                </a:lnTo>
                <a:lnTo>
                  <a:pt x="8485" y="4438"/>
                </a:lnTo>
                <a:lnTo>
                  <a:pt x="8270" y="3788"/>
                </a:lnTo>
                <a:lnTo>
                  <a:pt x="7948" y="3031"/>
                </a:lnTo>
                <a:lnTo>
                  <a:pt x="7625" y="2381"/>
                </a:lnTo>
                <a:lnTo>
                  <a:pt x="7303" y="1840"/>
                </a:lnTo>
                <a:lnTo>
                  <a:pt x="6766" y="1299"/>
                </a:lnTo>
                <a:lnTo>
                  <a:pt x="6229" y="866"/>
                </a:lnTo>
                <a:lnTo>
                  <a:pt x="5585" y="433"/>
                </a:lnTo>
                <a:lnTo>
                  <a:pt x="4940" y="216"/>
                </a:lnTo>
                <a:lnTo>
                  <a:pt x="4188" y="0"/>
                </a:lnTo>
                <a:lnTo>
                  <a:pt x="2577" y="0"/>
                </a:lnTo>
                <a:lnTo>
                  <a:pt x="1825" y="216"/>
                </a:lnTo>
                <a:lnTo>
                  <a:pt x="1181" y="433"/>
                </a:lnTo>
                <a:lnTo>
                  <a:pt x="537" y="866"/>
                </a:lnTo>
                <a:lnTo>
                  <a:pt x="0" y="1299"/>
                </a:lnTo>
                <a:lnTo>
                  <a:pt x="214" y="6928"/>
                </a:lnTo>
                <a:lnTo>
                  <a:pt x="214" y="5196"/>
                </a:lnTo>
                <a:lnTo>
                  <a:pt x="429" y="4438"/>
                </a:lnTo>
                <a:lnTo>
                  <a:pt x="537" y="3680"/>
                </a:lnTo>
                <a:lnTo>
                  <a:pt x="859" y="3031"/>
                </a:lnTo>
                <a:lnTo>
                  <a:pt x="1288" y="2489"/>
                </a:lnTo>
                <a:lnTo>
                  <a:pt x="1933" y="1948"/>
                </a:lnTo>
                <a:lnTo>
                  <a:pt x="2577" y="1732"/>
                </a:lnTo>
                <a:lnTo>
                  <a:pt x="3436" y="1623"/>
                </a:lnTo>
                <a:lnTo>
                  <a:pt x="4081" y="1732"/>
                </a:lnTo>
                <a:lnTo>
                  <a:pt x="4618" y="1840"/>
                </a:lnTo>
                <a:lnTo>
                  <a:pt x="5048" y="2056"/>
                </a:lnTo>
                <a:lnTo>
                  <a:pt x="5370" y="2381"/>
                </a:lnTo>
                <a:lnTo>
                  <a:pt x="5692" y="2706"/>
                </a:lnTo>
                <a:lnTo>
                  <a:pt x="6014" y="3139"/>
                </a:lnTo>
                <a:lnTo>
                  <a:pt x="6229" y="3572"/>
                </a:lnTo>
                <a:lnTo>
                  <a:pt x="6444" y="4005"/>
                </a:lnTo>
                <a:lnTo>
                  <a:pt x="6551" y="4438"/>
                </a:lnTo>
                <a:lnTo>
                  <a:pt x="6659" y="4979"/>
                </a:lnTo>
                <a:lnTo>
                  <a:pt x="6659" y="6928"/>
                </a:lnTo>
                <a:lnTo>
                  <a:pt x="6551" y="7361"/>
                </a:lnTo>
                <a:lnTo>
                  <a:pt x="6444" y="7902"/>
                </a:lnTo>
                <a:lnTo>
                  <a:pt x="6229" y="8335"/>
                </a:lnTo>
                <a:lnTo>
                  <a:pt x="6014" y="8768"/>
                </a:lnTo>
                <a:lnTo>
                  <a:pt x="5692" y="9201"/>
                </a:lnTo>
                <a:lnTo>
                  <a:pt x="5370" y="9526"/>
                </a:lnTo>
                <a:lnTo>
                  <a:pt x="5048" y="9851"/>
                </a:lnTo>
                <a:lnTo>
                  <a:pt x="4618" y="10067"/>
                </a:lnTo>
                <a:lnTo>
                  <a:pt x="4081" y="10284"/>
                </a:lnTo>
                <a:lnTo>
                  <a:pt x="2792" y="10284"/>
                </a:lnTo>
                <a:lnTo>
                  <a:pt x="2255" y="10067"/>
                </a:lnTo>
                <a:lnTo>
                  <a:pt x="1825" y="9851"/>
                </a:lnTo>
                <a:lnTo>
                  <a:pt x="1396" y="9526"/>
                </a:lnTo>
                <a:lnTo>
                  <a:pt x="1074" y="9201"/>
                </a:lnTo>
                <a:lnTo>
                  <a:pt x="859" y="8768"/>
                </a:lnTo>
                <a:lnTo>
                  <a:pt x="1181" y="11475"/>
                </a:lnTo>
                <a:lnTo>
                  <a:pt x="1825" y="11691"/>
                </a:lnTo>
                <a:lnTo>
                  <a:pt x="2577" y="11799"/>
                </a:lnTo>
                <a:lnTo>
                  <a:pt x="3436" y="11908"/>
                </a:lnTo>
                <a:lnTo>
                  <a:pt x="4188" y="11799"/>
                </a:lnTo>
                <a:close/>
              </a:path>
            </a:pathLst>
          </a:custGeom>
          <a:solidFill>
            <a:srgbClr val="000000"/>
          </a:solidFill>
        </p:spPr>
        <p:txBody>
          <a:bodyPr wrap="square" lIns="0" tIns="0" rIns="0" bIns="0" rtlCol="0">
            <a:noAutofit/>
          </a:bodyPr>
          <a:lstStyle/>
          <a:p>
            <a:endParaRPr/>
          </a:p>
        </p:txBody>
      </p:sp>
      <p:sp>
        <p:nvSpPr>
          <p:cNvPr id="870" name="object 870"/>
          <p:cNvSpPr/>
          <p:nvPr/>
        </p:nvSpPr>
        <p:spPr>
          <a:xfrm>
            <a:off x="3379267" y="1868260"/>
            <a:ext cx="2899" cy="10175"/>
          </a:xfrm>
          <a:custGeom>
            <a:avLst/>
            <a:gdLst/>
            <a:ahLst/>
            <a:cxnLst/>
            <a:rect l="l" t="t" r="r" b="b"/>
            <a:pathLst>
              <a:path w="2899" h="10175">
                <a:moveTo>
                  <a:pt x="1718" y="9309"/>
                </a:moveTo>
                <a:lnTo>
                  <a:pt x="2255" y="9851"/>
                </a:lnTo>
                <a:lnTo>
                  <a:pt x="2899" y="10175"/>
                </a:lnTo>
                <a:lnTo>
                  <a:pt x="2577" y="7469"/>
                </a:lnTo>
                <a:lnTo>
                  <a:pt x="2362" y="7036"/>
                </a:lnTo>
                <a:lnTo>
                  <a:pt x="2148" y="6603"/>
                </a:lnTo>
                <a:lnTo>
                  <a:pt x="2040" y="6062"/>
                </a:lnTo>
                <a:lnTo>
                  <a:pt x="1933" y="5629"/>
                </a:lnTo>
                <a:lnTo>
                  <a:pt x="1718" y="0"/>
                </a:lnTo>
                <a:lnTo>
                  <a:pt x="1288" y="541"/>
                </a:lnTo>
                <a:lnTo>
                  <a:pt x="859" y="1082"/>
                </a:lnTo>
                <a:lnTo>
                  <a:pt x="537" y="1732"/>
                </a:lnTo>
                <a:lnTo>
                  <a:pt x="322" y="2381"/>
                </a:lnTo>
                <a:lnTo>
                  <a:pt x="107" y="3139"/>
                </a:lnTo>
                <a:lnTo>
                  <a:pt x="0" y="3897"/>
                </a:lnTo>
                <a:lnTo>
                  <a:pt x="0" y="5412"/>
                </a:lnTo>
                <a:lnTo>
                  <a:pt x="107" y="6062"/>
                </a:lnTo>
                <a:lnTo>
                  <a:pt x="322" y="6820"/>
                </a:lnTo>
                <a:lnTo>
                  <a:pt x="537" y="7577"/>
                </a:lnTo>
                <a:lnTo>
                  <a:pt x="859" y="8227"/>
                </a:lnTo>
                <a:lnTo>
                  <a:pt x="1288" y="8768"/>
                </a:lnTo>
                <a:lnTo>
                  <a:pt x="1718" y="9309"/>
                </a:lnTo>
                <a:close/>
              </a:path>
            </a:pathLst>
          </a:custGeom>
          <a:solidFill>
            <a:srgbClr val="000000"/>
          </a:solidFill>
        </p:spPr>
        <p:txBody>
          <a:bodyPr wrap="square" lIns="0" tIns="0" rIns="0" bIns="0" rtlCol="0">
            <a:noAutofit/>
          </a:bodyPr>
          <a:lstStyle/>
          <a:p>
            <a:endParaRPr/>
          </a:p>
        </p:txBody>
      </p:sp>
      <p:sp>
        <p:nvSpPr>
          <p:cNvPr id="871" name="object 871"/>
          <p:cNvSpPr/>
          <p:nvPr/>
        </p:nvSpPr>
        <p:spPr>
          <a:xfrm>
            <a:off x="3391725" y="1866961"/>
            <a:ext cx="9236" cy="11583"/>
          </a:xfrm>
          <a:custGeom>
            <a:avLst/>
            <a:gdLst/>
            <a:ahLst/>
            <a:cxnLst/>
            <a:rect l="l" t="t" r="r" b="b"/>
            <a:pathLst>
              <a:path w="9236" h="11583">
                <a:moveTo>
                  <a:pt x="1825" y="11583"/>
                </a:moveTo>
                <a:lnTo>
                  <a:pt x="1825" y="4654"/>
                </a:lnTo>
                <a:lnTo>
                  <a:pt x="1933" y="4221"/>
                </a:lnTo>
                <a:lnTo>
                  <a:pt x="2040" y="3788"/>
                </a:lnTo>
                <a:lnTo>
                  <a:pt x="2255" y="3355"/>
                </a:lnTo>
                <a:lnTo>
                  <a:pt x="2470" y="2922"/>
                </a:lnTo>
                <a:lnTo>
                  <a:pt x="2685" y="2598"/>
                </a:lnTo>
                <a:lnTo>
                  <a:pt x="3007" y="2273"/>
                </a:lnTo>
                <a:lnTo>
                  <a:pt x="3436" y="2056"/>
                </a:lnTo>
                <a:lnTo>
                  <a:pt x="3759" y="1948"/>
                </a:lnTo>
                <a:lnTo>
                  <a:pt x="4188" y="1732"/>
                </a:lnTo>
                <a:lnTo>
                  <a:pt x="4725" y="1623"/>
                </a:lnTo>
                <a:lnTo>
                  <a:pt x="5155" y="1623"/>
                </a:lnTo>
                <a:lnTo>
                  <a:pt x="5692" y="1732"/>
                </a:lnTo>
                <a:lnTo>
                  <a:pt x="6229" y="1840"/>
                </a:lnTo>
                <a:lnTo>
                  <a:pt x="6551" y="2165"/>
                </a:lnTo>
                <a:lnTo>
                  <a:pt x="6873" y="2489"/>
                </a:lnTo>
                <a:lnTo>
                  <a:pt x="7088" y="2922"/>
                </a:lnTo>
                <a:lnTo>
                  <a:pt x="7303" y="3355"/>
                </a:lnTo>
                <a:lnTo>
                  <a:pt x="7411" y="3897"/>
                </a:lnTo>
                <a:lnTo>
                  <a:pt x="7411" y="11583"/>
                </a:lnTo>
                <a:lnTo>
                  <a:pt x="9236" y="11583"/>
                </a:lnTo>
                <a:lnTo>
                  <a:pt x="9236" y="3355"/>
                </a:lnTo>
                <a:lnTo>
                  <a:pt x="9129" y="2814"/>
                </a:lnTo>
                <a:lnTo>
                  <a:pt x="9022" y="2273"/>
                </a:lnTo>
                <a:lnTo>
                  <a:pt x="8807" y="1840"/>
                </a:lnTo>
                <a:lnTo>
                  <a:pt x="8592" y="1407"/>
                </a:lnTo>
                <a:lnTo>
                  <a:pt x="8270" y="974"/>
                </a:lnTo>
                <a:lnTo>
                  <a:pt x="7840" y="649"/>
                </a:lnTo>
                <a:lnTo>
                  <a:pt x="7411" y="433"/>
                </a:lnTo>
                <a:lnTo>
                  <a:pt x="6981" y="216"/>
                </a:lnTo>
                <a:lnTo>
                  <a:pt x="6444" y="108"/>
                </a:lnTo>
                <a:lnTo>
                  <a:pt x="5907" y="0"/>
                </a:lnTo>
                <a:lnTo>
                  <a:pt x="4833" y="0"/>
                </a:lnTo>
                <a:lnTo>
                  <a:pt x="4403" y="108"/>
                </a:lnTo>
                <a:lnTo>
                  <a:pt x="3974" y="216"/>
                </a:lnTo>
                <a:lnTo>
                  <a:pt x="3544" y="324"/>
                </a:lnTo>
                <a:lnTo>
                  <a:pt x="3114" y="541"/>
                </a:lnTo>
                <a:lnTo>
                  <a:pt x="2792" y="757"/>
                </a:lnTo>
                <a:lnTo>
                  <a:pt x="2577" y="974"/>
                </a:lnTo>
                <a:lnTo>
                  <a:pt x="2362" y="1190"/>
                </a:lnTo>
                <a:lnTo>
                  <a:pt x="2148" y="1407"/>
                </a:lnTo>
                <a:lnTo>
                  <a:pt x="1933" y="1623"/>
                </a:lnTo>
                <a:lnTo>
                  <a:pt x="1718" y="1948"/>
                </a:lnTo>
                <a:lnTo>
                  <a:pt x="1718" y="324"/>
                </a:lnTo>
                <a:lnTo>
                  <a:pt x="0" y="324"/>
                </a:lnTo>
                <a:lnTo>
                  <a:pt x="0" y="11583"/>
                </a:lnTo>
                <a:lnTo>
                  <a:pt x="1825" y="11583"/>
                </a:lnTo>
                <a:close/>
              </a:path>
            </a:pathLst>
          </a:custGeom>
          <a:solidFill>
            <a:srgbClr val="000000"/>
          </a:solidFill>
        </p:spPr>
        <p:txBody>
          <a:bodyPr wrap="square" lIns="0" tIns="0" rIns="0" bIns="0" rtlCol="0">
            <a:noAutofit/>
          </a:bodyPr>
          <a:lstStyle/>
          <a:p>
            <a:endParaRPr/>
          </a:p>
        </p:txBody>
      </p:sp>
      <p:sp>
        <p:nvSpPr>
          <p:cNvPr id="872" name="object 872"/>
          <p:cNvSpPr/>
          <p:nvPr/>
        </p:nvSpPr>
        <p:spPr>
          <a:xfrm>
            <a:off x="3417933" y="1876271"/>
            <a:ext cx="6981" cy="2273"/>
          </a:xfrm>
          <a:custGeom>
            <a:avLst/>
            <a:gdLst/>
            <a:ahLst/>
            <a:cxnLst/>
            <a:rect l="l" t="t" r="r" b="b"/>
            <a:pathLst>
              <a:path w="6981" h="2273">
                <a:moveTo>
                  <a:pt x="6981" y="0"/>
                </a:moveTo>
                <a:lnTo>
                  <a:pt x="6659" y="216"/>
                </a:lnTo>
                <a:lnTo>
                  <a:pt x="6336" y="433"/>
                </a:lnTo>
                <a:lnTo>
                  <a:pt x="5907" y="541"/>
                </a:lnTo>
                <a:lnTo>
                  <a:pt x="5370" y="649"/>
                </a:lnTo>
                <a:lnTo>
                  <a:pt x="0" y="649"/>
                </a:lnTo>
                <a:lnTo>
                  <a:pt x="5155" y="2273"/>
                </a:lnTo>
                <a:lnTo>
                  <a:pt x="5799" y="2273"/>
                </a:lnTo>
                <a:lnTo>
                  <a:pt x="6336" y="2165"/>
                </a:lnTo>
                <a:lnTo>
                  <a:pt x="6981" y="1948"/>
                </a:lnTo>
                <a:lnTo>
                  <a:pt x="6981" y="0"/>
                </a:lnTo>
                <a:close/>
              </a:path>
            </a:pathLst>
          </a:custGeom>
          <a:solidFill>
            <a:srgbClr val="000000"/>
          </a:solidFill>
        </p:spPr>
        <p:txBody>
          <a:bodyPr wrap="square" lIns="0" tIns="0" rIns="0" bIns="0" rtlCol="0">
            <a:noAutofit/>
          </a:bodyPr>
          <a:lstStyle/>
          <a:p>
            <a:endParaRPr/>
          </a:p>
        </p:txBody>
      </p:sp>
      <p:sp>
        <p:nvSpPr>
          <p:cNvPr id="873" name="object 873"/>
          <p:cNvSpPr/>
          <p:nvPr/>
        </p:nvSpPr>
        <p:spPr>
          <a:xfrm>
            <a:off x="3416000" y="1863063"/>
            <a:ext cx="6873" cy="1840"/>
          </a:xfrm>
          <a:custGeom>
            <a:avLst/>
            <a:gdLst/>
            <a:ahLst/>
            <a:cxnLst/>
            <a:rect l="l" t="t" r="r" b="b"/>
            <a:pathLst>
              <a:path w="6873" h="1840">
                <a:moveTo>
                  <a:pt x="6873" y="0"/>
                </a:moveTo>
                <a:lnTo>
                  <a:pt x="0" y="0"/>
                </a:lnTo>
                <a:lnTo>
                  <a:pt x="1933" y="1840"/>
                </a:lnTo>
                <a:lnTo>
                  <a:pt x="6014" y="1840"/>
                </a:lnTo>
                <a:lnTo>
                  <a:pt x="6873" y="0"/>
                </a:lnTo>
                <a:close/>
              </a:path>
            </a:pathLst>
          </a:custGeom>
          <a:solidFill>
            <a:srgbClr val="000000"/>
          </a:solidFill>
        </p:spPr>
        <p:txBody>
          <a:bodyPr wrap="square" lIns="0" tIns="0" rIns="0" bIns="0" rtlCol="0">
            <a:noAutofit/>
          </a:bodyPr>
          <a:lstStyle/>
          <a:p>
            <a:endParaRPr/>
          </a:p>
        </p:txBody>
      </p:sp>
      <p:sp>
        <p:nvSpPr>
          <p:cNvPr id="874" name="object 874"/>
          <p:cNvSpPr/>
          <p:nvPr/>
        </p:nvSpPr>
        <p:spPr>
          <a:xfrm>
            <a:off x="3415999" y="1863063"/>
            <a:ext cx="11922" cy="15480"/>
          </a:xfrm>
          <a:custGeom>
            <a:avLst/>
            <a:gdLst/>
            <a:ahLst/>
            <a:cxnLst/>
            <a:rect l="l" t="t" r="r" b="b"/>
            <a:pathLst>
              <a:path w="11922" h="15480">
                <a:moveTo>
                  <a:pt x="9559" y="6820"/>
                </a:moveTo>
                <a:lnTo>
                  <a:pt x="9881" y="6603"/>
                </a:lnTo>
                <a:lnTo>
                  <a:pt x="10096" y="6387"/>
                </a:lnTo>
                <a:lnTo>
                  <a:pt x="10310" y="6170"/>
                </a:lnTo>
                <a:lnTo>
                  <a:pt x="10525" y="5954"/>
                </a:lnTo>
                <a:lnTo>
                  <a:pt x="10633" y="5629"/>
                </a:lnTo>
                <a:lnTo>
                  <a:pt x="10740" y="5304"/>
                </a:lnTo>
                <a:lnTo>
                  <a:pt x="10847" y="4979"/>
                </a:lnTo>
                <a:lnTo>
                  <a:pt x="10955" y="4654"/>
                </a:lnTo>
                <a:lnTo>
                  <a:pt x="11062" y="4330"/>
                </a:lnTo>
                <a:lnTo>
                  <a:pt x="11062" y="3355"/>
                </a:lnTo>
                <a:lnTo>
                  <a:pt x="10955" y="2814"/>
                </a:lnTo>
                <a:lnTo>
                  <a:pt x="10740" y="2381"/>
                </a:lnTo>
                <a:lnTo>
                  <a:pt x="10525" y="1840"/>
                </a:lnTo>
                <a:lnTo>
                  <a:pt x="10203" y="1407"/>
                </a:lnTo>
                <a:lnTo>
                  <a:pt x="9881" y="1082"/>
                </a:lnTo>
                <a:lnTo>
                  <a:pt x="9451" y="757"/>
                </a:lnTo>
                <a:lnTo>
                  <a:pt x="9022" y="433"/>
                </a:lnTo>
                <a:lnTo>
                  <a:pt x="8485" y="216"/>
                </a:lnTo>
                <a:lnTo>
                  <a:pt x="7948" y="108"/>
                </a:lnTo>
                <a:lnTo>
                  <a:pt x="7411" y="0"/>
                </a:lnTo>
                <a:lnTo>
                  <a:pt x="6873" y="0"/>
                </a:lnTo>
                <a:lnTo>
                  <a:pt x="6014" y="1840"/>
                </a:lnTo>
                <a:lnTo>
                  <a:pt x="6766" y="1840"/>
                </a:lnTo>
                <a:lnTo>
                  <a:pt x="7411" y="1948"/>
                </a:lnTo>
                <a:lnTo>
                  <a:pt x="7840" y="2165"/>
                </a:lnTo>
                <a:lnTo>
                  <a:pt x="8270" y="2489"/>
                </a:lnTo>
                <a:lnTo>
                  <a:pt x="8592" y="2814"/>
                </a:lnTo>
                <a:lnTo>
                  <a:pt x="8807" y="3247"/>
                </a:lnTo>
                <a:lnTo>
                  <a:pt x="9022" y="3788"/>
                </a:lnTo>
                <a:lnTo>
                  <a:pt x="9022" y="4330"/>
                </a:lnTo>
                <a:lnTo>
                  <a:pt x="8914" y="4763"/>
                </a:lnTo>
                <a:lnTo>
                  <a:pt x="8807" y="5196"/>
                </a:lnTo>
                <a:lnTo>
                  <a:pt x="8592" y="5520"/>
                </a:lnTo>
                <a:lnTo>
                  <a:pt x="8270" y="5954"/>
                </a:lnTo>
                <a:lnTo>
                  <a:pt x="7840" y="6278"/>
                </a:lnTo>
                <a:lnTo>
                  <a:pt x="7411" y="6387"/>
                </a:lnTo>
                <a:lnTo>
                  <a:pt x="6766" y="6603"/>
                </a:lnTo>
                <a:lnTo>
                  <a:pt x="1933" y="6603"/>
                </a:lnTo>
                <a:lnTo>
                  <a:pt x="1933" y="1840"/>
                </a:lnTo>
                <a:lnTo>
                  <a:pt x="0" y="0"/>
                </a:lnTo>
                <a:lnTo>
                  <a:pt x="0" y="15480"/>
                </a:lnTo>
                <a:lnTo>
                  <a:pt x="7088" y="15480"/>
                </a:lnTo>
                <a:lnTo>
                  <a:pt x="1933" y="13856"/>
                </a:lnTo>
                <a:lnTo>
                  <a:pt x="1933" y="8227"/>
                </a:lnTo>
                <a:lnTo>
                  <a:pt x="6229" y="8227"/>
                </a:lnTo>
                <a:lnTo>
                  <a:pt x="7196" y="8335"/>
                </a:lnTo>
                <a:lnTo>
                  <a:pt x="8055" y="8443"/>
                </a:lnTo>
                <a:lnTo>
                  <a:pt x="8699" y="8660"/>
                </a:lnTo>
                <a:lnTo>
                  <a:pt x="9129" y="8985"/>
                </a:lnTo>
                <a:lnTo>
                  <a:pt x="9451" y="9418"/>
                </a:lnTo>
                <a:lnTo>
                  <a:pt x="9666" y="9959"/>
                </a:lnTo>
                <a:lnTo>
                  <a:pt x="9773" y="10500"/>
                </a:lnTo>
                <a:lnTo>
                  <a:pt x="9881" y="11150"/>
                </a:lnTo>
                <a:lnTo>
                  <a:pt x="9881" y="11475"/>
                </a:lnTo>
                <a:lnTo>
                  <a:pt x="9773" y="11799"/>
                </a:lnTo>
                <a:lnTo>
                  <a:pt x="9666" y="12124"/>
                </a:lnTo>
                <a:lnTo>
                  <a:pt x="9559" y="12449"/>
                </a:lnTo>
                <a:lnTo>
                  <a:pt x="9344" y="12774"/>
                </a:lnTo>
                <a:lnTo>
                  <a:pt x="9129" y="12990"/>
                </a:lnTo>
                <a:lnTo>
                  <a:pt x="8914" y="13207"/>
                </a:lnTo>
                <a:lnTo>
                  <a:pt x="8914" y="15155"/>
                </a:lnTo>
                <a:lnTo>
                  <a:pt x="9451" y="14939"/>
                </a:lnTo>
                <a:lnTo>
                  <a:pt x="9988" y="14614"/>
                </a:lnTo>
                <a:lnTo>
                  <a:pt x="10418" y="14181"/>
                </a:lnTo>
                <a:lnTo>
                  <a:pt x="10847" y="13748"/>
                </a:lnTo>
                <a:lnTo>
                  <a:pt x="11170" y="13207"/>
                </a:lnTo>
                <a:lnTo>
                  <a:pt x="11492" y="12665"/>
                </a:lnTo>
                <a:lnTo>
                  <a:pt x="11707" y="12016"/>
                </a:lnTo>
                <a:lnTo>
                  <a:pt x="11814" y="11366"/>
                </a:lnTo>
                <a:lnTo>
                  <a:pt x="11922" y="10608"/>
                </a:lnTo>
                <a:lnTo>
                  <a:pt x="11814" y="9959"/>
                </a:lnTo>
                <a:lnTo>
                  <a:pt x="11707" y="9418"/>
                </a:lnTo>
                <a:lnTo>
                  <a:pt x="11385" y="8876"/>
                </a:lnTo>
                <a:lnTo>
                  <a:pt x="11062" y="8443"/>
                </a:lnTo>
                <a:lnTo>
                  <a:pt x="10633" y="8010"/>
                </a:lnTo>
                <a:lnTo>
                  <a:pt x="10203" y="7686"/>
                </a:lnTo>
                <a:lnTo>
                  <a:pt x="9666" y="7361"/>
                </a:lnTo>
                <a:lnTo>
                  <a:pt x="9022" y="7144"/>
                </a:lnTo>
                <a:lnTo>
                  <a:pt x="9344" y="6928"/>
                </a:lnTo>
                <a:lnTo>
                  <a:pt x="9559" y="6820"/>
                </a:lnTo>
                <a:close/>
              </a:path>
            </a:pathLst>
          </a:custGeom>
          <a:solidFill>
            <a:srgbClr val="000000"/>
          </a:solidFill>
        </p:spPr>
        <p:txBody>
          <a:bodyPr wrap="square" lIns="0" tIns="0" rIns="0" bIns="0" rtlCol="0">
            <a:noAutofit/>
          </a:bodyPr>
          <a:lstStyle/>
          <a:p>
            <a:endParaRPr/>
          </a:p>
        </p:txBody>
      </p:sp>
      <p:sp>
        <p:nvSpPr>
          <p:cNvPr id="875" name="object 875"/>
          <p:cNvSpPr/>
          <p:nvPr/>
        </p:nvSpPr>
        <p:spPr>
          <a:xfrm>
            <a:off x="3428996" y="1867286"/>
            <a:ext cx="10203" cy="15913"/>
          </a:xfrm>
          <a:custGeom>
            <a:avLst/>
            <a:gdLst/>
            <a:ahLst/>
            <a:cxnLst/>
            <a:rect l="l" t="t" r="r" b="b"/>
            <a:pathLst>
              <a:path w="10203" h="15913">
                <a:moveTo>
                  <a:pt x="1825" y="14289"/>
                </a:moveTo>
                <a:lnTo>
                  <a:pt x="1503" y="14181"/>
                </a:lnTo>
                <a:lnTo>
                  <a:pt x="1288" y="14181"/>
                </a:lnTo>
                <a:lnTo>
                  <a:pt x="1074" y="14073"/>
                </a:lnTo>
                <a:lnTo>
                  <a:pt x="1074" y="15805"/>
                </a:lnTo>
                <a:lnTo>
                  <a:pt x="1288" y="15913"/>
                </a:lnTo>
                <a:lnTo>
                  <a:pt x="3007" y="15913"/>
                </a:lnTo>
                <a:lnTo>
                  <a:pt x="3329" y="15805"/>
                </a:lnTo>
                <a:lnTo>
                  <a:pt x="3651" y="15696"/>
                </a:lnTo>
                <a:lnTo>
                  <a:pt x="3866" y="15588"/>
                </a:lnTo>
                <a:lnTo>
                  <a:pt x="4081" y="15372"/>
                </a:lnTo>
                <a:lnTo>
                  <a:pt x="4296" y="15263"/>
                </a:lnTo>
                <a:lnTo>
                  <a:pt x="4511" y="15047"/>
                </a:lnTo>
                <a:lnTo>
                  <a:pt x="4725" y="14722"/>
                </a:lnTo>
                <a:lnTo>
                  <a:pt x="4833" y="14397"/>
                </a:lnTo>
                <a:lnTo>
                  <a:pt x="5048" y="13964"/>
                </a:lnTo>
                <a:lnTo>
                  <a:pt x="5262" y="13423"/>
                </a:lnTo>
                <a:lnTo>
                  <a:pt x="5585" y="12774"/>
                </a:lnTo>
                <a:lnTo>
                  <a:pt x="5907" y="12016"/>
                </a:lnTo>
                <a:lnTo>
                  <a:pt x="6229" y="11150"/>
                </a:lnTo>
                <a:lnTo>
                  <a:pt x="6659" y="10067"/>
                </a:lnTo>
                <a:lnTo>
                  <a:pt x="7088" y="8985"/>
                </a:lnTo>
                <a:lnTo>
                  <a:pt x="7518" y="7686"/>
                </a:lnTo>
                <a:lnTo>
                  <a:pt x="8055" y="6387"/>
                </a:lnTo>
                <a:lnTo>
                  <a:pt x="8485" y="4871"/>
                </a:lnTo>
                <a:lnTo>
                  <a:pt x="9022" y="3355"/>
                </a:lnTo>
                <a:lnTo>
                  <a:pt x="9666" y="1732"/>
                </a:lnTo>
                <a:lnTo>
                  <a:pt x="10203" y="0"/>
                </a:lnTo>
                <a:lnTo>
                  <a:pt x="8162" y="0"/>
                </a:lnTo>
                <a:lnTo>
                  <a:pt x="5155" y="9201"/>
                </a:lnTo>
                <a:lnTo>
                  <a:pt x="2148" y="0"/>
                </a:lnTo>
                <a:lnTo>
                  <a:pt x="0" y="0"/>
                </a:lnTo>
                <a:lnTo>
                  <a:pt x="4188" y="11691"/>
                </a:lnTo>
                <a:lnTo>
                  <a:pt x="3974" y="12232"/>
                </a:lnTo>
                <a:lnTo>
                  <a:pt x="3759" y="12774"/>
                </a:lnTo>
                <a:lnTo>
                  <a:pt x="3544" y="13098"/>
                </a:lnTo>
                <a:lnTo>
                  <a:pt x="3436" y="13423"/>
                </a:lnTo>
                <a:lnTo>
                  <a:pt x="3329" y="13640"/>
                </a:lnTo>
                <a:lnTo>
                  <a:pt x="3222" y="13856"/>
                </a:lnTo>
                <a:lnTo>
                  <a:pt x="3007" y="13964"/>
                </a:lnTo>
                <a:lnTo>
                  <a:pt x="2792" y="14181"/>
                </a:lnTo>
                <a:lnTo>
                  <a:pt x="2577" y="14181"/>
                </a:lnTo>
                <a:lnTo>
                  <a:pt x="2362" y="14289"/>
                </a:lnTo>
                <a:lnTo>
                  <a:pt x="1825" y="14289"/>
                </a:lnTo>
                <a:close/>
              </a:path>
            </a:pathLst>
          </a:custGeom>
          <a:solidFill>
            <a:srgbClr val="000000"/>
          </a:solidFill>
        </p:spPr>
        <p:txBody>
          <a:bodyPr wrap="square" lIns="0" tIns="0" rIns="0" bIns="0" rtlCol="0">
            <a:noAutofit/>
          </a:bodyPr>
          <a:lstStyle/>
          <a:p>
            <a:endParaRPr/>
          </a:p>
        </p:txBody>
      </p:sp>
      <p:sp>
        <p:nvSpPr>
          <p:cNvPr id="876" name="object 876"/>
          <p:cNvSpPr/>
          <p:nvPr/>
        </p:nvSpPr>
        <p:spPr>
          <a:xfrm>
            <a:off x="3764960" y="1875945"/>
            <a:ext cx="2148" cy="0"/>
          </a:xfrm>
          <a:custGeom>
            <a:avLst/>
            <a:gdLst/>
            <a:ahLst/>
            <a:cxnLst/>
            <a:rect l="l" t="t" r="r" b="b"/>
            <a:pathLst>
              <a:path w="2148">
                <a:moveTo>
                  <a:pt x="0" y="0"/>
                </a:moveTo>
                <a:lnTo>
                  <a:pt x="2148" y="0"/>
                </a:lnTo>
              </a:path>
            </a:pathLst>
          </a:custGeom>
          <a:ln w="3435">
            <a:solidFill>
              <a:srgbClr val="000000"/>
            </a:solidFill>
          </a:ln>
        </p:spPr>
        <p:txBody>
          <a:bodyPr wrap="square" lIns="0" tIns="0" rIns="0" bIns="0" rtlCol="0">
            <a:noAutofit/>
          </a:bodyPr>
          <a:lstStyle/>
          <a:p>
            <a:endParaRPr/>
          </a:p>
        </p:txBody>
      </p:sp>
      <p:sp>
        <p:nvSpPr>
          <p:cNvPr id="877" name="object 877"/>
          <p:cNvSpPr/>
          <p:nvPr/>
        </p:nvSpPr>
        <p:spPr>
          <a:xfrm>
            <a:off x="3764960" y="1866960"/>
            <a:ext cx="2148" cy="0"/>
          </a:xfrm>
          <a:custGeom>
            <a:avLst/>
            <a:gdLst/>
            <a:ahLst/>
            <a:cxnLst/>
            <a:rect l="l" t="t" r="r" b="b"/>
            <a:pathLst>
              <a:path w="2148">
                <a:moveTo>
                  <a:pt x="0" y="0"/>
                </a:moveTo>
                <a:lnTo>
                  <a:pt x="2148" y="0"/>
                </a:lnTo>
              </a:path>
            </a:pathLst>
          </a:custGeom>
          <a:ln w="3651">
            <a:solidFill>
              <a:srgbClr val="000000"/>
            </a:solidFill>
          </a:ln>
        </p:spPr>
        <p:txBody>
          <a:bodyPr wrap="square" lIns="0" tIns="0" rIns="0" bIns="0" rtlCol="0">
            <a:noAutofit/>
          </a:bodyPr>
          <a:lstStyle/>
          <a:p>
            <a:endParaRPr/>
          </a:p>
        </p:txBody>
      </p:sp>
      <p:sp>
        <p:nvSpPr>
          <p:cNvPr id="878" name="object 878"/>
          <p:cNvSpPr/>
          <p:nvPr/>
        </p:nvSpPr>
        <p:spPr>
          <a:xfrm>
            <a:off x="3719635" y="1861547"/>
            <a:ext cx="12566" cy="15480"/>
          </a:xfrm>
          <a:custGeom>
            <a:avLst/>
            <a:gdLst/>
            <a:ahLst/>
            <a:cxnLst/>
            <a:rect l="l" t="t" r="r" b="b"/>
            <a:pathLst>
              <a:path w="12566" h="15480">
                <a:moveTo>
                  <a:pt x="12459" y="9201"/>
                </a:moveTo>
                <a:lnTo>
                  <a:pt x="12459" y="8768"/>
                </a:lnTo>
                <a:lnTo>
                  <a:pt x="12566" y="8227"/>
                </a:lnTo>
                <a:lnTo>
                  <a:pt x="12566" y="6711"/>
                </a:lnTo>
                <a:lnTo>
                  <a:pt x="12459" y="6062"/>
                </a:lnTo>
                <a:lnTo>
                  <a:pt x="12351" y="5520"/>
                </a:lnTo>
                <a:lnTo>
                  <a:pt x="12244" y="5087"/>
                </a:lnTo>
                <a:lnTo>
                  <a:pt x="12136" y="4546"/>
                </a:lnTo>
                <a:lnTo>
                  <a:pt x="11922" y="4113"/>
                </a:lnTo>
                <a:lnTo>
                  <a:pt x="11707" y="3680"/>
                </a:lnTo>
                <a:lnTo>
                  <a:pt x="11492" y="3247"/>
                </a:lnTo>
                <a:lnTo>
                  <a:pt x="11062" y="2489"/>
                </a:lnTo>
                <a:lnTo>
                  <a:pt x="10525" y="1840"/>
                </a:lnTo>
                <a:lnTo>
                  <a:pt x="9881" y="1190"/>
                </a:lnTo>
                <a:lnTo>
                  <a:pt x="9236" y="757"/>
                </a:lnTo>
                <a:lnTo>
                  <a:pt x="8485" y="433"/>
                </a:lnTo>
                <a:lnTo>
                  <a:pt x="7840" y="216"/>
                </a:lnTo>
                <a:lnTo>
                  <a:pt x="7088" y="0"/>
                </a:lnTo>
                <a:lnTo>
                  <a:pt x="0" y="0"/>
                </a:lnTo>
                <a:lnTo>
                  <a:pt x="0" y="15480"/>
                </a:lnTo>
                <a:lnTo>
                  <a:pt x="6444" y="15480"/>
                </a:lnTo>
                <a:lnTo>
                  <a:pt x="6981" y="13748"/>
                </a:lnTo>
                <a:lnTo>
                  <a:pt x="6336" y="13856"/>
                </a:lnTo>
                <a:lnTo>
                  <a:pt x="1933" y="13856"/>
                </a:lnTo>
                <a:lnTo>
                  <a:pt x="1933" y="1840"/>
                </a:lnTo>
                <a:lnTo>
                  <a:pt x="6659" y="1840"/>
                </a:lnTo>
                <a:lnTo>
                  <a:pt x="7196" y="1948"/>
                </a:lnTo>
                <a:lnTo>
                  <a:pt x="7625" y="2056"/>
                </a:lnTo>
                <a:lnTo>
                  <a:pt x="8055" y="2273"/>
                </a:lnTo>
                <a:lnTo>
                  <a:pt x="8485" y="2489"/>
                </a:lnTo>
                <a:lnTo>
                  <a:pt x="8914" y="2814"/>
                </a:lnTo>
                <a:lnTo>
                  <a:pt x="9236" y="3139"/>
                </a:lnTo>
                <a:lnTo>
                  <a:pt x="9451" y="3572"/>
                </a:lnTo>
                <a:lnTo>
                  <a:pt x="9773" y="3897"/>
                </a:lnTo>
                <a:lnTo>
                  <a:pt x="9988" y="4330"/>
                </a:lnTo>
                <a:lnTo>
                  <a:pt x="10096" y="4871"/>
                </a:lnTo>
                <a:lnTo>
                  <a:pt x="10310" y="5304"/>
                </a:lnTo>
                <a:lnTo>
                  <a:pt x="10418" y="5845"/>
                </a:lnTo>
                <a:lnTo>
                  <a:pt x="10418" y="6387"/>
                </a:lnTo>
                <a:lnTo>
                  <a:pt x="10525" y="6928"/>
                </a:lnTo>
                <a:lnTo>
                  <a:pt x="10525" y="8227"/>
                </a:lnTo>
                <a:lnTo>
                  <a:pt x="10418" y="8985"/>
                </a:lnTo>
                <a:lnTo>
                  <a:pt x="10310" y="9742"/>
                </a:lnTo>
                <a:lnTo>
                  <a:pt x="10096" y="10500"/>
                </a:lnTo>
                <a:lnTo>
                  <a:pt x="9773" y="11258"/>
                </a:lnTo>
                <a:lnTo>
                  <a:pt x="9451" y="11799"/>
                </a:lnTo>
                <a:lnTo>
                  <a:pt x="9022" y="12449"/>
                </a:lnTo>
                <a:lnTo>
                  <a:pt x="8699" y="15047"/>
                </a:lnTo>
                <a:lnTo>
                  <a:pt x="9022" y="14830"/>
                </a:lnTo>
                <a:lnTo>
                  <a:pt x="9451" y="14614"/>
                </a:lnTo>
                <a:lnTo>
                  <a:pt x="9773" y="14289"/>
                </a:lnTo>
                <a:lnTo>
                  <a:pt x="10418" y="13640"/>
                </a:lnTo>
                <a:lnTo>
                  <a:pt x="11062" y="12882"/>
                </a:lnTo>
                <a:lnTo>
                  <a:pt x="11492" y="12124"/>
                </a:lnTo>
                <a:lnTo>
                  <a:pt x="11922" y="11150"/>
                </a:lnTo>
                <a:lnTo>
                  <a:pt x="12029" y="10717"/>
                </a:lnTo>
                <a:lnTo>
                  <a:pt x="12244" y="10175"/>
                </a:lnTo>
                <a:lnTo>
                  <a:pt x="12351" y="9742"/>
                </a:lnTo>
                <a:lnTo>
                  <a:pt x="12459" y="9201"/>
                </a:lnTo>
                <a:close/>
              </a:path>
            </a:pathLst>
          </a:custGeom>
          <a:solidFill>
            <a:srgbClr val="000000"/>
          </a:solidFill>
        </p:spPr>
        <p:txBody>
          <a:bodyPr wrap="square" lIns="0" tIns="0" rIns="0" bIns="0" rtlCol="0">
            <a:noAutofit/>
          </a:bodyPr>
          <a:lstStyle/>
          <a:p>
            <a:endParaRPr/>
          </a:p>
        </p:txBody>
      </p:sp>
      <p:sp>
        <p:nvSpPr>
          <p:cNvPr id="879" name="object 879"/>
          <p:cNvSpPr/>
          <p:nvPr/>
        </p:nvSpPr>
        <p:spPr>
          <a:xfrm>
            <a:off x="3726081" y="1873997"/>
            <a:ext cx="2577" cy="3031"/>
          </a:xfrm>
          <a:custGeom>
            <a:avLst/>
            <a:gdLst/>
            <a:ahLst/>
            <a:cxnLst/>
            <a:rect l="l" t="t" r="r" b="b"/>
            <a:pathLst>
              <a:path w="2577" h="3031">
                <a:moveTo>
                  <a:pt x="0" y="3031"/>
                </a:moveTo>
                <a:lnTo>
                  <a:pt x="429" y="3031"/>
                </a:lnTo>
                <a:lnTo>
                  <a:pt x="966" y="2922"/>
                </a:lnTo>
                <a:lnTo>
                  <a:pt x="1396" y="2922"/>
                </a:lnTo>
                <a:lnTo>
                  <a:pt x="1825" y="2706"/>
                </a:lnTo>
                <a:lnTo>
                  <a:pt x="2255" y="2598"/>
                </a:lnTo>
                <a:lnTo>
                  <a:pt x="2577" y="0"/>
                </a:lnTo>
                <a:lnTo>
                  <a:pt x="2148" y="433"/>
                </a:lnTo>
                <a:lnTo>
                  <a:pt x="1611" y="866"/>
                </a:lnTo>
                <a:lnTo>
                  <a:pt x="1074" y="1190"/>
                </a:lnTo>
                <a:lnTo>
                  <a:pt x="537" y="1299"/>
                </a:lnTo>
                <a:lnTo>
                  <a:pt x="0" y="3031"/>
                </a:lnTo>
                <a:close/>
              </a:path>
            </a:pathLst>
          </a:custGeom>
          <a:solidFill>
            <a:srgbClr val="000000"/>
          </a:solidFill>
        </p:spPr>
        <p:txBody>
          <a:bodyPr wrap="square" lIns="0" tIns="0" rIns="0" bIns="0" rtlCol="0">
            <a:noAutofit/>
          </a:bodyPr>
          <a:lstStyle/>
          <a:p>
            <a:endParaRPr/>
          </a:p>
        </p:txBody>
      </p:sp>
      <p:sp>
        <p:nvSpPr>
          <p:cNvPr id="880" name="object 880"/>
          <p:cNvSpPr/>
          <p:nvPr/>
        </p:nvSpPr>
        <p:spPr>
          <a:xfrm>
            <a:off x="3734029" y="1865445"/>
            <a:ext cx="10633" cy="11799"/>
          </a:xfrm>
          <a:custGeom>
            <a:avLst/>
            <a:gdLst/>
            <a:ahLst/>
            <a:cxnLst/>
            <a:rect l="l" t="t" r="r" b="b"/>
            <a:pathLst>
              <a:path w="10633" h="11799">
                <a:moveTo>
                  <a:pt x="6981" y="9201"/>
                </a:moveTo>
                <a:lnTo>
                  <a:pt x="6659" y="9526"/>
                </a:lnTo>
                <a:lnTo>
                  <a:pt x="6336" y="9742"/>
                </a:lnTo>
                <a:lnTo>
                  <a:pt x="6014" y="9851"/>
                </a:lnTo>
                <a:lnTo>
                  <a:pt x="5585" y="10067"/>
                </a:lnTo>
                <a:lnTo>
                  <a:pt x="5155" y="10175"/>
                </a:lnTo>
                <a:lnTo>
                  <a:pt x="5370" y="11583"/>
                </a:lnTo>
                <a:lnTo>
                  <a:pt x="5799" y="11366"/>
                </a:lnTo>
                <a:lnTo>
                  <a:pt x="6336" y="11150"/>
                </a:lnTo>
                <a:lnTo>
                  <a:pt x="6766" y="10933"/>
                </a:lnTo>
                <a:lnTo>
                  <a:pt x="7196" y="10608"/>
                </a:lnTo>
                <a:lnTo>
                  <a:pt x="7625" y="10175"/>
                </a:lnTo>
                <a:lnTo>
                  <a:pt x="7840" y="10825"/>
                </a:lnTo>
                <a:lnTo>
                  <a:pt x="8162" y="11366"/>
                </a:lnTo>
                <a:lnTo>
                  <a:pt x="8592" y="11583"/>
                </a:lnTo>
                <a:lnTo>
                  <a:pt x="9344" y="11691"/>
                </a:lnTo>
                <a:lnTo>
                  <a:pt x="10418" y="11691"/>
                </a:lnTo>
                <a:lnTo>
                  <a:pt x="10633" y="11583"/>
                </a:lnTo>
                <a:lnTo>
                  <a:pt x="10633" y="10284"/>
                </a:lnTo>
                <a:lnTo>
                  <a:pt x="10096" y="10284"/>
                </a:lnTo>
                <a:lnTo>
                  <a:pt x="9881" y="10392"/>
                </a:lnTo>
                <a:lnTo>
                  <a:pt x="9666" y="10284"/>
                </a:lnTo>
                <a:lnTo>
                  <a:pt x="9451" y="10175"/>
                </a:lnTo>
                <a:lnTo>
                  <a:pt x="9451" y="9851"/>
                </a:lnTo>
                <a:lnTo>
                  <a:pt x="9344" y="9634"/>
                </a:lnTo>
                <a:lnTo>
                  <a:pt x="9344" y="2489"/>
                </a:lnTo>
                <a:lnTo>
                  <a:pt x="9236" y="2056"/>
                </a:lnTo>
                <a:lnTo>
                  <a:pt x="9022" y="1623"/>
                </a:lnTo>
                <a:lnTo>
                  <a:pt x="8807" y="1299"/>
                </a:lnTo>
                <a:lnTo>
                  <a:pt x="8485" y="974"/>
                </a:lnTo>
                <a:lnTo>
                  <a:pt x="8055" y="649"/>
                </a:lnTo>
                <a:lnTo>
                  <a:pt x="7625" y="433"/>
                </a:lnTo>
                <a:lnTo>
                  <a:pt x="7196" y="216"/>
                </a:lnTo>
                <a:lnTo>
                  <a:pt x="6659" y="108"/>
                </a:lnTo>
                <a:lnTo>
                  <a:pt x="6122" y="108"/>
                </a:lnTo>
                <a:lnTo>
                  <a:pt x="5585" y="0"/>
                </a:lnTo>
                <a:lnTo>
                  <a:pt x="4296" y="0"/>
                </a:lnTo>
                <a:lnTo>
                  <a:pt x="3651" y="108"/>
                </a:lnTo>
                <a:lnTo>
                  <a:pt x="3114" y="324"/>
                </a:lnTo>
                <a:lnTo>
                  <a:pt x="2577" y="541"/>
                </a:lnTo>
                <a:lnTo>
                  <a:pt x="2148" y="757"/>
                </a:lnTo>
                <a:lnTo>
                  <a:pt x="1718" y="1082"/>
                </a:lnTo>
                <a:lnTo>
                  <a:pt x="1396" y="1407"/>
                </a:lnTo>
                <a:lnTo>
                  <a:pt x="1074" y="1840"/>
                </a:lnTo>
                <a:lnTo>
                  <a:pt x="859" y="2273"/>
                </a:lnTo>
                <a:lnTo>
                  <a:pt x="751" y="2706"/>
                </a:lnTo>
                <a:lnTo>
                  <a:pt x="644" y="3247"/>
                </a:lnTo>
                <a:lnTo>
                  <a:pt x="644" y="3680"/>
                </a:lnTo>
                <a:lnTo>
                  <a:pt x="2362" y="3680"/>
                </a:lnTo>
                <a:lnTo>
                  <a:pt x="2577" y="2706"/>
                </a:lnTo>
                <a:lnTo>
                  <a:pt x="3114" y="2056"/>
                </a:lnTo>
                <a:lnTo>
                  <a:pt x="3866" y="1623"/>
                </a:lnTo>
                <a:lnTo>
                  <a:pt x="4940" y="1515"/>
                </a:lnTo>
                <a:lnTo>
                  <a:pt x="6122" y="1623"/>
                </a:lnTo>
                <a:lnTo>
                  <a:pt x="6873" y="2056"/>
                </a:lnTo>
                <a:lnTo>
                  <a:pt x="7411" y="2706"/>
                </a:lnTo>
                <a:lnTo>
                  <a:pt x="7518" y="3464"/>
                </a:lnTo>
                <a:lnTo>
                  <a:pt x="7518" y="3788"/>
                </a:lnTo>
                <a:lnTo>
                  <a:pt x="7411" y="4005"/>
                </a:lnTo>
                <a:lnTo>
                  <a:pt x="7303" y="4221"/>
                </a:lnTo>
                <a:lnTo>
                  <a:pt x="7196" y="4438"/>
                </a:lnTo>
                <a:lnTo>
                  <a:pt x="6981" y="4546"/>
                </a:lnTo>
                <a:lnTo>
                  <a:pt x="6766" y="4654"/>
                </a:lnTo>
                <a:lnTo>
                  <a:pt x="6551" y="4763"/>
                </a:lnTo>
                <a:lnTo>
                  <a:pt x="6336" y="4871"/>
                </a:lnTo>
                <a:lnTo>
                  <a:pt x="5692" y="4871"/>
                </a:lnTo>
                <a:lnTo>
                  <a:pt x="5370" y="4979"/>
                </a:lnTo>
                <a:lnTo>
                  <a:pt x="4081" y="4979"/>
                </a:lnTo>
                <a:lnTo>
                  <a:pt x="3222" y="5196"/>
                </a:lnTo>
                <a:lnTo>
                  <a:pt x="2577" y="5304"/>
                </a:lnTo>
                <a:lnTo>
                  <a:pt x="2040" y="5520"/>
                </a:lnTo>
                <a:lnTo>
                  <a:pt x="1611" y="5737"/>
                </a:lnTo>
                <a:lnTo>
                  <a:pt x="1181" y="6062"/>
                </a:lnTo>
                <a:lnTo>
                  <a:pt x="859" y="6387"/>
                </a:lnTo>
                <a:lnTo>
                  <a:pt x="644" y="6711"/>
                </a:lnTo>
                <a:lnTo>
                  <a:pt x="429" y="7036"/>
                </a:lnTo>
                <a:lnTo>
                  <a:pt x="322" y="7361"/>
                </a:lnTo>
                <a:lnTo>
                  <a:pt x="214" y="7794"/>
                </a:lnTo>
                <a:lnTo>
                  <a:pt x="107" y="8119"/>
                </a:lnTo>
                <a:lnTo>
                  <a:pt x="0" y="8552"/>
                </a:lnTo>
                <a:lnTo>
                  <a:pt x="0" y="9201"/>
                </a:lnTo>
                <a:lnTo>
                  <a:pt x="107" y="9526"/>
                </a:lnTo>
                <a:lnTo>
                  <a:pt x="322" y="9959"/>
                </a:lnTo>
                <a:lnTo>
                  <a:pt x="537" y="10284"/>
                </a:lnTo>
                <a:lnTo>
                  <a:pt x="751" y="10717"/>
                </a:lnTo>
                <a:lnTo>
                  <a:pt x="1074" y="11041"/>
                </a:lnTo>
                <a:lnTo>
                  <a:pt x="1396" y="11258"/>
                </a:lnTo>
                <a:lnTo>
                  <a:pt x="1825" y="11475"/>
                </a:lnTo>
                <a:lnTo>
                  <a:pt x="2255" y="11583"/>
                </a:lnTo>
                <a:lnTo>
                  <a:pt x="2685" y="11799"/>
                </a:lnTo>
                <a:lnTo>
                  <a:pt x="3222" y="10284"/>
                </a:lnTo>
                <a:lnTo>
                  <a:pt x="2577" y="9959"/>
                </a:lnTo>
                <a:lnTo>
                  <a:pt x="2255" y="9526"/>
                </a:lnTo>
                <a:lnTo>
                  <a:pt x="2040" y="8768"/>
                </a:lnTo>
                <a:lnTo>
                  <a:pt x="2040" y="8335"/>
                </a:lnTo>
                <a:lnTo>
                  <a:pt x="2255" y="7902"/>
                </a:lnTo>
                <a:lnTo>
                  <a:pt x="2362" y="7577"/>
                </a:lnTo>
                <a:lnTo>
                  <a:pt x="2685" y="7361"/>
                </a:lnTo>
                <a:lnTo>
                  <a:pt x="3007" y="7144"/>
                </a:lnTo>
                <a:lnTo>
                  <a:pt x="3544" y="6928"/>
                </a:lnTo>
                <a:lnTo>
                  <a:pt x="3974" y="6711"/>
                </a:lnTo>
                <a:lnTo>
                  <a:pt x="4618" y="6603"/>
                </a:lnTo>
                <a:lnTo>
                  <a:pt x="5155" y="6495"/>
                </a:lnTo>
                <a:lnTo>
                  <a:pt x="5692" y="6387"/>
                </a:lnTo>
                <a:lnTo>
                  <a:pt x="6122" y="6278"/>
                </a:lnTo>
                <a:lnTo>
                  <a:pt x="6551" y="6170"/>
                </a:lnTo>
                <a:lnTo>
                  <a:pt x="6873" y="6062"/>
                </a:lnTo>
                <a:lnTo>
                  <a:pt x="7196" y="5954"/>
                </a:lnTo>
                <a:lnTo>
                  <a:pt x="7411" y="5954"/>
                </a:lnTo>
                <a:lnTo>
                  <a:pt x="7518" y="8227"/>
                </a:lnTo>
                <a:lnTo>
                  <a:pt x="7411" y="8552"/>
                </a:lnTo>
                <a:lnTo>
                  <a:pt x="7196" y="8876"/>
                </a:lnTo>
                <a:lnTo>
                  <a:pt x="6981" y="9201"/>
                </a:lnTo>
                <a:close/>
              </a:path>
            </a:pathLst>
          </a:custGeom>
          <a:solidFill>
            <a:srgbClr val="000000"/>
          </a:solidFill>
        </p:spPr>
        <p:txBody>
          <a:bodyPr wrap="square" lIns="0" tIns="0" rIns="0" bIns="0" rtlCol="0">
            <a:noAutofit/>
          </a:bodyPr>
          <a:lstStyle/>
          <a:p>
            <a:endParaRPr/>
          </a:p>
        </p:txBody>
      </p:sp>
      <p:sp>
        <p:nvSpPr>
          <p:cNvPr id="881" name="object 881"/>
          <p:cNvSpPr/>
          <p:nvPr/>
        </p:nvSpPr>
        <p:spPr>
          <a:xfrm>
            <a:off x="3736714" y="1875620"/>
            <a:ext cx="2685" cy="1732"/>
          </a:xfrm>
          <a:custGeom>
            <a:avLst/>
            <a:gdLst/>
            <a:ahLst/>
            <a:cxnLst/>
            <a:rect l="l" t="t" r="r" b="b"/>
            <a:pathLst>
              <a:path w="2685" h="1732">
                <a:moveTo>
                  <a:pt x="0" y="1623"/>
                </a:moveTo>
                <a:lnTo>
                  <a:pt x="429" y="1732"/>
                </a:lnTo>
                <a:lnTo>
                  <a:pt x="966" y="1732"/>
                </a:lnTo>
                <a:lnTo>
                  <a:pt x="1503" y="1623"/>
                </a:lnTo>
                <a:lnTo>
                  <a:pt x="2148" y="1515"/>
                </a:lnTo>
                <a:lnTo>
                  <a:pt x="2685" y="1407"/>
                </a:lnTo>
                <a:lnTo>
                  <a:pt x="2470" y="0"/>
                </a:lnTo>
                <a:lnTo>
                  <a:pt x="2148" y="108"/>
                </a:lnTo>
                <a:lnTo>
                  <a:pt x="1718" y="216"/>
                </a:lnTo>
                <a:lnTo>
                  <a:pt x="1288" y="324"/>
                </a:lnTo>
                <a:lnTo>
                  <a:pt x="537" y="108"/>
                </a:lnTo>
                <a:lnTo>
                  <a:pt x="0" y="1623"/>
                </a:lnTo>
                <a:close/>
              </a:path>
            </a:pathLst>
          </a:custGeom>
          <a:solidFill>
            <a:srgbClr val="000000"/>
          </a:solidFill>
        </p:spPr>
        <p:txBody>
          <a:bodyPr wrap="square" lIns="0" tIns="0" rIns="0" bIns="0" rtlCol="0">
            <a:noAutofit/>
          </a:bodyPr>
          <a:lstStyle/>
          <a:p>
            <a:endParaRPr/>
          </a:p>
        </p:txBody>
      </p:sp>
      <p:sp>
        <p:nvSpPr>
          <p:cNvPr id="882" name="object 882"/>
          <p:cNvSpPr/>
          <p:nvPr/>
        </p:nvSpPr>
        <p:spPr>
          <a:xfrm>
            <a:off x="3745413" y="1862630"/>
            <a:ext cx="5262" cy="14830"/>
          </a:xfrm>
          <a:custGeom>
            <a:avLst/>
            <a:gdLst/>
            <a:ahLst/>
            <a:cxnLst/>
            <a:rect l="l" t="t" r="r" b="b"/>
            <a:pathLst>
              <a:path w="5262" h="14830">
                <a:moveTo>
                  <a:pt x="3866" y="14830"/>
                </a:moveTo>
                <a:lnTo>
                  <a:pt x="4833" y="14830"/>
                </a:lnTo>
                <a:lnTo>
                  <a:pt x="5262" y="14722"/>
                </a:lnTo>
                <a:lnTo>
                  <a:pt x="5262" y="13098"/>
                </a:lnTo>
                <a:lnTo>
                  <a:pt x="4618" y="13098"/>
                </a:lnTo>
                <a:lnTo>
                  <a:pt x="4296" y="13207"/>
                </a:lnTo>
                <a:lnTo>
                  <a:pt x="4081" y="13098"/>
                </a:lnTo>
                <a:lnTo>
                  <a:pt x="3866" y="13098"/>
                </a:lnTo>
                <a:lnTo>
                  <a:pt x="3651" y="12882"/>
                </a:lnTo>
                <a:lnTo>
                  <a:pt x="3544" y="12557"/>
                </a:lnTo>
                <a:lnTo>
                  <a:pt x="3436" y="12341"/>
                </a:lnTo>
                <a:lnTo>
                  <a:pt x="3329" y="12124"/>
                </a:lnTo>
                <a:lnTo>
                  <a:pt x="3329" y="4979"/>
                </a:lnTo>
                <a:lnTo>
                  <a:pt x="5262" y="4979"/>
                </a:lnTo>
                <a:lnTo>
                  <a:pt x="5262" y="3139"/>
                </a:lnTo>
                <a:lnTo>
                  <a:pt x="3329" y="3139"/>
                </a:lnTo>
                <a:lnTo>
                  <a:pt x="3329" y="0"/>
                </a:lnTo>
                <a:lnTo>
                  <a:pt x="1503" y="0"/>
                </a:lnTo>
                <a:lnTo>
                  <a:pt x="1503" y="3139"/>
                </a:lnTo>
                <a:lnTo>
                  <a:pt x="0" y="3139"/>
                </a:lnTo>
                <a:lnTo>
                  <a:pt x="0" y="4979"/>
                </a:lnTo>
                <a:lnTo>
                  <a:pt x="1503" y="4979"/>
                </a:lnTo>
                <a:lnTo>
                  <a:pt x="1503" y="13207"/>
                </a:lnTo>
                <a:lnTo>
                  <a:pt x="1611" y="13640"/>
                </a:lnTo>
                <a:lnTo>
                  <a:pt x="1718" y="13964"/>
                </a:lnTo>
                <a:lnTo>
                  <a:pt x="1933" y="14289"/>
                </a:lnTo>
                <a:lnTo>
                  <a:pt x="2255" y="14397"/>
                </a:lnTo>
                <a:lnTo>
                  <a:pt x="2577" y="14614"/>
                </a:lnTo>
                <a:lnTo>
                  <a:pt x="2899" y="14722"/>
                </a:lnTo>
                <a:lnTo>
                  <a:pt x="3329" y="14830"/>
                </a:lnTo>
                <a:lnTo>
                  <a:pt x="3866" y="14830"/>
                </a:lnTo>
                <a:close/>
              </a:path>
            </a:pathLst>
          </a:custGeom>
          <a:solidFill>
            <a:srgbClr val="000000"/>
          </a:solidFill>
        </p:spPr>
        <p:txBody>
          <a:bodyPr wrap="square" lIns="0" tIns="0" rIns="0" bIns="0" rtlCol="0">
            <a:noAutofit/>
          </a:bodyPr>
          <a:lstStyle/>
          <a:p>
            <a:endParaRPr/>
          </a:p>
        </p:txBody>
      </p:sp>
      <p:sp>
        <p:nvSpPr>
          <p:cNvPr id="883" name="object 883"/>
          <p:cNvSpPr/>
          <p:nvPr/>
        </p:nvSpPr>
        <p:spPr>
          <a:xfrm>
            <a:off x="3754005" y="1865877"/>
            <a:ext cx="966" cy="3788"/>
          </a:xfrm>
          <a:custGeom>
            <a:avLst/>
            <a:gdLst/>
            <a:ahLst/>
            <a:cxnLst/>
            <a:rect l="l" t="t" r="r" b="b"/>
            <a:pathLst>
              <a:path w="966" h="3788">
                <a:moveTo>
                  <a:pt x="429" y="324"/>
                </a:moveTo>
                <a:lnTo>
                  <a:pt x="0" y="649"/>
                </a:lnTo>
                <a:lnTo>
                  <a:pt x="107" y="3788"/>
                </a:lnTo>
                <a:lnTo>
                  <a:pt x="214" y="3355"/>
                </a:lnTo>
                <a:lnTo>
                  <a:pt x="429" y="2922"/>
                </a:lnTo>
                <a:lnTo>
                  <a:pt x="644" y="2598"/>
                </a:lnTo>
                <a:lnTo>
                  <a:pt x="966" y="0"/>
                </a:lnTo>
                <a:lnTo>
                  <a:pt x="429" y="324"/>
                </a:lnTo>
                <a:close/>
              </a:path>
            </a:pathLst>
          </a:custGeom>
          <a:solidFill>
            <a:srgbClr val="000000"/>
          </a:solidFill>
        </p:spPr>
        <p:txBody>
          <a:bodyPr wrap="square" lIns="0" tIns="0" rIns="0" bIns="0" rtlCol="0">
            <a:noAutofit/>
          </a:bodyPr>
          <a:lstStyle/>
          <a:p>
            <a:endParaRPr/>
          </a:p>
        </p:txBody>
      </p:sp>
      <p:sp>
        <p:nvSpPr>
          <p:cNvPr id="884" name="object 884"/>
          <p:cNvSpPr/>
          <p:nvPr/>
        </p:nvSpPr>
        <p:spPr>
          <a:xfrm>
            <a:off x="3751965" y="1865228"/>
            <a:ext cx="10203" cy="12124"/>
          </a:xfrm>
          <a:custGeom>
            <a:avLst/>
            <a:gdLst/>
            <a:ahLst/>
            <a:cxnLst/>
            <a:rect l="l" t="t" r="r" b="b"/>
            <a:pathLst>
              <a:path w="10203" h="12124">
                <a:moveTo>
                  <a:pt x="0" y="6495"/>
                </a:moveTo>
                <a:lnTo>
                  <a:pt x="0" y="7036"/>
                </a:lnTo>
                <a:lnTo>
                  <a:pt x="107" y="7577"/>
                </a:lnTo>
                <a:lnTo>
                  <a:pt x="214" y="8010"/>
                </a:lnTo>
                <a:lnTo>
                  <a:pt x="322" y="8443"/>
                </a:lnTo>
                <a:lnTo>
                  <a:pt x="429" y="8985"/>
                </a:lnTo>
                <a:lnTo>
                  <a:pt x="644" y="9418"/>
                </a:lnTo>
                <a:lnTo>
                  <a:pt x="859" y="9742"/>
                </a:lnTo>
                <a:lnTo>
                  <a:pt x="1074" y="10175"/>
                </a:lnTo>
                <a:lnTo>
                  <a:pt x="1396" y="10608"/>
                </a:lnTo>
                <a:lnTo>
                  <a:pt x="1825" y="11041"/>
                </a:lnTo>
                <a:lnTo>
                  <a:pt x="2255" y="11366"/>
                </a:lnTo>
                <a:lnTo>
                  <a:pt x="2792" y="11691"/>
                </a:lnTo>
                <a:lnTo>
                  <a:pt x="3329" y="11799"/>
                </a:lnTo>
                <a:lnTo>
                  <a:pt x="3866" y="12016"/>
                </a:lnTo>
                <a:lnTo>
                  <a:pt x="4403" y="12124"/>
                </a:lnTo>
                <a:lnTo>
                  <a:pt x="5585" y="12124"/>
                </a:lnTo>
                <a:lnTo>
                  <a:pt x="6122" y="12016"/>
                </a:lnTo>
                <a:lnTo>
                  <a:pt x="6551" y="12016"/>
                </a:lnTo>
                <a:lnTo>
                  <a:pt x="6873" y="11908"/>
                </a:lnTo>
                <a:lnTo>
                  <a:pt x="7196" y="11799"/>
                </a:lnTo>
                <a:lnTo>
                  <a:pt x="7518" y="11691"/>
                </a:lnTo>
                <a:lnTo>
                  <a:pt x="7840" y="11475"/>
                </a:lnTo>
                <a:lnTo>
                  <a:pt x="8055" y="11366"/>
                </a:lnTo>
                <a:lnTo>
                  <a:pt x="8485" y="11041"/>
                </a:lnTo>
                <a:lnTo>
                  <a:pt x="8914" y="10717"/>
                </a:lnTo>
                <a:lnTo>
                  <a:pt x="9236" y="10284"/>
                </a:lnTo>
                <a:lnTo>
                  <a:pt x="9559" y="9851"/>
                </a:lnTo>
                <a:lnTo>
                  <a:pt x="9773" y="9418"/>
                </a:lnTo>
                <a:lnTo>
                  <a:pt x="9988" y="8985"/>
                </a:lnTo>
                <a:lnTo>
                  <a:pt x="10096" y="8552"/>
                </a:lnTo>
                <a:lnTo>
                  <a:pt x="10096" y="8227"/>
                </a:lnTo>
                <a:lnTo>
                  <a:pt x="8162" y="8227"/>
                </a:lnTo>
                <a:lnTo>
                  <a:pt x="8162" y="8443"/>
                </a:lnTo>
                <a:lnTo>
                  <a:pt x="8055" y="8660"/>
                </a:lnTo>
                <a:lnTo>
                  <a:pt x="7948" y="8985"/>
                </a:lnTo>
                <a:lnTo>
                  <a:pt x="7840" y="9201"/>
                </a:lnTo>
                <a:lnTo>
                  <a:pt x="7625" y="9526"/>
                </a:lnTo>
                <a:lnTo>
                  <a:pt x="7303" y="9742"/>
                </a:lnTo>
                <a:lnTo>
                  <a:pt x="7088" y="9959"/>
                </a:lnTo>
                <a:lnTo>
                  <a:pt x="6766" y="10175"/>
                </a:lnTo>
                <a:lnTo>
                  <a:pt x="6444" y="10284"/>
                </a:lnTo>
                <a:lnTo>
                  <a:pt x="6014" y="10392"/>
                </a:lnTo>
                <a:lnTo>
                  <a:pt x="5692" y="10500"/>
                </a:lnTo>
                <a:lnTo>
                  <a:pt x="5262" y="10500"/>
                </a:lnTo>
                <a:lnTo>
                  <a:pt x="4511" y="10392"/>
                </a:lnTo>
                <a:lnTo>
                  <a:pt x="3866" y="10284"/>
                </a:lnTo>
                <a:lnTo>
                  <a:pt x="3329" y="9959"/>
                </a:lnTo>
                <a:lnTo>
                  <a:pt x="2899" y="9526"/>
                </a:lnTo>
                <a:lnTo>
                  <a:pt x="2577" y="8985"/>
                </a:lnTo>
                <a:lnTo>
                  <a:pt x="2255" y="8335"/>
                </a:lnTo>
                <a:lnTo>
                  <a:pt x="2148" y="7686"/>
                </a:lnTo>
                <a:lnTo>
                  <a:pt x="2040" y="6820"/>
                </a:lnTo>
                <a:lnTo>
                  <a:pt x="10203" y="6820"/>
                </a:lnTo>
                <a:lnTo>
                  <a:pt x="10203" y="5520"/>
                </a:lnTo>
                <a:lnTo>
                  <a:pt x="10096" y="4979"/>
                </a:lnTo>
                <a:lnTo>
                  <a:pt x="9988" y="4438"/>
                </a:lnTo>
                <a:lnTo>
                  <a:pt x="9881" y="3897"/>
                </a:lnTo>
                <a:lnTo>
                  <a:pt x="9773" y="3355"/>
                </a:lnTo>
                <a:lnTo>
                  <a:pt x="9559" y="2922"/>
                </a:lnTo>
                <a:lnTo>
                  <a:pt x="9344" y="2489"/>
                </a:lnTo>
                <a:lnTo>
                  <a:pt x="9129" y="2056"/>
                </a:lnTo>
                <a:lnTo>
                  <a:pt x="8807" y="1732"/>
                </a:lnTo>
                <a:lnTo>
                  <a:pt x="8592" y="1407"/>
                </a:lnTo>
                <a:lnTo>
                  <a:pt x="8270" y="1082"/>
                </a:lnTo>
                <a:lnTo>
                  <a:pt x="7948" y="866"/>
                </a:lnTo>
                <a:lnTo>
                  <a:pt x="7625" y="649"/>
                </a:lnTo>
                <a:lnTo>
                  <a:pt x="7303" y="433"/>
                </a:lnTo>
                <a:lnTo>
                  <a:pt x="6873" y="324"/>
                </a:lnTo>
                <a:lnTo>
                  <a:pt x="6444" y="216"/>
                </a:lnTo>
                <a:lnTo>
                  <a:pt x="6122" y="108"/>
                </a:lnTo>
                <a:lnTo>
                  <a:pt x="5799" y="0"/>
                </a:lnTo>
                <a:lnTo>
                  <a:pt x="4833" y="0"/>
                </a:lnTo>
                <a:lnTo>
                  <a:pt x="4403" y="108"/>
                </a:lnTo>
                <a:lnTo>
                  <a:pt x="3866" y="216"/>
                </a:lnTo>
                <a:lnTo>
                  <a:pt x="3436" y="433"/>
                </a:lnTo>
                <a:lnTo>
                  <a:pt x="3007" y="649"/>
                </a:lnTo>
                <a:lnTo>
                  <a:pt x="2685" y="3247"/>
                </a:lnTo>
                <a:lnTo>
                  <a:pt x="3007" y="2922"/>
                </a:lnTo>
                <a:lnTo>
                  <a:pt x="3329" y="2598"/>
                </a:lnTo>
                <a:lnTo>
                  <a:pt x="3651" y="2381"/>
                </a:lnTo>
                <a:lnTo>
                  <a:pt x="3974" y="2165"/>
                </a:lnTo>
                <a:lnTo>
                  <a:pt x="4403" y="1948"/>
                </a:lnTo>
                <a:lnTo>
                  <a:pt x="4725" y="1840"/>
                </a:lnTo>
                <a:lnTo>
                  <a:pt x="5155" y="1840"/>
                </a:lnTo>
                <a:lnTo>
                  <a:pt x="5907" y="1948"/>
                </a:lnTo>
                <a:lnTo>
                  <a:pt x="6551" y="2056"/>
                </a:lnTo>
                <a:lnTo>
                  <a:pt x="7088" y="2381"/>
                </a:lnTo>
                <a:lnTo>
                  <a:pt x="7518" y="2814"/>
                </a:lnTo>
                <a:lnTo>
                  <a:pt x="7840" y="3355"/>
                </a:lnTo>
                <a:lnTo>
                  <a:pt x="8055" y="3897"/>
                </a:lnTo>
                <a:lnTo>
                  <a:pt x="8162" y="4546"/>
                </a:lnTo>
                <a:lnTo>
                  <a:pt x="8270" y="5304"/>
                </a:lnTo>
                <a:lnTo>
                  <a:pt x="2040" y="5304"/>
                </a:lnTo>
                <a:lnTo>
                  <a:pt x="2040" y="4871"/>
                </a:lnTo>
                <a:lnTo>
                  <a:pt x="2148" y="4438"/>
                </a:lnTo>
                <a:lnTo>
                  <a:pt x="2040" y="1299"/>
                </a:lnTo>
                <a:lnTo>
                  <a:pt x="1718" y="1623"/>
                </a:lnTo>
                <a:lnTo>
                  <a:pt x="1288" y="2056"/>
                </a:lnTo>
                <a:lnTo>
                  <a:pt x="966" y="2598"/>
                </a:lnTo>
                <a:lnTo>
                  <a:pt x="644" y="3139"/>
                </a:lnTo>
                <a:lnTo>
                  <a:pt x="429" y="3680"/>
                </a:lnTo>
                <a:lnTo>
                  <a:pt x="322" y="4330"/>
                </a:lnTo>
                <a:lnTo>
                  <a:pt x="107" y="5087"/>
                </a:lnTo>
                <a:lnTo>
                  <a:pt x="0" y="5737"/>
                </a:lnTo>
                <a:lnTo>
                  <a:pt x="0" y="6495"/>
                </a:lnTo>
                <a:close/>
              </a:path>
            </a:pathLst>
          </a:custGeom>
          <a:solidFill>
            <a:srgbClr val="000000"/>
          </a:solidFill>
        </p:spPr>
        <p:txBody>
          <a:bodyPr wrap="square" lIns="0" tIns="0" rIns="0" bIns="0" rtlCol="0">
            <a:noAutofit/>
          </a:bodyPr>
          <a:lstStyle/>
          <a:p>
            <a:endParaRPr/>
          </a:p>
        </p:txBody>
      </p:sp>
      <p:sp>
        <p:nvSpPr>
          <p:cNvPr id="885" name="object 885"/>
          <p:cNvSpPr/>
          <p:nvPr/>
        </p:nvSpPr>
        <p:spPr>
          <a:xfrm>
            <a:off x="3298497" y="1896622"/>
            <a:ext cx="12244" cy="16238"/>
          </a:xfrm>
          <a:custGeom>
            <a:avLst/>
            <a:gdLst/>
            <a:ahLst/>
            <a:cxnLst/>
            <a:rect l="l" t="t" r="r" b="b"/>
            <a:pathLst>
              <a:path w="12244" h="16238">
                <a:moveTo>
                  <a:pt x="644" y="5845"/>
                </a:moveTo>
                <a:lnTo>
                  <a:pt x="859" y="6278"/>
                </a:lnTo>
                <a:lnTo>
                  <a:pt x="1074" y="6711"/>
                </a:lnTo>
                <a:lnTo>
                  <a:pt x="1396" y="7144"/>
                </a:lnTo>
                <a:lnTo>
                  <a:pt x="1825" y="7469"/>
                </a:lnTo>
                <a:lnTo>
                  <a:pt x="2148" y="7686"/>
                </a:lnTo>
                <a:lnTo>
                  <a:pt x="2577" y="7902"/>
                </a:lnTo>
                <a:lnTo>
                  <a:pt x="3114" y="8119"/>
                </a:lnTo>
                <a:lnTo>
                  <a:pt x="3651" y="8335"/>
                </a:lnTo>
                <a:lnTo>
                  <a:pt x="4081" y="8443"/>
                </a:lnTo>
                <a:lnTo>
                  <a:pt x="4618" y="8660"/>
                </a:lnTo>
                <a:lnTo>
                  <a:pt x="5155" y="8768"/>
                </a:lnTo>
                <a:lnTo>
                  <a:pt x="5799" y="8876"/>
                </a:lnTo>
                <a:lnTo>
                  <a:pt x="6336" y="8985"/>
                </a:lnTo>
                <a:lnTo>
                  <a:pt x="6981" y="9093"/>
                </a:lnTo>
                <a:lnTo>
                  <a:pt x="7625" y="9201"/>
                </a:lnTo>
                <a:lnTo>
                  <a:pt x="8162" y="9418"/>
                </a:lnTo>
                <a:lnTo>
                  <a:pt x="8592" y="9526"/>
                </a:lnTo>
                <a:lnTo>
                  <a:pt x="8914" y="9742"/>
                </a:lnTo>
                <a:lnTo>
                  <a:pt x="9236" y="9959"/>
                </a:lnTo>
                <a:lnTo>
                  <a:pt x="9559" y="10175"/>
                </a:lnTo>
                <a:lnTo>
                  <a:pt x="9773" y="10392"/>
                </a:lnTo>
                <a:lnTo>
                  <a:pt x="9988" y="10608"/>
                </a:lnTo>
                <a:lnTo>
                  <a:pt x="10096" y="10825"/>
                </a:lnTo>
                <a:lnTo>
                  <a:pt x="10096" y="11150"/>
                </a:lnTo>
                <a:lnTo>
                  <a:pt x="10203" y="11475"/>
                </a:lnTo>
                <a:lnTo>
                  <a:pt x="10203" y="12341"/>
                </a:lnTo>
                <a:lnTo>
                  <a:pt x="10096" y="12774"/>
                </a:lnTo>
                <a:lnTo>
                  <a:pt x="9881" y="13207"/>
                </a:lnTo>
                <a:lnTo>
                  <a:pt x="9559" y="13531"/>
                </a:lnTo>
                <a:lnTo>
                  <a:pt x="9236" y="13748"/>
                </a:lnTo>
                <a:lnTo>
                  <a:pt x="8807" y="13964"/>
                </a:lnTo>
                <a:lnTo>
                  <a:pt x="8485" y="14181"/>
                </a:lnTo>
                <a:lnTo>
                  <a:pt x="8055" y="14289"/>
                </a:lnTo>
                <a:lnTo>
                  <a:pt x="7625" y="14397"/>
                </a:lnTo>
                <a:lnTo>
                  <a:pt x="7088" y="14397"/>
                </a:lnTo>
                <a:lnTo>
                  <a:pt x="6659" y="14506"/>
                </a:lnTo>
                <a:lnTo>
                  <a:pt x="5692" y="14506"/>
                </a:lnTo>
                <a:lnTo>
                  <a:pt x="5155" y="14397"/>
                </a:lnTo>
                <a:lnTo>
                  <a:pt x="4725" y="14289"/>
                </a:lnTo>
                <a:lnTo>
                  <a:pt x="4188" y="14181"/>
                </a:lnTo>
                <a:lnTo>
                  <a:pt x="3759" y="13964"/>
                </a:lnTo>
                <a:lnTo>
                  <a:pt x="3329" y="13748"/>
                </a:lnTo>
                <a:lnTo>
                  <a:pt x="2899" y="13423"/>
                </a:lnTo>
                <a:lnTo>
                  <a:pt x="2577" y="12990"/>
                </a:lnTo>
                <a:lnTo>
                  <a:pt x="2255" y="12557"/>
                </a:lnTo>
                <a:lnTo>
                  <a:pt x="2148" y="12016"/>
                </a:lnTo>
                <a:lnTo>
                  <a:pt x="1933" y="11475"/>
                </a:lnTo>
                <a:lnTo>
                  <a:pt x="1933" y="10825"/>
                </a:lnTo>
                <a:lnTo>
                  <a:pt x="0" y="10825"/>
                </a:lnTo>
                <a:lnTo>
                  <a:pt x="0" y="11475"/>
                </a:lnTo>
                <a:lnTo>
                  <a:pt x="107" y="12124"/>
                </a:lnTo>
                <a:lnTo>
                  <a:pt x="214" y="12665"/>
                </a:lnTo>
                <a:lnTo>
                  <a:pt x="429" y="13207"/>
                </a:lnTo>
                <a:lnTo>
                  <a:pt x="644" y="13748"/>
                </a:lnTo>
                <a:lnTo>
                  <a:pt x="859" y="14181"/>
                </a:lnTo>
                <a:lnTo>
                  <a:pt x="1181" y="14614"/>
                </a:lnTo>
                <a:lnTo>
                  <a:pt x="1611" y="15047"/>
                </a:lnTo>
                <a:lnTo>
                  <a:pt x="2040" y="15263"/>
                </a:lnTo>
                <a:lnTo>
                  <a:pt x="2470" y="15588"/>
                </a:lnTo>
                <a:lnTo>
                  <a:pt x="3007" y="15805"/>
                </a:lnTo>
                <a:lnTo>
                  <a:pt x="3544" y="15913"/>
                </a:lnTo>
                <a:lnTo>
                  <a:pt x="4188" y="16021"/>
                </a:lnTo>
                <a:lnTo>
                  <a:pt x="4833" y="16129"/>
                </a:lnTo>
                <a:lnTo>
                  <a:pt x="5477" y="16238"/>
                </a:lnTo>
                <a:lnTo>
                  <a:pt x="6981" y="16238"/>
                </a:lnTo>
                <a:lnTo>
                  <a:pt x="7625" y="16129"/>
                </a:lnTo>
                <a:lnTo>
                  <a:pt x="8377" y="16021"/>
                </a:lnTo>
                <a:lnTo>
                  <a:pt x="9022" y="15805"/>
                </a:lnTo>
                <a:lnTo>
                  <a:pt x="9666" y="15588"/>
                </a:lnTo>
                <a:lnTo>
                  <a:pt x="10310" y="15263"/>
                </a:lnTo>
                <a:lnTo>
                  <a:pt x="10847" y="14939"/>
                </a:lnTo>
                <a:lnTo>
                  <a:pt x="11385" y="14397"/>
                </a:lnTo>
                <a:lnTo>
                  <a:pt x="11707" y="13856"/>
                </a:lnTo>
                <a:lnTo>
                  <a:pt x="12029" y="13207"/>
                </a:lnTo>
                <a:lnTo>
                  <a:pt x="12136" y="12449"/>
                </a:lnTo>
                <a:lnTo>
                  <a:pt x="12244" y="11583"/>
                </a:lnTo>
                <a:lnTo>
                  <a:pt x="12136" y="10825"/>
                </a:lnTo>
                <a:lnTo>
                  <a:pt x="12029" y="10067"/>
                </a:lnTo>
                <a:lnTo>
                  <a:pt x="11707" y="9418"/>
                </a:lnTo>
                <a:lnTo>
                  <a:pt x="11385" y="8876"/>
                </a:lnTo>
                <a:lnTo>
                  <a:pt x="10847" y="8443"/>
                </a:lnTo>
                <a:lnTo>
                  <a:pt x="10310" y="8010"/>
                </a:lnTo>
                <a:lnTo>
                  <a:pt x="9559" y="7686"/>
                </a:lnTo>
                <a:lnTo>
                  <a:pt x="8807" y="7361"/>
                </a:lnTo>
                <a:lnTo>
                  <a:pt x="8377" y="7253"/>
                </a:lnTo>
                <a:lnTo>
                  <a:pt x="7948" y="7144"/>
                </a:lnTo>
                <a:lnTo>
                  <a:pt x="7518" y="7036"/>
                </a:lnTo>
                <a:lnTo>
                  <a:pt x="6981" y="6928"/>
                </a:lnTo>
                <a:lnTo>
                  <a:pt x="6444" y="6820"/>
                </a:lnTo>
                <a:lnTo>
                  <a:pt x="5799" y="6711"/>
                </a:lnTo>
                <a:lnTo>
                  <a:pt x="5155" y="6495"/>
                </a:lnTo>
                <a:lnTo>
                  <a:pt x="4403" y="6387"/>
                </a:lnTo>
                <a:lnTo>
                  <a:pt x="3544" y="6062"/>
                </a:lnTo>
                <a:lnTo>
                  <a:pt x="3007" y="5629"/>
                </a:lnTo>
                <a:lnTo>
                  <a:pt x="2577" y="5087"/>
                </a:lnTo>
                <a:lnTo>
                  <a:pt x="2470" y="4438"/>
                </a:lnTo>
                <a:lnTo>
                  <a:pt x="2577" y="3680"/>
                </a:lnTo>
                <a:lnTo>
                  <a:pt x="2792" y="3031"/>
                </a:lnTo>
                <a:lnTo>
                  <a:pt x="3114" y="2598"/>
                </a:lnTo>
                <a:lnTo>
                  <a:pt x="3544" y="2273"/>
                </a:lnTo>
                <a:lnTo>
                  <a:pt x="4081" y="1948"/>
                </a:lnTo>
                <a:lnTo>
                  <a:pt x="4725" y="1732"/>
                </a:lnTo>
                <a:lnTo>
                  <a:pt x="5370" y="1623"/>
                </a:lnTo>
                <a:lnTo>
                  <a:pt x="6444" y="1623"/>
                </a:lnTo>
                <a:lnTo>
                  <a:pt x="6981" y="1732"/>
                </a:lnTo>
                <a:lnTo>
                  <a:pt x="7411" y="1840"/>
                </a:lnTo>
                <a:lnTo>
                  <a:pt x="7840" y="1948"/>
                </a:lnTo>
                <a:lnTo>
                  <a:pt x="8270" y="2165"/>
                </a:lnTo>
                <a:lnTo>
                  <a:pt x="8592" y="2381"/>
                </a:lnTo>
                <a:lnTo>
                  <a:pt x="8914" y="2706"/>
                </a:lnTo>
                <a:lnTo>
                  <a:pt x="9236" y="3031"/>
                </a:lnTo>
                <a:lnTo>
                  <a:pt x="9559" y="3355"/>
                </a:lnTo>
                <a:lnTo>
                  <a:pt x="9773" y="3788"/>
                </a:lnTo>
                <a:lnTo>
                  <a:pt x="9881" y="4330"/>
                </a:lnTo>
                <a:lnTo>
                  <a:pt x="9881" y="4871"/>
                </a:lnTo>
                <a:lnTo>
                  <a:pt x="11814" y="4871"/>
                </a:lnTo>
                <a:lnTo>
                  <a:pt x="11814" y="4221"/>
                </a:lnTo>
                <a:lnTo>
                  <a:pt x="11707" y="3680"/>
                </a:lnTo>
                <a:lnTo>
                  <a:pt x="11492" y="3139"/>
                </a:lnTo>
                <a:lnTo>
                  <a:pt x="11385" y="2598"/>
                </a:lnTo>
                <a:lnTo>
                  <a:pt x="11062" y="2165"/>
                </a:lnTo>
                <a:lnTo>
                  <a:pt x="10633" y="1623"/>
                </a:lnTo>
                <a:lnTo>
                  <a:pt x="10203" y="1190"/>
                </a:lnTo>
                <a:lnTo>
                  <a:pt x="9559" y="757"/>
                </a:lnTo>
                <a:lnTo>
                  <a:pt x="9236" y="541"/>
                </a:lnTo>
                <a:lnTo>
                  <a:pt x="8807" y="433"/>
                </a:lnTo>
                <a:lnTo>
                  <a:pt x="8377" y="324"/>
                </a:lnTo>
                <a:lnTo>
                  <a:pt x="7948" y="216"/>
                </a:lnTo>
                <a:lnTo>
                  <a:pt x="7518" y="108"/>
                </a:lnTo>
                <a:lnTo>
                  <a:pt x="6981" y="0"/>
                </a:lnTo>
                <a:lnTo>
                  <a:pt x="4940" y="0"/>
                </a:lnTo>
                <a:lnTo>
                  <a:pt x="4188" y="108"/>
                </a:lnTo>
                <a:lnTo>
                  <a:pt x="3436" y="324"/>
                </a:lnTo>
                <a:lnTo>
                  <a:pt x="2792" y="649"/>
                </a:lnTo>
                <a:lnTo>
                  <a:pt x="2255" y="974"/>
                </a:lnTo>
                <a:lnTo>
                  <a:pt x="1825" y="1407"/>
                </a:lnTo>
                <a:lnTo>
                  <a:pt x="1396" y="1840"/>
                </a:lnTo>
                <a:lnTo>
                  <a:pt x="1074" y="2381"/>
                </a:lnTo>
                <a:lnTo>
                  <a:pt x="859" y="2922"/>
                </a:lnTo>
                <a:lnTo>
                  <a:pt x="644" y="3464"/>
                </a:lnTo>
                <a:lnTo>
                  <a:pt x="537" y="4113"/>
                </a:lnTo>
                <a:lnTo>
                  <a:pt x="537" y="5304"/>
                </a:lnTo>
                <a:lnTo>
                  <a:pt x="644" y="5845"/>
                </a:lnTo>
                <a:close/>
              </a:path>
            </a:pathLst>
          </a:custGeom>
          <a:solidFill>
            <a:srgbClr val="000000"/>
          </a:solidFill>
        </p:spPr>
        <p:txBody>
          <a:bodyPr wrap="square" lIns="0" tIns="0" rIns="0" bIns="0" rtlCol="0">
            <a:noAutofit/>
          </a:bodyPr>
          <a:lstStyle/>
          <a:p>
            <a:endParaRPr/>
          </a:p>
        </p:txBody>
      </p:sp>
      <p:sp>
        <p:nvSpPr>
          <p:cNvPr id="886" name="object 886"/>
          <p:cNvSpPr/>
          <p:nvPr/>
        </p:nvSpPr>
        <p:spPr>
          <a:xfrm>
            <a:off x="3313212" y="1896946"/>
            <a:ext cx="9236" cy="15480"/>
          </a:xfrm>
          <a:custGeom>
            <a:avLst/>
            <a:gdLst/>
            <a:ahLst/>
            <a:cxnLst/>
            <a:rect l="l" t="t" r="r" b="b"/>
            <a:pathLst>
              <a:path w="9236" h="15480">
                <a:moveTo>
                  <a:pt x="3222" y="4330"/>
                </a:moveTo>
                <a:lnTo>
                  <a:pt x="3007" y="4438"/>
                </a:lnTo>
                <a:lnTo>
                  <a:pt x="2792" y="4546"/>
                </a:lnTo>
                <a:lnTo>
                  <a:pt x="2577" y="4763"/>
                </a:lnTo>
                <a:lnTo>
                  <a:pt x="2362" y="4979"/>
                </a:lnTo>
                <a:lnTo>
                  <a:pt x="2148" y="5304"/>
                </a:lnTo>
                <a:lnTo>
                  <a:pt x="1825" y="5737"/>
                </a:lnTo>
                <a:lnTo>
                  <a:pt x="1825" y="0"/>
                </a:lnTo>
                <a:lnTo>
                  <a:pt x="0" y="0"/>
                </a:lnTo>
                <a:lnTo>
                  <a:pt x="0" y="15480"/>
                </a:lnTo>
                <a:lnTo>
                  <a:pt x="1825" y="15480"/>
                </a:lnTo>
                <a:lnTo>
                  <a:pt x="1825" y="9309"/>
                </a:lnTo>
                <a:lnTo>
                  <a:pt x="1933" y="8443"/>
                </a:lnTo>
                <a:lnTo>
                  <a:pt x="2040" y="7577"/>
                </a:lnTo>
                <a:lnTo>
                  <a:pt x="2362" y="6928"/>
                </a:lnTo>
                <a:lnTo>
                  <a:pt x="2792" y="6495"/>
                </a:lnTo>
                <a:lnTo>
                  <a:pt x="3329" y="6062"/>
                </a:lnTo>
                <a:lnTo>
                  <a:pt x="3866" y="5737"/>
                </a:lnTo>
                <a:lnTo>
                  <a:pt x="4511" y="5629"/>
                </a:lnTo>
                <a:lnTo>
                  <a:pt x="5155" y="5520"/>
                </a:lnTo>
                <a:lnTo>
                  <a:pt x="5692" y="5520"/>
                </a:lnTo>
                <a:lnTo>
                  <a:pt x="6229" y="5629"/>
                </a:lnTo>
                <a:lnTo>
                  <a:pt x="6551" y="5845"/>
                </a:lnTo>
                <a:lnTo>
                  <a:pt x="6873" y="6170"/>
                </a:lnTo>
                <a:lnTo>
                  <a:pt x="7088" y="6495"/>
                </a:lnTo>
                <a:lnTo>
                  <a:pt x="7303" y="6928"/>
                </a:lnTo>
                <a:lnTo>
                  <a:pt x="7411" y="7469"/>
                </a:lnTo>
                <a:lnTo>
                  <a:pt x="7411" y="15480"/>
                </a:lnTo>
                <a:lnTo>
                  <a:pt x="9236" y="15480"/>
                </a:lnTo>
                <a:lnTo>
                  <a:pt x="9236" y="7144"/>
                </a:lnTo>
                <a:lnTo>
                  <a:pt x="9129" y="6495"/>
                </a:lnTo>
                <a:lnTo>
                  <a:pt x="8914" y="5954"/>
                </a:lnTo>
                <a:lnTo>
                  <a:pt x="8592" y="5412"/>
                </a:lnTo>
                <a:lnTo>
                  <a:pt x="8270" y="4979"/>
                </a:lnTo>
                <a:lnTo>
                  <a:pt x="7948" y="4654"/>
                </a:lnTo>
                <a:lnTo>
                  <a:pt x="7625" y="4438"/>
                </a:lnTo>
                <a:lnTo>
                  <a:pt x="7196" y="4221"/>
                </a:lnTo>
                <a:lnTo>
                  <a:pt x="6766" y="4113"/>
                </a:lnTo>
                <a:lnTo>
                  <a:pt x="6229" y="4005"/>
                </a:lnTo>
                <a:lnTo>
                  <a:pt x="5799" y="3897"/>
                </a:lnTo>
                <a:lnTo>
                  <a:pt x="4403" y="3897"/>
                </a:lnTo>
                <a:lnTo>
                  <a:pt x="3974" y="4005"/>
                </a:lnTo>
                <a:lnTo>
                  <a:pt x="3651" y="4113"/>
                </a:lnTo>
                <a:lnTo>
                  <a:pt x="3436" y="4221"/>
                </a:lnTo>
                <a:lnTo>
                  <a:pt x="3222" y="4330"/>
                </a:lnTo>
                <a:close/>
              </a:path>
            </a:pathLst>
          </a:custGeom>
          <a:solidFill>
            <a:srgbClr val="000000"/>
          </a:solidFill>
        </p:spPr>
        <p:txBody>
          <a:bodyPr wrap="square" lIns="0" tIns="0" rIns="0" bIns="0" rtlCol="0">
            <a:noAutofit/>
          </a:bodyPr>
          <a:lstStyle/>
          <a:p>
            <a:endParaRPr/>
          </a:p>
        </p:txBody>
      </p:sp>
      <p:sp>
        <p:nvSpPr>
          <p:cNvPr id="887" name="object 887"/>
          <p:cNvSpPr/>
          <p:nvPr/>
        </p:nvSpPr>
        <p:spPr>
          <a:xfrm>
            <a:off x="3325135" y="1898029"/>
            <a:ext cx="1825" cy="0"/>
          </a:xfrm>
          <a:custGeom>
            <a:avLst/>
            <a:gdLst/>
            <a:ahLst/>
            <a:cxnLst/>
            <a:rect l="l" t="t" r="r" b="b"/>
            <a:pathLst>
              <a:path w="1825">
                <a:moveTo>
                  <a:pt x="0" y="0"/>
                </a:moveTo>
                <a:lnTo>
                  <a:pt x="1825" y="0"/>
                </a:lnTo>
              </a:path>
            </a:pathLst>
          </a:custGeom>
          <a:ln w="3435">
            <a:solidFill>
              <a:srgbClr val="000000"/>
            </a:solidFill>
          </a:ln>
        </p:spPr>
        <p:txBody>
          <a:bodyPr wrap="square" lIns="0" tIns="0" rIns="0" bIns="0" rtlCol="0">
            <a:noAutofit/>
          </a:bodyPr>
          <a:lstStyle/>
          <a:p>
            <a:endParaRPr/>
          </a:p>
        </p:txBody>
      </p:sp>
      <p:sp>
        <p:nvSpPr>
          <p:cNvPr id="888" name="object 888"/>
          <p:cNvSpPr/>
          <p:nvPr/>
        </p:nvSpPr>
        <p:spPr>
          <a:xfrm>
            <a:off x="3325135" y="1906798"/>
            <a:ext cx="1825" cy="0"/>
          </a:xfrm>
          <a:custGeom>
            <a:avLst/>
            <a:gdLst/>
            <a:ahLst/>
            <a:cxnLst/>
            <a:rect l="l" t="t" r="r" b="b"/>
            <a:pathLst>
              <a:path w="1825">
                <a:moveTo>
                  <a:pt x="0" y="0"/>
                </a:moveTo>
                <a:lnTo>
                  <a:pt x="1825" y="0"/>
                </a:lnTo>
              </a:path>
            </a:pathLst>
          </a:custGeom>
          <a:ln w="12528">
            <a:solidFill>
              <a:srgbClr val="000000"/>
            </a:solidFill>
          </a:ln>
        </p:spPr>
        <p:txBody>
          <a:bodyPr wrap="square" lIns="0" tIns="0" rIns="0" bIns="0" rtlCol="0">
            <a:noAutofit/>
          </a:bodyPr>
          <a:lstStyle/>
          <a:p>
            <a:endParaRPr/>
          </a:p>
        </p:txBody>
      </p:sp>
      <p:sp>
        <p:nvSpPr>
          <p:cNvPr id="889" name="object 889"/>
          <p:cNvSpPr/>
          <p:nvPr/>
        </p:nvSpPr>
        <p:spPr>
          <a:xfrm>
            <a:off x="3329752" y="1900845"/>
            <a:ext cx="9988" cy="16129"/>
          </a:xfrm>
          <a:custGeom>
            <a:avLst/>
            <a:gdLst/>
            <a:ahLst/>
            <a:cxnLst/>
            <a:rect l="l" t="t" r="r" b="b"/>
            <a:pathLst>
              <a:path w="9988" h="16129">
                <a:moveTo>
                  <a:pt x="3329" y="11583"/>
                </a:moveTo>
                <a:lnTo>
                  <a:pt x="3651" y="11691"/>
                </a:lnTo>
                <a:lnTo>
                  <a:pt x="4081" y="11691"/>
                </a:lnTo>
                <a:lnTo>
                  <a:pt x="4511" y="11799"/>
                </a:lnTo>
                <a:lnTo>
                  <a:pt x="5048" y="11908"/>
                </a:lnTo>
                <a:lnTo>
                  <a:pt x="5799" y="11799"/>
                </a:lnTo>
                <a:lnTo>
                  <a:pt x="6444" y="11691"/>
                </a:lnTo>
                <a:lnTo>
                  <a:pt x="7088" y="11366"/>
                </a:lnTo>
                <a:lnTo>
                  <a:pt x="7733" y="11041"/>
                </a:lnTo>
                <a:lnTo>
                  <a:pt x="8270" y="10608"/>
                </a:lnTo>
                <a:lnTo>
                  <a:pt x="8699" y="10067"/>
                </a:lnTo>
                <a:lnTo>
                  <a:pt x="9022" y="9418"/>
                </a:lnTo>
                <a:lnTo>
                  <a:pt x="9344" y="8768"/>
                </a:lnTo>
                <a:lnTo>
                  <a:pt x="9666" y="8010"/>
                </a:lnTo>
                <a:lnTo>
                  <a:pt x="9881" y="7361"/>
                </a:lnTo>
                <a:lnTo>
                  <a:pt x="9988" y="6711"/>
                </a:lnTo>
                <a:lnTo>
                  <a:pt x="9988" y="5196"/>
                </a:lnTo>
                <a:lnTo>
                  <a:pt x="9881" y="4546"/>
                </a:lnTo>
                <a:lnTo>
                  <a:pt x="9666" y="3788"/>
                </a:lnTo>
                <a:lnTo>
                  <a:pt x="9451" y="3139"/>
                </a:lnTo>
                <a:lnTo>
                  <a:pt x="9129" y="2489"/>
                </a:lnTo>
                <a:lnTo>
                  <a:pt x="8699" y="1840"/>
                </a:lnTo>
                <a:lnTo>
                  <a:pt x="8270" y="1299"/>
                </a:lnTo>
                <a:lnTo>
                  <a:pt x="7840" y="866"/>
                </a:lnTo>
                <a:lnTo>
                  <a:pt x="7303" y="433"/>
                </a:lnTo>
                <a:lnTo>
                  <a:pt x="6659" y="216"/>
                </a:lnTo>
                <a:lnTo>
                  <a:pt x="6014" y="0"/>
                </a:lnTo>
                <a:lnTo>
                  <a:pt x="4833" y="0"/>
                </a:lnTo>
                <a:lnTo>
                  <a:pt x="4511" y="108"/>
                </a:lnTo>
                <a:lnTo>
                  <a:pt x="4188" y="108"/>
                </a:lnTo>
                <a:lnTo>
                  <a:pt x="3759" y="216"/>
                </a:lnTo>
                <a:lnTo>
                  <a:pt x="3436" y="433"/>
                </a:lnTo>
                <a:lnTo>
                  <a:pt x="3114" y="541"/>
                </a:lnTo>
                <a:lnTo>
                  <a:pt x="2792" y="757"/>
                </a:lnTo>
                <a:lnTo>
                  <a:pt x="2577" y="974"/>
                </a:lnTo>
                <a:lnTo>
                  <a:pt x="2362" y="1190"/>
                </a:lnTo>
                <a:lnTo>
                  <a:pt x="2148" y="1407"/>
                </a:lnTo>
                <a:lnTo>
                  <a:pt x="1933" y="1732"/>
                </a:lnTo>
                <a:lnTo>
                  <a:pt x="1825" y="1948"/>
                </a:lnTo>
                <a:lnTo>
                  <a:pt x="1825" y="324"/>
                </a:lnTo>
                <a:lnTo>
                  <a:pt x="0" y="324"/>
                </a:lnTo>
                <a:lnTo>
                  <a:pt x="0" y="16129"/>
                </a:lnTo>
                <a:lnTo>
                  <a:pt x="1933" y="16129"/>
                </a:lnTo>
                <a:lnTo>
                  <a:pt x="1933" y="10392"/>
                </a:lnTo>
                <a:lnTo>
                  <a:pt x="2255" y="10825"/>
                </a:lnTo>
                <a:lnTo>
                  <a:pt x="2040" y="8227"/>
                </a:lnTo>
                <a:lnTo>
                  <a:pt x="1933" y="7361"/>
                </a:lnTo>
                <a:lnTo>
                  <a:pt x="1825" y="6387"/>
                </a:lnTo>
                <a:lnTo>
                  <a:pt x="1825" y="5737"/>
                </a:lnTo>
                <a:lnTo>
                  <a:pt x="1933" y="5196"/>
                </a:lnTo>
                <a:lnTo>
                  <a:pt x="1933" y="4546"/>
                </a:lnTo>
                <a:lnTo>
                  <a:pt x="2040" y="4005"/>
                </a:lnTo>
                <a:lnTo>
                  <a:pt x="2255" y="3572"/>
                </a:lnTo>
                <a:lnTo>
                  <a:pt x="2470" y="3031"/>
                </a:lnTo>
                <a:lnTo>
                  <a:pt x="2792" y="2598"/>
                </a:lnTo>
                <a:lnTo>
                  <a:pt x="3114" y="2273"/>
                </a:lnTo>
                <a:lnTo>
                  <a:pt x="3436" y="1948"/>
                </a:lnTo>
                <a:lnTo>
                  <a:pt x="3866" y="1732"/>
                </a:lnTo>
                <a:lnTo>
                  <a:pt x="4296" y="1623"/>
                </a:lnTo>
                <a:lnTo>
                  <a:pt x="4833" y="1623"/>
                </a:lnTo>
                <a:lnTo>
                  <a:pt x="5477" y="1732"/>
                </a:lnTo>
                <a:lnTo>
                  <a:pt x="6122" y="1948"/>
                </a:lnTo>
                <a:lnTo>
                  <a:pt x="6659" y="2273"/>
                </a:lnTo>
                <a:lnTo>
                  <a:pt x="7088" y="2598"/>
                </a:lnTo>
                <a:lnTo>
                  <a:pt x="7411" y="3139"/>
                </a:lnTo>
                <a:lnTo>
                  <a:pt x="7733" y="3788"/>
                </a:lnTo>
                <a:lnTo>
                  <a:pt x="7840" y="4654"/>
                </a:lnTo>
                <a:lnTo>
                  <a:pt x="7948" y="5629"/>
                </a:lnTo>
                <a:lnTo>
                  <a:pt x="7948" y="6387"/>
                </a:lnTo>
                <a:lnTo>
                  <a:pt x="7840" y="7036"/>
                </a:lnTo>
                <a:lnTo>
                  <a:pt x="7733" y="7577"/>
                </a:lnTo>
                <a:lnTo>
                  <a:pt x="7518" y="8119"/>
                </a:lnTo>
                <a:lnTo>
                  <a:pt x="7303" y="8660"/>
                </a:lnTo>
                <a:lnTo>
                  <a:pt x="7088" y="9093"/>
                </a:lnTo>
                <a:lnTo>
                  <a:pt x="6766" y="9418"/>
                </a:lnTo>
                <a:lnTo>
                  <a:pt x="6444" y="9742"/>
                </a:lnTo>
                <a:lnTo>
                  <a:pt x="6122" y="9959"/>
                </a:lnTo>
                <a:lnTo>
                  <a:pt x="5799" y="10175"/>
                </a:lnTo>
                <a:lnTo>
                  <a:pt x="5370" y="10284"/>
                </a:lnTo>
                <a:lnTo>
                  <a:pt x="4940" y="10284"/>
                </a:lnTo>
                <a:lnTo>
                  <a:pt x="4296" y="10175"/>
                </a:lnTo>
                <a:lnTo>
                  <a:pt x="3759" y="10067"/>
                </a:lnTo>
                <a:lnTo>
                  <a:pt x="3329" y="11583"/>
                </a:lnTo>
                <a:close/>
              </a:path>
            </a:pathLst>
          </a:custGeom>
          <a:solidFill>
            <a:srgbClr val="000000"/>
          </a:solidFill>
        </p:spPr>
        <p:txBody>
          <a:bodyPr wrap="square" lIns="0" tIns="0" rIns="0" bIns="0" rtlCol="0">
            <a:noAutofit/>
          </a:bodyPr>
          <a:lstStyle/>
          <a:p>
            <a:endParaRPr/>
          </a:p>
        </p:txBody>
      </p:sp>
      <p:sp>
        <p:nvSpPr>
          <p:cNvPr id="890" name="object 890"/>
          <p:cNvSpPr/>
          <p:nvPr/>
        </p:nvSpPr>
        <p:spPr>
          <a:xfrm>
            <a:off x="3331793" y="1909072"/>
            <a:ext cx="1718" cy="3355"/>
          </a:xfrm>
          <a:custGeom>
            <a:avLst/>
            <a:gdLst/>
            <a:ahLst/>
            <a:cxnLst/>
            <a:rect l="l" t="t" r="r" b="b"/>
            <a:pathLst>
              <a:path w="1718" h="3355">
                <a:moveTo>
                  <a:pt x="0" y="0"/>
                </a:moveTo>
                <a:lnTo>
                  <a:pt x="214" y="2598"/>
                </a:lnTo>
                <a:lnTo>
                  <a:pt x="537" y="2922"/>
                </a:lnTo>
                <a:lnTo>
                  <a:pt x="859" y="3139"/>
                </a:lnTo>
                <a:lnTo>
                  <a:pt x="1288" y="3355"/>
                </a:lnTo>
                <a:lnTo>
                  <a:pt x="1718" y="1840"/>
                </a:lnTo>
                <a:lnTo>
                  <a:pt x="1181" y="1515"/>
                </a:lnTo>
                <a:lnTo>
                  <a:pt x="751" y="1190"/>
                </a:lnTo>
                <a:lnTo>
                  <a:pt x="322" y="649"/>
                </a:lnTo>
                <a:lnTo>
                  <a:pt x="0" y="0"/>
                </a:lnTo>
                <a:close/>
              </a:path>
            </a:pathLst>
          </a:custGeom>
          <a:solidFill>
            <a:srgbClr val="000000"/>
          </a:solidFill>
        </p:spPr>
        <p:txBody>
          <a:bodyPr wrap="square" lIns="0" tIns="0" rIns="0" bIns="0" rtlCol="0">
            <a:noAutofit/>
          </a:bodyPr>
          <a:lstStyle/>
          <a:p>
            <a:endParaRPr/>
          </a:p>
        </p:txBody>
      </p:sp>
      <p:sp>
        <p:nvSpPr>
          <p:cNvPr id="891" name="object 891"/>
          <p:cNvSpPr/>
          <p:nvPr/>
        </p:nvSpPr>
        <p:spPr>
          <a:xfrm>
            <a:off x="3353381" y="1896946"/>
            <a:ext cx="13210" cy="15480"/>
          </a:xfrm>
          <a:custGeom>
            <a:avLst/>
            <a:gdLst/>
            <a:ahLst/>
            <a:cxnLst/>
            <a:rect l="l" t="t" r="r" b="b"/>
            <a:pathLst>
              <a:path w="13210" h="15480">
                <a:moveTo>
                  <a:pt x="13210" y="0"/>
                </a:moveTo>
                <a:lnTo>
                  <a:pt x="10955" y="0"/>
                </a:lnTo>
                <a:lnTo>
                  <a:pt x="6659" y="13315"/>
                </a:lnTo>
                <a:lnTo>
                  <a:pt x="2255" y="0"/>
                </a:lnTo>
                <a:lnTo>
                  <a:pt x="0" y="0"/>
                </a:lnTo>
                <a:lnTo>
                  <a:pt x="5477" y="15480"/>
                </a:lnTo>
                <a:lnTo>
                  <a:pt x="7733" y="15480"/>
                </a:lnTo>
                <a:lnTo>
                  <a:pt x="13210" y="0"/>
                </a:lnTo>
                <a:close/>
              </a:path>
            </a:pathLst>
          </a:custGeom>
          <a:solidFill>
            <a:srgbClr val="000000"/>
          </a:solidFill>
        </p:spPr>
        <p:txBody>
          <a:bodyPr wrap="square" lIns="0" tIns="0" rIns="0" bIns="0" rtlCol="0">
            <a:noAutofit/>
          </a:bodyPr>
          <a:lstStyle/>
          <a:p>
            <a:endParaRPr/>
          </a:p>
        </p:txBody>
      </p:sp>
      <p:sp>
        <p:nvSpPr>
          <p:cNvPr id="892" name="object 892"/>
          <p:cNvSpPr/>
          <p:nvPr/>
        </p:nvSpPr>
        <p:spPr>
          <a:xfrm>
            <a:off x="3367989" y="1898029"/>
            <a:ext cx="1825" cy="0"/>
          </a:xfrm>
          <a:custGeom>
            <a:avLst/>
            <a:gdLst/>
            <a:ahLst/>
            <a:cxnLst/>
            <a:rect l="l" t="t" r="r" b="b"/>
            <a:pathLst>
              <a:path w="1825">
                <a:moveTo>
                  <a:pt x="0" y="0"/>
                </a:moveTo>
                <a:lnTo>
                  <a:pt x="1825" y="0"/>
                </a:lnTo>
              </a:path>
            </a:pathLst>
          </a:custGeom>
          <a:ln w="3435">
            <a:solidFill>
              <a:srgbClr val="000000"/>
            </a:solidFill>
          </a:ln>
        </p:spPr>
        <p:txBody>
          <a:bodyPr wrap="square" lIns="0" tIns="0" rIns="0" bIns="0" rtlCol="0">
            <a:noAutofit/>
          </a:bodyPr>
          <a:lstStyle/>
          <a:p>
            <a:endParaRPr/>
          </a:p>
        </p:txBody>
      </p:sp>
      <p:sp>
        <p:nvSpPr>
          <p:cNvPr id="893" name="object 893"/>
          <p:cNvSpPr/>
          <p:nvPr/>
        </p:nvSpPr>
        <p:spPr>
          <a:xfrm>
            <a:off x="3367989" y="1906798"/>
            <a:ext cx="1825" cy="0"/>
          </a:xfrm>
          <a:custGeom>
            <a:avLst/>
            <a:gdLst/>
            <a:ahLst/>
            <a:cxnLst/>
            <a:rect l="l" t="t" r="r" b="b"/>
            <a:pathLst>
              <a:path w="1825">
                <a:moveTo>
                  <a:pt x="0" y="0"/>
                </a:moveTo>
                <a:lnTo>
                  <a:pt x="1825" y="0"/>
                </a:lnTo>
              </a:path>
            </a:pathLst>
          </a:custGeom>
          <a:ln w="12528">
            <a:solidFill>
              <a:srgbClr val="000000"/>
            </a:solidFill>
          </a:ln>
        </p:spPr>
        <p:txBody>
          <a:bodyPr wrap="square" lIns="0" tIns="0" rIns="0" bIns="0" rtlCol="0">
            <a:noAutofit/>
          </a:bodyPr>
          <a:lstStyle/>
          <a:p>
            <a:endParaRPr/>
          </a:p>
        </p:txBody>
      </p:sp>
      <p:sp>
        <p:nvSpPr>
          <p:cNvPr id="894" name="object 894"/>
          <p:cNvSpPr/>
          <p:nvPr/>
        </p:nvSpPr>
        <p:spPr>
          <a:xfrm>
            <a:off x="3372178" y="1900845"/>
            <a:ext cx="10633" cy="11799"/>
          </a:xfrm>
          <a:custGeom>
            <a:avLst/>
            <a:gdLst/>
            <a:ahLst/>
            <a:cxnLst/>
            <a:rect l="l" t="t" r="r" b="b"/>
            <a:pathLst>
              <a:path w="10633" h="11799">
                <a:moveTo>
                  <a:pt x="6981" y="9201"/>
                </a:moveTo>
                <a:lnTo>
                  <a:pt x="6659" y="9526"/>
                </a:lnTo>
                <a:lnTo>
                  <a:pt x="6336" y="9742"/>
                </a:lnTo>
                <a:lnTo>
                  <a:pt x="6014" y="9851"/>
                </a:lnTo>
                <a:lnTo>
                  <a:pt x="5585" y="10067"/>
                </a:lnTo>
                <a:lnTo>
                  <a:pt x="5155" y="10175"/>
                </a:lnTo>
                <a:lnTo>
                  <a:pt x="5370" y="11583"/>
                </a:lnTo>
                <a:lnTo>
                  <a:pt x="5799" y="11366"/>
                </a:lnTo>
                <a:lnTo>
                  <a:pt x="6336" y="11150"/>
                </a:lnTo>
                <a:lnTo>
                  <a:pt x="6766" y="10933"/>
                </a:lnTo>
                <a:lnTo>
                  <a:pt x="7196" y="10608"/>
                </a:lnTo>
                <a:lnTo>
                  <a:pt x="7625" y="10175"/>
                </a:lnTo>
                <a:lnTo>
                  <a:pt x="7840" y="10825"/>
                </a:lnTo>
                <a:lnTo>
                  <a:pt x="8162" y="11366"/>
                </a:lnTo>
                <a:lnTo>
                  <a:pt x="8592" y="11583"/>
                </a:lnTo>
                <a:lnTo>
                  <a:pt x="9344" y="11691"/>
                </a:lnTo>
                <a:lnTo>
                  <a:pt x="10418" y="11691"/>
                </a:lnTo>
                <a:lnTo>
                  <a:pt x="10633" y="11583"/>
                </a:lnTo>
                <a:lnTo>
                  <a:pt x="10633" y="10284"/>
                </a:lnTo>
                <a:lnTo>
                  <a:pt x="10096" y="10284"/>
                </a:lnTo>
                <a:lnTo>
                  <a:pt x="9881" y="10392"/>
                </a:lnTo>
                <a:lnTo>
                  <a:pt x="9666" y="10284"/>
                </a:lnTo>
                <a:lnTo>
                  <a:pt x="9451" y="10175"/>
                </a:lnTo>
                <a:lnTo>
                  <a:pt x="9451" y="9851"/>
                </a:lnTo>
                <a:lnTo>
                  <a:pt x="9344" y="9634"/>
                </a:lnTo>
                <a:lnTo>
                  <a:pt x="9344" y="2489"/>
                </a:lnTo>
                <a:lnTo>
                  <a:pt x="9236" y="2056"/>
                </a:lnTo>
                <a:lnTo>
                  <a:pt x="9022" y="1623"/>
                </a:lnTo>
                <a:lnTo>
                  <a:pt x="8807" y="1299"/>
                </a:lnTo>
                <a:lnTo>
                  <a:pt x="8485" y="974"/>
                </a:lnTo>
                <a:lnTo>
                  <a:pt x="8055" y="649"/>
                </a:lnTo>
                <a:lnTo>
                  <a:pt x="7625" y="433"/>
                </a:lnTo>
                <a:lnTo>
                  <a:pt x="7196" y="216"/>
                </a:lnTo>
                <a:lnTo>
                  <a:pt x="6659" y="108"/>
                </a:lnTo>
                <a:lnTo>
                  <a:pt x="6122" y="108"/>
                </a:lnTo>
                <a:lnTo>
                  <a:pt x="5585" y="0"/>
                </a:lnTo>
                <a:lnTo>
                  <a:pt x="4296" y="0"/>
                </a:lnTo>
                <a:lnTo>
                  <a:pt x="3651" y="108"/>
                </a:lnTo>
                <a:lnTo>
                  <a:pt x="3114" y="324"/>
                </a:lnTo>
                <a:lnTo>
                  <a:pt x="2577" y="541"/>
                </a:lnTo>
                <a:lnTo>
                  <a:pt x="2148" y="757"/>
                </a:lnTo>
                <a:lnTo>
                  <a:pt x="1718" y="1082"/>
                </a:lnTo>
                <a:lnTo>
                  <a:pt x="1396" y="1407"/>
                </a:lnTo>
                <a:lnTo>
                  <a:pt x="1074" y="1840"/>
                </a:lnTo>
                <a:lnTo>
                  <a:pt x="859" y="2273"/>
                </a:lnTo>
                <a:lnTo>
                  <a:pt x="751" y="2706"/>
                </a:lnTo>
                <a:lnTo>
                  <a:pt x="644" y="3247"/>
                </a:lnTo>
                <a:lnTo>
                  <a:pt x="644" y="3680"/>
                </a:lnTo>
                <a:lnTo>
                  <a:pt x="2362" y="3680"/>
                </a:lnTo>
                <a:lnTo>
                  <a:pt x="2577" y="2706"/>
                </a:lnTo>
                <a:lnTo>
                  <a:pt x="3114" y="2056"/>
                </a:lnTo>
                <a:lnTo>
                  <a:pt x="3866" y="1623"/>
                </a:lnTo>
                <a:lnTo>
                  <a:pt x="4940" y="1515"/>
                </a:lnTo>
                <a:lnTo>
                  <a:pt x="6122" y="1623"/>
                </a:lnTo>
                <a:lnTo>
                  <a:pt x="6873" y="2056"/>
                </a:lnTo>
                <a:lnTo>
                  <a:pt x="7411" y="2706"/>
                </a:lnTo>
                <a:lnTo>
                  <a:pt x="7518" y="3464"/>
                </a:lnTo>
                <a:lnTo>
                  <a:pt x="7518" y="3788"/>
                </a:lnTo>
                <a:lnTo>
                  <a:pt x="7411" y="4005"/>
                </a:lnTo>
                <a:lnTo>
                  <a:pt x="7303" y="4221"/>
                </a:lnTo>
                <a:lnTo>
                  <a:pt x="7196" y="4438"/>
                </a:lnTo>
                <a:lnTo>
                  <a:pt x="6981" y="4546"/>
                </a:lnTo>
                <a:lnTo>
                  <a:pt x="6766" y="4654"/>
                </a:lnTo>
                <a:lnTo>
                  <a:pt x="6551" y="4763"/>
                </a:lnTo>
                <a:lnTo>
                  <a:pt x="6336" y="4871"/>
                </a:lnTo>
                <a:lnTo>
                  <a:pt x="5692" y="4871"/>
                </a:lnTo>
                <a:lnTo>
                  <a:pt x="5370" y="4979"/>
                </a:lnTo>
                <a:lnTo>
                  <a:pt x="4081" y="4979"/>
                </a:lnTo>
                <a:lnTo>
                  <a:pt x="3222" y="5196"/>
                </a:lnTo>
                <a:lnTo>
                  <a:pt x="2577" y="5304"/>
                </a:lnTo>
                <a:lnTo>
                  <a:pt x="2040" y="5520"/>
                </a:lnTo>
                <a:lnTo>
                  <a:pt x="1611" y="5737"/>
                </a:lnTo>
                <a:lnTo>
                  <a:pt x="1181" y="6062"/>
                </a:lnTo>
                <a:lnTo>
                  <a:pt x="859" y="6387"/>
                </a:lnTo>
                <a:lnTo>
                  <a:pt x="644" y="6711"/>
                </a:lnTo>
                <a:lnTo>
                  <a:pt x="429" y="7036"/>
                </a:lnTo>
                <a:lnTo>
                  <a:pt x="322" y="7361"/>
                </a:lnTo>
                <a:lnTo>
                  <a:pt x="214" y="7794"/>
                </a:lnTo>
                <a:lnTo>
                  <a:pt x="107" y="8119"/>
                </a:lnTo>
                <a:lnTo>
                  <a:pt x="0" y="8552"/>
                </a:lnTo>
                <a:lnTo>
                  <a:pt x="0" y="9201"/>
                </a:lnTo>
                <a:lnTo>
                  <a:pt x="107" y="9526"/>
                </a:lnTo>
                <a:lnTo>
                  <a:pt x="322" y="9959"/>
                </a:lnTo>
                <a:lnTo>
                  <a:pt x="537" y="10284"/>
                </a:lnTo>
                <a:lnTo>
                  <a:pt x="751" y="10717"/>
                </a:lnTo>
                <a:lnTo>
                  <a:pt x="1074" y="11041"/>
                </a:lnTo>
                <a:lnTo>
                  <a:pt x="1396" y="11258"/>
                </a:lnTo>
                <a:lnTo>
                  <a:pt x="1825" y="11475"/>
                </a:lnTo>
                <a:lnTo>
                  <a:pt x="2255" y="11583"/>
                </a:lnTo>
                <a:lnTo>
                  <a:pt x="2685" y="11799"/>
                </a:lnTo>
                <a:lnTo>
                  <a:pt x="3222" y="10284"/>
                </a:lnTo>
                <a:lnTo>
                  <a:pt x="2577" y="9959"/>
                </a:lnTo>
                <a:lnTo>
                  <a:pt x="2255" y="9526"/>
                </a:lnTo>
                <a:lnTo>
                  <a:pt x="2040" y="8768"/>
                </a:lnTo>
                <a:lnTo>
                  <a:pt x="2040" y="8335"/>
                </a:lnTo>
                <a:lnTo>
                  <a:pt x="2255" y="7902"/>
                </a:lnTo>
                <a:lnTo>
                  <a:pt x="2362" y="7577"/>
                </a:lnTo>
                <a:lnTo>
                  <a:pt x="2685" y="7361"/>
                </a:lnTo>
                <a:lnTo>
                  <a:pt x="3007" y="7144"/>
                </a:lnTo>
                <a:lnTo>
                  <a:pt x="3544" y="6928"/>
                </a:lnTo>
                <a:lnTo>
                  <a:pt x="3974" y="6711"/>
                </a:lnTo>
                <a:lnTo>
                  <a:pt x="4618" y="6603"/>
                </a:lnTo>
                <a:lnTo>
                  <a:pt x="5155" y="6495"/>
                </a:lnTo>
                <a:lnTo>
                  <a:pt x="5692" y="6387"/>
                </a:lnTo>
                <a:lnTo>
                  <a:pt x="6122" y="6278"/>
                </a:lnTo>
                <a:lnTo>
                  <a:pt x="6551" y="6170"/>
                </a:lnTo>
                <a:lnTo>
                  <a:pt x="6873" y="6062"/>
                </a:lnTo>
                <a:lnTo>
                  <a:pt x="7196" y="5954"/>
                </a:lnTo>
                <a:lnTo>
                  <a:pt x="7411" y="5954"/>
                </a:lnTo>
                <a:lnTo>
                  <a:pt x="7518" y="8227"/>
                </a:lnTo>
                <a:lnTo>
                  <a:pt x="7411" y="8552"/>
                </a:lnTo>
                <a:lnTo>
                  <a:pt x="7196" y="8876"/>
                </a:lnTo>
                <a:lnTo>
                  <a:pt x="6981" y="9201"/>
                </a:lnTo>
                <a:close/>
              </a:path>
            </a:pathLst>
          </a:custGeom>
          <a:solidFill>
            <a:srgbClr val="000000"/>
          </a:solidFill>
        </p:spPr>
        <p:txBody>
          <a:bodyPr wrap="square" lIns="0" tIns="0" rIns="0" bIns="0" rtlCol="0">
            <a:noAutofit/>
          </a:bodyPr>
          <a:lstStyle/>
          <a:p>
            <a:endParaRPr/>
          </a:p>
        </p:txBody>
      </p:sp>
      <p:sp>
        <p:nvSpPr>
          <p:cNvPr id="895" name="object 895"/>
          <p:cNvSpPr/>
          <p:nvPr/>
        </p:nvSpPr>
        <p:spPr>
          <a:xfrm>
            <a:off x="3374863" y="1911020"/>
            <a:ext cx="2685" cy="1732"/>
          </a:xfrm>
          <a:custGeom>
            <a:avLst/>
            <a:gdLst/>
            <a:ahLst/>
            <a:cxnLst/>
            <a:rect l="l" t="t" r="r" b="b"/>
            <a:pathLst>
              <a:path w="2685" h="1732">
                <a:moveTo>
                  <a:pt x="0" y="1623"/>
                </a:moveTo>
                <a:lnTo>
                  <a:pt x="429" y="1732"/>
                </a:lnTo>
                <a:lnTo>
                  <a:pt x="966" y="1732"/>
                </a:lnTo>
                <a:lnTo>
                  <a:pt x="1503" y="1623"/>
                </a:lnTo>
                <a:lnTo>
                  <a:pt x="2148" y="1515"/>
                </a:lnTo>
                <a:lnTo>
                  <a:pt x="2685" y="1407"/>
                </a:lnTo>
                <a:lnTo>
                  <a:pt x="2470" y="0"/>
                </a:lnTo>
                <a:lnTo>
                  <a:pt x="2148" y="108"/>
                </a:lnTo>
                <a:lnTo>
                  <a:pt x="1718" y="216"/>
                </a:lnTo>
                <a:lnTo>
                  <a:pt x="1288" y="324"/>
                </a:lnTo>
                <a:lnTo>
                  <a:pt x="537" y="108"/>
                </a:lnTo>
                <a:lnTo>
                  <a:pt x="0" y="1623"/>
                </a:lnTo>
                <a:close/>
              </a:path>
            </a:pathLst>
          </a:custGeom>
          <a:solidFill>
            <a:srgbClr val="000000"/>
          </a:solidFill>
        </p:spPr>
        <p:txBody>
          <a:bodyPr wrap="square" lIns="0" tIns="0" rIns="0" bIns="0" rtlCol="0">
            <a:noAutofit/>
          </a:bodyPr>
          <a:lstStyle/>
          <a:p>
            <a:endParaRPr/>
          </a:p>
        </p:txBody>
      </p:sp>
      <p:sp>
        <p:nvSpPr>
          <p:cNvPr id="896" name="object 896"/>
          <p:cNvSpPr/>
          <p:nvPr/>
        </p:nvSpPr>
        <p:spPr>
          <a:xfrm>
            <a:off x="3385281" y="1911344"/>
            <a:ext cx="2148" cy="0"/>
          </a:xfrm>
          <a:custGeom>
            <a:avLst/>
            <a:gdLst/>
            <a:ahLst/>
            <a:cxnLst/>
            <a:rect l="l" t="t" r="r" b="b"/>
            <a:pathLst>
              <a:path w="2148">
                <a:moveTo>
                  <a:pt x="0" y="0"/>
                </a:moveTo>
                <a:lnTo>
                  <a:pt x="2148" y="0"/>
                </a:lnTo>
              </a:path>
            </a:pathLst>
          </a:custGeom>
          <a:ln w="3435">
            <a:solidFill>
              <a:srgbClr val="000000"/>
            </a:solidFill>
          </a:ln>
        </p:spPr>
        <p:txBody>
          <a:bodyPr wrap="square" lIns="0" tIns="0" rIns="0" bIns="0" rtlCol="0">
            <a:noAutofit/>
          </a:bodyPr>
          <a:lstStyle/>
          <a:p>
            <a:endParaRPr/>
          </a:p>
        </p:txBody>
      </p:sp>
      <p:sp>
        <p:nvSpPr>
          <p:cNvPr id="897" name="object 897"/>
          <p:cNvSpPr/>
          <p:nvPr/>
        </p:nvSpPr>
        <p:spPr>
          <a:xfrm>
            <a:off x="3385281" y="1902359"/>
            <a:ext cx="2148" cy="0"/>
          </a:xfrm>
          <a:custGeom>
            <a:avLst/>
            <a:gdLst/>
            <a:ahLst/>
            <a:cxnLst/>
            <a:rect l="l" t="t" r="r" b="b"/>
            <a:pathLst>
              <a:path w="2148">
                <a:moveTo>
                  <a:pt x="0" y="0"/>
                </a:moveTo>
                <a:lnTo>
                  <a:pt x="2148" y="0"/>
                </a:lnTo>
              </a:path>
            </a:pathLst>
          </a:custGeom>
          <a:ln w="3651">
            <a:solidFill>
              <a:srgbClr val="000000"/>
            </a:solidFill>
          </a:ln>
        </p:spPr>
        <p:txBody>
          <a:bodyPr wrap="square" lIns="0" tIns="0" rIns="0" bIns="0" rtlCol="0">
            <a:noAutofit/>
          </a:bodyPr>
          <a:lstStyle/>
          <a:p>
            <a:endParaRPr/>
          </a:p>
        </p:txBody>
      </p:sp>
      <p:sp>
        <p:nvSpPr>
          <p:cNvPr id="898" name="object 898"/>
          <p:cNvSpPr/>
          <p:nvPr/>
        </p:nvSpPr>
        <p:spPr>
          <a:xfrm>
            <a:off x="3385819" y="1933429"/>
            <a:ext cx="10203" cy="15913"/>
          </a:xfrm>
          <a:custGeom>
            <a:avLst/>
            <a:gdLst/>
            <a:ahLst/>
            <a:cxnLst/>
            <a:rect l="l" t="t" r="r" b="b"/>
            <a:pathLst>
              <a:path w="10203" h="15913">
                <a:moveTo>
                  <a:pt x="1825" y="14289"/>
                </a:moveTo>
                <a:lnTo>
                  <a:pt x="1503" y="14181"/>
                </a:lnTo>
                <a:lnTo>
                  <a:pt x="1288" y="14181"/>
                </a:lnTo>
                <a:lnTo>
                  <a:pt x="1074" y="14073"/>
                </a:lnTo>
                <a:lnTo>
                  <a:pt x="1074" y="15805"/>
                </a:lnTo>
                <a:lnTo>
                  <a:pt x="1288" y="15913"/>
                </a:lnTo>
                <a:lnTo>
                  <a:pt x="3007" y="15913"/>
                </a:lnTo>
                <a:lnTo>
                  <a:pt x="3329" y="15805"/>
                </a:lnTo>
                <a:lnTo>
                  <a:pt x="3651" y="15696"/>
                </a:lnTo>
                <a:lnTo>
                  <a:pt x="3866" y="15588"/>
                </a:lnTo>
                <a:lnTo>
                  <a:pt x="4081" y="15372"/>
                </a:lnTo>
                <a:lnTo>
                  <a:pt x="4296" y="15263"/>
                </a:lnTo>
                <a:lnTo>
                  <a:pt x="4511" y="15047"/>
                </a:lnTo>
                <a:lnTo>
                  <a:pt x="4725" y="14722"/>
                </a:lnTo>
                <a:lnTo>
                  <a:pt x="4833" y="14397"/>
                </a:lnTo>
                <a:lnTo>
                  <a:pt x="5048" y="13964"/>
                </a:lnTo>
                <a:lnTo>
                  <a:pt x="5262" y="13423"/>
                </a:lnTo>
                <a:lnTo>
                  <a:pt x="5585" y="12774"/>
                </a:lnTo>
                <a:lnTo>
                  <a:pt x="5907" y="12016"/>
                </a:lnTo>
                <a:lnTo>
                  <a:pt x="6229" y="11150"/>
                </a:lnTo>
                <a:lnTo>
                  <a:pt x="6659" y="10067"/>
                </a:lnTo>
                <a:lnTo>
                  <a:pt x="7088" y="8985"/>
                </a:lnTo>
                <a:lnTo>
                  <a:pt x="7518" y="7686"/>
                </a:lnTo>
                <a:lnTo>
                  <a:pt x="8055" y="6387"/>
                </a:lnTo>
                <a:lnTo>
                  <a:pt x="8485" y="4871"/>
                </a:lnTo>
                <a:lnTo>
                  <a:pt x="9022" y="3355"/>
                </a:lnTo>
                <a:lnTo>
                  <a:pt x="9666" y="1732"/>
                </a:lnTo>
                <a:lnTo>
                  <a:pt x="10203" y="0"/>
                </a:lnTo>
                <a:lnTo>
                  <a:pt x="8162" y="0"/>
                </a:lnTo>
                <a:lnTo>
                  <a:pt x="5155" y="9201"/>
                </a:lnTo>
                <a:lnTo>
                  <a:pt x="2148" y="0"/>
                </a:lnTo>
                <a:lnTo>
                  <a:pt x="0" y="0"/>
                </a:lnTo>
                <a:lnTo>
                  <a:pt x="4188" y="11691"/>
                </a:lnTo>
                <a:lnTo>
                  <a:pt x="3974" y="12232"/>
                </a:lnTo>
                <a:lnTo>
                  <a:pt x="3759" y="12774"/>
                </a:lnTo>
                <a:lnTo>
                  <a:pt x="3544" y="13098"/>
                </a:lnTo>
                <a:lnTo>
                  <a:pt x="3436" y="13423"/>
                </a:lnTo>
                <a:lnTo>
                  <a:pt x="3329" y="13640"/>
                </a:lnTo>
                <a:lnTo>
                  <a:pt x="3222" y="13856"/>
                </a:lnTo>
                <a:lnTo>
                  <a:pt x="3007" y="13964"/>
                </a:lnTo>
                <a:lnTo>
                  <a:pt x="2792" y="14181"/>
                </a:lnTo>
                <a:lnTo>
                  <a:pt x="2577" y="14181"/>
                </a:lnTo>
                <a:lnTo>
                  <a:pt x="2362" y="14289"/>
                </a:lnTo>
                <a:lnTo>
                  <a:pt x="1825" y="14289"/>
                </a:lnTo>
                <a:close/>
              </a:path>
            </a:pathLst>
          </a:custGeom>
          <a:solidFill>
            <a:srgbClr val="000000"/>
          </a:solidFill>
        </p:spPr>
        <p:txBody>
          <a:bodyPr wrap="square" lIns="0" tIns="0" rIns="0" bIns="0" rtlCol="0">
            <a:noAutofit/>
          </a:bodyPr>
          <a:lstStyle/>
          <a:p>
            <a:endParaRPr/>
          </a:p>
        </p:txBody>
      </p:sp>
      <p:sp>
        <p:nvSpPr>
          <p:cNvPr id="899" name="object 899"/>
          <p:cNvSpPr/>
          <p:nvPr/>
        </p:nvSpPr>
        <p:spPr>
          <a:xfrm>
            <a:off x="3398277" y="1943604"/>
            <a:ext cx="2148" cy="0"/>
          </a:xfrm>
          <a:custGeom>
            <a:avLst/>
            <a:gdLst/>
            <a:ahLst/>
            <a:cxnLst/>
            <a:rect l="l" t="t" r="r" b="b"/>
            <a:pathLst>
              <a:path w="2148">
                <a:moveTo>
                  <a:pt x="0" y="0"/>
                </a:moveTo>
                <a:lnTo>
                  <a:pt x="2148" y="0"/>
                </a:lnTo>
              </a:path>
            </a:pathLst>
          </a:custGeom>
          <a:ln w="3435">
            <a:solidFill>
              <a:srgbClr val="000000"/>
            </a:solidFill>
          </a:ln>
        </p:spPr>
        <p:txBody>
          <a:bodyPr wrap="square" lIns="0" tIns="0" rIns="0" bIns="0" rtlCol="0">
            <a:noAutofit/>
          </a:bodyPr>
          <a:lstStyle/>
          <a:p>
            <a:endParaRPr/>
          </a:p>
        </p:txBody>
      </p:sp>
      <p:sp>
        <p:nvSpPr>
          <p:cNvPr id="900" name="object 900"/>
          <p:cNvSpPr/>
          <p:nvPr/>
        </p:nvSpPr>
        <p:spPr>
          <a:xfrm>
            <a:off x="3398277" y="1934619"/>
            <a:ext cx="2148" cy="0"/>
          </a:xfrm>
          <a:custGeom>
            <a:avLst/>
            <a:gdLst/>
            <a:ahLst/>
            <a:cxnLst/>
            <a:rect l="l" t="t" r="r" b="b"/>
            <a:pathLst>
              <a:path w="2148">
                <a:moveTo>
                  <a:pt x="0" y="0"/>
                </a:moveTo>
                <a:lnTo>
                  <a:pt x="2148" y="0"/>
                </a:lnTo>
              </a:path>
            </a:pathLst>
          </a:custGeom>
          <a:ln w="3651">
            <a:solidFill>
              <a:srgbClr val="000000"/>
            </a:solidFill>
          </a:ln>
        </p:spPr>
        <p:txBody>
          <a:bodyPr wrap="square" lIns="0" tIns="0" rIns="0" bIns="0" rtlCol="0">
            <a:noAutofit/>
          </a:bodyPr>
          <a:lstStyle/>
          <a:p>
            <a:endParaRPr/>
          </a:p>
        </p:txBody>
      </p:sp>
      <p:sp>
        <p:nvSpPr>
          <p:cNvPr id="901" name="object 901"/>
          <p:cNvSpPr/>
          <p:nvPr/>
        </p:nvSpPr>
        <p:spPr>
          <a:xfrm>
            <a:off x="3297960" y="1936947"/>
            <a:ext cx="2040" cy="0"/>
          </a:xfrm>
          <a:custGeom>
            <a:avLst/>
            <a:gdLst/>
            <a:ahLst/>
            <a:cxnLst/>
            <a:rect l="l" t="t" r="r" b="b"/>
            <a:pathLst>
              <a:path w="2040">
                <a:moveTo>
                  <a:pt x="0" y="0"/>
                </a:moveTo>
                <a:lnTo>
                  <a:pt x="2040" y="0"/>
                </a:lnTo>
              </a:path>
            </a:pathLst>
          </a:custGeom>
          <a:ln w="16750">
            <a:solidFill>
              <a:srgbClr val="000000"/>
            </a:solidFill>
          </a:ln>
        </p:spPr>
        <p:txBody>
          <a:bodyPr wrap="square" lIns="0" tIns="0" rIns="0" bIns="0" rtlCol="0">
            <a:noAutofit/>
          </a:bodyPr>
          <a:lstStyle/>
          <a:p>
            <a:endParaRPr/>
          </a:p>
        </p:txBody>
      </p:sp>
      <p:sp>
        <p:nvSpPr>
          <p:cNvPr id="902" name="object 902"/>
          <p:cNvSpPr/>
          <p:nvPr/>
        </p:nvSpPr>
        <p:spPr>
          <a:xfrm>
            <a:off x="3302687" y="1933104"/>
            <a:ext cx="9129" cy="11908"/>
          </a:xfrm>
          <a:custGeom>
            <a:avLst/>
            <a:gdLst/>
            <a:ahLst/>
            <a:cxnLst/>
            <a:rect l="l" t="t" r="r" b="b"/>
            <a:pathLst>
              <a:path w="9129" h="11908">
                <a:moveTo>
                  <a:pt x="322" y="3031"/>
                </a:moveTo>
                <a:lnTo>
                  <a:pt x="322" y="4005"/>
                </a:lnTo>
                <a:lnTo>
                  <a:pt x="429" y="4438"/>
                </a:lnTo>
                <a:lnTo>
                  <a:pt x="644" y="4763"/>
                </a:lnTo>
                <a:lnTo>
                  <a:pt x="751" y="5087"/>
                </a:lnTo>
                <a:lnTo>
                  <a:pt x="966" y="5304"/>
                </a:lnTo>
                <a:lnTo>
                  <a:pt x="1288" y="5520"/>
                </a:lnTo>
                <a:lnTo>
                  <a:pt x="1611" y="5737"/>
                </a:lnTo>
                <a:lnTo>
                  <a:pt x="1933" y="5954"/>
                </a:lnTo>
                <a:lnTo>
                  <a:pt x="2255" y="6062"/>
                </a:lnTo>
                <a:lnTo>
                  <a:pt x="2577" y="6278"/>
                </a:lnTo>
                <a:lnTo>
                  <a:pt x="3007" y="6387"/>
                </a:lnTo>
                <a:lnTo>
                  <a:pt x="3436" y="6495"/>
                </a:lnTo>
                <a:lnTo>
                  <a:pt x="3866" y="6603"/>
                </a:lnTo>
                <a:lnTo>
                  <a:pt x="4296" y="6711"/>
                </a:lnTo>
                <a:lnTo>
                  <a:pt x="4618" y="6820"/>
                </a:lnTo>
                <a:lnTo>
                  <a:pt x="5048" y="6928"/>
                </a:lnTo>
                <a:lnTo>
                  <a:pt x="5585" y="7036"/>
                </a:lnTo>
                <a:lnTo>
                  <a:pt x="6122" y="7253"/>
                </a:lnTo>
                <a:lnTo>
                  <a:pt x="6444" y="7361"/>
                </a:lnTo>
                <a:lnTo>
                  <a:pt x="6766" y="7577"/>
                </a:lnTo>
                <a:lnTo>
                  <a:pt x="6981" y="7794"/>
                </a:lnTo>
                <a:lnTo>
                  <a:pt x="7196" y="8010"/>
                </a:lnTo>
                <a:lnTo>
                  <a:pt x="7303" y="8227"/>
                </a:lnTo>
                <a:lnTo>
                  <a:pt x="7303" y="8552"/>
                </a:lnTo>
                <a:lnTo>
                  <a:pt x="7196" y="8985"/>
                </a:lnTo>
                <a:lnTo>
                  <a:pt x="7088" y="9309"/>
                </a:lnTo>
                <a:lnTo>
                  <a:pt x="6873" y="9634"/>
                </a:lnTo>
                <a:lnTo>
                  <a:pt x="6551" y="9851"/>
                </a:lnTo>
                <a:lnTo>
                  <a:pt x="6122" y="10067"/>
                </a:lnTo>
                <a:lnTo>
                  <a:pt x="5692" y="10175"/>
                </a:lnTo>
                <a:lnTo>
                  <a:pt x="5155" y="10284"/>
                </a:lnTo>
                <a:lnTo>
                  <a:pt x="3866" y="10284"/>
                </a:lnTo>
                <a:lnTo>
                  <a:pt x="3222" y="10067"/>
                </a:lnTo>
                <a:lnTo>
                  <a:pt x="2792" y="9959"/>
                </a:lnTo>
                <a:lnTo>
                  <a:pt x="2362" y="9634"/>
                </a:lnTo>
                <a:lnTo>
                  <a:pt x="2040" y="9309"/>
                </a:lnTo>
                <a:lnTo>
                  <a:pt x="1933" y="8876"/>
                </a:lnTo>
                <a:lnTo>
                  <a:pt x="1718" y="8443"/>
                </a:lnTo>
                <a:lnTo>
                  <a:pt x="1718" y="8010"/>
                </a:lnTo>
                <a:lnTo>
                  <a:pt x="0" y="8010"/>
                </a:lnTo>
                <a:lnTo>
                  <a:pt x="0" y="8443"/>
                </a:lnTo>
                <a:lnTo>
                  <a:pt x="107" y="8985"/>
                </a:lnTo>
                <a:lnTo>
                  <a:pt x="214" y="9418"/>
                </a:lnTo>
                <a:lnTo>
                  <a:pt x="322" y="9851"/>
                </a:lnTo>
                <a:lnTo>
                  <a:pt x="537" y="10284"/>
                </a:lnTo>
                <a:lnTo>
                  <a:pt x="859" y="10608"/>
                </a:lnTo>
                <a:lnTo>
                  <a:pt x="1181" y="11041"/>
                </a:lnTo>
                <a:lnTo>
                  <a:pt x="1718" y="11366"/>
                </a:lnTo>
                <a:lnTo>
                  <a:pt x="2255" y="11583"/>
                </a:lnTo>
                <a:lnTo>
                  <a:pt x="3007" y="11799"/>
                </a:lnTo>
                <a:lnTo>
                  <a:pt x="3759" y="11908"/>
                </a:lnTo>
                <a:lnTo>
                  <a:pt x="5370" y="11908"/>
                </a:lnTo>
                <a:lnTo>
                  <a:pt x="5907" y="11799"/>
                </a:lnTo>
                <a:lnTo>
                  <a:pt x="6444" y="11583"/>
                </a:lnTo>
                <a:lnTo>
                  <a:pt x="6981" y="11475"/>
                </a:lnTo>
                <a:lnTo>
                  <a:pt x="7411" y="11258"/>
                </a:lnTo>
                <a:lnTo>
                  <a:pt x="7840" y="10933"/>
                </a:lnTo>
                <a:lnTo>
                  <a:pt x="8162" y="10608"/>
                </a:lnTo>
                <a:lnTo>
                  <a:pt x="8485" y="10175"/>
                </a:lnTo>
                <a:lnTo>
                  <a:pt x="8807" y="9742"/>
                </a:lnTo>
                <a:lnTo>
                  <a:pt x="9022" y="9309"/>
                </a:lnTo>
                <a:lnTo>
                  <a:pt x="9129" y="8768"/>
                </a:lnTo>
                <a:lnTo>
                  <a:pt x="9129" y="7794"/>
                </a:lnTo>
                <a:lnTo>
                  <a:pt x="9022" y="7361"/>
                </a:lnTo>
                <a:lnTo>
                  <a:pt x="8807" y="7036"/>
                </a:lnTo>
                <a:lnTo>
                  <a:pt x="8592" y="6711"/>
                </a:lnTo>
                <a:lnTo>
                  <a:pt x="8377" y="6387"/>
                </a:lnTo>
                <a:lnTo>
                  <a:pt x="8055" y="6170"/>
                </a:lnTo>
                <a:lnTo>
                  <a:pt x="7733" y="5954"/>
                </a:lnTo>
                <a:lnTo>
                  <a:pt x="7411" y="5737"/>
                </a:lnTo>
                <a:lnTo>
                  <a:pt x="6981" y="5520"/>
                </a:lnTo>
                <a:lnTo>
                  <a:pt x="6551" y="5412"/>
                </a:lnTo>
                <a:lnTo>
                  <a:pt x="6122" y="5196"/>
                </a:lnTo>
                <a:lnTo>
                  <a:pt x="5692" y="5087"/>
                </a:lnTo>
                <a:lnTo>
                  <a:pt x="5262" y="4979"/>
                </a:lnTo>
                <a:lnTo>
                  <a:pt x="4833" y="4871"/>
                </a:lnTo>
                <a:lnTo>
                  <a:pt x="4403" y="4871"/>
                </a:lnTo>
                <a:lnTo>
                  <a:pt x="4081" y="4763"/>
                </a:lnTo>
                <a:lnTo>
                  <a:pt x="3651" y="4654"/>
                </a:lnTo>
                <a:lnTo>
                  <a:pt x="3329" y="4546"/>
                </a:lnTo>
                <a:lnTo>
                  <a:pt x="3114" y="4546"/>
                </a:lnTo>
                <a:lnTo>
                  <a:pt x="2899" y="4438"/>
                </a:lnTo>
                <a:lnTo>
                  <a:pt x="2685" y="4330"/>
                </a:lnTo>
                <a:lnTo>
                  <a:pt x="2470" y="4221"/>
                </a:lnTo>
                <a:lnTo>
                  <a:pt x="2362" y="4113"/>
                </a:lnTo>
                <a:lnTo>
                  <a:pt x="2255" y="4005"/>
                </a:lnTo>
                <a:lnTo>
                  <a:pt x="2148" y="3788"/>
                </a:lnTo>
                <a:lnTo>
                  <a:pt x="2040" y="3464"/>
                </a:lnTo>
                <a:lnTo>
                  <a:pt x="2040" y="2922"/>
                </a:lnTo>
                <a:lnTo>
                  <a:pt x="2148" y="2706"/>
                </a:lnTo>
                <a:lnTo>
                  <a:pt x="2255" y="2489"/>
                </a:lnTo>
                <a:lnTo>
                  <a:pt x="2470" y="2273"/>
                </a:lnTo>
                <a:lnTo>
                  <a:pt x="2685" y="2165"/>
                </a:lnTo>
                <a:lnTo>
                  <a:pt x="2899" y="1948"/>
                </a:lnTo>
                <a:lnTo>
                  <a:pt x="3114" y="1840"/>
                </a:lnTo>
                <a:lnTo>
                  <a:pt x="3329" y="1732"/>
                </a:lnTo>
                <a:lnTo>
                  <a:pt x="3651" y="1732"/>
                </a:lnTo>
                <a:lnTo>
                  <a:pt x="3866" y="1623"/>
                </a:lnTo>
                <a:lnTo>
                  <a:pt x="4296" y="1623"/>
                </a:lnTo>
                <a:lnTo>
                  <a:pt x="5477" y="1732"/>
                </a:lnTo>
                <a:lnTo>
                  <a:pt x="6336" y="2056"/>
                </a:lnTo>
                <a:lnTo>
                  <a:pt x="6766" y="2706"/>
                </a:lnTo>
                <a:lnTo>
                  <a:pt x="6981" y="3572"/>
                </a:lnTo>
                <a:lnTo>
                  <a:pt x="8807" y="3572"/>
                </a:lnTo>
                <a:lnTo>
                  <a:pt x="8807" y="3247"/>
                </a:lnTo>
                <a:lnTo>
                  <a:pt x="8699" y="2922"/>
                </a:lnTo>
                <a:lnTo>
                  <a:pt x="8592" y="2598"/>
                </a:lnTo>
                <a:lnTo>
                  <a:pt x="8485" y="2165"/>
                </a:lnTo>
                <a:lnTo>
                  <a:pt x="8270" y="1732"/>
                </a:lnTo>
                <a:lnTo>
                  <a:pt x="8055" y="1407"/>
                </a:lnTo>
                <a:lnTo>
                  <a:pt x="7625" y="974"/>
                </a:lnTo>
                <a:lnTo>
                  <a:pt x="7196" y="649"/>
                </a:lnTo>
                <a:lnTo>
                  <a:pt x="6766" y="324"/>
                </a:lnTo>
                <a:lnTo>
                  <a:pt x="6122" y="108"/>
                </a:lnTo>
                <a:lnTo>
                  <a:pt x="5370" y="0"/>
                </a:lnTo>
                <a:lnTo>
                  <a:pt x="3974" y="0"/>
                </a:lnTo>
                <a:lnTo>
                  <a:pt x="3436" y="108"/>
                </a:lnTo>
                <a:lnTo>
                  <a:pt x="3007" y="216"/>
                </a:lnTo>
                <a:lnTo>
                  <a:pt x="2470" y="324"/>
                </a:lnTo>
                <a:lnTo>
                  <a:pt x="2040" y="541"/>
                </a:lnTo>
                <a:lnTo>
                  <a:pt x="1611" y="866"/>
                </a:lnTo>
                <a:lnTo>
                  <a:pt x="1288" y="1190"/>
                </a:lnTo>
                <a:lnTo>
                  <a:pt x="966" y="1515"/>
                </a:lnTo>
                <a:lnTo>
                  <a:pt x="644" y="1948"/>
                </a:lnTo>
                <a:lnTo>
                  <a:pt x="537" y="2489"/>
                </a:lnTo>
                <a:lnTo>
                  <a:pt x="322" y="3031"/>
                </a:lnTo>
                <a:close/>
              </a:path>
            </a:pathLst>
          </a:custGeom>
          <a:solidFill>
            <a:srgbClr val="000000"/>
          </a:solidFill>
        </p:spPr>
        <p:txBody>
          <a:bodyPr wrap="square" lIns="0" tIns="0" rIns="0" bIns="0" rtlCol="0">
            <a:noAutofit/>
          </a:bodyPr>
          <a:lstStyle/>
          <a:p>
            <a:endParaRPr/>
          </a:p>
        </p:txBody>
      </p:sp>
      <p:sp>
        <p:nvSpPr>
          <p:cNvPr id="903" name="object 903"/>
          <p:cNvSpPr/>
          <p:nvPr/>
        </p:nvSpPr>
        <p:spPr>
          <a:xfrm>
            <a:off x="3313427" y="1933104"/>
            <a:ext cx="9129" cy="11908"/>
          </a:xfrm>
          <a:custGeom>
            <a:avLst/>
            <a:gdLst/>
            <a:ahLst/>
            <a:cxnLst/>
            <a:rect l="l" t="t" r="r" b="b"/>
            <a:pathLst>
              <a:path w="9129" h="11908">
                <a:moveTo>
                  <a:pt x="322" y="3031"/>
                </a:moveTo>
                <a:lnTo>
                  <a:pt x="322" y="4005"/>
                </a:lnTo>
                <a:lnTo>
                  <a:pt x="429" y="4438"/>
                </a:lnTo>
                <a:lnTo>
                  <a:pt x="644" y="4763"/>
                </a:lnTo>
                <a:lnTo>
                  <a:pt x="751" y="5087"/>
                </a:lnTo>
                <a:lnTo>
                  <a:pt x="966" y="5304"/>
                </a:lnTo>
                <a:lnTo>
                  <a:pt x="1288" y="5520"/>
                </a:lnTo>
                <a:lnTo>
                  <a:pt x="1611" y="5737"/>
                </a:lnTo>
                <a:lnTo>
                  <a:pt x="1933" y="5954"/>
                </a:lnTo>
                <a:lnTo>
                  <a:pt x="2255" y="6062"/>
                </a:lnTo>
                <a:lnTo>
                  <a:pt x="2577" y="6278"/>
                </a:lnTo>
                <a:lnTo>
                  <a:pt x="3007" y="6387"/>
                </a:lnTo>
                <a:lnTo>
                  <a:pt x="3436" y="6495"/>
                </a:lnTo>
                <a:lnTo>
                  <a:pt x="3866" y="6603"/>
                </a:lnTo>
                <a:lnTo>
                  <a:pt x="4296" y="6711"/>
                </a:lnTo>
                <a:lnTo>
                  <a:pt x="4618" y="6820"/>
                </a:lnTo>
                <a:lnTo>
                  <a:pt x="5048" y="6928"/>
                </a:lnTo>
                <a:lnTo>
                  <a:pt x="5585" y="7036"/>
                </a:lnTo>
                <a:lnTo>
                  <a:pt x="6122" y="7253"/>
                </a:lnTo>
                <a:lnTo>
                  <a:pt x="6444" y="7361"/>
                </a:lnTo>
                <a:lnTo>
                  <a:pt x="6766" y="7577"/>
                </a:lnTo>
                <a:lnTo>
                  <a:pt x="6981" y="7794"/>
                </a:lnTo>
                <a:lnTo>
                  <a:pt x="7196" y="8010"/>
                </a:lnTo>
                <a:lnTo>
                  <a:pt x="7303" y="8227"/>
                </a:lnTo>
                <a:lnTo>
                  <a:pt x="7303" y="8552"/>
                </a:lnTo>
                <a:lnTo>
                  <a:pt x="7196" y="8985"/>
                </a:lnTo>
                <a:lnTo>
                  <a:pt x="7088" y="9309"/>
                </a:lnTo>
                <a:lnTo>
                  <a:pt x="6873" y="9634"/>
                </a:lnTo>
                <a:lnTo>
                  <a:pt x="6551" y="9851"/>
                </a:lnTo>
                <a:lnTo>
                  <a:pt x="6122" y="10067"/>
                </a:lnTo>
                <a:lnTo>
                  <a:pt x="5692" y="10175"/>
                </a:lnTo>
                <a:lnTo>
                  <a:pt x="5155" y="10284"/>
                </a:lnTo>
                <a:lnTo>
                  <a:pt x="3866" y="10284"/>
                </a:lnTo>
                <a:lnTo>
                  <a:pt x="3222" y="10067"/>
                </a:lnTo>
                <a:lnTo>
                  <a:pt x="2792" y="9959"/>
                </a:lnTo>
                <a:lnTo>
                  <a:pt x="2362" y="9634"/>
                </a:lnTo>
                <a:lnTo>
                  <a:pt x="2040" y="9309"/>
                </a:lnTo>
                <a:lnTo>
                  <a:pt x="1933" y="8876"/>
                </a:lnTo>
                <a:lnTo>
                  <a:pt x="1718" y="8443"/>
                </a:lnTo>
                <a:lnTo>
                  <a:pt x="1718" y="8010"/>
                </a:lnTo>
                <a:lnTo>
                  <a:pt x="0" y="8010"/>
                </a:lnTo>
                <a:lnTo>
                  <a:pt x="0" y="8443"/>
                </a:lnTo>
                <a:lnTo>
                  <a:pt x="107" y="8985"/>
                </a:lnTo>
                <a:lnTo>
                  <a:pt x="214" y="9418"/>
                </a:lnTo>
                <a:lnTo>
                  <a:pt x="322" y="9851"/>
                </a:lnTo>
                <a:lnTo>
                  <a:pt x="537" y="10284"/>
                </a:lnTo>
                <a:lnTo>
                  <a:pt x="859" y="10608"/>
                </a:lnTo>
                <a:lnTo>
                  <a:pt x="1181" y="11041"/>
                </a:lnTo>
                <a:lnTo>
                  <a:pt x="1718" y="11366"/>
                </a:lnTo>
                <a:lnTo>
                  <a:pt x="2255" y="11583"/>
                </a:lnTo>
                <a:lnTo>
                  <a:pt x="3007" y="11799"/>
                </a:lnTo>
                <a:lnTo>
                  <a:pt x="3759" y="11908"/>
                </a:lnTo>
                <a:lnTo>
                  <a:pt x="5370" y="11908"/>
                </a:lnTo>
                <a:lnTo>
                  <a:pt x="5907" y="11799"/>
                </a:lnTo>
                <a:lnTo>
                  <a:pt x="6444" y="11583"/>
                </a:lnTo>
                <a:lnTo>
                  <a:pt x="6981" y="11475"/>
                </a:lnTo>
                <a:lnTo>
                  <a:pt x="7411" y="11258"/>
                </a:lnTo>
                <a:lnTo>
                  <a:pt x="7840" y="10933"/>
                </a:lnTo>
                <a:lnTo>
                  <a:pt x="8162" y="10608"/>
                </a:lnTo>
                <a:lnTo>
                  <a:pt x="8485" y="10175"/>
                </a:lnTo>
                <a:lnTo>
                  <a:pt x="8807" y="9742"/>
                </a:lnTo>
                <a:lnTo>
                  <a:pt x="9022" y="9309"/>
                </a:lnTo>
                <a:lnTo>
                  <a:pt x="9129" y="8768"/>
                </a:lnTo>
                <a:lnTo>
                  <a:pt x="9129" y="7794"/>
                </a:lnTo>
                <a:lnTo>
                  <a:pt x="9022" y="7361"/>
                </a:lnTo>
                <a:lnTo>
                  <a:pt x="8807" y="7036"/>
                </a:lnTo>
                <a:lnTo>
                  <a:pt x="8592" y="6711"/>
                </a:lnTo>
                <a:lnTo>
                  <a:pt x="8377" y="6387"/>
                </a:lnTo>
                <a:lnTo>
                  <a:pt x="8055" y="6170"/>
                </a:lnTo>
                <a:lnTo>
                  <a:pt x="7733" y="5954"/>
                </a:lnTo>
                <a:lnTo>
                  <a:pt x="7411" y="5737"/>
                </a:lnTo>
                <a:lnTo>
                  <a:pt x="6981" y="5520"/>
                </a:lnTo>
                <a:lnTo>
                  <a:pt x="6551" y="5412"/>
                </a:lnTo>
                <a:lnTo>
                  <a:pt x="6122" y="5196"/>
                </a:lnTo>
                <a:lnTo>
                  <a:pt x="5692" y="5087"/>
                </a:lnTo>
                <a:lnTo>
                  <a:pt x="5262" y="4979"/>
                </a:lnTo>
                <a:lnTo>
                  <a:pt x="4833" y="4871"/>
                </a:lnTo>
                <a:lnTo>
                  <a:pt x="4403" y="4871"/>
                </a:lnTo>
                <a:lnTo>
                  <a:pt x="4081" y="4763"/>
                </a:lnTo>
                <a:lnTo>
                  <a:pt x="3651" y="4654"/>
                </a:lnTo>
                <a:lnTo>
                  <a:pt x="3329" y="4546"/>
                </a:lnTo>
                <a:lnTo>
                  <a:pt x="3114" y="4546"/>
                </a:lnTo>
                <a:lnTo>
                  <a:pt x="2899" y="4438"/>
                </a:lnTo>
                <a:lnTo>
                  <a:pt x="2685" y="4330"/>
                </a:lnTo>
                <a:lnTo>
                  <a:pt x="2470" y="4221"/>
                </a:lnTo>
                <a:lnTo>
                  <a:pt x="2255" y="4005"/>
                </a:lnTo>
                <a:lnTo>
                  <a:pt x="2148" y="3788"/>
                </a:lnTo>
                <a:lnTo>
                  <a:pt x="2040" y="3464"/>
                </a:lnTo>
                <a:lnTo>
                  <a:pt x="2040" y="2922"/>
                </a:lnTo>
                <a:lnTo>
                  <a:pt x="2148" y="2706"/>
                </a:lnTo>
                <a:lnTo>
                  <a:pt x="2255" y="2489"/>
                </a:lnTo>
                <a:lnTo>
                  <a:pt x="2470" y="2273"/>
                </a:lnTo>
                <a:lnTo>
                  <a:pt x="2685" y="2165"/>
                </a:lnTo>
                <a:lnTo>
                  <a:pt x="2899" y="1948"/>
                </a:lnTo>
                <a:lnTo>
                  <a:pt x="3114" y="1840"/>
                </a:lnTo>
                <a:lnTo>
                  <a:pt x="3329" y="1732"/>
                </a:lnTo>
                <a:lnTo>
                  <a:pt x="3651" y="1732"/>
                </a:lnTo>
                <a:lnTo>
                  <a:pt x="3866" y="1623"/>
                </a:lnTo>
                <a:lnTo>
                  <a:pt x="4296" y="1623"/>
                </a:lnTo>
                <a:lnTo>
                  <a:pt x="5477" y="1732"/>
                </a:lnTo>
                <a:lnTo>
                  <a:pt x="6336" y="2056"/>
                </a:lnTo>
                <a:lnTo>
                  <a:pt x="6766" y="2706"/>
                </a:lnTo>
                <a:lnTo>
                  <a:pt x="6981" y="3572"/>
                </a:lnTo>
                <a:lnTo>
                  <a:pt x="8807" y="3572"/>
                </a:lnTo>
                <a:lnTo>
                  <a:pt x="8807" y="3247"/>
                </a:lnTo>
                <a:lnTo>
                  <a:pt x="8699" y="2922"/>
                </a:lnTo>
                <a:lnTo>
                  <a:pt x="8592" y="2598"/>
                </a:lnTo>
                <a:lnTo>
                  <a:pt x="8485" y="2165"/>
                </a:lnTo>
                <a:lnTo>
                  <a:pt x="8270" y="1732"/>
                </a:lnTo>
                <a:lnTo>
                  <a:pt x="8055" y="1407"/>
                </a:lnTo>
                <a:lnTo>
                  <a:pt x="7625" y="974"/>
                </a:lnTo>
                <a:lnTo>
                  <a:pt x="7196" y="649"/>
                </a:lnTo>
                <a:lnTo>
                  <a:pt x="6766" y="324"/>
                </a:lnTo>
                <a:lnTo>
                  <a:pt x="6122" y="108"/>
                </a:lnTo>
                <a:lnTo>
                  <a:pt x="5370" y="0"/>
                </a:lnTo>
                <a:lnTo>
                  <a:pt x="3974" y="0"/>
                </a:lnTo>
                <a:lnTo>
                  <a:pt x="3436" y="108"/>
                </a:lnTo>
                <a:lnTo>
                  <a:pt x="3007" y="216"/>
                </a:lnTo>
                <a:lnTo>
                  <a:pt x="2470" y="324"/>
                </a:lnTo>
                <a:lnTo>
                  <a:pt x="2040" y="541"/>
                </a:lnTo>
                <a:lnTo>
                  <a:pt x="1611" y="866"/>
                </a:lnTo>
                <a:lnTo>
                  <a:pt x="1288" y="1190"/>
                </a:lnTo>
                <a:lnTo>
                  <a:pt x="966" y="1515"/>
                </a:lnTo>
                <a:lnTo>
                  <a:pt x="644" y="1948"/>
                </a:lnTo>
                <a:lnTo>
                  <a:pt x="537" y="2489"/>
                </a:lnTo>
                <a:lnTo>
                  <a:pt x="322" y="3031"/>
                </a:lnTo>
                <a:close/>
              </a:path>
            </a:pathLst>
          </a:custGeom>
          <a:solidFill>
            <a:srgbClr val="000000"/>
          </a:solidFill>
        </p:spPr>
        <p:txBody>
          <a:bodyPr wrap="square" lIns="0" tIns="0" rIns="0" bIns="0" rtlCol="0">
            <a:noAutofit/>
          </a:bodyPr>
          <a:lstStyle/>
          <a:p>
            <a:endParaRPr/>
          </a:p>
        </p:txBody>
      </p:sp>
      <p:sp>
        <p:nvSpPr>
          <p:cNvPr id="904" name="object 904"/>
          <p:cNvSpPr/>
          <p:nvPr/>
        </p:nvSpPr>
        <p:spPr>
          <a:xfrm>
            <a:off x="3324920" y="1933429"/>
            <a:ext cx="8807" cy="11691"/>
          </a:xfrm>
          <a:custGeom>
            <a:avLst/>
            <a:gdLst/>
            <a:ahLst/>
            <a:cxnLst/>
            <a:rect l="l" t="t" r="r" b="b"/>
            <a:pathLst>
              <a:path w="8807" h="11691">
                <a:moveTo>
                  <a:pt x="3974" y="10284"/>
                </a:moveTo>
                <a:lnTo>
                  <a:pt x="3222" y="10284"/>
                </a:lnTo>
                <a:lnTo>
                  <a:pt x="2899" y="10175"/>
                </a:lnTo>
                <a:lnTo>
                  <a:pt x="2577" y="9959"/>
                </a:lnTo>
                <a:lnTo>
                  <a:pt x="2362" y="9742"/>
                </a:lnTo>
                <a:lnTo>
                  <a:pt x="2148" y="9418"/>
                </a:lnTo>
                <a:lnTo>
                  <a:pt x="1933" y="9093"/>
                </a:lnTo>
                <a:lnTo>
                  <a:pt x="1825" y="8660"/>
                </a:lnTo>
                <a:lnTo>
                  <a:pt x="1825" y="0"/>
                </a:lnTo>
                <a:lnTo>
                  <a:pt x="0" y="0"/>
                </a:lnTo>
                <a:lnTo>
                  <a:pt x="0" y="9201"/>
                </a:lnTo>
                <a:lnTo>
                  <a:pt x="214" y="9851"/>
                </a:lnTo>
                <a:lnTo>
                  <a:pt x="429" y="10392"/>
                </a:lnTo>
                <a:lnTo>
                  <a:pt x="859" y="10933"/>
                </a:lnTo>
                <a:lnTo>
                  <a:pt x="1288" y="11258"/>
                </a:lnTo>
                <a:lnTo>
                  <a:pt x="1825" y="11475"/>
                </a:lnTo>
                <a:lnTo>
                  <a:pt x="2470" y="11583"/>
                </a:lnTo>
                <a:lnTo>
                  <a:pt x="3114" y="11691"/>
                </a:lnTo>
                <a:lnTo>
                  <a:pt x="3651" y="11691"/>
                </a:lnTo>
                <a:lnTo>
                  <a:pt x="4188" y="11583"/>
                </a:lnTo>
                <a:lnTo>
                  <a:pt x="4725" y="11475"/>
                </a:lnTo>
                <a:lnTo>
                  <a:pt x="5262" y="11258"/>
                </a:lnTo>
                <a:lnTo>
                  <a:pt x="5692" y="11150"/>
                </a:lnTo>
                <a:lnTo>
                  <a:pt x="6229" y="10825"/>
                </a:lnTo>
                <a:lnTo>
                  <a:pt x="6659" y="10608"/>
                </a:lnTo>
                <a:lnTo>
                  <a:pt x="6981" y="10175"/>
                </a:lnTo>
                <a:lnTo>
                  <a:pt x="6981" y="11258"/>
                </a:lnTo>
                <a:lnTo>
                  <a:pt x="8807" y="11258"/>
                </a:lnTo>
                <a:lnTo>
                  <a:pt x="8807" y="0"/>
                </a:lnTo>
                <a:lnTo>
                  <a:pt x="6981" y="0"/>
                </a:lnTo>
                <a:lnTo>
                  <a:pt x="6981" y="7469"/>
                </a:lnTo>
                <a:lnTo>
                  <a:pt x="6766" y="8010"/>
                </a:lnTo>
                <a:lnTo>
                  <a:pt x="6551" y="8552"/>
                </a:lnTo>
                <a:lnTo>
                  <a:pt x="6122" y="9093"/>
                </a:lnTo>
                <a:lnTo>
                  <a:pt x="5692" y="9526"/>
                </a:lnTo>
                <a:lnTo>
                  <a:pt x="5262" y="9851"/>
                </a:lnTo>
                <a:lnTo>
                  <a:pt x="4725" y="10067"/>
                </a:lnTo>
                <a:lnTo>
                  <a:pt x="4188" y="10284"/>
                </a:lnTo>
                <a:lnTo>
                  <a:pt x="3974" y="10284"/>
                </a:lnTo>
                <a:close/>
              </a:path>
            </a:pathLst>
          </a:custGeom>
          <a:solidFill>
            <a:srgbClr val="000000"/>
          </a:solidFill>
        </p:spPr>
        <p:txBody>
          <a:bodyPr wrap="square" lIns="0" tIns="0" rIns="0" bIns="0" rtlCol="0">
            <a:noAutofit/>
          </a:bodyPr>
          <a:lstStyle/>
          <a:p>
            <a:endParaRPr/>
          </a:p>
        </p:txBody>
      </p:sp>
      <p:sp>
        <p:nvSpPr>
          <p:cNvPr id="905" name="object 905"/>
          <p:cNvSpPr/>
          <p:nvPr/>
        </p:nvSpPr>
        <p:spPr>
          <a:xfrm>
            <a:off x="3338130" y="1933537"/>
            <a:ext cx="966" cy="3788"/>
          </a:xfrm>
          <a:custGeom>
            <a:avLst/>
            <a:gdLst/>
            <a:ahLst/>
            <a:cxnLst/>
            <a:rect l="l" t="t" r="r" b="b"/>
            <a:pathLst>
              <a:path w="966" h="3788">
                <a:moveTo>
                  <a:pt x="429" y="324"/>
                </a:moveTo>
                <a:lnTo>
                  <a:pt x="0" y="649"/>
                </a:lnTo>
                <a:lnTo>
                  <a:pt x="107" y="3788"/>
                </a:lnTo>
                <a:lnTo>
                  <a:pt x="214" y="3355"/>
                </a:lnTo>
                <a:lnTo>
                  <a:pt x="429" y="2922"/>
                </a:lnTo>
                <a:lnTo>
                  <a:pt x="644" y="2598"/>
                </a:lnTo>
                <a:lnTo>
                  <a:pt x="966" y="0"/>
                </a:lnTo>
                <a:lnTo>
                  <a:pt x="429" y="324"/>
                </a:lnTo>
                <a:close/>
              </a:path>
            </a:pathLst>
          </a:custGeom>
          <a:solidFill>
            <a:srgbClr val="000000"/>
          </a:solidFill>
        </p:spPr>
        <p:txBody>
          <a:bodyPr wrap="square" lIns="0" tIns="0" rIns="0" bIns="0" rtlCol="0">
            <a:noAutofit/>
          </a:bodyPr>
          <a:lstStyle/>
          <a:p>
            <a:endParaRPr/>
          </a:p>
        </p:txBody>
      </p:sp>
      <p:sp>
        <p:nvSpPr>
          <p:cNvPr id="906" name="object 906"/>
          <p:cNvSpPr/>
          <p:nvPr/>
        </p:nvSpPr>
        <p:spPr>
          <a:xfrm>
            <a:off x="3336090" y="1932887"/>
            <a:ext cx="10203" cy="12124"/>
          </a:xfrm>
          <a:custGeom>
            <a:avLst/>
            <a:gdLst/>
            <a:ahLst/>
            <a:cxnLst/>
            <a:rect l="l" t="t" r="r" b="b"/>
            <a:pathLst>
              <a:path w="10203" h="12124">
                <a:moveTo>
                  <a:pt x="0" y="6495"/>
                </a:moveTo>
                <a:lnTo>
                  <a:pt x="0" y="7036"/>
                </a:lnTo>
                <a:lnTo>
                  <a:pt x="107" y="7577"/>
                </a:lnTo>
                <a:lnTo>
                  <a:pt x="214" y="8010"/>
                </a:lnTo>
                <a:lnTo>
                  <a:pt x="322" y="8443"/>
                </a:lnTo>
                <a:lnTo>
                  <a:pt x="429" y="8985"/>
                </a:lnTo>
                <a:lnTo>
                  <a:pt x="644" y="9418"/>
                </a:lnTo>
                <a:lnTo>
                  <a:pt x="859" y="9742"/>
                </a:lnTo>
                <a:lnTo>
                  <a:pt x="1074" y="10175"/>
                </a:lnTo>
                <a:lnTo>
                  <a:pt x="1396" y="10608"/>
                </a:lnTo>
                <a:lnTo>
                  <a:pt x="1825" y="11041"/>
                </a:lnTo>
                <a:lnTo>
                  <a:pt x="2255" y="11366"/>
                </a:lnTo>
                <a:lnTo>
                  <a:pt x="2792" y="11691"/>
                </a:lnTo>
                <a:lnTo>
                  <a:pt x="3329" y="11799"/>
                </a:lnTo>
                <a:lnTo>
                  <a:pt x="3866" y="12016"/>
                </a:lnTo>
                <a:lnTo>
                  <a:pt x="4403" y="12124"/>
                </a:lnTo>
                <a:lnTo>
                  <a:pt x="5585" y="12124"/>
                </a:lnTo>
                <a:lnTo>
                  <a:pt x="6122" y="12016"/>
                </a:lnTo>
                <a:lnTo>
                  <a:pt x="6551" y="12016"/>
                </a:lnTo>
                <a:lnTo>
                  <a:pt x="6873" y="11908"/>
                </a:lnTo>
                <a:lnTo>
                  <a:pt x="7196" y="11799"/>
                </a:lnTo>
                <a:lnTo>
                  <a:pt x="7518" y="11691"/>
                </a:lnTo>
                <a:lnTo>
                  <a:pt x="7840" y="11475"/>
                </a:lnTo>
                <a:lnTo>
                  <a:pt x="8055" y="11366"/>
                </a:lnTo>
                <a:lnTo>
                  <a:pt x="8485" y="11041"/>
                </a:lnTo>
                <a:lnTo>
                  <a:pt x="8914" y="10717"/>
                </a:lnTo>
                <a:lnTo>
                  <a:pt x="9236" y="10284"/>
                </a:lnTo>
                <a:lnTo>
                  <a:pt x="9559" y="9851"/>
                </a:lnTo>
                <a:lnTo>
                  <a:pt x="9773" y="9418"/>
                </a:lnTo>
                <a:lnTo>
                  <a:pt x="9988" y="8985"/>
                </a:lnTo>
                <a:lnTo>
                  <a:pt x="10096" y="8552"/>
                </a:lnTo>
                <a:lnTo>
                  <a:pt x="10096" y="8227"/>
                </a:lnTo>
                <a:lnTo>
                  <a:pt x="8162" y="8227"/>
                </a:lnTo>
                <a:lnTo>
                  <a:pt x="8162" y="8443"/>
                </a:lnTo>
                <a:lnTo>
                  <a:pt x="8055" y="8660"/>
                </a:lnTo>
                <a:lnTo>
                  <a:pt x="7948" y="8985"/>
                </a:lnTo>
                <a:lnTo>
                  <a:pt x="7840" y="9201"/>
                </a:lnTo>
                <a:lnTo>
                  <a:pt x="7625" y="9526"/>
                </a:lnTo>
                <a:lnTo>
                  <a:pt x="7303" y="9742"/>
                </a:lnTo>
                <a:lnTo>
                  <a:pt x="7088" y="9959"/>
                </a:lnTo>
                <a:lnTo>
                  <a:pt x="6766" y="10175"/>
                </a:lnTo>
                <a:lnTo>
                  <a:pt x="6444" y="10284"/>
                </a:lnTo>
                <a:lnTo>
                  <a:pt x="6014" y="10392"/>
                </a:lnTo>
                <a:lnTo>
                  <a:pt x="5692" y="10500"/>
                </a:lnTo>
                <a:lnTo>
                  <a:pt x="5262" y="10500"/>
                </a:lnTo>
                <a:lnTo>
                  <a:pt x="4511" y="10392"/>
                </a:lnTo>
                <a:lnTo>
                  <a:pt x="3866" y="10284"/>
                </a:lnTo>
                <a:lnTo>
                  <a:pt x="3329" y="9959"/>
                </a:lnTo>
                <a:lnTo>
                  <a:pt x="2899" y="9526"/>
                </a:lnTo>
                <a:lnTo>
                  <a:pt x="2577" y="8985"/>
                </a:lnTo>
                <a:lnTo>
                  <a:pt x="2255" y="8335"/>
                </a:lnTo>
                <a:lnTo>
                  <a:pt x="2148" y="7686"/>
                </a:lnTo>
                <a:lnTo>
                  <a:pt x="2040" y="6820"/>
                </a:lnTo>
                <a:lnTo>
                  <a:pt x="10203" y="6820"/>
                </a:lnTo>
                <a:lnTo>
                  <a:pt x="10203" y="5520"/>
                </a:lnTo>
                <a:lnTo>
                  <a:pt x="10096" y="4979"/>
                </a:lnTo>
                <a:lnTo>
                  <a:pt x="9988" y="4438"/>
                </a:lnTo>
                <a:lnTo>
                  <a:pt x="9881" y="3897"/>
                </a:lnTo>
                <a:lnTo>
                  <a:pt x="9773" y="3355"/>
                </a:lnTo>
                <a:lnTo>
                  <a:pt x="9559" y="2922"/>
                </a:lnTo>
                <a:lnTo>
                  <a:pt x="9344" y="2489"/>
                </a:lnTo>
                <a:lnTo>
                  <a:pt x="9129" y="2056"/>
                </a:lnTo>
                <a:lnTo>
                  <a:pt x="8807" y="1732"/>
                </a:lnTo>
                <a:lnTo>
                  <a:pt x="8592" y="1407"/>
                </a:lnTo>
                <a:lnTo>
                  <a:pt x="8270" y="1082"/>
                </a:lnTo>
                <a:lnTo>
                  <a:pt x="7948" y="866"/>
                </a:lnTo>
                <a:lnTo>
                  <a:pt x="7625" y="649"/>
                </a:lnTo>
                <a:lnTo>
                  <a:pt x="7303" y="433"/>
                </a:lnTo>
                <a:lnTo>
                  <a:pt x="6873" y="324"/>
                </a:lnTo>
                <a:lnTo>
                  <a:pt x="6444" y="216"/>
                </a:lnTo>
                <a:lnTo>
                  <a:pt x="6122" y="108"/>
                </a:lnTo>
                <a:lnTo>
                  <a:pt x="5799" y="0"/>
                </a:lnTo>
                <a:lnTo>
                  <a:pt x="4833" y="0"/>
                </a:lnTo>
                <a:lnTo>
                  <a:pt x="4403" y="108"/>
                </a:lnTo>
                <a:lnTo>
                  <a:pt x="3866" y="216"/>
                </a:lnTo>
                <a:lnTo>
                  <a:pt x="3436" y="433"/>
                </a:lnTo>
                <a:lnTo>
                  <a:pt x="3007" y="649"/>
                </a:lnTo>
                <a:lnTo>
                  <a:pt x="2685" y="3247"/>
                </a:lnTo>
                <a:lnTo>
                  <a:pt x="3007" y="2922"/>
                </a:lnTo>
                <a:lnTo>
                  <a:pt x="3329" y="2598"/>
                </a:lnTo>
                <a:lnTo>
                  <a:pt x="3651" y="2381"/>
                </a:lnTo>
                <a:lnTo>
                  <a:pt x="3974" y="2165"/>
                </a:lnTo>
                <a:lnTo>
                  <a:pt x="4403" y="1948"/>
                </a:lnTo>
                <a:lnTo>
                  <a:pt x="4725" y="1840"/>
                </a:lnTo>
                <a:lnTo>
                  <a:pt x="5155" y="1840"/>
                </a:lnTo>
                <a:lnTo>
                  <a:pt x="5907" y="1948"/>
                </a:lnTo>
                <a:lnTo>
                  <a:pt x="6551" y="2056"/>
                </a:lnTo>
                <a:lnTo>
                  <a:pt x="7088" y="2381"/>
                </a:lnTo>
                <a:lnTo>
                  <a:pt x="7518" y="2814"/>
                </a:lnTo>
                <a:lnTo>
                  <a:pt x="7840" y="3355"/>
                </a:lnTo>
                <a:lnTo>
                  <a:pt x="8055" y="3897"/>
                </a:lnTo>
                <a:lnTo>
                  <a:pt x="8162" y="4546"/>
                </a:lnTo>
                <a:lnTo>
                  <a:pt x="8270" y="5304"/>
                </a:lnTo>
                <a:lnTo>
                  <a:pt x="2040" y="5304"/>
                </a:lnTo>
                <a:lnTo>
                  <a:pt x="2040" y="4871"/>
                </a:lnTo>
                <a:lnTo>
                  <a:pt x="2148" y="4438"/>
                </a:lnTo>
                <a:lnTo>
                  <a:pt x="2040" y="1299"/>
                </a:lnTo>
                <a:lnTo>
                  <a:pt x="1718" y="1623"/>
                </a:lnTo>
                <a:lnTo>
                  <a:pt x="1288" y="2056"/>
                </a:lnTo>
                <a:lnTo>
                  <a:pt x="966" y="2598"/>
                </a:lnTo>
                <a:lnTo>
                  <a:pt x="644" y="3139"/>
                </a:lnTo>
                <a:lnTo>
                  <a:pt x="429" y="3680"/>
                </a:lnTo>
                <a:lnTo>
                  <a:pt x="322" y="4330"/>
                </a:lnTo>
                <a:lnTo>
                  <a:pt x="107" y="5087"/>
                </a:lnTo>
                <a:lnTo>
                  <a:pt x="0" y="5737"/>
                </a:lnTo>
                <a:lnTo>
                  <a:pt x="0" y="6495"/>
                </a:lnTo>
                <a:close/>
              </a:path>
            </a:pathLst>
          </a:custGeom>
          <a:solidFill>
            <a:srgbClr val="000000"/>
          </a:solidFill>
        </p:spPr>
        <p:txBody>
          <a:bodyPr wrap="square" lIns="0" tIns="0" rIns="0" bIns="0" rtlCol="0">
            <a:noAutofit/>
          </a:bodyPr>
          <a:lstStyle/>
          <a:p>
            <a:endParaRPr/>
          </a:p>
        </p:txBody>
      </p:sp>
      <p:sp>
        <p:nvSpPr>
          <p:cNvPr id="907" name="object 907"/>
          <p:cNvSpPr/>
          <p:nvPr/>
        </p:nvSpPr>
        <p:spPr>
          <a:xfrm>
            <a:off x="3350052" y="1940791"/>
            <a:ext cx="1288" cy="4005"/>
          </a:xfrm>
          <a:custGeom>
            <a:avLst/>
            <a:gdLst/>
            <a:ahLst/>
            <a:cxnLst/>
            <a:rect l="l" t="t" r="r" b="b"/>
            <a:pathLst>
              <a:path w="1288" h="4005">
                <a:moveTo>
                  <a:pt x="537" y="3680"/>
                </a:moveTo>
                <a:lnTo>
                  <a:pt x="1288" y="4005"/>
                </a:lnTo>
                <a:lnTo>
                  <a:pt x="644" y="1407"/>
                </a:lnTo>
                <a:lnTo>
                  <a:pt x="322" y="757"/>
                </a:lnTo>
                <a:lnTo>
                  <a:pt x="107" y="0"/>
                </a:lnTo>
                <a:lnTo>
                  <a:pt x="0" y="3355"/>
                </a:lnTo>
                <a:lnTo>
                  <a:pt x="537" y="3680"/>
                </a:lnTo>
                <a:close/>
              </a:path>
            </a:pathLst>
          </a:custGeom>
          <a:solidFill>
            <a:srgbClr val="000000"/>
          </a:solidFill>
        </p:spPr>
        <p:txBody>
          <a:bodyPr wrap="square" lIns="0" tIns="0" rIns="0" bIns="0" rtlCol="0">
            <a:noAutofit/>
          </a:bodyPr>
          <a:lstStyle/>
          <a:p>
            <a:endParaRPr/>
          </a:p>
        </p:txBody>
      </p:sp>
      <p:sp>
        <p:nvSpPr>
          <p:cNvPr id="908" name="object 908"/>
          <p:cNvSpPr/>
          <p:nvPr/>
        </p:nvSpPr>
        <p:spPr>
          <a:xfrm>
            <a:off x="3348012" y="1929207"/>
            <a:ext cx="9773" cy="15805"/>
          </a:xfrm>
          <a:custGeom>
            <a:avLst/>
            <a:gdLst/>
            <a:ahLst/>
            <a:cxnLst/>
            <a:rect l="l" t="t" r="r" b="b"/>
            <a:pathLst>
              <a:path w="9773" h="15805">
                <a:moveTo>
                  <a:pt x="2040" y="14939"/>
                </a:moveTo>
                <a:lnTo>
                  <a:pt x="2148" y="11583"/>
                </a:lnTo>
                <a:lnTo>
                  <a:pt x="1933" y="10825"/>
                </a:lnTo>
                <a:lnTo>
                  <a:pt x="1933" y="8985"/>
                </a:lnTo>
                <a:lnTo>
                  <a:pt x="2040" y="8227"/>
                </a:lnTo>
                <a:lnTo>
                  <a:pt x="2255" y="7469"/>
                </a:lnTo>
                <a:lnTo>
                  <a:pt x="2470" y="6820"/>
                </a:lnTo>
                <a:lnTo>
                  <a:pt x="2899" y="6278"/>
                </a:lnTo>
                <a:lnTo>
                  <a:pt x="3436" y="5845"/>
                </a:lnTo>
                <a:lnTo>
                  <a:pt x="4081" y="5629"/>
                </a:lnTo>
                <a:lnTo>
                  <a:pt x="4940" y="5520"/>
                </a:lnTo>
                <a:lnTo>
                  <a:pt x="5692" y="5629"/>
                </a:lnTo>
                <a:lnTo>
                  <a:pt x="6229" y="5845"/>
                </a:lnTo>
                <a:lnTo>
                  <a:pt x="6766" y="6170"/>
                </a:lnTo>
                <a:lnTo>
                  <a:pt x="7196" y="6711"/>
                </a:lnTo>
                <a:lnTo>
                  <a:pt x="7518" y="7469"/>
                </a:lnTo>
                <a:lnTo>
                  <a:pt x="7733" y="8227"/>
                </a:lnTo>
                <a:lnTo>
                  <a:pt x="7948" y="9201"/>
                </a:lnTo>
                <a:lnTo>
                  <a:pt x="7948" y="10392"/>
                </a:lnTo>
                <a:lnTo>
                  <a:pt x="7840" y="11258"/>
                </a:lnTo>
                <a:lnTo>
                  <a:pt x="7733" y="12124"/>
                </a:lnTo>
                <a:lnTo>
                  <a:pt x="7411" y="12774"/>
                </a:lnTo>
                <a:lnTo>
                  <a:pt x="6981" y="13315"/>
                </a:lnTo>
                <a:lnTo>
                  <a:pt x="6444" y="13640"/>
                </a:lnTo>
                <a:lnTo>
                  <a:pt x="6014" y="13964"/>
                </a:lnTo>
                <a:lnTo>
                  <a:pt x="5477" y="14073"/>
                </a:lnTo>
                <a:lnTo>
                  <a:pt x="4940" y="14181"/>
                </a:lnTo>
                <a:lnTo>
                  <a:pt x="4188" y="14073"/>
                </a:lnTo>
                <a:lnTo>
                  <a:pt x="3544" y="13856"/>
                </a:lnTo>
                <a:lnTo>
                  <a:pt x="3114" y="13531"/>
                </a:lnTo>
                <a:lnTo>
                  <a:pt x="2685" y="12990"/>
                </a:lnTo>
                <a:lnTo>
                  <a:pt x="3329" y="15588"/>
                </a:lnTo>
                <a:lnTo>
                  <a:pt x="3974" y="15696"/>
                </a:lnTo>
                <a:lnTo>
                  <a:pt x="4833" y="15805"/>
                </a:lnTo>
                <a:lnTo>
                  <a:pt x="5048" y="15805"/>
                </a:lnTo>
                <a:lnTo>
                  <a:pt x="5692" y="15696"/>
                </a:lnTo>
                <a:lnTo>
                  <a:pt x="5907" y="15588"/>
                </a:lnTo>
                <a:lnTo>
                  <a:pt x="6122" y="15588"/>
                </a:lnTo>
                <a:lnTo>
                  <a:pt x="6336" y="15480"/>
                </a:lnTo>
                <a:lnTo>
                  <a:pt x="6551" y="15372"/>
                </a:lnTo>
                <a:lnTo>
                  <a:pt x="6873" y="15263"/>
                </a:lnTo>
                <a:lnTo>
                  <a:pt x="7088" y="15047"/>
                </a:lnTo>
                <a:lnTo>
                  <a:pt x="7303" y="14939"/>
                </a:lnTo>
                <a:lnTo>
                  <a:pt x="7518" y="14722"/>
                </a:lnTo>
                <a:lnTo>
                  <a:pt x="7733" y="14506"/>
                </a:lnTo>
                <a:lnTo>
                  <a:pt x="7840" y="14289"/>
                </a:lnTo>
                <a:lnTo>
                  <a:pt x="8055" y="13964"/>
                </a:lnTo>
                <a:lnTo>
                  <a:pt x="8055" y="15480"/>
                </a:lnTo>
                <a:lnTo>
                  <a:pt x="9773" y="15480"/>
                </a:lnTo>
                <a:lnTo>
                  <a:pt x="9773" y="0"/>
                </a:lnTo>
                <a:lnTo>
                  <a:pt x="7948" y="0"/>
                </a:lnTo>
                <a:lnTo>
                  <a:pt x="7948" y="5737"/>
                </a:lnTo>
                <a:lnTo>
                  <a:pt x="7625" y="5304"/>
                </a:lnTo>
                <a:lnTo>
                  <a:pt x="7303" y="4979"/>
                </a:lnTo>
                <a:lnTo>
                  <a:pt x="6981" y="4654"/>
                </a:lnTo>
                <a:lnTo>
                  <a:pt x="6659" y="4438"/>
                </a:lnTo>
                <a:lnTo>
                  <a:pt x="6229" y="4221"/>
                </a:lnTo>
                <a:lnTo>
                  <a:pt x="5799" y="4005"/>
                </a:lnTo>
                <a:lnTo>
                  <a:pt x="5262" y="3897"/>
                </a:lnTo>
                <a:lnTo>
                  <a:pt x="3974" y="3897"/>
                </a:lnTo>
                <a:lnTo>
                  <a:pt x="3329" y="4005"/>
                </a:lnTo>
                <a:lnTo>
                  <a:pt x="2685" y="4221"/>
                </a:lnTo>
                <a:lnTo>
                  <a:pt x="2148" y="4546"/>
                </a:lnTo>
                <a:lnTo>
                  <a:pt x="1718" y="4979"/>
                </a:lnTo>
                <a:lnTo>
                  <a:pt x="1288" y="5412"/>
                </a:lnTo>
                <a:lnTo>
                  <a:pt x="859" y="5954"/>
                </a:lnTo>
                <a:lnTo>
                  <a:pt x="537" y="6603"/>
                </a:lnTo>
                <a:lnTo>
                  <a:pt x="322" y="7253"/>
                </a:lnTo>
                <a:lnTo>
                  <a:pt x="107" y="8010"/>
                </a:lnTo>
                <a:lnTo>
                  <a:pt x="0" y="8768"/>
                </a:lnTo>
                <a:lnTo>
                  <a:pt x="0" y="10284"/>
                </a:lnTo>
                <a:lnTo>
                  <a:pt x="107" y="11041"/>
                </a:lnTo>
                <a:lnTo>
                  <a:pt x="322" y="11799"/>
                </a:lnTo>
                <a:lnTo>
                  <a:pt x="537" y="12557"/>
                </a:lnTo>
                <a:lnTo>
                  <a:pt x="751" y="13207"/>
                </a:lnTo>
                <a:lnTo>
                  <a:pt x="1074" y="13856"/>
                </a:lnTo>
                <a:lnTo>
                  <a:pt x="1503" y="14397"/>
                </a:lnTo>
                <a:lnTo>
                  <a:pt x="2040" y="14939"/>
                </a:lnTo>
                <a:close/>
              </a:path>
            </a:pathLst>
          </a:custGeom>
          <a:solidFill>
            <a:srgbClr val="000000"/>
          </a:solidFill>
        </p:spPr>
        <p:txBody>
          <a:bodyPr wrap="square" lIns="0" tIns="0" rIns="0" bIns="0" rtlCol="0">
            <a:noAutofit/>
          </a:bodyPr>
          <a:lstStyle/>
          <a:p>
            <a:endParaRPr/>
          </a:p>
        </p:txBody>
      </p:sp>
      <p:sp>
        <p:nvSpPr>
          <p:cNvPr id="909" name="object 909"/>
          <p:cNvSpPr/>
          <p:nvPr/>
        </p:nvSpPr>
        <p:spPr>
          <a:xfrm>
            <a:off x="3374756" y="1942414"/>
            <a:ext cx="6981" cy="2273"/>
          </a:xfrm>
          <a:custGeom>
            <a:avLst/>
            <a:gdLst/>
            <a:ahLst/>
            <a:cxnLst/>
            <a:rect l="l" t="t" r="r" b="b"/>
            <a:pathLst>
              <a:path w="6981" h="2273">
                <a:moveTo>
                  <a:pt x="6981" y="0"/>
                </a:moveTo>
                <a:lnTo>
                  <a:pt x="6659" y="216"/>
                </a:lnTo>
                <a:lnTo>
                  <a:pt x="6336" y="433"/>
                </a:lnTo>
                <a:lnTo>
                  <a:pt x="5907" y="541"/>
                </a:lnTo>
                <a:lnTo>
                  <a:pt x="5370" y="649"/>
                </a:lnTo>
                <a:lnTo>
                  <a:pt x="0" y="649"/>
                </a:lnTo>
                <a:lnTo>
                  <a:pt x="5155" y="2273"/>
                </a:lnTo>
                <a:lnTo>
                  <a:pt x="5799" y="2273"/>
                </a:lnTo>
                <a:lnTo>
                  <a:pt x="6336" y="2165"/>
                </a:lnTo>
                <a:lnTo>
                  <a:pt x="6981" y="1948"/>
                </a:lnTo>
                <a:lnTo>
                  <a:pt x="6981" y="0"/>
                </a:lnTo>
                <a:close/>
              </a:path>
            </a:pathLst>
          </a:custGeom>
          <a:solidFill>
            <a:srgbClr val="000000"/>
          </a:solidFill>
        </p:spPr>
        <p:txBody>
          <a:bodyPr wrap="square" lIns="0" tIns="0" rIns="0" bIns="0" rtlCol="0">
            <a:noAutofit/>
          </a:bodyPr>
          <a:lstStyle/>
          <a:p>
            <a:endParaRPr/>
          </a:p>
        </p:txBody>
      </p:sp>
      <p:sp>
        <p:nvSpPr>
          <p:cNvPr id="910" name="object 910"/>
          <p:cNvSpPr/>
          <p:nvPr/>
        </p:nvSpPr>
        <p:spPr>
          <a:xfrm>
            <a:off x="3372823" y="1929206"/>
            <a:ext cx="6873" cy="1840"/>
          </a:xfrm>
          <a:custGeom>
            <a:avLst/>
            <a:gdLst/>
            <a:ahLst/>
            <a:cxnLst/>
            <a:rect l="l" t="t" r="r" b="b"/>
            <a:pathLst>
              <a:path w="6873" h="1840">
                <a:moveTo>
                  <a:pt x="6873" y="0"/>
                </a:moveTo>
                <a:lnTo>
                  <a:pt x="0" y="0"/>
                </a:lnTo>
                <a:lnTo>
                  <a:pt x="1933" y="1840"/>
                </a:lnTo>
                <a:lnTo>
                  <a:pt x="6014" y="1840"/>
                </a:lnTo>
                <a:lnTo>
                  <a:pt x="6873" y="0"/>
                </a:lnTo>
                <a:close/>
              </a:path>
            </a:pathLst>
          </a:custGeom>
          <a:solidFill>
            <a:srgbClr val="000000"/>
          </a:solidFill>
        </p:spPr>
        <p:txBody>
          <a:bodyPr wrap="square" lIns="0" tIns="0" rIns="0" bIns="0" rtlCol="0">
            <a:noAutofit/>
          </a:bodyPr>
          <a:lstStyle/>
          <a:p>
            <a:endParaRPr/>
          </a:p>
        </p:txBody>
      </p:sp>
      <p:sp>
        <p:nvSpPr>
          <p:cNvPr id="911" name="object 911"/>
          <p:cNvSpPr/>
          <p:nvPr/>
        </p:nvSpPr>
        <p:spPr>
          <a:xfrm>
            <a:off x="3372822" y="1929206"/>
            <a:ext cx="11922" cy="15480"/>
          </a:xfrm>
          <a:custGeom>
            <a:avLst/>
            <a:gdLst/>
            <a:ahLst/>
            <a:cxnLst/>
            <a:rect l="l" t="t" r="r" b="b"/>
            <a:pathLst>
              <a:path w="11922" h="15480">
                <a:moveTo>
                  <a:pt x="9559" y="6820"/>
                </a:moveTo>
                <a:lnTo>
                  <a:pt x="9881" y="6603"/>
                </a:lnTo>
                <a:lnTo>
                  <a:pt x="10096" y="6387"/>
                </a:lnTo>
                <a:lnTo>
                  <a:pt x="10310" y="6170"/>
                </a:lnTo>
                <a:lnTo>
                  <a:pt x="10525" y="5954"/>
                </a:lnTo>
                <a:lnTo>
                  <a:pt x="10633" y="5629"/>
                </a:lnTo>
                <a:lnTo>
                  <a:pt x="10740" y="5304"/>
                </a:lnTo>
                <a:lnTo>
                  <a:pt x="10847" y="4979"/>
                </a:lnTo>
                <a:lnTo>
                  <a:pt x="10955" y="4654"/>
                </a:lnTo>
                <a:lnTo>
                  <a:pt x="11062" y="4330"/>
                </a:lnTo>
                <a:lnTo>
                  <a:pt x="11062" y="3355"/>
                </a:lnTo>
                <a:lnTo>
                  <a:pt x="10955" y="2814"/>
                </a:lnTo>
                <a:lnTo>
                  <a:pt x="10740" y="2381"/>
                </a:lnTo>
                <a:lnTo>
                  <a:pt x="10525" y="1840"/>
                </a:lnTo>
                <a:lnTo>
                  <a:pt x="10203" y="1407"/>
                </a:lnTo>
                <a:lnTo>
                  <a:pt x="9881" y="1082"/>
                </a:lnTo>
                <a:lnTo>
                  <a:pt x="9451" y="757"/>
                </a:lnTo>
                <a:lnTo>
                  <a:pt x="9022" y="433"/>
                </a:lnTo>
                <a:lnTo>
                  <a:pt x="8485" y="216"/>
                </a:lnTo>
                <a:lnTo>
                  <a:pt x="7948" y="108"/>
                </a:lnTo>
                <a:lnTo>
                  <a:pt x="7411" y="0"/>
                </a:lnTo>
                <a:lnTo>
                  <a:pt x="6873" y="0"/>
                </a:lnTo>
                <a:lnTo>
                  <a:pt x="6014" y="1840"/>
                </a:lnTo>
                <a:lnTo>
                  <a:pt x="6766" y="1840"/>
                </a:lnTo>
                <a:lnTo>
                  <a:pt x="7411" y="1948"/>
                </a:lnTo>
                <a:lnTo>
                  <a:pt x="7840" y="2165"/>
                </a:lnTo>
                <a:lnTo>
                  <a:pt x="8270" y="2489"/>
                </a:lnTo>
                <a:lnTo>
                  <a:pt x="8592" y="2814"/>
                </a:lnTo>
                <a:lnTo>
                  <a:pt x="8807" y="3247"/>
                </a:lnTo>
                <a:lnTo>
                  <a:pt x="9022" y="3788"/>
                </a:lnTo>
                <a:lnTo>
                  <a:pt x="9022" y="4330"/>
                </a:lnTo>
                <a:lnTo>
                  <a:pt x="8914" y="4763"/>
                </a:lnTo>
                <a:lnTo>
                  <a:pt x="8807" y="5196"/>
                </a:lnTo>
                <a:lnTo>
                  <a:pt x="8592" y="5520"/>
                </a:lnTo>
                <a:lnTo>
                  <a:pt x="8270" y="5954"/>
                </a:lnTo>
                <a:lnTo>
                  <a:pt x="7840" y="6278"/>
                </a:lnTo>
                <a:lnTo>
                  <a:pt x="7411" y="6387"/>
                </a:lnTo>
                <a:lnTo>
                  <a:pt x="6766" y="6603"/>
                </a:lnTo>
                <a:lnTo>
                  <a:pt x="1933" y="6603"/>
                </a:lnTo>
                <a:lnTo>
                  <a:pt x="1933" y="1840"/>
                </a:lnTo>
                <a:lnTo>
                  <a:pt x="0" y="0"/>
                </a:lnTo>
                <a:lnTo>
                  <a:pt x="0" y="15480"/>
                </a:lnTo>
                <a:lnTo>
                  <a:pt x="7088" y="15480"/>
                </a:lnTo>
                <a:lnTo>
                  <a:pt x="1933" y="13856"/>
                </a:lnTo>
                <a:lnTo>
                  <a:pt x="1933" y="8227"/>
                </a:lnTo>
                <a:lnTo>
                  <a:pt x="6229" y="8227"/>
                </a:lnTo>
                <a:lnTo>
                  <a:pt x="7196" y="8335"/>
                </a:lnTo>
                <a:lnTo>
                  <a:pt x="8055" y="8443"/>
                </a:lnTo>
                <a:lnTo>
                  <a:pt x="8699" y="8660"/>
                </a:lnTo>
                <a:lnTo>
                  <a:pt x="9129" y="8985"/>
                </a:lnTo>
                <a:lnTo>
                  <a:pt x="9451" y="9418"/>
                </a:lnTo>
                <a:lnTo>
                  <a:pt x="9666" y="9959"/>
                </a:lnTo>
                <a:lnTo>
                  <a:pt x="9773" y="10500"/>
                </a:lnTo>
                <a:lnTo>
                  <a:pt x="9881" y="11150"/>
                </a:lnTo>
                <a:lnTo>
                  <a:pt x="9881" y="11475"/>
                </a:lnTo>
                <a:lnTo>
                  <a:pt x="9773" y="11799"/>
                </a:lnTo>
                <a:lnTo>
                  <a:pt x="9666" y="12124"/>
                </a:lnTo>
                <a:lnTo>
                  <a:pt x="9559" y="12449"/>
                </a:lnTo>
                <a:lnTo>
                  <a:pt x="9344" y="12774"/>
                </a:lnTo>
                <a:lnTo>
                  <a:pt x="9129" y="12990"/>
                </a:lnTo>
                <a:lnTo>
                  <a:pt x="8914" y="13207"/>
                </a:lnTo>
                <a:lnTo>
                  <a:pt x="8914" y="15155"/>
                </a:lnTo>
                <a:lnTo>
                  <a:pt x="9451" y="14939"/>
                </a:lnTo>
                <a:lnTo>
                  <a:pt x="9988" y="14614"/>
                </a:lnTo>
                <a:lnTo>
                  <a:pt x="10418" y="14181"/>
                </a:lnTo>
                <a:lnTo>
                  <a:pt x="10847" y="13748"/>
                </a:lnTo>
                <a:lnTo>
                  <a:pt x="11170" y="13207"/>
                </a:lnTo>
                <a:lnTo>
                  <a:pt x="11492" y="12665"/>
                </a:lnTo>
                <a:lnTo>
                  <a:pt x="11707" y="12016"/>
                </a:lnTo>
                <a:lnTo>
                  <a:pt x="11814" y="11366"/>
                </a:lnTo>
                <a:lnTo>
                  <a:pt x="11922" y="10608"/>
                </a:lnTo>
                <a:lnTo>
                  <a:pt x="11814" y="9959"/>
                </a:lnTo>
                <a:lnTo>
                  <a:pt x="11707" y="9418"/>
                </a:lnTo>
                <a:lnTo>
                  <a:pt x="11385" y="8876"/>
                </a:lnTo>
                <a:lnTo>
                  <a:pt x="11062" y="8443"/>
                </a:lnTo>
                <a:lnTo>
                  <a:pt x="10633" y="8010"/>
                </a:lnTo>
                <a:lnTo>
                  <a:pt x="10203" y="7686"/>
                </a:lnTo>
                <a:lnTo>
                  <a:pt x="9666" y="7361"/>
                </a:lnTo>
                <a:lnTo>
                  <a:pt x="9022" y="7144"/>
                </a:lnTo>
                <a:lnTo>
                  <a:pt x="9344" y="6928"/>
                </a:lnTo>
                <a:lnTo>
                  <a:pt x="9559" y="6820"/>
                </a:lnTo>
                <a:close/>
              </a:path>
            </a:pathLst>
          </a:custGeom>
          <a:solidFill>
            <a:srgbClr val="000000"/>
          </a:solidFill>
        </p:spPr>
        <p:txBody>
          <a:bodyPr wrap="square" lIns="0" tIns="0" rIns="0" bIns="0" rtlCol="0">
            <a:noAutofit/>
          </a:bodyPr>
          <a:lstStyle/>
          <a:p>
            <a:endParaRPr/>
          </a:p>
        </p:txBody>
      </p:sp>
      <p:sp>
        <p:nvSpPr>
          <p:cNvPr id="912" name="object 912"/>
          <p:cNvSpPr/>
          <p:nvPr/>
        </p:nvSpPr>
        <p:spPr>
          <a:xfrm>
            <a:off x="3760450" y="1910154"/>
            <a:ext cx="6981" cy="2273"/>
          </a:xfrm>
          <a:custGeom>
            <a:avLst/>
            <a:gdLst/>
            <a:ahLst/>
            <a:cxnLst/>
            <a:rect l="l" t="t" r="r" b="b"/>
            <a:pathLst>
              <a:path w="6981" h="2273">
                <a:moveTo>
                  <a:pt x="6981" y="0"/>
                </a:moveTo>
                <a:lnTo>
                  <a:pt x="6659" y="216"/>
                </a:lnTo>
                <a:lnTo>
                  <a:pt x="6336" y="433"/>
                </a:lnTo>
                <a:lnTo>
                  <a:pt x="5907" y="541"/>
                </a:lnTo>
                <a:lnTo>
                  <a:pt x="5370" y="649"/>
                </a:lnTo>
                <a:lnTo>
                  <a:pt x="0" y="649"/>
                </a:lnTo>
                <a:lnTo>
                  <a:pt x="5155" y="2273"/>
                </a:lnTo>
                <a:lnTo>
                  <a:pt x="5799" y="2273"/>
                </a:lnTo>
                <a:lnTo>
                  <a:pt x="6336" y="2165"/>
                </a:lnTo>
                <a:lnTo>
                  <a:pt x="6981" y="1948"/>
                </a:lnTo>
                <a:lnTo>
                  <a:pt x="6981" y="0"/>
                </a:lnTo>
                <a:close/>
              </a:path>
            </a:pathLst>
          </a:custGeom>
          <a:solidFill>
            <a:srgbClr val="000000"/>
          </a:solidFill>
        </p:spPr>
        <p:txBody>
          <a:bodyPr wrap="square" lIns="0" tIns="0" rIns="0" bIns="0" rtlCol="0">
            <a:noAutofit/>
          </a:bodyPr>
          <a:lstStyle/>
          <a:p>
            <a:endParaRPr/>
          </a:p>
        </p:txBody>
      </p:sp>
      <p:sp>
        <p:nvSpPr>
          <p:cNvPr id="913" name="object 913"/>
          <p:cNvSpPr/>
          <p:nvPr/>
        </p:nvSpPr>
        <p:spPr>
          <a:xfrm>
            <a:off x="3758517" y="1896946"/>
            <a:ext cx="6873" cy="1840"/>
          </a:xfrm>
          <a:custGeom>
            <a:avLst/>
            <a:gdLst/>
            <a:ahLst/>
            <a:cxnLst/>
            <a:rect l="l" t="t" r="r" b="b"/>
            <a:pathLst>
              <a:path w="6873" h="1840">
                <a:moveTo>
                  <a:pt x="6873" y="0"/>
                </a:moveTo>
                <a:lnTo>
                  <a:pt x="0" y="0"/>
                </a:lnTo>
                <a:lnTo>
                  <a:pt x="1933" y="1840"/>
                </a:lnTo>
                <a:lnTo>
                  <a:pt x="6014" y="1840"/>
                </a:lnTo>
                <a:lnTo>
                  <a:pt x="6873" y="0"/>
                </a:lnTo>
                <a:close/>
              </a:path>
            </a:pathLst>
          </a:custGeom>
          <a:solidFill>
            <a:srgbClr val="000000"/>
          </a:solidFill>
        </p:spPr>
        <p:txBody>
          <a:bodyPr wrap="square" lIns="0" tIns="0" rIns="0" bIns="0" rtlCol="0">
            <a:noAutofit/>
          </a:bodyPr>
          <a:lstStyle/>
          <a:p>
            <a:endParaRPr/>
          </a:p>
        </p:txBody>
      </p:sp>
      <p:sp>
        <p:nvSpPr>
          <p:cNvPr id="914" name="object 914"/>
          <p:cNvSpPr/>
          <p:nvPr/>
        </p:nvSpPr>
        <p:spPr>
          <a:xfrm>
            <a:off x="3758516" y="1896946"/>
            <a:ext cx="11922" cy="15480"/>
          </a:xfrm>
          <a:custGeom>
            <a:avLst/>
            <a:gdLst/>
            <a:ahLst/>
            <a:cxnLst/>
            <a:rect l="l" t="t" r="r" b="b"/>
            <a:pathLst>
              <a:path w="11922" h="15480">
                <a:moveTo>
                  <a:pt x="9559" y="6820"/>
                </a:moveTo>
                <a:lnTo>
                  <a:pt x="9881" y="6603"/>
                </a:lnTo>
                <a:lnTo>
                  <a:pt x="10096" y="6387"/>
                </a:lnTo>
                <a:lnTo>
                  <a:pt x="10310" y="6170"/>
                </a:lnTo>
                <a:lnTo>
                  <a:pt x="10525" y="5954"/>
                </a:lnTo>
                <a:lnTo>
                  <a:pt x="10633" y="5629"/>
                </a:lnTo>
                <a:lnTo>
                  <a:pt x="10740" y="5304"/>
                </a:lnTo>
                <a:lnTo>
                  <a:pt x="10847" y="4979"/>
                </a:lnTo>
                <a:lnTo>
                  <a:pt x="10955" y="4654"/>
                </a:lnTo>
                <a:lnTo>
                  <a:pt x="11062" y="4330"/>
                </a:lnTo>
                <a:lnTo>
                  <a:pt x="11062" y="3355"/>
                </a:lnTo>
                <a:lnTo>
                  <a:pt x="10955" y="2814"/>
                </a:lnTo>
                <a:lnTo>
                  <a:pt x="10740" y="2381"/>
                </a:lnTo>
                <a:lnTo>
                  <a:pt x="10525" y="1840"/>
                </a:lnTo>
                <a:lnTo>
                  <a:pt x="10203" y="1407"/>
                </a:lnTo>
                <a:lnTo>
                  <a:pt x="9881" y="1082"/>
                </a:lnTo>
                <a:lnTo>
                  <a:pt x="9451" y="757"/>
                </a:lnTo>
                <a:lnTo>
                  <a:pt x="9022" y="433"/>
                </a:lnTo>
                <a:lnTo>
                  <a:pt x="8485" y="216"/>
                </a:lnTo>
                <a:lnTo>
                  <a:pt x="7948" y="108"/>
                </a:lnTo>
                <a:lnTo>
                  <a:pt x="7411" y="0"/>
                </a:lnTo>
                <a:lnTo>
                  <a:pt x="6873" y="0"/>
                </a:lnTo>
                <a:lnTo>
                  <a:pt x="6014" y="1840"/>
                </a:lnTo>
                <a:lnTo>
                  <a:pt x="6766" y="1840"/>
                </a:lnTo>
                <a:lnTo>
                  <a:pt x="7411" y="1948"/>
                </a:lnTo>
                <a:lnTo>
                  <a:pt x="7840" y="2165"/>
                </a:lnTo>
                <a:lnTo>
                  <a:pt x="8270" y="2489"/>
                </a:lnTo>
                <a:lnTo>
                  <a:pt x="8592" y="2814"/>
                </a:lnTo>
                <a:lnTo>
                  <a:pt x="8807" y="3247"/>
                </a:lnTo>
                <a:lnTo>
                  <a:pt x="9022" y="3788"/>
                </a:lnTo>
                <a:lnTo>
                  <a:pt x="9022" y="4330"/>
                </a:lnTo>
                <a:lnTo>
                  <a:pt x="8914" y="4763"/>
                </a:lnTo>
                <a:lnTo>
                  <a:pt x="8807" y="5196"/>
                </a:lnTo>
                <a:lnTo>
                  <a:pt x="8592" y="5520"/>
                </a:lnTo>
                <a:lnTo>
                  <a:pt x="8270" y="5954"/>
                </a:lnTo>
                <a:lnTo>
                  <a:pt x="7840" y="6278"/>
                </a:lnTo>
                <a:lnTo>
                  <a:pt x="7411" y="6387"/>
                </a:lnTo>
                <a:lnTo>
                  <a:pt x="6766" y="6603"/>
                </a:lnTo>
                <a:lnTo>
                  <a:pt x="1933" y="6603"/>
                </a:lnTo>
                <a:lnTo>
                  <a:pt x="1933" y="1840"/>
                </a:lnTo>
                <a:lnTo>
                  <a:pt x="0" y="0"/>
                </a:lnTo>
                <a:lnTo>
                  <a:pt x="0" y="15480"/>
                </a:lnTo>
                <a:lnTo>
                  <a:pt x="7088" y="15480"/>
                </a:lnTo>
                <a:lnTo>
                  <a:pt x="1933" y="13856"/>
                </a:lnTo>
                <a:lnTo>
                  <a:pt x="1933" y="8227"/>
                </a:lnTo>
                <a:lnTo>
                  <a:pt x="6229" y="8227"/>
                </a:lnTo>
                <a:lnTo>
                  <a:pt x="7196" y="8335"/>
                </a:lnTo>
                <a:lnTo>
                  <a:pt x="8055" y="8443"/>
                </a:lnTo>
                <a:lnTo>
                  <a:pt x="8699" y="8660"/>
                </a:lnTo>
                <a:lnTo>
                  <a:pt x="9129" y="8985"/>
                </a:lnTo>
                <a:lnTo>
                  <a:pt x="9451" y="9418"/>
                </a:lnTo>
                <a:lnTo>
                  <a:pt x="9666" y="9959"/>
                </a:lnTo>
                <a:lnTo>
                  <a:pt x="9773" y="10500"/>
                </a:lnTo>
                <a:lnTo>
                  <a:pt x="9881" y="11150"/>
                </a:lnTo>
                <a:lnTo>
                  <a:pt x="9881" y="11475"/>
                </a:lnTo>
                <a:lnTo>
                  <a:pt x="9773" y="11799"/>
                </a:lnTo>
                <a:lnTo>
                  <a:pt x="9666" y="12124"/>
                </a:lnTo>
                <a:lnTo>
                  <a:pt x="9559" y="12449"/>
                </a:lnTo>
                <a:lnTo>
                  <a:pt x="9344" y="12774"/>
                </a:lnTo>
                <a:lnTo>
                  <a:pt x="9129" y="12990"/>
                </a:lnTo>
                <a:lnTo>
                  <a:pt x="8914" y="13207"/>
                </a:lnTo>
                <a:lnTo>
                  <a:pt x="8914" y="15155"/>
                </a:lnTo>
                <a:lnTo>
                  <a:pt x="9451" y="14939"/>
                </a:lnTo>
                <a:lnTo>
                  <a:pt x="9988" y="14614"/>
                </a:lnTo>
                <a:lnTo>
                  <a:pt x="10418" y="14181"/>
                </a:lnTo>
                <a:lnTo>
                  <a:pt x="10847" y="13748"/>
                </a:lnTo>
                <a:lnTo>
                  <a:pt x="11170" y="13207"/>
                </a:lnTo>
                <a:lnTo>
                  <a:pt x="11492" y="12665"/>
                </a:lnTo>
                <a:lnTo>
                  <a:pt x="11707" y="12016"/>
                </a:lnTo>
                <a:lnTo>
                  <a:pt x="11814" y="11366"/>
                </a:lnTo>
                <a:lnTo>
                  <a:pt x="11922" y="10608"/>
                </a:lnTo>
                <a:lnTo>
                  <a:pt x="11814" y="9959"/>
                </a:lnTo>
                <a:lnTo>
                  <a:pt x="11707" y="9418"/>
                </a:lnTo>
                <a:lnTo>
                  <a:pt x="11385" y="8876"/>
                </a:lnTo>
                <a:lnTo>
                  <a:pt x="11062" y="8443"/>
                </a:lnTo>
                <a:lnTo>
                  <a:pt x="10633" y="8010"/>
                </a:lnTo>
                <a:lnTo>
                  <a:pt x="10203" y="7686"/>
                </a:lnTo>
                <a:lnTo>
                  <a:pt x="9666" y="7361"/>
                </a:lnTo>
                <a:lnTo>
                  <a:pt x="9022" y="7144"/>
                </a:lnTo>
                <a:lnTo>
                  <a:pt x="9344" y="6928"/>
                </a:lnTo>
                <a:lnTo>
                  <a:pt x="9559" y="6820"/>
                </a:lnTo>
                <a:close/>
              </a:path>
            </a:pathLst>
          </a:custGeom>
          <a:solidFill>
            <a:srgbClr val="000000"/>
          </a:solidFill>
        </p:spPr>
        <p:txBody>
          <a:bodyPr wrap="square" lIns="0" tIns="0" rIns="0" bIns="0" rtlCol="0">
            <a:noAutofit/>
          </a:bodyPr>
          <a:lstStyle/>
          <a:p>
            <a:endParaRPr/>
          </a:p>
        </p:txBody>
      </p:sp>
      <p:sp>
        <p:nvSpPr>
          <p:cNvPr id="915" name="object 915"/>
          <p:cNvSpPr/>
          <p:nvPr/>
        </p:nvSpPr>
        <p:spPr>
          <a:xfrm>
            <a:off x="3773231" y="1911290"/>
            <a:ext cx="2362" cy="0"/>
          </a:xfrm>
          <a:custGeom>
            <a:avLst/>
            <a:gdLst/>
            <a:ahLst/>
            <a:cxnLst/>
            <a:rect l="l" t="t" r="r" b="b"/>
            <a:pathLst>
              <a:path w="2362">
                <a:moveTo>
                  <a:pt x="0" y="0"/>
                </a:moveTo>
                <a:lnTo>
                  <a:pt x="2362" y="0"/>
                </a:lnTo>
              </a:path>
            </a:pathLst>
          </a:custGeom>
          <a:ln w="3543">
            <a:solidFill>
              <a:srgbClr val="000000"/>
            </a:solidFill>
          </a:ln>
        </p:spPr>
        <p:txBody>
          <a:bodyPr wrap="square" lIns="0" tIns="0" rIns="0" bIns="0" rtlCol="0">
            <a:noAutofit/>
          </a:bodyPr>
          <a:lstStyle/>
          <a:p>
            <a:endParaRPr/>
          </a:p>
        </p:txBody>
      </p:sp>
      <p:sp>
        <p:nvSpPr>
          <p:cNvPr id="916" name="object 916"/>
          <p:cNvSpPr/>
          <p:nvPr/>
        </p:nvSpPr>
        <p:spPr>
          <a:xfrm>
            <a:off x="3779138" y="1911344"/>
            <a:ext cx="2148" cy="0"/>
          </a:xfrm>
          <a:custGeom>
            <a:avLst/>
            <a:gdLst/>
            <a:ahLst/>
            <a:cxnLst/>
            <a:rect l="l" t="t" r="r" b="b"/>
            <a:pathLst>
              <a:path w="2148">
                <a:moveTo>
                  <a:pt x="0" y="0"/>
                </a:moveTo>
                <a:lnTo>
                  <a:pt x="2148" y="0"/>
                </a:lnTo>
              </a:path>
            </a:pathLst>
          </a:custGeom>
          <a:ln w="3435">
            <a:solidFill>
              <a:srgbClr val="000000"/>
            </a:solidFill>
          </a:ln>
        </p:spPr>
        <p:txBody>
          <a:bodyPr wrap="square" lIns="0" tIns="0" rIns="0" bIns="0" rtlCol="0">
            <a:noAutofit/>
          </a:bodyPr>
          <a:lstStyle/>
          <a:p>
            <a:endParaRPr/>
          </a:p>
        </p:txBody>
      </p:sp>
      <p:sp>
        <p:nvSpPr>
          <p:cNvPr id="917" name="object 917"/>
          <p:cNvSpPr/>
          <p:nvPr/>
        </p:nvSpPr>
        <p:spPr>
          <a:xfrm>
            <a:off x="3779138" y="1902359"/>
            <a:ext cx="2148" cy="0"/>
          </a:xfrm>
          <a:custGeom>
            <a:avLst/>
            <a:gdLst/>
            <a:ahLst/>
            <a:cxnLst/>
            <a:rect l="l" t="t" r="r" b="b"/>
            <a:pathLst>
              <a:path w="2148">
                <a:moveTo>
                  <a:pt x="0" y="0"/>
                </a:moveTo>
                <a:lnTo>
                  <a:pt x="2148" y="0"/>
                </a:lnTo>
              </a:path>
            </a:pathLst>
          </a:custGeom>
          <a:ln w="3651">
            <a:solidFill>
              <a:srgbClr val="000000"/>
            </a:solidFill>
          </a:ln>
        </p:spPr>
        <p:txBody>
          <a:bodyPr wrap="square" lIns="0" tIns="0" rIns="0" bIns="0" rtlCol="0">
            <a:noAutofit/>
          </a:bodyPr>
          <a:lstStyle/>
          <a:p>
            <a:endParaRPr/>
          </a:p>
        </p:txBody>
      </p:sp>
      <p:sp>
        <p:nvSpPr>
          <p:cNvPr id="918" name="object 918"/>
          <p:cNvSpPr/>
          <p:nvPr/>
        </p:nvSpPr>
        <p:spPr>
          <a:xfrm>
            <a:off x="3735210" y="1896622"/>
            <a:ext cx="14929" cy="16238"/>
          </a:xfrm>
          <a:custGeom>
            <a:avLst/>
            <a:gdLst/>
            <a:ahLst/>
            <a:cxnLst/>
            <a:rect l="l" t="t" r="r" b="b"/>
            <a:pathLst>
              <a:path w="14929" h="16238">
                <a:moveTo>
                  <a:pt x="107" y="9526"/>
                </a:moveTo>
                <a:lnTo>
                  <a:pt x="322" y="10175"/>
                </a:lnTo>
                <a:lnTo>
                  <a:pt x="429" y="10933"/>
                </a:lnTo>
                <a:lnTo>
                  <a:pt x="644" y="11691"/>
                </a:lnTo>
                <a:lnTo>
                  <a:pt x="966" y="12341"/>
                </a:lnTo>
                <a:lnTo>
                  <a:pt x="1288" y="12990"/>
                </a:lnTo>
                <a:lnTo>
                  <a:pt x="1718" y="13640"/>
                </a:lnTo>
                <a:lnTo>
                  <a:pt x="2148" y="14181"/>
                </a:lnTo>
                <a:lnTo>
                  <a:pt x="2685" y="14722"/>
                </a:lnTo>
                <a:lnTo>
                  <a:pt x="2577" y="11150"/>
                </a:lnTo>
                <a:lnTo>
                  <a:pt x="2362" y="10717"/>
                </a:lnTo>
                <a:lnTo>
                  <a:pt x="2255" y="10284"/>
                </a:lnTo>
                <a:lnTo>
                  <a:pt x="2255" y="9959"/>
                </a:lnTo>
                <a:lnTo>
                  <a:pt x="2148" y="9526"/>
                </a:lnTo>
                <a:lnTo>
                  <a:pt x="2040" y="9093"/>
                </a:lnTo>
                <a:lnTo>
                  <a:pt x="2040" y="7253"/>
                </a:lnTo>
                <a:lnTo>
                  <a:pt x="2148" y="6820"/>
                </a:lnTo>
                <a:lnTo>
                  <a:pt x="2255" y="6387"/>
                </a:lnTo>
                <a:lnTo>
                  <a:pt x="2255" y="6062"/>
                </a:lnTo>
                <a:lnTo>
                  <a:pt x="2362" y="5629"/>
                </a:lnTo>
                <a:lnTo>
                  <a:pt x="2577" y="5196"/>
                </a:lnTo>
                <a:lnTo>
                  <a:pt x="2685" y="4871"/>
                </a:lnTo>
                <a:lnTo>
                  <a:pt x="3007" y="4221"/>
                </a:lnTo>
                <a:lnTo>
                  <a:pt x="3544" y="3572"/>
                </a:lnTo>
                <a:lnTo>
                  <a:pt x="3974" y="3031"/>
                </a:lnTo>
                <a:lnTo>
                  <a:pt x="4618" y="2598"/>
                </a:lnTo>
                <a:lnTo>
                  <a:pt x="5262" y="2273"/>
                </a:lnTo>
                <a:lnTo>
                  <a:pt x="5907" y="2056"/>
                </a:lnTo>
                <a:lnTo>
                  <a:pt x="6659" y="1840"/>
                </a:lnTo>
                <a:lnTo>
                  <a:pt x="8270" y="1840"/>
                </a:lnTo>
                <a:lnTo>
                  <a:pt x="9022" y="2056"/>
                </a:lnTo>
                <a:lnTo>
                  <a:pt x="9773" y="2273"/>
                </a:lnTo>
                <a:lnTo>
                  <a:pt x="10418" y="2598"/>
                </a:lnTo>
                <a:lnTo>
                  <a:pt x="10955" y="3031"/>
                </a:lnTo>
                <a:lnTo>
                  <a:pt x="11492" y="3572"/>
                </a:lnTo>
                <a:lnTo>
                  <a:pt x="11922" y="4221"/>
                </a:lnTo>
                <a:lnTo>
                  <a:pt x="12351" y="4871"/>
                </a:lnTo>
                <a:lnTo>
                  <a:pt x="12459" y="5196"/>
                </a:lnTo>
                <a:lnTo>
                  <a:pt x="12673" y="5629"/>
                </a:lnTo>
                <a:lnTo>
                  <a:pt x="12781" y="6062"/>
                </a:lnTo>
                <a:lnTo>
                  <a:pt x="12888" y="6387"/>
                </a:lnTo>
                <a:lnTo>
                  <a:pt x="12888" y="6820"/>
                </a:lnTo>
                <a:lnTo>
                  <a:pt x="12996" y="7253"/>
                </a:lnTo>
                <a:lnTo>
                  <a:pt x="12996" y="9093"/>
                </a:lnTo>
                <a:lnTo>
                  <a:pt x="12888" y="9526"/>
                </a:lnTo>
                <a:lnTo>
                  <a:pt x="12781" y="9959"/>
                </a:lnTo>
                <a:lnTo>
                  <a:pt x="12673" y="10284"/>
                </a:lnTo>
                <a:lnTo>
                  <a:pt x="12566" y="10717"/>
                </a:lnTo>
                <a:lnTo>
                  <a:pt x="12459" y="11150"/>
                </a:lnTo>
                <a:lnTo>
                  <a:pt x="12244" y="11475"/>
                </a:lnTo>
                <a:lnTo>
                  <a:pt x="11922" y="12124"/>
                </a:lnTo>
                <a:lnTo>
                  <a:pt x="11492" y="12774"/>
                </a:lnTo>
                <a:lnTo>
                  <a:pt x="10955" y="13315"/>
                </a:lnTo>
                <a:lnTo>
                  <a:pt x="10418" y="13748"/>
                </a:lnTo>
                <a:lnTo>
                  <a:pt x="9773" y="14073"/>
                </a:lnTo>
                <a:lnTo>
                  <a:pt x="9022" y="14289"/>
                </a:lnTo>
                <a:lnTo>
                  <a:pt x="8270" y="14506"/>
                </a:lnTo>
                <a:lnTo>
                  <a:pt x="7518" y="14506"/>
                </a:lnTo>
                <a:lnTo>
                  <a:pt x="6659" y="14397"/>
                </a:lnTo>
                <a:lnTo>
                  <a:pt x="5907" y="14289"/>
                </a:lnTo>
                <a:lnTo>
                  <a:pt x="5262" y="13964"/>
                </a:lnTo>
                <a:lnTo>
                  <a:pt x="4725" y="15913"/>
                </a:lnTo>
                <a:lnTo>
                  <a:pt x="5155" y="16021"/>
                </a:lnTo>
                <a:lnTo>
                  <a:pt x="5585" y="16021"/>
                </a:lnTo>
                <a:lnTo>
                  <a:pt x="6014" y="16129"/>
                </a:lnTo>
                <a:lnTo>
                  <a:pt x="6551" y="16238"/>
                </a:lnTo>
                <a:lnTo>
                  <a:pt x="8485" y="16238"/>
                </a:lnTo>
                <a:lnTo>
                  <a:pt x="8914" y="16129"/>
                </a:lnTo>
                <a:lnTo>
                  <a:pt x="9344" y="16021"/>
                </a:lnTo>
                <a:lnTo>
                  <a:pt x="9773" y="16021"/>
                </a:lnTo>
                <a:lnTo>
                  <a:pt x="10203" y="15913"/>
                </a:lnTo>
                <a:lnTo>
                  <a:pt x="10633" y="15696"/>
                </a:lnTo>
                <a:lnTo>
                  <a:pt x="10955" y="15588"/>
                </a:lnTo>
                <a:lnTo>
                  <a:pt x="11707" y="15155"/>
                </a:lnTo>
                <a:lnTo>
                  <a:pt x="12351" y="14722"/>
                </a:lnTo>
                <a:lnTo>
                  <a:pt x="12888" y="14181"/>
                </a:lnTo>
                <a:lnTo>
                  <a:pt x="13318" y="13640"/>
                </a:lnTo>
                <a:lnTo>
                  <a:pt x="13747" y="12990"/>
                </a:lnTo>
                <a:lnTo>
                  <a:pt x="14070" y="12341"/>
                </a:lnTo>
                <a:lnTo>
                  <a:pt x="14392" y="11691"/>
                </a:lnTo>
                <a:lnTo>
                  <a:pt x="14607" y="10933"/>
                </a:lnTo>
                <a:lnTo>
                  <a:pt x="14714" y="10175"/>
                </a:lnTo>
                <a:lnTo>
                  <a:pt x="14822" y="9526"/>
                </a:lnTo>
                <a:lnTo>
                  <a:pt x="14929" y="8876"/>
                </a:lnTo>
                <a:lnTo>
                  <a:pt x="14929" y="7469"/>
                </a:lnTo>
                <a:lnTo>
                  <a:pt x="14822" y="6711"/>
                </a:lnTo>
                <a:lnTo>
                  <a:pt x="14714" y="6062"/>
                </a:lnTo>
                <a:lnTo>
                  <a:pt x="14607" y="5304"/>
                </a:lnTo>
                <a:lnTo>
                  <a:pt x="14392" y="4654"/>
                </a:lnTo>
                <a:lnTo>
                  <a:pt x="14070" y="4005"/>
                </a:lnTo>
                <a:lnTo>
                  <a:pt x="13747" y="3355"/>
                </a:lnTo>
                <a:lnTo>
                  <a:pt x="13318" y="2706"/>
                </a:lnTo>
                <a:lnTo>
                  <a:pt x="12888" y="2056"/>
                </a:lnTo>
                <a:lnTo>
                  <a:pt x="12351" y="1515"/>
                </a:lnTo>
                <a:lnTo>
                  <a:pt x="11707" y="1082"/>
                </a:lnTo>
                <a:lnTo>
                  <a:pt x="10955" y="757"/>
                </a:lnTo>
                <a:lnTo>
                  <a:pt x="10633" y="541"/>
                </a:lnTo>
                <a:lnTo>
                  <a:pt x="10203" y="433"/>
                </a:lnTo>
                <a:lnTo>
                  <a:pt x="9773" y="324"/>
                </a:lnTo>
                <a:lnTo>
                  <a:pt x="9344" y="216"/>
                </a:lnTo>
                <a:lnTo>
                  <a:pt x="8914" y="108"/>
                </a:lnTo>
                <a:lnTo>
                  <a:pt x="8485" y="0"/>
                </a:lnTo>
                <a:lnTo>
                  <a:pt x="6551" y="0"/>
                </a:lnTo>
                <a:lnTo>
                  <a:pt x="6014" y="108"/>
                </a:lnTo>
                <a:lnTo>
                  <a:pt x="5585" y="216"/>
                </a:lnTo>
                <a:lnTo>
                  <a:pt x="5155" y="324"/>
                </a:lnTo>
                <a:lnTo>
                  <a:pt x="4725" y="433"/>
                </a:lnTo>
                <a:lnTo>
                  <a:pt x="4296" y="541"/>
                </a:lnTo>
                <a:lnTo>
                  <a:pt x="3974" y="757"/>
                </a:lnTo>
                <a:lnTo>
                  <a:pt x="3329" y="1082"/>
                </a:lnTo>
                <a:lnTo>
                  <a:pt x="2685" y="1515"/>
                </a:lnTo>
                <a:lnTo>
                  <a:pt x="2148" y="2056"/>
                </a:lnTo>
                <a:lnTo>
                  <a:pt x="1718" y="2706"/>
                </a:lnTo>
                <a:lnTo>
                  <a:pt x="1288" y="3355"/>
                </a:lnTo>
                <a:lnTo>
                  <a:pt x="966" y="4005"/>
                </a:lnTo>
                <a:lnTo>
                  <a:pt x="644" y="4654"/>
                </a:lnTo>
                <a:lnTo>
                  <a:pt x="429" y="5304"/>
                </a:lnTo>
                <a:lnTo>
                  <a:pt x="322" y="6062"/>
                </a:lnTo>
                <a:lnTo>
                  <a:pt x="107" y="6711"/>
                </a:lnTo>
                <a:lnTo>
                  <a:pt x="0" y="7469"/>
                </a:lnTo>
                <a:lnTo>
                  <a:pt x="0" y="8876"/>
                </a:lnTo>
                <a:lnTo>
                  <a:pt x="107" y="9526"/>
                </a:lnTo>
                <a:close/>
              </a:path>
            </a:pathLst>
          </a:custGeom>
          <a:solidFill>
            <a:srgbClr val="000000"/>
          </a:solidFill>
        </p:spPr>
        <p:txBody>
          <a:bodyPr wrap="square" lIns="0" tIns="0" rIns="0" bIns="0" rtlCol="0">
            <a:noAutofit/>
          </a:bodyPr>
          <a:lstStyle/>
          <a:p>
            <a:endParaRPr/>
          </a:p>
        </p:txBody>
      </p:sp>
      <p:sp>
        <p:nvSpPr>
          <p:cNvPr id="919" name="object 919"/>
          <p:cNvSpPr/>
          <p:nvPr/>
        </p:nvSpPr>
        <p:spPr>
          <a:xfrm>
            <a:off x="3719636" y="1896946"/>
            <a:ext cx="10633" cy="15480"/>
          </a:xfrm>
          <a:custGeom>
            <a:avLst/>
            <a:gdLst/>
            <a:ahLst/>
            <a:cxnLst/>
            <a:rect l="l" t="t" r="r" b="b"/>
            <a:pathLst>
              <a:path w="10633" h="15480">
                <a:moveTo>
                  <a:pt x="1933" y="1840"/>
                </a:moveTo>
                <a:lnTo>
                  <a:pt x="10633" y="1840"/>
                </a:lnTo>
                <a:lnTo>
                  <a:pt x="10633" y="0"/>
                </a:lnTo>
                <a:lnTo>
                  <a:pt x="0" y="0"/>
                </a:lnTo>
                <a:lnTo>
                  <a:pt x="0" y="15480"/>
                </a:lnTo>
                <a:lnTo>
                  <a:pt x="1933" y="15480"/>
                </a:lnTo>
                <a:lnTo>
                  <a:pt x="1933" y="8443"/>
                </a:lnTo>
                <a:lnTo>
                  <a:pt x="9559" y="8443"/>
                </a:lnTo>
                <a:lnTo>
                  <a:pt x="9559" y="6603"/>
                </a:lnTo>
                <a:lnTo>
                  <a:pt x="1933" y="6603"/>
                </a:lnTo>
                <a:lnTo>
                  <a:pt x="1933" y="1840"/>
                </a:lnTo>
                <a:close/>
              </a:path>
            </a:pathLst>
          </a:custGeom>
          <a:solidFill>
            <a:srgbClr val="000000"/>
          </a:solidFill>
        </p:spPr>
        <p:txBody>
          <a:bodyPr wrap="square" lIns="0" tIns="0" rIns="0" bIns="0" rtlCol="0">
            <a:noAutofit/>
          </a:bodyPr>
          <a:lstStyle/>
          <a:p>
            <a:endParaRPr/>
          </a:p>
        </p:txBody>
      </p:sp>
      <p:sp>
        <p:nvSpPr>
          <p:cNvPr id="920" name="object 920"/>
          <p:cNvSpPr/>
          <p:nvPr/>
        </p:nvSpPr>
        <p:spPr>
          <a:xfrm>
            <a:off x="3730376" y="1911290"/>
            <a:ext cx="2362" cy="0"/>
          </a:xfrm>
          <a:custGeom>
            <a:avLst/>
            <a:gdLst/>
            <a:ahLst/>
            <a:cxnLst/>
            <a:rect l="l" t="t" r="r" b="b"/>
            <a:pathLst>
              <a:path w="2362">
                <a:moveTo>
                  <a:pt x="0" y="0"/>
                </a:moveTo>
                <a:lnTo>
                  <a:pt x="2362" y="0"/>
                </a:lnTo>
              </a:path>
            </a:pathLst>
          </a:custGeom>
          <a:ln w="3543">
            <a:solidFill>
              <a:srgbClr val="000000"/>
            </a:solidFill>
          </a:ln>
        </p:spPr>
        <p:txBody>
          <a:bodyPr wrap="square" lIns="0" tIns="0" rIns="0" bIns="0" rtlCol="0">
            <a:noAutofit/>
          </a:bodyPr>
          <a:lstStyle/>
          <a:p>
            <a:endParaRPr/>
          </a:p>
        </p:txBody>
      </p:sp>
      <p:sp>
        <p:nvSpPr>
          <p:cNvPr id="921" name="object 921"/>
          <p:cNvSpPr/>
          <p:nvPr/>
        </p:nvSpPr>
        <p:spPr>
          <a:xfrm>
            <a:off x="3737788" y="1907773"/>
            <a:ext cx="2685" cy="4763"/>
          </a:xfrm>
          <a:custGeom>
            <a:avLst/>
            <a:gdLst/>
            <a:ahLst/>
            <a:cxnLst/>
            <a:rect l="l" t="t" r="r" b="b"/>
            <a:pathLst>
              <a:path w="2685" h="4763">
                <a:moveTo>
                  <a:pt x="429" y="974"/>
                </a:moveTo>
                <a:lnTo>
                  <a:pt x="107" y="324"/>
                </a:lnTo>
                <a:lnTo>
                  <a:pt x="0" y="0"/>
                </a:lnTo>
                <a:lnTo>
                  <a:pt x="107" y="3572"/>
                </a:lnTo>
                <a:lnTo>
                  <a:pt x="751" y="4005"/>
                </a:lnTo>
                <a:lnTo>
                  <a:pt x="1396" y="4438"/>
                </a:lnTo>
                <a:lnTo>
                  <a:pt x="1718" y="4546"/>
                </a:lnTo>
                <a:lnTo>
                  <a:pt x="2148" y="4763"/>
                </a:lnTo>
                <a:lnTo>
                  <a:pt x="2685" y="2814"/>
                </a:lnTo>
                <a:lnTo>
                  <a:pt x="2040" y="2489"/>
                </a:lnTo>
                <a:lnTo>
                  <a:pt x="1396" y="2056"/>
                </a:lnTo>
                <a:lnTo>
                  <a:pt x="966" y="1515"/>
                </a:lnTo>
                <a:lnTo>
                  <a:pt x="429" y="974"/>
                </a:lnTo>
                <a:close/>
              </a:path>
            </a:pathLst>
          </a:custGeom>
          <a:solidFill>
            <a:srgbClr val="000000"/>
          </a:solidFill>
        </p:spPr>
        <p:txBody>
          <a:bodyPr wrap="square" lIns="0" tIns="0" rIns="0" bIns="0" rtlCol="0">
            <a:noAutofit/>
          </a:bodyPr>
          <a:lstStyle/>
          <a:p>
            <a:endParaRPr/>
          </a:p>
        </p:txBody>
      </p:sp>
      <p:sp>
        <p:nvSpPr>
          <p:cNvPr id="922" name="object 922"/>
          <p:cNvSpPr/>
          <p:nvPr/>
        </p:nvSpPr>
        <p:spPr>
          <a:xfrm>
            <a:off x="3752931" y="1911290"/>
            <a:ext cx="2362" cy="0"/>
          </a:xfrm>
          <a:custGeom>
            <a:avLst/>
            <a:gdLst/>
            <a:ahLst/>
            <a:cxnLst/>
            <a:rect l="l" t="t" r="r" b="b"/>
            <a:pathLst>
              <a:path w="2362">
                <a:moveTo>
                  <a:pt x="0" y="0"/>
                </a:moveTo>
                <a:lnTo>
                  <a:pt x="2362" y="0"/>
                </a:lnTo>
              </a:path>
            </a:pathLst>
          </a:custGeom>
          <a:ln w="3543">
            <a:solidFill>
              <a:srgbClr val="000000"/>
            </a:solidFill>
          </a:ln>
        </p:spPr>
        <p:txBody>
          <a:bodyPr wrap="square" lIns="0" tIns="0" rIns="0" bIns="0" rtlCol="0">
            <a:noAutofit/>
          </a:bodyPr>
          <a:lstStyle/>
          <a:p>
            <a:endParaRPr/>
          </a:p>
        </p:txBody>
      </p:sp>
      <p:sp>
        <p:nvSpPr>
          <p:cNvPr id="923" name="object 923"/>
          <p:cNvSpPr/>
          <p:nvPr/>
        </p:nvSpPr>
        <p:spPr>
          <a:xfrm>
            <a:off x="3829297" y="1940791"/>
            <a:ext cx="1288" cy="4005"/>
          </a:xfrm>
          <a:custGeom>
            <a:avLst/>
            <a:gdLst/>
            <a:ahLst/>
            <a:cxnLst/>
            <a:rect l="l" t="t" r="r" b="b"/>
            <a:pathLst>
              <a:path w="1288" h="4005">
                <a:moveTo>
                  <a:pt x="537" y="3680"/>
                </a:moveTo>
                <a:lnTo>
                  <a:pt x="1288" y="4005"/>
                </a:lnTo>
                <a:lnTo>
                  <a:pt x="644" y="1407"/>
                </a:lnTo>
                <a:lnTo>
                  <a:pt x="322" y="757"/>
                </a:lnTo>
                <a:lnTo>
                  <a:pt x="107" y="0"/>
                </a:lnTo>
                <a:lnTo>
                  <a:pt x="0" y="3355"/>
                </a:lnTo>
                <a:lnTo>
                  <a:pt x="537" y="3680"/>
                </a:lnTo>
                <a:close/>
              </a:path>
            </a:pathLst>
          </a:custGeom>
          <a:solidFill>
            <a:srgbClr val="000000"/>
          </a:solidFill>
        </p:spPr>
        <p:txBody>
          <a:bodyPr wrap="square" lIns="0" tIns="0" rIns="0" bIns="0" rtlCol="0">
            <a:noAutofit/>
          </a:bodyPr>
          <a:lstStyle/>
          <a:p>
            <a:endParaRPr/>
          </a:p>
        </p:txBody>
      </p:sp>
      <p:sp>
        <p:nvSpPr>
          <p:cNvPr id="924" name="object 924"/>
          <p:cNvSpPr/>
          <p:nvPr/>
        </p:nvSpPr>
        <p:spPr>
          <a:xfrm>
            <a:off x="3827257" y="1929207"/>
            <a:ext cx="9773" cy="15805"/>
          </a:xfrm>
          <a:custGeom>
            <a:avLst/>
            <a:gdLst/>
            <a:ahLst/>
            <a:cxnLst/>
            <a:rect l="l" t="t" r="r" b="b"/>
            <a:pathLst>
              <a:path w="9773" h="15805">
                <a:moveTo>
                  <a:pt x="2040" y="14939"/>
                </a:moveTo>
                <a:lnTo>
                  <a:pt x="2148" y="11583"/>
                </a:lnTo>
                <a:lnTo>
                  <a:pt x="1933" y="10825"/>
                </a:lnTo>
                <a:lnTo>
                  <a:pt x="1933" y="8985"/>
                </a:lnTo>
                <a:lnTo>
                  <a:pt x="2040" y="8227"/>
                </a:lnTo>
                <a:lnTo>
                  <a:pt x="2255" y="7469"/>
                </a:lnTo>
                <a:lnTo>
                  <a:pt x="2470" y="6820"/>
                </a:lnTo>
                <a:lnTo>
                  <a:pt x="2899" y="6278"/>
                </a:lnTo>
                <a:lnTo>
                  <a:pt x="3436" y="5845"/>
                </a:lnTo>
                <a:lnTo>
                  <a:pt x="4081" y="5629"/>
                </a:lnTo>
                <a:lnTo>
                  <a:pt x="4940" y="5520"/>
                </a:lnTo>
                <a:lnTo>
                  <a:pt x="5692" y="5629"/>
                </a:lnTo>
                <a:lnTo>
                  <a:pt x="6229" y="5845"/>
                </a:lnTo>
                <a:lnTo>
                  <a:pt x="6766" y="6170"/>
                </a:lnTo>
                <a:lnTo>
                  <a:pt x="7196" y="6711"/>
                </a:lnTo>
                <a:lnTo>
                  <a:pt x="7518" y="7469"/>
                </a:lnTo>
                <a:lnTo>
                  <a:pt x="7733" y="8227"/>
                </a:lnTo>
                <a:lnTo>
                  <a:pt x="7948" y="9201"/>
                </a:lnTo>
                <a:lnTo>
                  <a:pt x="7948" y="10392"/>
                </a:lnTo>
                <a:lnTo>
                  <a:pt x="7840" y="11258"/>
                </a:lnTo>
                <a:lnTo>
                  <a:pt x="7733" y="12124"/>
                </a:lnTo>
                <a:lnTo>
                  <a:pt x="7411" y="12774"/>
                </a:lnTo>
                <a:lnTo>
                  <a:pt x="6981" y="13315"/>
                </a:lnTo>
                <a:lnTo>
                  <a:pt x="6444" y="13640"/>
                </a:lnTo>
                <a:lnTo>
                  <a:pt x="6014" y="13964"/>
                </a:lnTo>
                <a:lnTo>
                  <a:pt x="5477" y="14073"/>
                </a:lnTo>
                <a:lnTo>
                  <a:pt x="4940" y="14181"/>
                </a:lnTo>
                <a:lnTo>
                  <a:pt x="4188" y="14073"/>
                </a:lnTo>
                <a:lnTo>
                  <a:pt x="3544" y="13856"/>
                </a:lnTo>
                <a:lnTo>
                  <a:pt x="3114" y="13531"/>
                </a:lnTo>
                <a:lnTo>
                  <a:pt x="2685" y="12990"/>
                </a:lnTo>
                <a:lnTo>
                  <a:pt x="3329" y="15588"/>
                </a:lnTo>
                <a:lnTo>
                  <a:pt x="3974" y="15696"/>
                </a:lnTo>
                <a:lnTo>
                  <a:pt x="4833" y="15805"/>
                </a:lnTo>
                <a:lnTo>
                  <a:pt x="5048" y="15805"/>
                </a:lnTo>
                <a:lnTo>
                  <a:pt x="5692" y="15696"/>
                </a:lnTo>
                <a:lnTo>
                  <a:pt x="5907" y="15588"/>
                </a:lnTo>
                <a:lnTo>
                  <a:pt x="6122" y="15588"/>
                </a:lnTo>
                <a:lnTo>
                  <a:pt x="6336" y="15480"/>
                </a:lnTo>
                <a:lnTo>
                  <a:pt x="6551" y="15372"/>
                </a:lnTo>
                <a:lnTo>
                  <a:pt x="6873" y="15263"/>
                </a:lnTo>
                <a:lnTo>
                  <a:pt x="7088" y="15047"/>
                </a:lnTo>
                <a:lnTo>
                  <a:pt x="7303" y="14939"/>
                </a:lnTo>
                <a:lnTo>
                  <a:pt x="7518" y="14722"/>
                </a:lnTo>
                <a:lnTo>
                  <a:pt x="7733" y="14506"/>
                </a:lnTo>
                <a:lnTo>
                  <a:pt x="7840" y="14289"/>
                </a:lnTo>
                <a:lnTo>
                  <a:pt x="8055" y="13964"/>
                </a:lnTo>
                <a:lnTo>
                  <a:pt x="8055" y="15480"/>
                </a:lnTo>
                <a:lnTo>
                  <a:pt x="9773" y="15480"/>
                </a:lnTo>
                <a:lnTo>
                  <a:pt x="9773" y="0"/>
                </a:lnTo>
                <a:lnTo>
                  <a:pt x="7948" y="0"/>
                </a:lnTo>
                <a:lnTo>
                  <a:pt x="7948" y="5737"/>
                </a:lnTo>
                <a:lnTo>
                  <a:pt x="7625" y="5304"/>
                </a:lnTo>
                <a:lnTo>
                  <a:pt x="7303" y="4979"/>
                </a:lnTo>
                <a:lnTo>
                  <a:pt x="6981" y="4654"/>
                </a:lnTo>
                <a:lnTo>
                  <a:pt x="6659" y="4438"/>
                </a:lnTo>
                <a:lnTo>
                  <a:pt x="6229" y="4221"/>
                </a:lnTo>
                <a:lnTo>
                  <a:pt x="5799" y="4005"/>
                </a:lnTo>
                <a:lnTo>
                  <a:pt x="5262" y="3897"/>
                </a:lnTo>
                <a:lnTo>
                  <a:pt x="3974" y="3897"/>
                </a:lnTo>
                <a:lnTo>
                  <a:pt x="3329" y="4005"/>
                </a:lnTo>
                <a:lnTo>
                  <a:pt x="2685" y="4221"/>
                </a:lnTo>
                <a:lnTo>
                  <a:pt x="2148" y="4546"/>
                </a:lnTo>
                <a:lnTo>
                  <a:pt x="1718" y="4979"/>
                </a:lnTo>
                <a:lnTo>
                  <a:pt x="1288" y="5412"/>
                </a:lnTo>
                <a:lnTo>
                  <a:pt x="859" y="5954"/>
                </a:lnTo>
                <a:lnTo>
                  <a:pt x="537" y="6603"/>
                </a:lnTo>
                <a:lnTo>
                  <a:pt x="322" y="7253"/>
                </a:lnTo>
                <a:lnTo>
                  <a:pt x="107" y="8010"/>
                </a:lnTo>
                <a:lnTo>
                  <a:pt x="0" y="8768"/>
                </a:lnTo>
                <a:lnTo>
                  <a:pt x="0" y="10284"/>
                </a:lnTo>
                <a:lnTo>
                  <a:pt x="107" y="11041"/>
                </a:lnTo>
                <a:lnTo>
                  <a:pt x="322" y="11799"/>
                </a:lnTo>
                <a:lnTo>
                  <a:pt x="537" y="12557"/>
                </a:lnTo>
                <a:lnTo>
                  <a:pt x="751" y="13207"/>
                </a:lnTo>
                <a:lnTo>
                  <a:pt x="1074" y="13856"/>
                </a:lnTo>
                <a:lnTo>
                  <a:pt x="1503" y="14397"/>
                </a:lnTo>
                <a:lnTo>
                  <a:pt x="2040" y="14939"/>
                </a:lnTo>
                <a:close/>
              </a:path>
            </a:pathLst>
          </a:custGeom>
          <a:solidFill>
            <a:srgbClr val="000000"/>
          </a:solidFill>
        </p:spPr>
        <p:txBody>
          <a:bodyPr wrap="square" lIns="0" tIns="0" rIns="0" bIns="0" rtlCol="0">
            <a:noAutofit/>
          </a:bodyPr>
          <a:lstStyle/>
          <a:p>
            <a:endParaRPr/>
          </a:p>
        </p:txBody>
      </p:sp>
      <p:sp>
        <p:nvSpPr>
          <p:cNvPr id="925" name="object 925"/>
          <p:cNvSpPr/>
          <p:nvPr/>
        </p:nvSpPr>
        <p:spPr>
          <a:xfrm>
            <a:off x="3840252" y="1943604"/>
            <a:ext cx="2148" cy="0"/>
          </a:xfrm>
          <a:custGeom>
            <a:avLst/>
            <a:gdLst/>
            <a:ahLst/>
            <a:cxnLst/>
            <a:rect l="l" t="t" r="r" b="b"/>
            <a:pathLst>
              <a:path w="2148">
                <a:moveTo>
                  <a:pt x="0" y="0"/>
                </a:moveTo>
                <a:lnTo>
                  <a:pt x="2148" y="0"/>
                </a:lnTo>
              </a:path>
            </a:pathLst>
          </a:custGeom>
          <a:ln w="3435">
            <a:solidFill>
              <a:srgbClr val="000000"/>
            </a:solidFill>
          </a:ln>
        </p:spPr>
        <p:txBody>
          <a:bodyPr wrap="square" lIns="0" tIns="0" rIns="0" bIns="0" rtlCol="0">
            <a:noAutofit/>
          </a:bodyPr>
          <a:lstStyle/>
          <a:p>
            <a:endParaRPr/>
          </a:p>
        </p:txBody>
      </p:sp>
      <p:sp>
        <p:nvSpPr>
          <p:cNvPr id="926" name="object 926"/>
          <p:cNvSpPr/>
          <p:nvPr/>
        </p:nvSpPr>
        <p:spPr>
          <a:xfrm>
            <a:off x="3840252" y="1934619"/>
            <a:ext cx="2148" cy="0"/>
          </a:xfrm>
          <a:custGeom>
            <a:avLst/>
            <a:gdLst/>
            <a:ahLst/>
            <a:cxnLst/>
            <a:rect l="l" t="t" r="r" b="b"/>
            <a:pathLst>
              <a:path w="2148">
                <a:moveTo>
                  <a:pt x="0" y="0"/>
                </a:moveTo>
                <a:lnTo>
                  <a:pt x="2148" y="0"/>
                </a:lnTo>
              </a:path>
            </a:pathLst>
          </a:custGeom>
          <a:ln w="3651">
            <a:solidFill>
              <a:srgbClr val="000000"/>
            </a:solidFill>
          </a:ln>
        </p:spPr>
        <p:txBody>
          <a:bodyPr wrap="square" lIns="0" tIns="0" rIns="0" bIns="0" rtlCol="0">
            <a:noAutofit/>
          </a:bodyPr>
          <a:lstStyle/>
          <a:p>
            <a:endParaRPr/>
          </a:p>
        </p:txBody>
      </p:sp>
      <p:sp>
        <p:nvSpPr>
          <p:cNvPr id="927" name="object 927"/>
          <p:cNvSpPr/>
          <p:nvPr/>
        </p:nvSpPr>
        <p:spPr>
          <a:xfrm>
            <a:off x="3719635" y="1929206"/>
            <a:ext cx="12566" cy="15480"/>
          </a:xfrm>
          <a:custGeom>
            <a:avLst/>
            <a:gdLst/>
            <a:ahLst/>
            <a:cxnLst/>
            <a:rect l="l" t="t" r="r" b="b"/>
            <a:pathLst>
              <a:path w="12566" h="15480">
                <a:moveTo>
                  <a:pt x="12459" y="9201"/>
                </a:moveTo>
                <a:lnTo>
                  <a:pt x="12459" y="8768"/>
                </a:lnTo>
                <a:lnTo>
                  <a:pt x="12566" y="8227"/>
                </a:lnTo>
                <a:lnTo>
                  <a:pt x="12566" y="6711"/>
                </a:lnTo>
                <a:lnTo>
                  <a:pt x="12459" y="6062"/>
                </a:lnTo>
                <a:lnTo>
                  <a:pt x="12351" y="5520"/>
                </a:lnTo>
                <a:lnTo>
                  <a:pt x="12244" y="5087"/>
                </a:lnTo>
                <a:lnTo>
                  <a:pt x="12136" y="4546"/>
                </a:lnTo>
                <a:lnTo>
                  <a:pt x="11922" y="4113"/>
                </a:lnTo>
                <a:lnTo>
                  <a:pt x="11707" y="3680"/>
                </a:lnTo>
                <a:lnTo>
                  <a:pt x="11492" y="3247"/>
                </a:lnTo>
                <a:lnTo>
                  <a:pt x="11062" y="2489"/>
                </a:lnTo>
                <a:lnTo>
                  <a:pt x="10525" y="1840"/>
                </a:lnTo>
                <a:lnTo>
                  <a:pt x="9881" y="1190"/>
                </a:lnTo>
                <a:lnTo>
                  <a:pt x="9236" y="757"/>
                </a:lnTo>
                <a:lnTo>
                  <a:pt x="8485" y="433"/>
                </a:lnTo>
                <a:lnTo>
                  <a:pt x="7840" y="216"/>
                </a:lnTo>
                <a:lnTo>
                  <a:pt x="7088" y="0"/>
                </a:lnTo>
                <a:lnTo>
                  <a:pt x="0" y="0"/>
                </a:lnTo>
                <a:lnTo>
                  <a:pt x="0" y="15480"/>
                </a:lnTo>
                <a:lnTo>
                  <a:pt x="6444" y="15480"/>
                </a:lnTo>
                <a:lnTo>
                  <a:pt x="6981" y="13748"/>
                </a:lnTo>
                <a:lnTo>
                  <a:pt x="6336" y="13856"/>
                </a:lnTo>
                <a:lnTo>
                  <a:pt x="1933" y="13856"/>
                </a:lnTo>
                <a:lnTo>
                  <a:pt x="1933" y="1840"/>
                </a:lnTo>
                <a:lnTo>
                  <a:pt x="6659" y="1840"/>
                </a:lnTo>
                <a:lnTo>
                  <a:pt x="7196" y="1948"/>
                </a:lnTo>
                <a:lnTo>
                  <a:pt x="7625" y="2056"/>
                </a:lnTo>
                <a:lnTo>
                  <a:pt x="8055" y="2273"/>
                </a:lnTo>
                <a:lnTo>
                  <a:pt x="8485" y="2489"/>
                </a:lnTo>
                <a:lnTo>
                  <a:pt x="8914" y="2814"/>
                </a:lnTo>
                <a:lnTo>
                  <a:pt x="9236" y="3139"/>
                </a:lnTo>
                <a:lnTo>
                  <a:pt x="9451" y="3572"/>
                </a:lnTo>
                <a:lnTo>
                  <a:pt x="9773" y="3897"/>
                </a:lnTo>
                <a:lnTo>
                  <a:pt x="9988" y="4330"/>
                </a:lnTo>
                <a:lnTo>
                  <a:pt x="10096" y="4871"/>
                </a:lnTo>
                <a:lnTo>
                  <a:pt x="10310" y="5304"/>
                </a:lnTo>
                <a:lnTo>
                  <a:pt x="10418" y="5845"/>
                </a:lnTo>
                <a:lnTo>
                  <a:pt x="10418" y="6387"/>
                </a:lnTo>
                <a:lnTo>
                  <a:pt x="10525" y="6928"/>
                </a:lnTo>
                <a:lnTo>
                  <a:pt x="10525" y="8227"/>
                </a:lnTo>
                <a:lnTo>
                  <a:pt x="10418" y="8985"/>
                </a:lnTo>
                <a:lnTo>
                  <a:pt x="10310" y="9742"/>
                </a:lnTo>
                <a:lnTo>
                  <a:pt x="10096" y="10500"/>
                </a:lnTo>
                <a:lnTo>
                  <a:pt x="9773" y="11258"/>
                </a:lnTo>
                <a:lnTo>
                  <a:pt x="9451" y="11799"/>
                </a:lnTo>
                <a:lnTo>
                  <a:pt x="9022" y="12449"/>
                </a:lnTo>
                <a:lnTo>
                  <a:pt x="8699" y="15047"/>
                </a:lnTo>
                <a:lnTo>
                  <a:pt x="9022" y="14830"/>
                </a:lnTo>
                <a:lnTo>
                  <a:pt x="9451" y="14614"/>
                </a:lnTo>
                <a:lnTo>
                  <a:pt x="9773" y="14289"/>
                </a:lnTo>
                <a:lnTo>
                  <a:pt x="10418" y="13640"/>
                </a:lnTo>
                <a:lnTo>
                  <a:pt x="11062" y="12882"/>
                </a:lnTo>
                <a:lnTo>
                  <a:pt x="11492" y="12124"/>
                </a:lnTo>
                <a:lnTo>
                  <a:pt x="11922" y="11150"/>
                </a:lnTo>
                <a:lnTo>
                  <a:pt x="12029" y="10717"/>
                </a:lnTo>
                <a:lnTo>
                  <a:pt x="12244" y="10175"/>
                </a:lnTo>
                <a:lnTo>
                  <a:pt x="12351" y="9742"/>
                </a:lnTo>
                <a:lnTo>
                  <a:pt x="12459" y="9201"/>
                </a:lnTo>
                <a:close/>
              </a:path>
            </a:pathLst>
          </a:custGeom>
          <a:solidFill>
            <a:srgbClr val="000000"/>
          </a:solidFill>
        </p:spPr>
        <p:txBody>
          <a:bodyPr wrap="square" lIns="0" tIns="0" rIns="0" bIns="0" rtlCol="0">
            <a:noAutofit/>
          </a:bodyPr>
          <a:lstStyle/>
          <a:p>
            <a:endParaRPr/>
          </a:p>
        </p:txBody>
      </p:sp>
      <p:sp>
        <p:nvSpPr>
          <p:cNvPr id="928" name="object 928"/>
          <p:cNvSpPr/>
          <p:nvPr/>
        </p:nvSpPr>
        <p:spPr>
          <a:xfrm>
            <a:off x="3726081" y="1941657"/>
            <a:ext cx="2577" cy="3031"/>
          </a:xfrm>
          <a:custGeom>
            <a:avLst/>
            <a:gdLst/>
            <a:ahLst/>
            <a:cxnLst/>
            <a:rect l="l" t="t" r="r" b="b"/>
            <a:pathLst>
              <a:path w="2577" h="3031">
                <a:moveTo>
                  <a:pt x="0" y="3031"/>
                </a:moveTo>
                <a:lnTo>
                  <a:pt x="429" y="3031"/>
                </a:lnTo>
                <a:lnTo>
                  <a:pt x="966" y="2922"/>
                </a:lnTo>
                <a:lnTo>
                  <a:pt x="1396" y="2922"/>
                </a:lnTo>
                <a:lnTo>
                  <a:pt x="1825" y="2706"/>
                </a:lnTo>
                <a:lnTo>
                  <a:pt x="2255" y="2598"/>
                </a:lnTo>
                <a:lnTo>
                  <a:pt x="2577" y="0"/>
                </a:lnTo>
                <a:lnTo>
                  <a:pt x="2148" y="433"/>
                </a:lnTo>
                <a:lnTo>
                  <a:pt x="1611" y="866"/>
                </a:lnTo>
                <a:lnTo>
                  <a:pt x="1074" y="1190"/>
                </a:lnTo>
                <a:lnTo>
                  <a:pt x="537" y="1299"/>
                </a:lnTo>
                <a:lnTo>
                  <a:pt x="0" y="3031"/>
                </a:lnTo>
                <a:close/>
              </a:path>
            </a:pathLst>
          </a:custGeom>
          <a:solidFill>
            <a:srgbClr val="000000"/>
          </a:solidFill>
        </p:spPr>
        <p:txBody>
          <a:bodyPr wrap="square" lIns="0" tIns="0" rIns="0" bIns="0" rtlCol="0">
            <a:noAutofit/>
          </a:bodyPr>
          <a:lstStyle/>
          <a:p>
            <a:endParaRPr/>
          </a:p>
        </p:txBody>
      </p:sp>
      <p:sp>
        <p:nvSpPr>
          <p:cNvPr id="929" name="object 929"/>
          <p:cNvSpPr/>
          <p:nvPr/>
        </p:nvSpPr>
        <p:spPr>
          <a:xfrm>
            <a:off x="3734029" y="1933105"/>
            <a:ext cx="10633" cy="11799"/>
          </a:xfrm>
          <a:custGeom>
            <a:avLst/>
            <a:gdLst/>
            <a:ahLst/>
            <a:cxnLst/>
            <a:rect l="l" t="t" r="r" b="b"/>
            <a:pathLst>
              <a:path w="10633" h="11799">
                <a:moveTo>
                  <a:pt x="6981" y="9201"/>
                </a:moveTo>
                <a:lnTo>
                  <a:pt x="6659" y="9526"/>
                </a:lnTo>
                <a:lnTo>
                  <a:pt x="6336" y="9742"/>
                </a:lnTo>
                <a:lnTo>
                  <a:pt x="6014" y="9851"/>
                </a:lnTo>
                <a:lnTo>
                  <a:pt x="5585" y="10067"/>
                </a:lnTo>
                <a:lnTo>
                  <a:pt x="5155" y="10175"/>
                </a:lnTo>
                <a:lnTo>
                  <a:pt x="5370" y="11583"/>
                </a:lnTo>
                <a:lnTo>
                  <a:pt x="5799" y="11366"/>
                </a:lnTo>
                <a:lnTo>
                  <a:pt x="6336" y="11150"/>
                </a:lnTo>
                <a:lnTo>
                  <a:pt x="6766" y="10933"/>
                </a:lnTo>
                <a:lnTo>
                  <a:pt x="7196" y="10608"/>
                </a:lnTo>
                <a:lnTo>
                  <a:pt x="7625" y="10175"/>
                </a:lnTo>
                <a:lnTo>
                  <a:pt x="7840" y="10825"/>
                </a:lnTo>
                <a:lnTo>
                  <a:pt x="8162" y="11366"/>
                </a:lnTo>
                <a:lnTo>
                  <a:pt x="8592" y="11583"/>
                </a:lnTo>
                <a:lnTo>
                  <a:pt x="9344" y="11691"/>
                </a:lnTo>
                <a:lnTo>
                  <a:pt x="10418" y="11691"/>
                </a:lnTo>
                <a:lnTo>
                  <a:pt x="10633" y="11583"/>
                </a:lnTo>
                <a:lnTo>
                  <a:pt x="10633" y="10284"/>
                </a:lnTo>
                <a:lnTo>
                  <a:pt x="10096" y="10284"/>
                </a:lnTo>
                <a:lnTo>
                  <a:pt x="9881" y="10392"/>
                </a:lnTo>
                <a:lnTo>
                  <a:pt x="9666" y="10284"/>
                </a:lnTo>
                <a:lnTo>
                  <a:pt x="9451" y="10175"/>
                </a:lnTo>
                <a:lnTo>
                  <a:pt x="9451" y="9851"/>
                </a:lnTo>
                <a:lnTo>
                  <a:pt x="9344" y="9634"/>
                </a:lnTo>
                <a:lnTo>
                  <a:pt x="9344" y="2489"/>
                </a:lnTo>
                <a:lnTo>
                  <a:pt x="9236" y="2056"/>
                </a:lnTo>
                <a:lnTo>
                  <a:pt x="9022" y="1623"/>
                </a:lnTo>
                <a:lnTo>
                  <a:pt x="8807" y="1299"/>
                </a:lnTo>
                <a:lnTo>
                  <a:pt x="8485" y="974"/>
                </a:lnTo>
                <a:lnTo>
                  <a:pt x="8055" y="649"/>
                </a:lnTo>
                <a:lnTo>
                  <a:pt x="7625" y="433"/>
                </a:lnTo>
                <a:lnTo>
                  <a:pt x="7196" y="216"/>
                </a:lnTo>
                <a:lnTo>
                  <a:pt x="6659" y="108"/>
                </a:lnTo>
                <a:lnTo>
                  <a:pt x="6122" y="108"/>
                </a:lnTo>
                <a:lnTo>
                  <a:pt x="5585" y="0"/>
                </a:lnTo>
                <a:lnTo>
                  <a:pt x="4296" y="0"/>
                </a:lnTo>
                <a:lnTo>
                  <a:pt x="3651" y="108"/>
                </a:lnTo>
                <a:lnTo>
                  <a:pt x="3114" y="324"/>
                </a:lnTo>
                <a:lnTo>
                  <a:pt x="2577" y="541"/>
                </a:lnTo>
                <a:lnTo>
                  <a:pt x="2148" y="757"/>
                </a:lnTo>
                <a:lnTo>
                  <a:pt x="1718" y="1082"/>
                </a:lnTo>
                <a:lnTo>
                  <a:pt x="1396" y="1407"/>
                </a:lnTo>
                <a:lnTo>
                  <a:pt x="1074" y="1840"/>
                </a:lnTo>
                <a:lnTo>
                  <a:pt x="859" y="2273"/>
                </a:lnTo>
                <a:lnTo>
                  <a:pt x="751" y="2706"/>
                </a:lnTo>
                <a:lnTo>
                  <a:pt x="644" y="3247"/>
                </a:lnTo>
                <a:lnTo>
                  <a:pt x="644" y="3680"/>
                </a:lnTo>
                <a:lnTo>
                  <a:pt x="2362" y="3680"/>
                </a:lnTo>
                <a:lnTo>
                  <a:pt x="2577" y="2706"/>
                </a:lnTo>
                <a:lnTo>
                  <a:pt x="3114" y="2056"/>
                </a:lnTo>
                <a:lnTo>
                  <a:pt x="3866" y="1623"/>
                </a:lnTo>
                <a:lnTo>
                  <a:pt x="4940" y="1515"/>
                </a:lnTo>
                <a:lnTo>
                  <a:pt x="6122" y="1623"/>
                </a:lnTo>
                <a:lnTo>
                  <a:pt x="6873" y="2056"/>
                </a:lnTo>
                <a:lnTo>
                  <a:pt x="7411" y="2706"/>
                </a:lnTo>
                <a:lnTo>
                  <a:pt x="7518" y="3464"/>
                </a:lnTo>
                <a:lnTo>
                  <a:pt x="7518" y="3788"/>
                </a:lnTo>
                <a:lnTo>
                  <a:pt x="7411" y="4005"/>
                </a:lnTo>
                <a:lnTo>
                  <a:pt x="7303" y="4221"/>
                </a:lnTo>
                <a:lnTo>
                  <a:pt x="7196" y="4438"/>
                </a:lnTo>
                <a:lnTo>
                  <a:pt x="6981" y="4546"/>
                </a:lnTo>
                <a:lnTo>
                  <a:pt x="6766" y="4654"/>
                </a:lnTo>
                <a:lnTo>
                  <a:pt x="6551" y="4763"/>
                </a:lnTo>
                <a:lnTo>
                  <a:pt x="6336" y="4871"/>
                </a:lnTo>
                <a:lnTo>
                  <a:pt x="5692" y="4871"/>
                </a:lnTo>
                <a:lnTo>
                  <a:pt x="5370" y="4979"/>
                </a:lnTo>
                <a:lnTo>
                  <a:pt x="4081" y="4979"/>
                </a:lnTo>
                <a:lnTo>
                  <a:pt x="3222" y="5196"/>
                </a:lnTo>
                <a:lnTo>
                  <a:pt x="2577" y="5304"/>
                </a:lnTo>
                <a:lnTo>
                  <a:pt x="2040" y="5520"/>
                </a:lnTo>
                <a:lnTo>
                  <a:pt x="1611" y="5737"/>
                </a:lnTo>
                <a:lnTo>
                  <a:pt x="1181" y="6062"/>
                </a:lnTo>
                <a:lnTo>
                  <a:pt x="859" y="6387"/>
                </a:lnTo>
                <a:lnTo>
                  <a:pt x="644" y="6711"/>
                </a:lnTo>
                <a:lnTo>
                  <a:pt x="429" y="7036"/>
                </a:lnTo>
                <a:lnTo>
                  <a:pt x="322" y="7361"/>
                </a:lnTo>
                <a:lnTo>
                  <a:pt x="214" y="7794"/>
                </a:lnTo>
                <a:lnTo>
                  <a:pt x="107" y="8119"/>
                </a:lnTo>
                <a:lnTo>
                  <a:pt x="0" y="8552"/>
                </a:lnTo>
                <a:lnTo>
                  <a:pt x="0" y="9201"/>
                </a:lnTo>
                <a:lnTo>
                  <a:pt x="107" y="9526"/>
                </a:lnTo>
                <a:lnTo>
                  <a:pt x="322" y="9959"/>
                </a:lnTo>
                <a:lnTo>
                  <a:pt x="537" y="10284"/>
                </a:lnTo>
                <a:lnTo>
                  <a:pt x="751" y="10717"/>
                </a:lnTo>
                <a:lnTo>
                  <a:pt x="1074" y="11041"/>
                </a:lnTo>
                <a:lnTo>
                  <a:pt x="1396" y="11258"/>
                </a:lnTo>
                <a:lnTo>
                  <a:pt x="1825" y="11475"/>
                </a:lnTo>
                <a:lnTo>
                  <a:pt x="2255" y="11583"/>
                </a:lnTo>
                <a:lnTo>
                  <a:pt x="2685" y="11799"/>
                </a:lnTo>
                <a:lnTo>
                  <a:pt x="3222" y="10284"/>
                </a:lnTo>
                <a:lnTo>
                  <a:pt x="2577" y="9959"/>
                </a:lnTo>
                <a:lnTo>
                  <a:pt x="2255" y="9526"/>
                </a:lnTo>
                <a:lnTo>
                  <a:pt x="2040" y="8768"/>
                </a:lnTo>
                <a:lnTo>
                  <a:pt x="2040" y="8335"/>
                </a:lnTo>
                <a:lnTo>
                  <a:pt x="2255" y="7902"/>
                </a:lnTo>
                <a:lnTo>
                  <a:pt x="2362" y="7577"/>
                </a:lnTo>
                <a:lnTo>
                  <a:pt x="2685" y="7361"/>
                </a:lnTo>
                <a:lnTo>
                  <a:pt x="3007" y="7144"/>
                </a:lnTo>
                <a:lnTo>
                  <a:pt x="3544" y="6928"/>
                </a:lnTo>
                <a:lnTo>
                  <a:pt x="3974" y="6711"/>
                </a:lnTo>
                <a:lnTo>
                  <a:pt x="4618" y="6603"/>
                </a:lnTo>
                <a:lnTo>
                  <a:pt x="5155" y="6495"/>
                </a:lnTo>
                <a:lnTo>
                  <a:pt x="5692" y="6387"/>
                </a:lnTo>
                <a:lnTo>
                  <a:pt x="6122" y="6278"/>
                </a:lnTo>
                <a:lnTo>
                  <a:pt x="6551" y="6170"/>
                </a:lnTo>
                <a:lnTo>
                  <a:pt x="6873" y="6062"/>
                </a:lnTo>
                <a:lnTo>
                  <a:pt x="7196" y="5954"/>
                </a:lnTo>
                <a:lnTo>
                  <a:pt x="7411" y="5954"/>
                </a:lnTo>
                <a:lnTo>
                  <a:pt x="7518" y="8227"/>
                </a:lnTo>
                <a:lnTo>
                  <a:pt x="7411" y="8552"/>
                </a:lnTo>
                <a:lnTo>
                  <a:pt x="7196" y="8876"/>
                </a:lnTo>
                <a:lnTo>
                  <a:pt x="6981" y="9201"/>
                </a:lnTo>
                <a:close/>
              </a:path>
            </a:pathLst>
          </a:custGeom>
          <a:solidFill>
            <a:srgbClr val="000000"/>
          </a:solidFill>
        </p:spPr>
        <p:txBody>
          <a:bodyPr wrap="square" lIns="0" tIns="0" rIns="0" bIns="0" rtlCol="0">
            <a:noAutofit/>
          </a:bodyPr>
          <a:lstStyle/>
          <a:p>
            <a:endParaRPr/>
          </a:p>
        </p:txBody>
      </p:sp>
      <p:sp>
        <p:nvSpPr>
          <p:cNvPr id="930" name="object 930"/>
          <p:cNvSpPr/>
          <p:nvPr/>
        </p:nvSpPr>
        <p:spPr>
          <a:xfrm>
            <a:off x="3736714" y="1943279"/>
            <a:ext cx="2685" cy="1732"/>
          </a:xfrm>
          <a:custGeom>
            <a:avLst/>
            <a:gdLst/>
            <a:ahLst/>
            <a:cxnLst/>
            <a:rect l="l" t="t" r="r" b="b"/>
            <a:pathLst>
              <a:path w="2685" h="1732">
                <a:moveTo>
                  <a:pt x="0" y="1623"/>
                </a:moveTo>
                <a:lnTo>
                  <a:pt x="429" y="1732"/>
                </a:lnTo>
                <a:lnTo>
                  <a:pt x="966" y="1732"/>
                </a:lnTo>
                <a:lnTo>
                  <a:pt x="1503" y="1623"/>
                </a:lnTo>
                <a:lnTo>
                  <a:pt x="2148" y="1515"/>
                </a:lnTo>
                <a:lnTo>
                  <a:pt x="2685" y="1407"/>
                </a:lnTo>
                <a:lnTo>
                  <a:pt x="2470" y="0"/>
                </a:lnTo>
                <a:lnTo>
                  <a:pt x="2148" y="108"/>
                </a:lnTo>
                <a:lnTo>
                  <a:pt x="1718" y="216"/>
                </a:lnTo>
                <a:lnTo>
                  <a:pt x="1288" y="324"/>
                </a:lnTo>
                <a:lnTo>
                  <a:pt x="537" y="108"/>
                </a:lnTo>
                <a:lnTo>
                  <a:pt x="0" y="1623"/>
                </a:lnTo>
                <a:close/>
              </a:path>
            </a:pathLst>
          </a:custGeom>
          <a:solidFill>
            <a:srgbClr val="000000"/>
          </a:solidFill>
        </p:spPr>
        <p:txBody>
          <a:bodyPr wrap="square" lIns="0" tIns="0" rIns="0" bIns="0" rtlCol="0">
            <a:noAutofit/>
          </a:bodyPr>
          <a:lstStyle/>
          <a:p>
            <a:endParaRPr/>
          </a:p>
        </p:txBody>
      </p:sp>
      <p:sp>
        <p:nvSpPr>
          <p:cNvPr id="931" name="object 931"/>
          <p:cNvSpPr/>
          <p:nvPr/>
        </p:nvSpPr>
        <p:spPr>
          <a:xfrm>
            <a:off x="3745413" y="1930289"/>
            <a:ext cx="5262" cy="14830"/>
          </a:xfrm>
          <a:custGeom>
            <a:avLst/>
            <a:gdLst/>
            <a:ahLst/>
            <a:cxnLst/>
            <a:rect l="l" t="t" r="r" b="b"/>
            <a:pathLst>
              <a:path w="5262" h="14830">
                <a:moveTo>
                  <a:pt x="3866" y="14830"/>
                </a:moveTo>
                <a:lnTo>
                  <a:pt x="4833" y="14830"/>
                </a:lnTo>
                <a:lnTo>
                  <a:pt x="5262" y="14722"/>
                </a:lnTo>
                <a:lnTo>
                  <a:pt x="5262" y="13098"/>
                </a:lnTo>
                <a:lnTo>
                  <a:pt x="4618" y="13098"/>
                </a:lnTo>
                <a:lnTo>
                  <a:pt x="4296" y="13207"/>
                </a:lnTo>
                <a:lnTo>
                  <a:pt x="4081" y="13098"/>
                </a:lnTo>
                <a:lnTo>
                  <a:pt x="3866" y="13098"/>
                </a:lnTo>
                <a:lnTo>
                  <a:pt x="3651" y="12882"/>
                </a:lnTo>
                <a:lnTo>
                  <a:pt x="3544" y="12557"/>
                </a:lnTo>
                <a:lnTo>
                  <a:pt x="3436" y="12341"/>
                </a:lnTo>
                <a:lnTo>
                  <a:pt x="3329" y="12124"/>
                </a:lnTo>
                <a:lnTo>
                  <a:pt x="3329" y="4979"/>
                </a:lnTo>
                <a:lnTo>
                  <a:pt x="5262" y="4979"/>
                </a:lnTo>
                <a:lnTo>
                  <a:pt x="5262" y="3139"/>
                </a:lnTo>
                <a:lnTo>
                  <a:pt x="3329" y="3139"/>
                </a:lnTo>
                <a:lnTo>
                  <a:pt x="3329" y="0"/>
                </a:lnTo>
                <a:lnTo>
                  <a:pt x="1503" y="0"/>
                </a:lnTo>
                <a:lnTo>
                  <a:pt x="1503" y="3139"/>
                </a:lnTo>
                <a:lnTo>
                  <a:pt x="0" y="3139"/>
                </a:lnTo>
                <a:lnTo>
                  <a:pt x="0" y="4979"/>
                </a:lnTo>
                <a:lnTo>
                  <a:pt x="1503" y="4979"/>
                </a:lnTo>
                <a:lnTo>
                  <a:pt x="1503" y="13207"/>
                </a:lnTo>
                <a:lnTo>
                  <a:pt x="1611" y="13640"/>
                </a:lnTo>
                <a:lnTo>
                  <a:pt x="1718" y="13964"/>
                </a:lnTo>
                <a:lnTo>
                  <a:pt x="1933" y="14289"/>
                </a:lnTo>
                <a:lnTo>
                  <a:pt x="2255" y="14397"/>
                </a:lnTo>
                <a:lnTo>
                  <a:pt x="2577" y="14614"/>
                </a:lnTo>
                <a:lnTo>
                  <a:pt x="2899" y="14722"/>
                </a:lnTo>
                <a:lnTo>
                  <a:pt x="3329" y="14830"/>
                </a:lnTo>
                <a:lnTo>
                  <a:pt x="3866" y="14830"/>
                </a:lnTo>
                <a:close/>
              </a:path>
            </a:pathLst>
          </a:custGeom>
          <a:solidFill>
            <a:srgbClr val="000000"/>
          </a:solidFill>
        </p:spPr>
        <p:txBody>
          <a:bodyPr wrap="square" lIns="0" tIns="0" rIns="0" bIns="0" rtlCol="0">
            <a:noAutofit/>
          </a:bodyPr>
          <a:lstStyle/>
          <a:p>
            <a:endParaRPr/>
          </a:p>
        </p:txBody>
      </p:sp>
      <p:sp>
        <p:nvSpPr>
          <p:cNvPr id="932" name="object 932"/>
          <p:cNvSpPr/>
          <p:nvPr/>
        </p:nvSpPr>
        <p:spPr>
          <a:xfrm>
            <a:off x="3754005" y="1933537"/>
            <a:ext cx="966" cy="3788"/>
          </a:xfrm>
          <a:custGeom>
            <a:avLst/>
            <a:gdLst/>
            <a:ahLst/>
            <a:cxnLst/>
            <a:rect l="l" t="t" r="r" b="b"/>
            <a:pathLst>
              <a:path w="966" h="3788">
                <a:moveTo>
                  <a:pt x="429" y="324"/>
                </a:moveTo>
                <a:lnTo>
                  <a:pt x="0" y="649"/>
                </a:lnTo>
                <a:lnTo>
                  <a:pt x="107" y="3788"/>
                </a:lnTo>
                <a:lnTo>
                  <a:pt x="214" y="3355"/>
                </a:lnTo>
                <a:lnTo>
                  <a:pt x="429" y="2922"/>
                </a:lnTo>
                <a:lnTo>
                  <a:pt x="644" y="2598"/>
                </a:lnTo>
                <a:lnTo>
                  <a:pt x="966" y="0"/>
                </a:lnTo>
                <a:lnTo>
                  <a:pt x="429" y="324"/>
                </a:lnTo>
                <a:close/>
              </a:path>
            </a:pathLst>
          </a:custGeom>
          <a:solidFill>
            <a:srgbClr val="000000"/>
          </a:solidFill>
        </p:spPr>
        <p:txBody>
          <a:bodyPr wrap="square" lIns="0" tIns="0" rIns="0" bIns="0" rtlCol="0">
            <a:noAutofit/>
          </a:bodyPr>
          <a:lstStyle/>
          <a:p>
            <a:endParaRPr/>
          </a:p>
        </p:txBody>
      </p:sp>
      <p:sp>
        <p:nvSpPr>
          <p:cNvPr id="933" name="object 933"/>
          <p:cNvSpPr/>
          <p:nvPr/>
        </p:nvSpPr>
        <p:spPr>
          <a:xfrm>
            <a:off x="3751965" y="1932887"/>
            <a:ext cx="10203" cy="12124"/>
          </a:xfrm>
          <a:custGeom>
            <a:avLst/>
            <a:gdLst/>
            <a:ahLst/>
            <a:cxnLst/>
            <a:rect l="l" t="t" r="r" b="b"/>
            <a:pathLst>
              <a:path w="10203" h="12124">
                <a:moveTo>
                  <a:pt x="0" y="6495"/>
                </a:moveTo>
                <a:lnTo>
                  <a:pt x="0" y="7036"/>
                </a:lnTo>
                <a:lnTo>
                  <a:pt x="107" y="7577"/>
                </a:lnTo>
                <a:lnTo>
                  <a:pt x="214" y="8010"/>
                </a:lnTo>
                <a:lnTo>
                  <a:pt x="322" y="8443"/>
                </a:lnTo>
                <a:lnTo>
                  <a:pt x="429" y="8985"/>
                </a:lnTo>
                <a:lnTo>
                  <a:pt x="644" y="9418"/>
                </a:lnTo>
                <a:lnTo>
                  <a:pt x="859" y="9742"/>
                </a:lnTo>
                <a:lnTo>
                  <a:pt x="1074" y="10175"/>
                </a:lnTo>
                <a:lnTo>
                  <a:pt x="1396" y="10608"/>
                </a:lnTo>
                <a:lnTo>
                  <a:pt x="1825" y="11041"/>
                </a:lnTo>
                <a:lnTo>
                  <a:pt x="2255" y="11366"/>
                </a:lnTo>
                <a:lnTo>
                  <a:pt x="2792" y="11691"/>
                </a:lnTo>
                <a:lnTo>
                  <a:pt x="3329" y="11799"/>
                </a:lnTo>
                <a:lnTo>
                  <a:pt x="3866" y="12016"/>
                </a:lnTo>
                <a:lnTo>
                  <a:pt x="4403" y="12124"/>
                </a:lnTo>
                <a:lnTo>
                  <a:pt x="5585" y="12124"/>
                </a:lnTo>
                <a:lnTo>
                  <a:pt x="6122" y="12016"/>
                </a:lnTo>
                <a:lnTo>
                  <a:pt x="6551" y="12016"/>
                </a:lnTo>
                <a:lnTo>
                  <a:pt x="6873" y="11908"/>
                </a:lnTo>
                <a:lnTo>
                  <a:pt x="7196" y="11799"/>
                </a:lnTo>
                <a:lnTo>
                  <a:pt x="7518" y="11691"/>
                </a:lnTo>
                <a:lnTo>
                  <a:pt x="7840" y="11475"/>
                </a:lnTo>
                <a:lnTo>
                  <a:pt x="8055" y="11366"/>
                </a:lnTo>
                <a:lnTo>
                  <a:pt x="8485" y="11041"/>
                </a:lnTo>
                <a:lnTo>
                  <a:pt x="8914" y="10717"/>
                </a:lnTo>
                <a:lnTo>
                  <a:pt x="9236" y="10284"/>
                </a:lnTo>
                <a:lnTo>
                  <a:pt x="9559" y="9851"/>
                </a:lnTo>
                <a:lnTo>
                  <a:pt x="9773" y="9418"/>
                </a:lnTo>
                <a:lnTo>
                  <a:pt x="9988" y="8985"/>
                </a:lnTo>
                <a:lnTo>
                  <a:pt x="10096" y="8552"/>
                </a:lnTo>
                <a:lnTo>
                  <a:pt x="10096" y="8227"/>
                </a:lnTo>
                <a:lnTo>
                  <a:pt x="8162" y="8227"/>
                </a:lnTo>
                <a:lnTo>
                  <a:pt x="8162" y="8443"/>
                </a:lnTo>
                <a:lnTo>
                  <a:pt x="8055" y="8660"/>
                </a:lnTo>
                <a:lnTo>
                  <a:pt x="7948" y="8985"/>
                </a:lnTo>
                <a:lnTo>
                  <a:pt x="7840" y="9201"/>
                </a:lnTo>
                <a:lnTo>
                  <a:pt x="7625" y="9526"/>
                </a:lnTo>
                <a:lnTo>
                  <a:pt x="7303" y="9742"/>
                </a:lnTo>
                <a:lnTo>
                  <a:pt x="7088" y="9959"/>
                </a:lnTo>
                <a:lnTo>
                  <a:pt x="6766" y="10175"/>
                </a:lnTo>
                <a:lnTo>
                  <a:pt x="6444" y="10284"/>
                </a:lnTo>
                <a:lnTo>
                  <a:pt x="6014" y="10392"/>
                </a:lnTo>
                <a:lnTo>
                  <a:pt x="5692" y="10500"/>
                </a:lnTo>
                <a:lnTo>
                  <a:pt x="5262" y="10500"/>
                </a:lnTo>
                <a:lnTo>
                  <a:pt x="4511" y="10392"/>
                </a:lnTo>
                <a:lnTo>
                  <a:pt x="3866" y="10284"/>
                </a:lnTo>
                <a:lnTo>
                  <a:pt x="3329" y="9959"/>
                </a:lnTo>
                <a:lnTo>
                  <a:pt x="2899" y="9526"/>
                </a:lnTo>
                <a:lnTo>
                  <a:pt x="2577" y="8985"/>
                </a:lnTo>
                <a:lnTo>
                  <a:pt x="2255" y="8335"/>
                </a:lnTo>
                <a:lnTo>
                  <a:pt x="2148" y="7686"/>
                </a:lnTo>
                <a:lnTo>
                  <a:pt x="2040" y="6820"/>
                </a:lnTo>
                <a:lnTo>
                  <a:pt x="10203" y="6820"/>
                </a:lnTo>
                <a:lnTo>
                  <a:pt x="10203" y="5520"/>
                </a:lnTo>
                <a:lnTo>
                  <a:pt x="10096" y="4979"/>
                </a:lnTo>
                <a:lnTo>
                  <a:pt x="9988" y="4438"/>
                </a:lnTo>
                <a:lnTo>
                  <a:pt x="9881" y="3897"/>
                </a:lnTo>
                <a:lnTo>
                  <a:pt x="9773" y="3355"/>
                </a:lnTo>
                <a:lnTo>
                  <a:pt x="9559" y="2922"/>
                </a:lnTo>
                <a:lnTo>
                  <a:pt x="9344" y="2489"/>
                </a:lnTo>
                <a:lnTo>
                  <a:pt x="9129" y="2056"/>
                </a:lnTo>
                <a:lnTo>
                  <a:pt x="8807" y="1732"/>
                </a:lnTo>
                <a:lnTo>
                  <a:pt x="8592" y="1407"/>
                </a:lnTo>
                <a:lnTo>
                  <a:pt x="8270" y="1082"/>
                </a:lnTo>
                <a:lnTo>
                  <a:pt x="7948" y="866"/>
                </a:lnTo>
                <a:lnTo>
                  <a:pt x="7625" y="649"/>
                </a:lnTo>
                <a:lnTo>
                  <a:pt x="7303" y="433"/>
                </a:lnTo>
                <a:lnTo>
                  <a:pt x="6873" y="324"/>
                </a:lnTo>
                <a:lnTo>
                  <a:pt x="6444" y="216"/>
                </a:lnTo>
                <a:lnTo>
                  <a:pt x="6122" y="108"/>
                </a:lnTo>
                <a:lnTo>
                  <a:pt x="5799" y="0"/>
                </a:lnTo>
                <a:lnTo>
                  <a:pt x="4833" y="0"/>
                </a:lnTo>
                <a:lnTo>
                  <a:pt x="4403" y="108"/>
                </a:lnTo>
                <a:lnTo>
                  <a:pt x="3866" y="216"/>
                </a:lnTo>
                <a:lnTo>
                  <a:pt x="3436" y="433"/>
                </a:lnTo>
                <a:lnTo>
                  <a:pt x="3007" y="649"/>
                </a:lnTo>
                <a:lnTo>
                  <a:pt x="2685" y="3247"/>
                </a:lnTo>
                <a:lnTo>
                  <a:pt x="3007" y="2922"/>
                </a:lnTo>
                <a:lnTo>
                  <a:pt x="3329" y="2598"/>
                </a:lnTo>
                <a:lnTo>
                  <a:pt x="3651" y="2381"/>
                </a:lnTo>
                <a:lnTo>
                  <a:pt x="3974" y="2165"/>
                </a:lnTo>
                <a:lnTo>
                  <a:pt x="4403" y="1948"/>
                </a:lnTo>
                <a:lnTo>
                  <a:pt x="4725" y="1840"/>
                </a:lnTo>
                <a:lnTo>
                  <a:pt x="5155" y="1840"/>
                </a:lnTo>
                <a:lnTo>
                  <a:pt x="5907" y="1948"/>
                </a:lnTo>
                <a:lnTo>
                  <a:pt x="6551" y="2056"/>
                </a:lnTo>
                <a:lnTo>
                  <a:pt x="7088" y="2381"/>
                </a:lnTo>
                <a:lnTo>
                  <a:pt x="7518" y="2814"/>
                </a:lnTo>
                <a:lnTo>
                  <a:pt x="7840" y="3355"/>
                </a:lnTo>
                <a:lnTo>
                  <a:pt x="8055" y="3897"/>
                </a:lnTo>
                <a:lnTo>
                  <a:pt x="8162" y="4546"/>
                </a:lnTo>
                <a:lnTo>
                  <a:pt x="8270" y="5304"/>
                </a:lnTo>
                <a:lnTo>
                  <a:pt x="2040" y="5304"/>
                </a:lnTo>
                <a:lnTo>
                  <a:pt x="2040" y="4871"/>
                </a:lnTo>
                <a:lnTo>
                  <a:pt x="2148" y="4438"/>
                </a:lnTo>
                <a:lnTo>
                  <a:pt x="2040" y="1299"/>
                </a:lnTo>
                <a:lnTo>
                  <a:pt x="1718" y="1623"/>
                </a:lnTo>
                <a:lnTo>
                  <a:pt x="1288" y="2056"/>
                </a:lnTo>
                <a:lnTo>
                  <a:pt x="966" y="2598"/>
                </a:lnTo>
                <a:lnTo>
                  <a:pt x="644" y="3139"/>
                </a:lnTo>
                <a:lnTo>
                  <a:pt x="429" y="3680"/>
                </a:lnTo>
                <a:lnTo>
                  <a:pt x="322" y="4330"/>
                </a:lnTo>
                <a:lnTo>
                  <a:pt x="107" y="5087"/>
                </a:lnTo>
                <a:lnTo>
                  <a:pt x="0" y="5737"/>
                </a:lnTo>
                <a:lnTo>
                  <a:pt x="0" y="6495"/>
                </a:lnTo>
                <a:close/>
              </a:path>
            </a:pathLst>
          </a:custGeom>
          <a:solidFill>
            <a:srgbClr val="000000"/>
          </a:solidFill>
        </p:spPr>
        <p:txBody>
          <a:bodyPr wrap="square" lIns="0" tIns="0" rIns="0" bIns="0" rtlCol="0">
            <a:noAutofit/>
          </a:bodyPr>
          <a:lstStyle/>
          <a:p>
            <a:endParaRPr/>
          </a:p>
        </p:txBody>
      </p:sp>
      <p:sp>
        <p:nvSpPr>
          <p:cNvPr id="934" name="object 934"/>
          <p:cNvSpPr/>
          <p:nvPr/>
        </p:nvSpPr>
        <p:spPr>
          <a:xfrm>
            <a:off x="3777205" y="1936947"/>
            <a:ext cx="2040" cy="0"/>
          </a:xfrm>
          <a:custGeom>
            <a:avLst/>
            <a:gdLst/>
            <a:ahLst/>
            <a:cxnLst/>
            <a:rect l="l" t="t" r="r" b="b"/>
            <a:pathLst>
              <a:path w="2040">
                <a:moveTo>
                  <a:pt x="0" y="0"/>
                </a:moveTo>
                <a:lnTo>
                  <a:pt x="2040" y="0"/>
                </a:lnTo>
              </a:path>
            </a:pathLst>
          </a:custGeom>
          <a:ln w="16750">
            <a:solidFill>
              <a:srgbClr val="000000"/>
            </a:solidFill>
          </a:ln>
        </p:spPr>
        <p:txBody>
          <a:bodyPr wrap="square" lIns="0" tIns="0" rIns="0" bIns="0" rtlCol="0">
            <a:noAutofit/>
          </a:bodyPr>
          <a:lstStyle/>
          <a:p>
            <a:endParaRPr/>
          </a:p>
        </p:txBody>
      </p:sp>
      <p:sp>
        <p:nvSpPr>
          <p:cNvPr id="935" name="object 935"/>
          <p:cNvSpPr/>
          <p:nvPr/>
        </p:nvSpPr>
        <p:spPr>
          <a:xfrm>
            <a:off x="3781932" y="1933104"/>
            <a:ext cx="9129" cy="11908"/>
          </a:xfrm>
          <a:custGeom>
            <a:avLst/>
            <a:gdLst/>
            <a:ahLst/>
            <a:cxnLst/>
            <a:rect l="l" t="t" r="r" b="b"/>
            <a:pathLst>
              <a:path w="9129" h="11908">
                <a:moveTo>
                  <a:pt x="322" y="3031"/>
                </a:moveTo>
                <a:lnTo>
                  <a:pt x="322" y="4005"/>
                </a:lnTo>
                <a:lnTo>
                  <a:pt x="429" y="4438"/>
                </a:lnTo>
                <a:lnTo>
                  <a:pt x="644" y="4763"/>
                </a:lnTo>
                <a:lnTo>
                  <a:pt x="751" y="5087"/>
                </a:lnTo>
                <a:lnTo>
                  <a:pt x="966" y="5304"/>
                </a:lnTo>
                <a:lnTo>
                  <a:pt x="1288" y="5520"/>
                </a:lnTo>
                <a:lnTo>
                  <a:pt x="1611" y="5737"/>
                </a:lnTo>
                <a:lnTo>
                  <a:pt x="1933" y="5954"/>
                </a:lnTo>
                <a:lnTo>
                  <a:pt x="2255" y="6062"/>
                </a:lnTo>
                <a:lnTo>
                  <a:pt x="2577" y="6278"/>
                </a:lnTo>
                <a:lnTo>
                  <a:pt x="3007" y="6387"/>
                </a:lnTo>
                <a:lnTo>
                  <a:pt x="3436" y="6495"/>
                </a:lnTo>
                <a:lnTo>
                  <a:pt x="3866" y="6603"/>
                </a:lnTo>
                <a:lnTo>
                  <a:pt x="4296" y="6711"/>
                </a:lnTo>
                <a:lnTo>
                  <a:pt x="4618" y="6820"/>
                </a:lnTo>
                <a:lnTo>
                  <a:pt x="5048" y="6928"/>
                </a:lnTo>
                <a:lnTo>
                  <a:pt x="5585" y="7036"/>
                </a:lnTo>
                <a:lnTo>
                  <a:pt x="6122" y="7253"/>
                </a:lnTo>
                <a:lnTo>
                  <a:pt x="6444" y="7361"/>
                </a:lnTo>
                <a:lnTo>
                  <a:pt x="6766" y="7577"/>
                </a:lnTo>
                <a:lnTo>
                  <a:pt x="6981" y="7794"/>
                </a:lnTo>
                <a:lnTo>
                  <a:pt x="7196" y="8010"/>
                </a:lnTo>
                <a:lnTo>
                  <a:pt x="7303" y="8227"/>
                </a:lnTo>
                <a:lnTo>
                  <a:pt x="7303" y="8552"/>
                </a:lnTo>
                <a:lnTo>
                  <a:pt x="7196" y="8985"/>
                </a:lnTo>
                <a:lnTo>
                  <a:pt x="7088" y="9309"/>
                </a:lnTo>
                <a:lnTo>
                  <a:pt x="6873" y="9634"/>
                </a:lnTo>
                <a:lnTo>
                  <a:pt x="6551" y="9851"/>
                </a:lnTo>
                <a:lnTo>
                  <a:pt x="6122" y="10067"/>
                </a:lnTo>
                <a:lnTo>
                  <a:pt x="5692" y="10175"/>
                </a:lnTo>
                <a:lnTo>
                  <a:pt x="5155" y="10284"/>
                </a:lnTo>
                <a:lnTo>
                  <a:pt x="3866" y="10284"/>
                </a:lnTo>
                <a:lnTo>
                  <a:pt x="3222" y="10067"/>
                </a:lnTo>
                <a:lnTo>
                  <a:pt x="2792" y="9959"/>
                </a:lnTo>
                <a:lnTo>
                  <a:pt x="2362" y="9634"/>
                </a:lnTo>
                <a:lnTo>
                  <a:pt x="2040" y="9309"/>
                </a:lnTo>
                <a:lnTo>
                  <a:pt x="1933" y="8876"/>
                </a:lnTo>
                <a:lnTo>
                  <a:pt x="1718" y="8443"/>
                </a:lnTo>
                <a:lnTo>
                  <a:pt x="1718" y="8010"/>
                </a:lnTo>
                <a:lnTo>
                  <a:pt x="0" y="8010"/>
                </a:lnTo>
                <a:lnTo>
                  <a:pt x="0" y="8443"/>
                </a:lnTo>
                <a:lnTo>
                  <a:pt x="107" y="8985"/>
                </a:lnTo>
                <a:lnTo>
                  <a:pt x="214" y="9418"/>
                </a:lnTo>
                <a:lnTo>
                  <a:pt x="322" y="9851"/>
                </a:lnTo>
                <a:lnTo>
                  <a:pt x="537" y="10284"/>
                </a:lnTo>
                <a:lnTo>
                  <a:pt x="859" y="10608"/>
                </a:lnTo>
                <a:lnTo>
                  <a:pt x="1181" y="11041"/>
                </a:lnTo>
                <a:lnTo>
                  <a:pt x="1718" y="11366"/>
                </a:lnTo>
                <a:lnTo>
                  <a:pt x="2255" y="11583"/>
                </a:lnTo>
                <a:lnTo>
                  <a:pt x="3007" y="11799"/>
                </a:lnTo>
                <a:lnTo>
                  <a:pt x="3759" y="11908"/>
                </a:lnTo>
                <a:lnTo>
                  <a:pt x="5370" y="11908"/>
                </a:lnTo>
                <a:lnTo>
                  <a:pt x="5907" y="11799"/>
                </a:lnTo>
                <a:lnTo>
                  <a:pt x="6444" y="11583"/>
                </a:lnTo>
                <a:lnTo>
                  <a:pt x="6981" y="11475"/>
                </a:lnTo>
                <a:lnTo>
                  <a:pt x="7411" y="11258"/>
                </a:lnTo>
                <a:lnTo>
                  <a:pt x="7840" y="10933"/>
                </a:lnTo>
                <a:lnTo>
                  <a:pt x="8162" y="10608"/>
                </a:lnTo>
                <a:lnTo>
                  <a:pt x="8485" y="10175"/>
                </a:lnTo>
                <a:lnTo>
                  <a:pt x="8807" y="9742"/>
                </a:lnTo>
                <a:lnTo>
                  <a:pt x="9022" y="9309"/>
                </a:lnTo>
                <a:lnTo>
                  <a:pt x="9129" y="8768"/>
                </a:lnTo>
                <a:lnTo>
                  <a:pt x="9129" y="7794"/>
                </a:lnTo>
                <a:lnTo>
                  <a:pt x="9022" y="7361"/>
                </a:lnTo>
                <a:lnTo>
                  <a:pt x="8807" y="7036"/>
                </a:lnTo>
                <a:lnTo>
                  <a:pt x="8592" y="6711"/>
                </a:lnTo>
                <a:lnTo>
                  <a:pt x="8377" y="6387"/>
                </a:lnTo>
                <a:lnTo>
                  <a:pt x="8055" y="6170"/>
                </a:lnTo>
                <a:lnTo>
                  <a:pt x="7733" y="5954"/>
                </a:lnTo>
                <a:lnTo>
                  <a:pt x="7411" y="5737"/>
                </a:lnTo>
                <a:lnTo>
                  <a:pt x="6981" y="5520"/>
                </a:lnTo>
                <a:lnTo>
                  <a:pt x="6551" y="5412"/>
                </a:lnTo>
                <a:lnTo>
                  <a:pt x="6122" y="5196"/>
                </a:lnTo>
                <a:lnTo>
                  <a:pt x="5692" y="5087"/>
                </a:lnTo>
                <a:lnTo>
                  <a:pt x="5262" y="4979"/>
                </a:lnTo>
                <a:lnTo>
                  <a:pt x="4833" y="4871"/>
                </a:lnTo>
                <a:lnTo>
                  <a:pt x="4403" y="4871"/>
                </a:lnTo>
                <a:lnTo>
                  <a:pt x="4081" y="4763"/>
                </a:lnTo>
                <a:lnTo>
                  <a:pt x="3651" y="4654"/>
                </a:lnTo>
                <a:lnTo>
                  <a:pt x="3329" y="4546"/>
                </a:lnTo>
                <a:lnTo>
                  <a:pt x="3114" y="4546"/>
                </a:lnTo>
                <a:lnTo>
                  <a:pt x="2899" y="4438"/>
                </a:lnTo>
                <a:lnTo>
                  <a:pt x="2685" y="4330"/>
                </a:lnTo>
                <a:lnTo>
                  <a:pt x="2470" y="4221"/>
                </a:lnTo>
                <a:lnTo>
                  <a:pt x="2255" y="4005"/>
                </a:lnTo>
                <a:lnTo>
                  <a:pt x="2148" y="3788"/>
                </a:lnTo>
                <a:lnTo>
                  <a:pt x="2040" y="3464"/>
                </a:lnTo>
                <a:lnTo>
                  <a:pt x="2040" y="2922"/>
                </a:lnTo>
                <a:lnTo>
                  <a:pt x="2148" y="2706"/>
                </a:lnTo>
                <a:lnTo>
                  <a:pt x="2255" y="2489"/>
                </a:lnTo>
                <a:lnTo>
                  <a:pt x="2470" y="2273"/>
                </a:lnTo>
                <a:lnTo>
                  <a:pt x="2685" y="2165"/>
                </a:lnTo>
                <a:lnTo>
                  <a:pt x="2899" y="1948"/>
                </a:lnTo>
                <a:lnTo>
                  <a:pt x="3114" y="1840"/>
                </a:lnTo>
                <a:lnTo>
                  <a:pt x="3329" y="1732"/>
                </a:lnTo>
                <a:lnTo>
                  <a:pt x="3651" y="1732"/>
                </a:lnTo>
                <a:lnTo>
                  <a:pt x="3866" y="1623"/>
                </a:lnTo>
                <a:lnTo>
                  <a:pt x="4296" y="1623"/>
                </a:lnTo>
                <a:lnTo>
                  <a:pt x="5477" y="1732"/>
                </a:lnTo>
                <a:lnTo>
                  <a:pt x="6336" y="2056"/>
                </a:lnTo>
                <a:lnTo>
                  <a:pt x="6766" y="2706"/>
                </a:lnTo>
                <a:lnTo>
                  <a:pt x="6981" y="3572"/>
                </a:lnTo>
                <a:lnTo>
                  <a:pt x="8807" y="3572"/>
                </a:lnTo>
                <a:lnTo>
                  <a:pt x="8807" y="3247"/>
                </a:lnTo>
                <a:lnTo>
                  <a:pt x="8699" y="2922"/>
                </a:lnTo>
                <a:lnTo>
                  <a:pt x="8592" y="2598"/>
                </a:lnTo>
                <a:lnTo>
                  <a:pt x="8485" y="2165"/>
                </a:lnTo>
                <a:lnTo>
                  <a:pt x="8270" y="1732"/>
                </a:lnTo>
                <a:lnTo>
                  <a:pt x="8055" y="1407"/>
                </a:lnTo>
                <a:lnTo>
                  <a:pt x="7625" y="974"/>
                </a:lnTo>
                <a:lnTo>
                  <a:pt x="7196" y="649"/>
                </a:lnTo>
                <a:lnTo>
                  <a:pt x="6766" y="324"/>
                </a:lnTo>
                <a:lnTo>
                  <a:pt x="6122" y="108"/>
                </a:lnTo>
                <a:lnTo>
                  <a:pt x="5370" y="0"/>
                </a:lnTo>
                <a:lnTo>
                  <a:pt x="3974" y="0"/>
                </a:lnTo>
                <a:lnTo>
                  <a:pt x="3436" y="108"/>
                </a:lnTo>
                <a:lnTo>
                  <a:pt x="3007" y="216"/>
                </a:lnTo>
                <a:lnTo>
                  <a:pt x="2470" y="324"/>
                </a:lnTo>
                <a:lnTo>
                  <a:pt x="2040" y="541"/>
                </a:lnTo>
                <a:lnTo>
                  <a:pt x="1611" y="866"/>
                </a:lnTo>
                <a:lnTo>
                  <a:pt x="1288" y="1190"/>
                </a:lnTo>
                <a:lnTo>
                  <a:pt x="966" y="1515"/>
                </a:lnTo>
                <a:lnTo>
                  <a:pt x="644" y="1948"/>
                </a:lnTo>
                <a:lnTo>
                  <a:pt x="537" y="2489"/>
                </a:lnTo>
                <a:lnTo>
                  <a:pt x="322" y="3031"/>
                </a:lnTo>
                <a:close/>
              </a:path>
            </a:pathLst>
          </a:custGeom>
          <a:solidFill>
            <a:srgbClr val="000000"/>
          </a:solidFill>
        </p:spPr>
        <p:txBody>
          <a:bodyPr wrap="square" lIns="0" tIns="0" rIns="0" bIns="0" rtlCol="0">
            <a:noAutofit/>
          </a:bodyPr>
          <a:lstStyle/>
          <a:p>
            <a:endParaRPr/>
          </a:p>
        </p:txBody>
      </p:sp>
      <p:sp>
        <p:nvSpPr>
          <p:cNvPr id="936" name="object 936"/>
          <p:cNvSpPr/>
          <p:nvPr/>
        </p:nvSpPr>
        <p:spPr>
          <a:xfrm>
            <a:off x="3792672" y="1933104"/>
            <a:ext cx="9129" cy="11908"/>
          </a:xfrm>
          <a:custGeom>
            <a:avLst/>
            <a:gdLst/>
            <a:ahLst/>
            <a:cxnLst/>
            <a:rect l="l" t="t" r="r" b="b"/>
            <a:pathLst>
              <a:path w="9129" h="11908">
                <a:moveTo>
                  <a:pt x="322" y="3031"/>
                </a:moveTo>
                <a:lnTo>
                  <a:pt x="322" y="4005"/>
                </a:lnTo>
                <a:lnTo>
                  <a:pt x="429" y="4438"/>
                </a:lnTo>
                <a:lnTo>
                  <a:pt x="644" y="4763"/>
                </a:lnTo>
                <a:lnTo>
                  <a:pt x="751" y="5087"/>
                </a:lnTo>
                <a:lnTo>
                  <a:pt x="966" y="5304"/>
                </a:lnTo>
                <a:lnTo>
                  <a:pt x="1288" y="5520"/>
                </a:lnTo>
                <a:lnTo>
                  <a:pt x="1611" y="5737"/>
                </a:lnTo>
                <a:lnTo>
                  <a:pt x="1933" y="5954"/>
                </a:lnTo>
                <a:lnTo>
                  <a:pt x="2255" y="6062"/>
                </a:lnTo>
                <a:lnTo>
                  <a:pt x="2577" y="6278"/>
                </a:lnTo>
                <a:lnTo>
                  <a:pt x="3007" y="6387"/>
                </a:lnTo>
                <a:lnTo>
                  <a:pt x="3436" y="6495"/>
                </a:lnTo>
                <a:lnTo>
                  <a:pt x="3866" y="6603"/>
                </a:lnTo>
                <a:lnTo>
                  <a:pt x="4296" y="6711"/>
                </a:lnTo>
                <a:lnTo>
                  <a:pt x="4618" y="6820"/>
                </a:lnTo>
                <a:lnTo>
                  <a:pt x="5048" y="6928"/>
                </a:lnTo>
                <a:lnTo>
                  <a:pt x="5585" y="7036"/>
                </a:lnTo>
                <a:lnTo>
                  <a:pt x="6122" y="7253"/>
                </a:lnTo>
                <a:lnTo>
                  <a:pt x="6444" y="7361"/>
                </a:lnTo>
                <a:lnTo>
                  <a:pt x="6766" y="7577"/>
                </a:lnTo>
                <a:lnTo>
                  <a:pt x="6981" y="7794"/>
                </a:lnTo>
                <a:lnTo>
                  <a:pt x="7196" y="8010"/>
                </a:lnTo>
                <a:lnTo>
                  <a:pt x="7303" y="8227"/>
                </a:lnTo>
                <a:lnTo>
                  <a:pt x="7303" y="8552"/>
                </a:lnTo>
                <a:lnTo>
                  <a:pt x="7196" y="8985"/>
                </a:lnTo>
                <a:lnTo>
                  <a:pt x="7088" y="9309"/>
                </a:lnTo>
                <a:lnTo>
                  <a:pt x="6873" y="9634"/>
                </a:lnTo>
                <a:lnTo>
                  <a:pt x="6551" y="9851"/>
                </a:lnTo>
                <a:lnTo>
                  <a:pt x="6122" y="10067"/>
                </a:lnTo>
                <a:lnTo>
                  <a:pt x="5692" y="10175"/>
                </a:lnTo>
                <a:lnTo>
                  <a:pt x="5155" y="10284"/>
                </a:lnTo>
                <a:lnTo>
                  <a:pt x="3866" y="10284"/>
                </a:lnTo>
                <a:lnTo>
                  <a:pt x="3222" y="10067"/>
                </a:lnTo>
                <a:lnTo>
                  <a:pt x="2792" y="9959"/>
                </a:lnTo>
                <a:lnTo>
                  <a:pt x="2362" y="9634"/>
                </a:lnTo>
                <a:lnTo>
                  <a:pt x="2040" y="9309"/>
                </a:lnTo>
                <a:lnTo>
                  <a:pt x="1933" y="8876"/>
                </a:lnTo>
                <a:lnTo>
                  <a:pt x="1718" y="8443"/>
                </a:lnTo>
                <a:lnTo>
                  <a:pt x="1718" y="8010"/>
                </a:lnTo>
                <a:lnTo>
                  <a:pt x="0" y="8010"/>
                </a:lnTo>
                <a:lnTo>
                  <a:pt x="0" y="8443"/>
                </a:lnTo>
                <a:lnTo>
                  <a:pt x="107" y="8985"/>
                </a:lnTo>
                <a:lnTo>
                  <a:pt x="214" y="9418"/>
                </a:lnTo>
                <a:lnTo>
                  <a:pt x="322" y="9851"/>
                </a:lnTo>
                <a:lnTo>
                  <a:pt x="537" y="10284"/>
                </a:lnTo>
                <a:lnTo>
                  <a:pt x="859" y="10608"/>
                </a:lnTo>
                <a:lnTo>
                  <a:pt x="1181" y="11041"/>
                </a:lnTo>
                <a:lnTo>
                  <a:pt x="1718" y="11366"/>
                </a:lnTo>
                <a:lnTo>
                  <a:pt x="2255" y="11583"/>
                </a:lnTo>
                <a:lnTo>
                  <a:pt x="3007" y="11799"/>
                </a:lnTo>
                <a:lnTo>
                  <a:pt x="3759" y="11908"/>
                </a:lnTo>
                <a:lnTo>
                  <a:pt x="5370" y="11908"/>
                </a:lnTo>
                <a:lnTo>
                  <a:pt x="5907" y="11799"/>
                </a:lnTo>
                <a:lnTo>
                  <a:pt x="6444" y="11583"/>
                </a:lnTo>
                <a:lnTo>
                  <a:pt x="6981" y="11475"/>
                </a:lnTo>
                <a:lnTo>
                  <a:pt x="7411" y="11258"/>
                </a:lnTo>
                <a:lnTo>
                  <a:pt x="7840" y="10933"/>
                </a:lnTo>
                <a:lnTo>
                  <a:pt x="8162" y="10608"/>
                </a:lnTo>
                <a:lnTo>
                  <a:pt x="8485" y="10175"/>
                </a:lnTo>
                <a:lnTo>
                  <a:pt x="8807" y="9742"/>
                </a:lnTo>
                <a:lnTo>
                  <a:pt x="9022" y="9309"/>
                </a:lnTo>
                <a:lnTo>
                  <a:pt x="9129" y="8768"/>
                </a:lnTo>
                <a:lnTo>
                  <a:pt x="9129" y="7794"/>
                </a:lnTo>
                <a:lnTo>
                  <a:pt x="9022" y="7361"/>
                </a:lnTo>
                <a:lnTo>
                  <a:pt x="8807" y="7036"/>
                </a:lnTo>
                <a:lnTo>
                  <a:pt x="8592" y="6711"/>
                </a:lnTo>
                <a:lnTo>
                  <a:pt x="8377" y="6387"/>
                </a:lnTo>
                <a:lnTo>
                  <a:pt x="8055" y="6170"/>
                </a:lnTo>
                <a:lnTo>
                  <a:pt x="7733" y="5954"/>
                </a:lnTo>
                <a:lnTo>
                  <a:pt x="7411" y="5737"/>
                </a:lnTo>
                <a:lnTo>
                  <a:pt x="6981" y="5520"/>
                </a:lnTo>
                <a:lnTo>
                  <a:pt x="6551" y="5412"/>
                </a:lnTo>
                <a:lnTo>
                  <a:pt x="6122" y="5196"/>
                </a:lnTo>
                <a:lnTo>
                  <a:pt x="5692" y="5087"/>
                </a:lnTo>
                <a:lnTo>
                  <a:pt x="5262" y="4979"/>
                </a:lnTo>
                <a:lnTo>
                  <a:pt x="4833" y="4871"/>
                </a:lnTo>
                <a:lnTo>
                  <a:pt x="4403" y="4871"/>
                </a:lnTo>
                <a:lnTo>
                  <a:pt x="4081" y="4763"/>
                </a:lnTo>
                <a:lnTo>
                  <a:pt x="3651" y="4654"/>
                </a:lnTo>
                <a:lnTo>
                  <a:pt x="3329" y="4546"/>
                </a:lnTo>
                <a:lnTo>
                  <a:pt x="3114" y="4546"/>
                </a:lnTo>
                <a:lnTo>
                  <a:pt x="2899" y="4438"/>
                </a:lnTo>
                <a:lnTo>
                  <a:pt x="2685" y="4330"/>
                </a:lnTo>
                <a:lnTo>
                  <a:pt x="2470" y="4221"/>
                </a:lnTo>
                <a:lnTo>
                  <a:pt x="2255" y="4005"/>
                </a:lnTo>
                <a:lnTo>
                  <a:pt x="2148" y="3788"/>
                </a:lnTo>
                <a:lnTo>
                  <a:pt x="2040" y="3464"/>
                </a:lnTo>
                <a:lnTo>
                  <a:pt x="2040" y="2922"/>
                </a:lnTo>
                <a:lnTo>
                  <a:pt x="2148" y="2706"/>
                </a:lnTo>
                <a:lnTo>
                  <a:pt x="2255" y="2489"/>
                </a:lnTo>
                <a:lnTo>
                  <a:pt x="2470" y="2273"/>
                </a:lnTo>
                <a:lnTo>
                  <a:pt x="2685" y="2165"/>
                </a:lnTo>
                <a:lnTo>
                  <a:pt x="2899" y="1948"/>
                </a:lnTo>
                <a:lnTo>
                  <a:pt x="3114" y="1840"/>
                </a:lnTo>
                <a:lnTo>
                  <a:pt x="3329" y="1732"/>
                </a:lnTo>
                <a:lnTo>
                  <a:pt x="3651" y="1732"/>
                </a:lnTo>
                <a:lnTo>
                  <a:pt x="3866" y="1623"/>
                </a:lnTo>
                <a:lnTo>
                  <a:pt x="4296" y="1623"/>
                </a:lnTo>
                <a:lnTo>
                  <a:pt x="5477" y="1732"/>
                </a:lnTo>
                <a:lnTo>
                  <a:pt x="6336" y="2056"/>
                </a:lnTo>
                <a:lnTo>
                  <a:pt x="6766" y="2706"/>
                </a:lnTo>
                <a:lnTo>
                  <a:pt x="6981" y="3572"/>
                </a:lnTo>
                <a:lnTo>
                  <a:pt x="8807" y="3572"/>
                </a:lnTo>
                <a:lnTo>
                  <a:pt x="8807" y="3247"/>
                </a:lnTo>
                <a:lnTo>
                  <a:pt x="8699" y="2922"/>
                </a:lnTo>
                <a:lnTo>
                  <a:pt x="8592" y="2598"/>
                </a:lnTo>
                <a:lnTo>
                  <a:pt x="8485" y="2165"/>
                </a:lnTo>
                <a:lnTo>
                  <a:pt x="8270" y="1732"/>
                </a:lnTo>
                <a:lnTo>
                  <a:pt x="8055" y="1407"/>
                </a:lnTo>
                <a:lnTo>
                  <a:pt x="7625" y="974"/>
                </a:lnTo>
                <a:lnTo>
                  <a:pt x="7196" y="649"/>
                </a:lnTo>
                <a:lnTo>
                  <a:pt x="6766" y="324"/>
                </a:lnTo>
                <a:lnTo>
                  <a:pt x="6122" y="108"/>
                </a:lnTo>
                <a:lnTo>
                  <a:pt x="5370" y="0"/>
                </a:lnTo>
                <a:lnTo>
                  <a:pt x="3974" y="0"/>
                </a:lnTo>
                <a:lnTo>
                  <a:pt x="3436" y="108"/>
                </a:lnTo>
                <a:lnTo>
                  <a:pt x="3007" y="216"/>
                </a:lnTo>
                <a:lnTo>
                  <a:pt x="2470" y="324"/>
                </a:lnTo>
                <a:lnTo>
                  <a:pt x="2040" y="541"/>
                </a:lnTo>
                <a:lnTo>
                  <a:pt x="1611" y="866"/>
                </a:lnTo>
                <a:lnTo>
                  <a:pt x="1288" y="1190"/>
                </a:lnTo>
                <a:lnTo>
                  <a:pt x="966" y="1515"/>
                </a:lnTo>
                <a:lnTo>
                  <a:pt x="644" y="1948"/>
                </a:lnTo>
                <a:lnTo>
                  <a:pt x="537" y="2489"/>
                </a:lnTo>
                <a:lnTo>
                  <a:pt x="322" y="3031"/>
                </a:lnTo>
                <a:close/>
              </a:path>
            </a:pathLst>
          </a:custGeom>
          <a:solidFill>
            <a:srgbClr val="000000"/>
          </a:solidFill>
        </p:spPr>
        <p:txBody>
          <a:bodyPr wrap="square" lIns="0" tIns="0" rIns="0" bIns="0" rtlCol="0">
            <a:noAutofit/>
          </a:bodyPr>
          <a:lstStyle/>
          <a:p>
            <a:endParaRPr/>
          </a:p>
        </p:txBody>
      </p:sp>
      <p:sp>
        <p:nvSpPr>
          <p:cNvPr id="937" name="object 937"/>
          <p:cNvSpPr/>
          <p:nvPr/>
        </p:nvSpPr>
        <p:spPr>
          <a:xfrm>
            <a:off x="3804165" y="1933429"/>
            <a:ext cx="8807" cy="11691"/>
          </a:xfrm>
          <a:custGeom>
            <a:avLst/>
            <a:gdLst/>
            <a:ahLst/>
            <a:cxnLst/>
            <a:rect l="l" t="t" r="r" b="b"/>
            <a:pathLst>
              <a:path w="8807" h="11691">
                <a:moveTo>
                  <a:pt x="3974" y="10284"/>
                </a:moveTo>
                <a:lnTo>
                  <a:pt x="3222" y="10284"/>
                </a:lnTo>
                <a:lnTo>
                  <a:pt x="2899" y="10175"/>
                </a:lnTo>
                <a:lnTo>
                  <a:pt x="2577" y="9959"/>
                </a:lnTo>
                <a:lnTo>
                  <a:pt x="2362" y="9742"/>
                </a:lnTo>
                <a:lnTo>
                  <a:pt x="2148" y="9418"/>
                </a:lnTo>
                <a:lnTo>
                  <a:pt x="1933" y="9093"/>
                </a:lnTo>
                <a:lnTo>
                  <a:pt x="1825" y="8660"/>
                </a:lnTo>
                <a:lnTo>
                  <a:pt x="1825" y="0"/>
                </a:lnTo>
                <a:lnTo>
                  <a:pt x="0" y="0"/>
                </a:lnTo>
                <a:lnTo>
                  <a:pt x="0" y="9201"/>
                </a:lnTo>
                <a:lnTo>
                  <a:pt x="214" y="9851"/>
                </a:lnTo>
                <a:lnTo>
                  <a:pt x="429" y="10392"/>
                </a:lnTo>
                <a:lnTo>
                  <a:pt x="859" y="10933"/>
                </a:lnTo>
                <a:lnTo>
                  <a:pt x="1288" y="11258"/>
                </a:lnTo>
                <a:lnTo>
                  <a:pt x="1825" y="11475"/>
                </a:lnTo>
                <a:lnTo>
                  <a:pt x="2470" y="11583"/>
                </a:lnTo>
                <a:lnTo>
                  <a:pt x="3114" y="11691"/>
                </a:lnTo>
                <a:lnTo>
                  <a:pt x="3651" y="11691"/>
                </a:lnTo>
                <a:lnTo>
                  <a:pt x="4188" y="11583"/>
                </a:lnTo>
                <a:lnTo>
                  <a:pt x="4725" y="11475"/>
                </a:lnTo>
                <a:lnTo>
                  <a:pt x="5262" y="11258"/>
                </a:lnTo>
                <a:lnTo>
                  <a:pt x="5692" y="11150"/>
                </a:lnTo>
                <a:lnTo>
                  <a:pt x="6229" y="10825"/>
                </a:lnTo>
                <a:lnTo>
                  <a:pt x="6659" y="10608"/>
                </a:lnTo>
                <a:lnTo>
                  <a:pt x="6981" y="10175"/>
                </a:lnTo>
                <a:lnTo>
                  <a:pt x="6981" y="11258"/>
                </a:lnTo>
                <a:lnTo>
                  <a:pt x="8807" y="11258"/>
                </a:lnTo>
                <a:lnTo>
                  <a:pt x="8807" y="0"/>
                </a:lnTo>
                <a:lnTo>
                  <a:pt x="6981" y="0"/>
                </a:lnTo>
                <a:lnTo>
                  <a:pt x="6981" y="7469"/>
                </a:lnTo>
                <a:lnTo>
                  <a:pt x="6766" y="8010"/>
                </a:lnTo>
                <a:lnTo>
                  <a:pt x="6551" y="8552"/>
                </a:lnTo>
                <a:lnTo>
                  <a:pt x="6122" y="9093"/>
                </a:lnTo>
                <a:lnTo>
                  <a:pt x="5692" y="9526"/>
                </a:lnTo>
                <a:lnTo>
                  <a:pt x="5262" y="9851"/>
                </a:lnTo>
                <a:lnTo>
                  <a:pt x="4725" y="10067"/>
                </a:lnTo>
                <a:lnTo>
                  <a:pt x="4188" y="10284"/>
                </a:lnTo>
                <a:lnTo>
                  <a:pt x="3974" y="10284"/>
                </a:lnTo>
                <a:close/>
              </a:path>
            </a:pathLst>
          </a:custGeom>
          <a:solidFill>
            <a:srgbClr val="000000"/>
          </a:solidFill>
        </p:spPr>
        <p:txBody>
          <a:bodyPr wrap="square" lIns="0" tIns="0" rIns="0" bIns="0" rtlCol="0">
            <a:noAutofit/>
          </a:bodyPr>
          <a:lstStyle/>
          <a:p>
            <a:endParaRPr/>
          </a:p>
        </p:txBody>
      </p:sp>
      <p:sp>
        <p:nvSpPr>
          <p:cNvPr id="938" name="object 938"/>
          <p:cNvSpPr/>
          <p:nvPr/>
        </p:nvSpPr>
        <p:spPr>
          <a:xfrm>
            <a:off x="3817375" y="1933537"/>
            <a:ext cx="966" cy="3788"/>
          </a:xfrm>
          <a:custGeom>
            <a:avLst/>
            <a:gdLst/>
            <a:ahLst/>
            <a:cxnLst/>
            <a:rect l="l" t="t" r="r" b="b"/>
            <a:pathLst>
              <a:path w="966" h="3788">
                <a:moveTo>
                  <a:pt x="429" y="324"/>
                </a:moveTo>
                <a:lnTo>
                  <a:pt x="0" y="649"/>
                </a:lnTo>
                <a:lnTo>
                  <a:pt x="107" y="3788"/>
                </a:lnTo>
                <a:lnTo>
                  <a:pt x="214" y="3355"/>
                </a:lnTo>
                <a:lnTo>
                  <a:pt x="429" y="2922"/>
                </a:lnTo>
                <a:lnTo>
                  <a:pt x="644" y="2598"/>
                </a:lnTo>
                <a:lnTo>
                  <a:pt x="966" y="0"/>
                </a:lnTo>
                <a:lnTo>
                  <a:pt x="429" y="324"/>
                </a:lnTo>
                <a:close/>
              </a:path>
            </a:pathLst>
          </a:custGeom>
          <a:solidFill>
            <a:srgbClr val="000000"/>
          </a:solidFill>
        </p:spPr>
        <p:txBody>
          <a:bodyPr wrap="square" lIns="0" tIns="0" rIns="0" bIns="0" rtlCol="0">
            <a:noAutofit/>
          </a:bodyPr>
          <a:lstStyle/>
          <a:p>
            <a:endParaRPr/>
          </a:p>
        </p:txBody>
      </p:sp>
      <p:sp>
        <p:nvSpPr>
          <p:cNvPr id="939" name="object 939"/>
          <p:cNvSpPr/>
          <p:nvPr/>
        </p:nvSpPr>
        <p:spPr>
          <a:xfrm>
            <a:off x="3815335" y="1932887"/>
            <a:ext cx="10203" cy="12124"/>
          </a:xfrm>
          <a:custGeom>
            <a:avLst/>
            <a:gdLst/>
            <a:ahLst/>
            <a:cxnLst/>
            <a:rect l="l" t="t" r="r" b="b"/>
            <a:pathLst>
              <a:path w="10203" h="12124">
                <a:moveTo>
                  <a:pt x="0" y="6495"/>
                </a:moveTo>
                <a:lnTo>
                  <a:pt x="0" y="7036"/>
                </a:lnTo>
                <a:lnTo>
                  <a:pt x="107" y="7577"/>
                </a:lnTo>
                <a:lnTo>
                  <a:pt x="214" y="8010"/>
                </a:lnTo>
                <a:lnTo>
                  <a:pt x="322" y="8443"/>
                </a:lnTo>
                <a:lnTo>
                  <a:pt x="429" y="8985"/>
                </a:lnTo>
                <a:lnTo>
                  <a:pt x="644" y="9418"/>
                </a:lnTo>
                <a:lnTo>
                  <a:pt x="859" y="9742"/>
                </a:lnTo>
                <a:lnTo>
                  <a:pt x="1074" y="10175"/>
                </a:lnTo>
                <a:lnTo>
                  <a:pt x="1396" y="10608"/>
                </a:lnTo>
                <a:lnTo>
                  <a:pt x="1825" y="11041"/>
                </a:lnTo>
                <a:lnTo>
                  <a:pt x="2255" y="11366"/>
                </a:lnTo>
                <a:lnTo>
                  <a:pt x="2792" y="11691"/>
                </a:lnTo>
                <a:lnTo>
                  <a:pt x="3329" y="11799"/>
                </a:lnTo>
                <a:lnTo>
                  <a:pt x="3866" y="12016"/>
                </a:lnTo>
                <a:lnTo>
                  <a:pt x="4403" y="12124"/>
                </a:lnTo>
                <a:lnTo>
                  <a:pt x="5585" y="12124"/>
                </a:lnTo>
                <a:lnTo>
                  <a:pt x="6122" y="12016"/>
                </a:lnTo>
                <a:lnTo>
                  <a:pt x="6551" y="12016"/>
                </a:lnTo>
                <a:lnTo>
                  <a:pt x="6873" y="11908"/>
                </a:lnTo>
                <a:lnTo>
                  <a:pt x="7196" y="11799"/>
                </a:lnTo>
                <a:lnTo>
                  <a:pt x="7518" y="11691"/>
                </a:lnTo>
                <a:lnTo>
                  <a:pt x="7840" y="11475"/>
                </a:lnTo>
                <a:lnTo>
                  <a:pt x="8055" y="11366"/>
                </a:lnTo>
                <a:lnTo>
                  <a:pt x="8485" y="11041"/>
                </a:lnTo>
                <a:lnTo>
                  <a:pt x="8914" y="10717"/>
                </a:lnTo>
                <a:lnTo>
                  <a:pt x="9236" y="10284"/>
                </a:lnTo>
                <a:lnTo>
                  <a:pt x="9559" y="9851"/>
                </a:lnTo>
                <a:lnTo>
                  <a:pt x="9773" y="9418"/>
                </a:lnTo>
                <a:lnTo>
                  <a:pt x="9988" y="8985"/>
                </a:lnTo>
                <a:lnTo>
                  <a:pt x="10096" y="8552"/>
                </a:lnTo>
                <a:lnTo>
                  <a:pt x="10096" y="8227"/>
                </a:lnTo>
                <a:lnTo>
                  <a:pt x="8162" y="8227"/>
                </a:lnTo>
                <a:lnTo>
                  <a:pt x="8162" y="8443"/>
                </a:lnTo>
                <a:lnTo>
                  <a:pt x="8055" y="8660"/>
                </a:lnTo>
                <a:lnTo>
                  <a:pt x="7948" y="8985"/>
                </a:lnTo>
                <a:lnTo>
                  <a:pt x="7840" y="9201"/>
                </a:lnTo>
                <a:lnTo>
                  <a:pt x="7625" y="9526"/>
                </a:lnTo>
                <a:lnTo>
                  <a:pt x="7303" y="9742"/>
                </a:lnTo>
                <a:lnTo>
                  <a:pt x="7088" y="9959"/>
                </a:lnTo>
                <a:lnTo>
                  <a:pt x="6766" y="10175"/>
                </a:lnTo>
                <a:lnTo>
                  <a:pt x="6444" y="10284"/>
                </a:lnTo>
                <a:lnTo>
                  <a:pt x="6014" y="10392"/>
                </a:lnTo>
                <a:lnTo>
                  <a:pt x="5692" y="10500"/>
                </a:lnTo>
                <a:lnTo>
                  <a:pt x="5262" y="10500"/>
                </a:lnTo>
                <a:lnTo>
                  <a:pt x="4511" y="10392"/>
                </a:lnTo>
                <a:lnTo>
                  <a:pt x="3866" y="10284"/>
                </a:lnTo>
                <a:lnTo>
                  <a:pt x="3329" y="9959"/>
                </a:lnTo>
                <a:lnTo>
                  <a:pt x="2899" y="9526"/>
                </a:lnTo>
                <a:lnTo>
                  <a:pt x="2577" y="8985"/>
                </a:lnTo>
                <a:lnTo>
                  <a:pt x="2255" y="8335"/>
                </a:lnTo>
                <a:lnTo>
                  <a:pt x="2148" y="7686"/>
                </a:lnTo>
                <a:lnTo>
                  <a:pt x="2040" y="6820"/>
                </a:lnTo>
                <a:lnTo>
                  <a:pt x="10203" y="6820"/>
                </a:lnTo>
                <a:lnTo>
                  <a:pt x="10203" y="5520"/>
                </a:lnTo>
                <a:lnTo>
                  <a:pt x="10096" y="4979"/>
                </a:lnTo>
                <a:lnTo>
                  <a:pt x="9988" y="4438"/>
                </a:lnTo>
                <a:lnTo>
                  <a:pt x="9881" y="3897"/>
                </a:lnTo>
                <a:lnTo>
                  <a:pt x="9773" y="3355"/>
                </a:lnTo>
                <a:lnTo>
                  <a:pt x="9559" y="2922"/>
                </a:lnTo>
                <a:lnTo>
                  <a:pt x="9344" y="2489"/>
                </a:lnTo>
                <a:lnTo>
                  <a:pt x="9129" y="2056"/>
                </a:lnTo>
                <a:lnTo>
                  <a:pt x="8807" y="1732"/>
                </a:lnTo>
                <a:lnTo>
                  <a:pt x="8592" y="1407"/>
                </a:lnTo>
                <a:lnTo>
                  <a:pt x="8270" y="1082"/>
                </a:lnTo>
                <a:lnTo>
                  <a:pt x="7948" y="866"/>
                </a:lnTo>
                <a:lnTo>
                  <a:pt x="7625" y="649"/>
                </a:lnTo>
                <a:lnTo>
                  <a:pt x="7303" y="433"/>
                </a:lnTo>
                <a:lnTo>
                  <a:pt x="6873" y="324"/>
                </a:lnTo>
                <a:lnTo>
                  <a:pt x="6444" y="216"/>
                </a:lnTo>
                <a:lnTo>
                  <a:pt x="6122" y="108"/>
                </a:lnTo>
                <a:lnTo>
                  <a:pt x="5799" y="0"/>
                </a:lnTo>
                <a:lnTo>
                  <a:pt x="4833" y="0"/>
                </a:lnTo>
                <a:lnTo>
                  <a:pt x="4403" y="108"/>
                </a:lnTo>
                <a:lnTo>
                  <a:pt x="3866" y="216"/>
                </a:lnTo>
                <a:lnTo>
                  <a:pt x="3436" y="433"/>
                </a:lnTo>
                <a:lnTo>
                  <a:pt x="3007" y="649"/>
                </a:lnTo>
                <a:lnTo>
                  <a:pt x="2685" y="3247"/>
                </a:lnTo>
                <a:lnTo>
                  <a:pt x="3007" y="2922"/>
                </a:lnTo>
                <a:lnTo>
                  <a:pt x="3329" y="2598"/>
                </a:lnTo>
                <a:lnTo>
                  <a:pt x="3651" y="2381"/>
                </a:lnTo>
                <a:lnTo>
                  <a:pt x="3974" y="2165"/>
                </a:lnTo>
                <a:lnTo>
                  <a:pt x="4403" y="1948"/>
                </a:lnTo>
                <a:lnTo>
                  <a:pt x="4725" y="1840"/>
                </a:lnTo>
                <a:lnTo>
                  <a:pt x="5155" y="1840"/>
                </a:lnTo>
                <a:lnTo>
                  <a:pt x="5907" y="1948"/>
                </a:lnTo>
                <a:lnTo>
                  <a:pt x="6551" y="2056"/>
                </a:lnTo>
                <a:lnTo>
                  <a:pt x="7088" y="2381"/>
                </a:lnTo>
                <a:lnTo>
                  <a:pt x="7518" y="2814"/>
                </a:lnTo>
                <a:lnTo>
                  <a:pt x="7840" y="3355"/>
                </a:lnTo>
                <a:lnTo>
                  <a:pt x="8055" y="3897"/>
                </a:lnTo>
                <a:lnTo>
                  <a:pt x="8162" y="4546"/>
                </a:lnTo>
                <a:lnTo>
                  <a:pt x="8270" y="5304"/>
                </a:lnTo>
                <a:lnTo>
                  <a:pt x="2040" y="5304"/>
                </a:lnTo>
                <a:lnTo>
                  <a:pt x="2040" y="4871"/>
                </a:lnTo>
                <a:lnTo>
                  <a:pt x="2148" y="4438"/>
                </a:lnTo>
                <a:lnTo>
                  <a:pt x="2040" y="1299"/>
                </a:lnTo>
                <a:lnTo>
                  <a:pt x="1718" y="1623"/>
                </a:lnTo>
                <a:lnTo>
                  <a:pt x="1288" y="2056"/>
                </a:lnTo>
                <a:lnTo>
                  <a:pt x="966" y="2598"/>
                </a:lnTo>
                <a:lnTo>
                  <a:pt x="644" y="3139"/>
                </a:lnTo>
                <a:lnTo>
                  <a:pt x="429" y="3680"/>
                </a:lnTo>
                <a:lnTo>
                  <a:pt x="322" y="4330"/>
                </a:lnTo>
                <a:lnTo>
                  <a:pt x="107" y="5087"/>
                </a:lnTo>
                <a:lnTo>
                  <a:pt x="0" y="5737"/>
                </a:lnTo>
                <a:lnTo>
                  <a:pt x="0" y="6495"/>
                </a:lnTo>
                <a:close/>
              </a:path>
            </a:pathLst>
          </a:custGeom>
          <a:solidFill>
            <a:srgbClr val="000000"/>
          </a:solidFill>
        </p:spPr>
        <p:txBody>
          <a:bodyPr wrap="square" lIns="0" tIns="0" rIns="0" bIns="0" rtlCol="0">
            <a:noAutofit/>
          </a:bodyPr>
          <a:lstStyle/>
          <a:p>
            <a:endParaRPr/>
          </a:p>
        </p:txBody>
      </p:sp>
      <p:sp>
        <p:nvSpPr>
          <p:cNvPr id="940" name="object 940"/>
          <p:cNvSpPr/>
          <p:nvPr/>
        </p:nvSpPr>
        <p:spPr>
          <a:xfrm>
            <a:off x="3295705" y="1991670"/>
            <a:ext cx="830247" cy="563033"/>
          </a:xfrm>
          <a:custGeom>
            <a:avLst/>
            <a:gdLst/>
            <a:ahLst/>
            <a:cxnLst/>
            <a:rect l="l" t="t" r="r" b="b"/>
            <a:pathLst>
              <a:path w="830247" h="563033">
                <a:moveTo>
                  <a:pt x="0" y="0"/>
                </a:moveTo>
                <a:lnTo>
                  <a:pt x="830247" y="0"/>
                </a:lnTo>
                <a:lnTo>
                  <a:pt x="830247" y="563033"/>
                </a:lnTo>
                <a:lnTo>
                  <a:pt x="0" y="563033"/>
                </a:lnTo>
                <a:lnTo>
                  <a:pt x="0" y="0"/>
                </a:lnTo>
              </a:path>
            </a:pathLst>
          </a:custGeom>
          <a:ln w="107">
            <a:solidFill>
              <a:srgbClr val="000000"/>
            </a:solidFill>
          </a:ln>
        </p:spPr>
        <p:txBody>
          <a:bodyPr wrap="square" lIns="0" tIns="0" rIns="0" bIns="0" rtlCol="0">
            <a:noAutofit/>
          </a:bodyPr>
          <a:lstStyle/>
          <a:p>
            <a:endParaRPr/>
          </a:p>
        </p:txBody>
      </p:sp>
      <p:sp>
        <p:nvSpPr>
          <p:cNvPr id="941" name="object 941"/>
          <p:cNvSpPr/>
          <p:nvPr/>
        </p:nvSpPr>
        <p:spPr>
          <a:xfrm>
            <a:off x="3377440" y="1991670"/>
            <a:ext cx="0" cy="463763"/>
          </a:xfrm>
          <a:custGeom>
            <a:avLst/>
            <a:gdLst/>
            <a:ahLst/>
            <a:cxnLst/>
            <a:rect l="l" t="t" r="r" b="b"/>
            <a:pathLst>
              <a:path h="463763">
                <a:moveTo>
                  <a:pt x="0" y="0"/>
                </a:moveTo>
                <a:lnTo>
                  <a:pt x="0" y="463763"/>
                </a:lnTo>
              </a:path>
            </a:pathLst>
          </a:custGeom>
          <a:ln w="107">
            <a:solidFill>
              <a:srgbClr val="000000"/>
            </a:solidFill>
          </a:ln>
        </p:spPr>
        <p:txBody>
          <a:bodyPr wrap="square" lIns="0" tIns="0" rIns="0" bIns="0" rtlCol="0">
            <a:noAutofit/>
          </a:bodyPr>
          <a:lstStyle/>
          <a:p>
            <a:endParaRPr/>
          </a:p>
        </p:txBody>
      </p:sp>
      <p:sp>
        <p:nvSpPr>
          <p:cNvPr id="942" name="object 942"/>
          <p:cNvSpPr/>
          <p:nvPr/>
        </p:nvSpPr>
        <p:spPr>
          <a:xfrm>
            <a:off x="3474965" y="1991670"/>
            <a:ext cx="0" cy="463763"/>
          </a:xfrm>
          <a:custGeom>
            <a:avLst/>
            <a:gdLst/>
            <a:ahLst/>
            <a:cxnLst/>
            <a:rect l="l" t="t" r="r" b="b"/>
            <a:pathLst>
              <a:path h="463763">
                <a:moveTo>
                  <a:pt x="0" y="0"/>
                </a:moveTo>
                <a:lnTo>
                  <a:pt x="0" y="463763"/>
                </a:lnTo>
              </a:path>
            </a:pathLst>
          </a:custGeom>
          <a:ln w="107">
            <a:solidFill>
              <a:srgbClr val="000000"/>
            </a:solidFill>
          </a:ln>
        </p:spPr>
        <p:txBody>
          <a:bodyPr wrap="square" lIns="0" tIns="0" rIns="0" bIns="0" rtlCol="0">
            <a:noAutofit/>
          </a:bodyPr>
          <a:lstStyle/>
          <a:p>
            <a:endParaRPr/>
          </a:p>
        </p:txBody>
      </p:sp>
      <p:sp>
        <p:nvSpPr>
          <p:cNvPr id="943" name="object 943"/>
          <p:cNvSpPr/>
          <p:nvPr/>
        </p:nvSpPr>
        <p:spPr>
          <a:xfrm>
            <a:off x="3930365" y="1991669"/>
            <a:ext cx="0" cy="489528"/>
          </a:xfrm>
          <a:custGeom>
            <a:avLst/>
            <a:gdLst/>
            <a:ahLst/>
            <a:cxnLst/>
            <a:rect l="l" t="t" r="r" b="b"/>
            <a:pathLst>
              <a:path h="489528">
                <a:moveTo>
                  <a:pt x="0" y="0"/>
                </a:moveTo>
                <a:lnTo>
                  <a:pt x="0" y="489528"/>
                </a:lnTo>
              </a:path>
            </a:pathLst>
          </a:custGeom>
          <a:ln w="107">
            <a:solidFill>
              <a:srgbClr val="000000"/>
            </a:solidFill>
          </a:ln>
        </p:spPr>
        <p:txBody>
          <a:bodyPr wrap="square" lIns="0" tIns="0" rIns="0" bIns="0" rtlCol="0">
            <a:noAutofit/>
          </a:bodyPr>
          <a:lstStyle/>
          <a:p>
            <a:endParaRPr/>
          </a:p>
        </p:txBody>
      </p:sp>
      <p:sp>
        <p:nvSpPr>
          <p:cNvPr id="944" name="object 944"/>
          <p:cNvSpPr/>
          <p:nvPr/>
        </p:nvSpPr>
        <p:spPr>
          <a:xfrm>
            <a:off x="4027675" y="1991669"/>
            <a:ext cx="0" cy="489528"/>
          </a:xfrm>
          <a:custGeom>
            <a:avLst/>
            <a:gdLst/>
            <a:ahLst/>
            <a:cxnLst/>
            <a:rect l="l" t="t" r="r" b="b"/>
            <a:pathLst>
              <a:path h="489528">
                <a:moveTo>
                  <a:pt x="0" y="0"/>
                </a:moveTo>
                <a:lnTo>
                  <a:pt x="0" y="489528"/>
                </a:lnTo>
              </a:path>
            </a:pathLst>
          </a:custGeom>
          <a:ln w="107">
            <a:solidFill>
              <a:srgbClr val="000000"/>
            </a:solidFill>
          </a:ln>
        </p:spPr>
        <p:txBody>
          <a:bodyPr wrap="square" lIns="0" tIns="0" rIns="0" bIns="0" rtlCol="0">
            <a:noAutofit/>
          </a:bodyPr>
          <a:lstStyle/>
          <a:p>
            <a:endParaRPr/>
          </a:p>
        </p:txBody>
      </p:sp>
      <p:sp>
        <p:nvSpPr>
          <p:cNvPr id="945" name="object 945"/>
          <p:cNvSpPr/>
          <p:nvPr/>
        </p:nvSpPr>
        <p:spPr>
          <a:xfrm>
            <a:off x="3295705" y="2455433"/>
            <a:ext cx="830247" cy="0"/>
          </a:xfrm>
          <a:custGeom>
            <a:avLst/>
            <a:gdLst/>
            <a:ahLst/>
            <a:cxnLst/>
            <a:rect l="l" t="t" r="r" b="b"/>
            <a:pathLst>
              <a:path w="830247">
                <a:moveTo>
                  <a:pt x="0" y="0"/>
                </a:moveTo>
                <a:lnTo>
                  <a:pt x="830247" y="0"/>
                </a:lnTo>
              </a:path>
            </a:pathLst>
          </a:custGeom>
          <a:ln w="108">
            <a:solidFill>
              <a:srgbClr val="000000"/>
            </a:solidFill>
          </a:ln>
        </p:spPr>
        <p:txBody>
          <a:bodyPr wrap="square" lIns="0" tIns="0" rIns="0" bIns="0" rtlCol="0">
            <a:noAutofit/>
          </a:bodyPr>
          <a:lstStyle/>
          <a:p>
            <a:endParaRPr/>
          </a:p>
        </p:txBody>
      </p:sp>
      <p:sp>
        <p:nvSpPr>
          <p:cNvPr id="946" name="object 946"/>
          <p:cNvSpPr/>
          <p:nvPr/>
        </p:nvSpPr>
        <p:spPr>
          <a:xfrm>
            <a:off x="3930365" y="2481198"/>
            <a:ext cx="195586" cy="0"/>
          </a:xfrm>
          <a:custGeom>
            <a:avLst/>
            <a:gdLst/>
            <a:ahLst/>
            <a:cxnLst/>
            <a:rect l="l" t="t" r="r" b="b"/>
            <a:pathLst>
              <a:path w="195586">
                <a:moveTo>
                  <a:pt x="0" y="0"/>
                </a:moveTo>
                <a:lnTo>
                  <a:pt x="195586" y="0"/>
                </a:lnTo>
              </a:path>
            </a:pathLst>
          </a:custGeom>
          <a:ln w="108">
            <a:solidFill>
              <a:srgbClr val="000000"/>
            </a:solidFill>
          </a:ln>
        </p:spPr>
        <p:txBody>
          <a:bodyPr wrap="square" lIns="0" tIns="0" rIns="0" bIns="0" rtlCol="0">
            <a:noAutofit/>
          </a:bodyPr>
          <a:lstStyle/>
          <a:p>
            <a:endParaRPr/>
          </a:p>
        </p:txBody>
      </p:sp>
      <p:sp>
        <p:nvSpPr>
          <p:cNvPr id="947" name="object 947"/>
          <p:cNvSpPr/>
          <p:nvPr/>
        </p:nvSpPr>
        <p:spPr>
          <a:xfrm>
            <a:off x="3792134" y="2455434"/>
            <a:ext cx="0" cy="99269"/>
          </a:xfrm>
          <a:custGeom>
            <a:avLst/>
            <a:gdLst/>
            <a:ahLst/>
            <a:cxnLst/>
            <a:rect l="l" t="t" r="r" b="b"/>
            <a:pathLst>
              <a:path h="99269">
                <a:moveTo>
                  <a:pt x="0" y="0"/>
                </a:moveTo>
                <a:lnTo>
                  <a:pt x="0" y="99269"/>
                </a:lnTo>
              </a:path>
            </a:pathLst>
          </a:custGeom>
          <a:ln w="107">
            <a:solidFill>
              <a:srgbClr val="000000"/>
            </a:solidFill>
          </a:ln>
        </p:spPr>
        <p:txBody>
          <a:bodyPr wrap="square" lIns="0" tIns="0" rIns="0" bIns="0" rtlCol="0">
            <a:noAutofit/>
          </a:bodyPr>
          <a:lstStyle/>
          <a:p>
            <a:endParaRPr/>
          </a:p>
        </p:txBody>
      </p:sp>
      <p:sp>
        <p:nvSpPr>
          <p:cNvPr id="948" name="object 948"/>
          <p:cNvSpPr/>
          <p:nvPr/>
        </p:nvSpPr>
        <p:spPr>
          <a:xfrm>
            <a:off x="3953674" y="2460846"/>
            <a:ext cx="16325" cy="16454"/>
          </a:xfrm>
          <a:custGeom>
            <a:avLst/>
            <a:gdLst/>
            <a:ahLst/>
            <a:cxnLst/>
            <a:rect l="l" t="t" r="r" b="b"/>
            <a:pathLst>
              <a:path w="16325" h="16454">
                <a:moveTo>
                  <a:pt x="0" y="8119"/>
                </a:moveTo>
                <a:lnTo>
                  <a:pt x="0" y="8660"/>
                </a:lnTo>
                <a:lnTo>
                  <a:pt x="107" y="9201"/>
                </a:lnTo>
                <a:lnTo>
                  <a:pt x="107" y="9742"/>
                </a:lnTo>
                <a:lnTo>
                  <a:pt x="214" y="10175"/>
                </a:lnTo>
                <a:lnTo>
                  <a:pt x="322" y="10717"/>
                </a:lnTo>
                <a:lnTo>
                  <a:pt x="537" y="11258"/>
                </a:lnTo>
                <a:lnTo>
                  <a:pt x="644" y="11691"/>
                </a:lnTo>
                <a:lnTo>
                  <a:pt x="859" y="12232"/>
                </a:lnTo>
                <a:lnTo>
                  <a:pt x="1288" y="13098"/>
                </a:lnTo>
                <a:lnTo>
                  <a:pt x="1933" y="13964"/>
                </a:lnTo>
                <a:lnTo>
                  <a:pt x="2685" y="14722"/>
                </a:lnTo>
                <a:lnTo>
                  <a:pt x="3544" y="15372"/>
                </a:lnTo>
                <a:lnTo>
                  <a:pt x="3974" y="15588"/>
                </a:lnTo>
                <a:lnTo>
                  <a:pt x="4511" y="15805"/>
                </a:lnTo>
                <a:lnTo>
                  <a:pt x="5048" y="16021"/>
                </a:lnTo>
                <a:lnTo>
                  <a:pt x="5262" y="9309"/>
                </a:lnTo>
                <a:lnTo>
                  <a:pt x="5262" y="7577"/>
                </a:lnTo>
                <a:lnTo>
                  <a:pt x="5370" y="6928"/>
                </a:lnTo>
                <a:lnTo>
                  <a:pt x="5477" y="6387"/>
                </a:lnTo>
                <a:lnTo>
                  <a:pt x="5585" y="5845"/>
                </a:lnTo>
                <a:lnTo>
                  <a:pt x="5799" y="5412"/>
                </a:lnTo>
                <a:lnTo>
                  <a:pt x="6014" y="4979"/>
                </a:lnTo>
                <a:lnTo>
                  <a:pt x="6336" y="4654"/>
                </a:lnTo>
                <a:lnTo>
                  <a:pt x="6659" y="4330"/>
                </a:lnTo>
                <a:lnTo>
                  <a:pt x="6981" y="4221"/>
                </a:lnTo>
                <a:lnTo>
                  <a:pt x="7411" y="4005"/>
                </a:lnTo>
                <a:lnTo>
                  <a:pt x="7733" y="3897"/>
                </a:lnTo>
                <a:lnTo>
                  <a:pt x="8162" y="3897"/>
                </a:lnTo>
                <a:lnTo>
                  <a:pt x="8807" y="4005"/>
                </a:lnTo>
                <a:lnTo>
                  <a:pt x="9451" y="4221"/>
                </a:lnTo>
                <a:lnTo>
                  <a:pt x="9988" y="4654"/>
                </a:lnTo>
                <a:lnTo>
                  <a:pt x="10418" y="5196"/>
                </a:lnTo>
                <a:lnTo>
                  <a:pt x="10525" y="5520"/>
                </a:lnTo>
                <a:lnTo>
                  <a:pt x="10740" y="5845"/>
                </a:lnTo>
                <a:lnTo>
                  <a:pt x="10847" y="6278"/>
                </a:lnTo>
                <a:lnTo>
                  <a:pt x="10955" y="6603"/>
                </a:lnTo>
                <a:lnTo>
                  <a:pt x="10955" y="7036"/>
                </a:lnTo>
                <a:lnTo>
                  <a:pt x="11062" y="7469"/>
                </a:lnTo>
                <a:lnTo>
                  <a:pt x="11062" y="9309"/>
                </a:lnTo>
                <a:lnTo>
                  <a:pt x="10955" y="10067"/>
                </a:lnTo>
                <a:lnTo>
                  <a:pt x="10740" y="10825"/>
                </a:lnTo>
                <a:lnTo>
                  <a:pt x="10418" y="11475"/>
                </a:lnTo>
                <a:lnTo>
                  <a:pt x="9988" y="12016"/>
                </a:lnTo>
                <a:lnTo>
                  <a:pt x="9451" y="12341"/>
                </a:lnTo>
                <a:lnTo>
                  <a:pt x="8914" y="12557"/>
                </a:lnTo>
                <a:lnTo>
                  <a:pt x="8162" y="12665"/>
                </a:lnTo>
                <a:lnTo>
                  <a:pt x="7518" y="12557"/>
                </a:lnTo>
                <a:lnTo>
                  <a:pt x="6981" y="12449"/>
                </a:lnTo>
                <a:lnTo>
                  <a:pt x="6444" y="12124"/>
                </a:lnTo>
                <a:lnTo>
                  <a:pt x="6014" y="11583"/>
                </a:lnTo>
                <a:lnTo>
                  <a:pt x="5799" y="11258"/>
                </a:lnTo>
                <a:lnTo>
                  <a:pt x="5692" y="10933"/>
                </a:lnTo>
                <a:lnTo>
                  <a:pt x="5585" y="10608"/>
                </a:lnTo>
                <a:lnTo>
                  <a:pt x="5585" y="16129"/>
                </a:lnTo>
                <a:lnTo>
                  <a:pt x="6229" y="16238"/>
                </a:lnTo>
                <a:lnTo>
                  <a:pt x="6873" y="16346"/>
                </a:lnTo>
                <a:lnTo>
                  <a:pt x="7518" y="16454"/>
                </a:lnTo>
                <a:lnTo>
                  <a:pt x="9129" y="16454"/>
                </a:lnTo>
                <a:lnTo>
                  <a:pt x="9559" y="16346"/>
                </a:lnTo>
                <a:lnTo>
                  <a:pt x="9988" y="16346"/>
                </a:lnTo>
                <a:lnTo>
                  <a:pt x="10418" y="16238"/>
                </a:lnTo>
                <a:lnTo>
                  <a:pt x="10847" y="16129"/>
                </a:lnTo>
                <a:lnTo>
                  <a:pt x="11277" y="16021"/>
                </a:lnTo>
                <a:lnTo>
                  <a:pt x="11707" y="15913"/>
                </a:lnTo>
                <a:lnTo>
                  <a:pt x="12459" y="15588"/>
                </a:lnTo>
                <a:lnTo>
                  <a:pt x="13103" y="15155"/>
                </a:lnTo>
                <a:lnTo>
                  <a:pt x="13640" y="14614"/>
                </a:lnTo>
                <a:lnTo>
                  <a:pt x="14177" y="14073"/>
                </a:lnTo>
                <a:lnTo>
                  <a:pt x="14714" y="13531"/>
                </a:lnTo>
                <a:lnTo>
                  <a:pt x="15144" y="12882"/>
                </a:lnTo>
                <a:lnTo>
                  <a:pt x="15466" y="12124"/>
                </a:lnTo>
                <a:lnTo>
                  <a:pt x="15788" y="11366"/>
                </a:lnTo>
                <a:lnTo>
                  <a:pt x="15896" y="11041"/>
                </a:lnTo>
                <a:lnTo>
                  <a:pt x="16003" y="10608"/>
                </a:lnTo>
                <a:lnTo>
                  <a:pt x="16110" y="10175"/>
                </a:lnTo>
                <a:lnTo>
                  <a:pt x="16218" y="9742"/>
                </a:lnTo>
                <a:lnTo>
                  <a:pt x="16218" y="9418"/>
                </a:lnTo>
                <a:lnTo>
                  <a:pt x="16325" y="8985"/>
                </a:lnTo>
                <a:lnTo>
                  <a:pt x="16325" y="7577"/>
                </a:lnTo>
                <a:lnTo>
                  <a:pt x="16218" y="7036"/>
                </a:lnTo>
                <a:lnTo>
                  <a:pt x="16218" y="6495"/>
                </a:lnTo>
                <a:lnTo>
                  <a:pt x="16110" y="6062"/>
                </a:lnTo>
                <a:lnTo>
                  <a:pt x="15896" y="5520"/>
                </a:lnTo>
                <a:lnTo>
                  <a:pt x="15788" y="5087"/>
                </a:lnTo>
                <a:lnTo>
                  <a:pt x="15573" y="4546"/>
                </a:lnTo>
                <a:lnTo>
                  <a:pt x="15359" y="4113"/>
                </a:lnTo>
                <a:lnTo>
                  <a:pt x="14822" y="3247"/>
                </a:lnTo>
                <a:lnTo>
                  <a:pt x="14177" y="2381"/>
                </a:lnTo>
                <a:lnTo>
                  <a:pt x="13533" y="1732"/>
                </a:lnTo>
                <a:lnTo>
                  <a:pt x="12673" y="1082"/>
                </a:lnTo>
                <a:lnTo>
                  <a:pt x="12136" y="866"/>
                </a:lnTo>
                <a:lnTo>
                  <a:pt x="11707" y="649"/>
                </a:lnTo>
                <a:lnTo>
                  <a:pt x="11170" y="433"/>
                </a:lnTo>
                <a:lnTo>
                  <a:pt x="10633" y="324"/>
                </a:lnTo>
                <a:lnTo>
                  <a:pt x="9988" y="216"/>
                </a:lnTo>
                <a:lnTo>
                  <a:pt x="9451" y="108"/>
                </a:lnTo>
                <a:lnTo>
                  <a:pt x="8807" y="0"/>
                </a:lnTo>
                <a:lnTo>
                  <a:pt x="7196" y="0"/>
                </a:lnTo>
                <a:lnTo>
                  <a:pt x="6659" y="108"/>
                </a:lnTo>
                <a:lnTo>
                  <a:pt x="6229" y="108"/>
                </a:lnTo>
                <a:lnTo>
                  <a:pt x="5799" y="216"/>
                </a:lnTo>
                <a:lnTo>
                  <a:pt x="5477" y="324"/>
                </a:lnTo>
                <a:lnTo>
                  <a:pt x="5048" y="541"/>
                </a:lnTo>
                <a:lnTo>
                  <a:pt x="4618" y="649"/>
                </a:lnTo>
                <a:lnTo>
                  <a:pt x="3866" y="974"/>
                </a:lnTo>
                <a:lnTo>
                  <a:pt x="3222" y="1407"/>
                </a:lnTo>
                <a:lnTo>
                  <a:pt x="2577" y="1948"/>
                </a:lnTo>
                <a:lnTo>
                  <a:pt x="2040" y="2489"/>
                </a:lnTo>
                <a:lnTo>
                  <a:pt x="1611" y="3031"/>
                </a:lnTo>
                <a:lnTo>
                  <a:pt x="1181" y="3680"/>
                </a:lnTo>
                <a:lnTo>
                  <a:pt x="859" y="4330"/>
                </a:lnTo>
                <a:lnTo>
                  <a:pt x="537" y="5087"/>
                </a:lnTo>
                <a:lnTo>
                  <a:pt x="322" y="5737"/>
                </a:lnTo>
                <a:lnTo>
                  <a:pt x="214" y="6495"/>
                </a:lnTo>
                <a:lnTo>
                  <a:pt x="107" y="7361"/>
                </a:lnTo>
                <a:lnTo>
                  <a:pt x="0" y="8119"/>
                </a:lnTo>
                <a:close/>
              </a:path>
            </a:pathLst>
          </a:custGeom>
          <a:solidFill>
            <a:srgbClr val="000000"/>
          </a:solidFill>
        </p:spPr>
        <p:txBody>
          <a:bodyPr wrap="square" lIns="0" tIns="0" rIns="0" bIns="0" rtlCol="0">
            <a:noAutofit/>
          </a:bodyPr>
          <a:lstStyle/>
          <a:p>
            <a:endParaRPr/>
          </a:p>
        </p:txBody>
      </p:sp>
      <p:sp>
        <p:nvSpPr>
          <p:cNvPr id="949" name="object 949"/>
          <p:cNvSpPr/>
          <p:nvPr/>
        </p:nvSpPr>
        <p:spPr>
          <a:xfrm>
            <a:off x="3958722" y="2470156"/>
            <a:ext cx="537" cy="6820"/>
          </a:xfrm>
          <a:custGeom>
            <a:avLst/>
            <a:gdLst/>
            <a:ahLst/>
            <a:cxnLst/>
            <a:rect l="l" t="t" r="r" b="b"/>
            <a:pathLst>
              <a:path w="537" h="6820">
                <a:moveTo>
                  <a:pt x="537" y="6820"/>
                </a:moveTo>
                <a:lnTo>
                  <a:pt x="537" y="1299"/>
                </a:lnTo>
                <a:lnTo>
                  <a:pt x="429" y="866"/>
                </a:lnTo>
                <a:lnTo>
                  <a:pt x="322" y="433"/>
                </a:lnTo>
                <a:lnTo>
                  <a:pt x="214" y="0"/>
                </a:lnTo>
                <a:lnTo>
                  <a:pt x="0" y="6711"/>
                </a:lnTo>
                <a:lnTo>
                  <a:pt x="537" y="6820"/>
                </a:lnTo>
                <a:close/>
              </a:path>
            </a:pathLst>
          </a:custGeom>
          <a:solidFill>
            <a:srgbClr val="000000"/>
          </a:solidFill>
        </p:spPr>
        <p:txBody>
          <a:bodyPr wrap="square" lIns="0" tIns="0" rIns="0" bIns="0" rtlCol="0">
            <a:noAutofit/>
          </a:bodyPr>
          <a:lstStyle/>
          <a:p>
            <a:endParaRPr/>
          </a:p>
        </p:txBody>
      </p:sp>
      <p:sp>
        <p:nvSpPr>
          <p:cNvPr id="950" name="object 950"/>
          <p:cNvSpPr/>
          <p:nvPr/>
        </p:nvSpPr>
        <p:spPr>
          <a:xfrm>
            <a:off x="3971395" y="2461387"/>
            <a:ext cx="14177" cy="15480"/>
          </a:xfrm>
          <a:custGeom>
            <a:avLst/>
            <a:gdLst/>
            <a:ahLst/>
            <a:cxnLst/>
            <a:rect l="l" t="t" r="r" b="b"/>
            <a:pathLst>
              <a:path w="14177" h="15480">
                <a:moveTo>
                  <a:pt x="4511" y="15480"/>
                </a:moveTo>
                <a:lnTo>
                  <a:pt x="9666" y="15480"/>
                </a:lnTo>
                <a:lnTo>
                  <a:pt x="9666" y="4221"/>
                </a:lnTo>
                <a:lnTo>
                  <a:pt x="14177" y="4221"/>
                </a:lnTo>
                <a:lnTo>
                  <a:pt x="14177" y="0"/>
                </a:lnTo>
                <a:lnTo>
                  <a:pt x="0" y="0"/>
                </a:lnTo>
                <a:lnTo>
                  <a:pt x="0" y="4221"/>
                </a:lnTo>
                <a:lnTo>
                  <a:pt x="4511" y="4221"/>
                </a:lnTo>
                <a:lnTo>
                  <a:pt x="4511" y="15480"/>
                </a:lnTo>
                <a:close/>
              </a:path>
            </a:pathLst>
          </a:custGeom>
          <a:solidFill>
            <a:srgbClr val="000000"/>
          </a:solidFill>
        </p:spPr>
        <p:txBody>
          <a:bodyPr wrap="square" lIns="0" tIns="0" rIns="0" bIns="0" rtlCol="0">
            <a:noAutofit/>
          </a:bodyPr>
          <a:lstStyle/>
          <a:p>
            <a:endParaRPr/>
          </a:p>
        </p:txBody>
      </p:sp>
      <p:sp>
        <p:nvSpPr>
          <p:cNvPr id="951" name="object 951"/>
          <p:cNvSpPr/>
          <p:nvPr/>
        </p:nvSpPr>
        <p:spPr>
          <a:xfrm>
            <a:off x="3984821" y="2461387"/>
            <a:ext cx="16325" cy="15480"/>
          </a:xfrm>
          <a:custGeom>
            <a:avLst/>
            <a:gdLst/>
            <a:ahLst/>
            <a:cxnLst/>
            <a:rect l="l" t="t" r="r" b="b"/>
            <a:pathLst>
              <a:path w="16325" h="15480">
                <a:moveTo>
                  <a:pt x="10740" y="0"/>
                </a:moveTo>
                <a:lnTo>
                  <a:pt x="5585" y="0"/>
                </a:lnTo>
                <a:lnTo>
                  <a:pt x="0" y="15480"/>
                </a:lnTo>
                <a:lnTo>
                  <a:pt x="4940" y="15480"/>
                </a:lnTo>
                <a:lnTo>
                  <a:pt x="5585" y="13531"/>
                </a:lnTo>
                <a:lnTo>
                  <a:pt x="6551" y="10284"/>
                </a:lnTo>
                <a:lnTo>
                  <a:pt x="8055" y="4654"/>
                </a:lnTo>
                <a:lnTo>
                  <a:pt x="9666" y="10284"/>
                </a:lnTo>
                <a:lnTo>
                  <a:pt x="10633" y="13531"/>
                </a:lnTo>
                <a:lnTo>
                  <a:pt x="11277" y="15480"/>
                </a:lnTo>
                <a:lnTo>
                  <a:pt x="16325" y="15480"/>
                </a:lnTo>
                <a:lnTo>
                  <a:pt x="10740" y="0"/>
                </a:lnTo>
                <a:close/>
              </a:path>
            </a:pathLst>
          </a:custGeom>
          <a:solidFill>
            <a:srgbClr val="000000"/>
          </a:solidFill>
        </p:spPr>
        <p:txBody>
          <a:bodyPr wrap="square" lIns="0" tIns="0" rIns="0" bIns="0" rtlCol="0">
            <a:noAutofit/>
          </a:bodyPr>
          <a:lstStyle/>
          <a:p>
            <a:endParaRPr/>
          </a:p>
        </p:txBody>
      </p:sp>
      <p:sp>
        <p:nvSpPr>
          <p:cNvPr id="952" name="object 952"/>
          <p:cNvSpPr/>
          <p:nvPr/>
        </p:nvSpPr>
        <p:spPr>
          <a:xfrm>
            <a:off x="3990405" y="2471672"/>
            <a:ext cx="5048" cy="3247"/>
          </a:xfrm>
          <a:custGeom>
            <a:avLst/>
            <a:gdLst/>
            <a:ahLst/>
            <a:cxnLst/>
            <a:rect l="l" t="t" r="r" b="b"/>
            <a:pathLst>
              <a:path w="5048" h="3247">
                <a:moveTo>
                  <a:pt x="966" y="0"/>
                </a:moveTo>
                <a:lnTo>
                  <a:pt x="0" y="3247"/>
                </a:lnTo>
                <a:lnTo>
                  <a:pt x="5048" y="3247"/>
                </a:lnTo>
                <a:lnTo>
                  <a:pt x="4081" y="0"/>
                </a:lnTo>
                <a:lnTo>
                  <a:pt x="966" y="0"/>
                </a:lnTo>
                <a:close/>
              </a:path>
            </a:pathLst>
          </a:custGeom>
          <a:solidFill>
            <a:srgbClr val="000000"/>
          </a:solidFill>
        </p:spPr>
        <p:txBody>
          <a:bodyPr wrap="square" lIns="0" tIns="0" rIns="0" bIns="0" rtlCol="0">
            <a:noAutofit/>
          </a:bodyPr>
          <a:lstStyle/>
          <a:p>
            <a:endParaRPr/>
          </a:p>
        </p:txBody>
      </p:sp>
      <p:sp>
        <p:nvSpPr>
          <p:cNvPr id="953" name="object 953"/>
          <p:cNvSpPr/>
          <p:nvPr/>
        </p:nvSpPr>
        <p:spPr>
          <a:xfrm>
            <a:off x="4002864" y="2461387"/>
            <a:ext cx="12244" cy="15480"/>
          </a:xfrm>
          <a:custGeom>
            <a:avLst/>
            <a:gdLst/>
            <a:ahLst/>
            <a:cxnLst/>
            <a:rect l="l" t="t" r="r" b="b"/>
            <a:pathLst>
              <a:path w="12244" h="15480">
                <a:moveTo>
                  <a:pt x="5155" y="11799"/>
                </a:moveTo>
                <a:lnTo>
                  <a:pt x="5155" y="0"/>
                </a:lnTo>
                <a:lnTo>
                  <a:pt x="0" y="0"/>
                </a:lnTo>
                <a:lnTo>
                  <a:pt x="0" y="15480"/>
                </a:lnTo>
                <a:lnTo>
                  <a:pt x="12244" y="15480"/>
                </a:lnTo>
                <a:lnTo>
                  <a:pt x="12244" y="11799"/>
                </a:lnTo>
                <a:lnTo>
                  <a:pt x="5155" y="11799"/>
                </a:lnTo>
                <a:close/>
              </a:path>
            </a:pathLst>
          </a:custGeom>
          <a:solidFill>
            <a:srgbClr val="000000"/>
          </a:solidFill>
        </p:spPr>
        <p:txBody>
          <a:bodyPr wrap="square" lIns="0" tIns="0" rIns="0" bIns="0" rtlCol="0">
            <a:noAutofit/>
          </a:bodyPr>
          <a:lstStyle/>
          <a:p>
            <a:endParaRPr/>
          </a:p>
        </p:txBody>
      </p:sp>
      <p:sp>
        <p:nvSpPr>
          <p:cNvPr id="954" name="object 954"/>
          <p:cNvSpPr/>
          <p:nvPr/>
        </p:nvSpPr>
        <p:spPr>
          <a:xfrm>
            <a:off x="3937992" y="2461387"/>
            <a:ext cx="14177" cy="15480"/>
          </a:xfrm>
          <a:custGeom>
            <a:avLst/>
            <a:gdLst/>
            <a:ahLst/>
            <a:cxnLst/>
            <a:rect l="l" t="t" r="r" b="b"/>
            <a:pathLst>
              <a:path w="14177" h="15480">
                <a:moveTo>
                  <a:pt x="4511" y="15480"/>
                </a:moveTo>
                <a:lnTo>
                  <a:pt x="9666" y="15480"/>
                </a:lnTo>
                <a:lnTo>
                  <a:pt x="9666" y="4221"/>
                </a:lnTo>
                <a:lnTo>
                  <a:pt x="14177" y="4221"/>
                </a:lnTo>
                <a:lnTo>
                  <a:pt x="14177" y="0"/>
                </a:lnTo>
                <a:lnTo>
                  <a:pt x="0" y="0"/>
                </a:lnTo>
                <a:lnTo>
                  <a:pt x="0" y="4221"/>
                </a:lnTo>
                <a:lnTo>
                  <a:pt x="4511" y="4221"/>
                </a:lnTo>
                <a:lnTo>
                  <a:pt x="4511" y="15480"/>
                </a:lnTo>
                <a:close/>
              </a:path>
            </a:pathLst>
          </a:custGeom>
          <a:solidFill>
            <a:srgbClr val="000000"/>
          </a:solidFill>
        </p:spPr>
        <p:txBody>
          <a:bodyPr wrap="square" lIns="0" tIns="0" rIns="0" bIns="0" rtlCol="0">
            <a:noAutofit/>
          </a:bodyPr>
          <a:lstStyle/>
          <a:p>
            <a:endParaRPr/>
          </a:p>
        </p:txBody>
      </p:sp>
      <p:sp>
        <p:nvSpPr>
          <p:cNvPr id="955" name="object 955"/>
          <p:cNvSpPr/>
          <p:nvPr/>
        </p:nvSpPr>
        <p:spPr>
          <a:xfrm>
            <a:off x="3302364" y="2460955"/>
            <a:ext cx="9344" cy="11583"/>
          </a:xfrm>
          <a:custGeom>
            <a:avLst/>
            <a:gdLst/>
            <a:ahLst/>
            <a:cxnLst/>
            <a:rect l="l" t="t" r="r" b="b"/>
            <a:pathLst>
              <a:path w="9344" h="11583">
                <a:moveTo>
                  <a:pt x="3866" y="11583"/>
                </a:moveTo>
                <a:lnTo>
                  <a:pt x="5370" y="11583"/>
                </a:lnTo>
                <a:lnTo>
                  <a:pt x="5370" y="1407"/>
                </a:lnTo>
                <a:lnTo>
                  <a:pt x="9344" y="1407"/>
                </a:lnTo>
                <a:lnTo>
                  <a:pt x="9344" y="0"/>
                </a:lnTo>
                <a:lnTo>
                  <a:pt x="0" y="0"/>
                </a:lnTo>
                <a:lnTo>
                  <a:pt x="0" y="1407"/>
                </a:lnTo>
                <a:lnTo>
                  <a:pt x="3866" y="1407"/>
                </a:lnTo>
                <a:lnTo>
                  <a:pt x="3866" y="11583"/>
                </a:lnTo>
                <a:close/>
              </a:path>
            </a:pathLst>
          </a:custGeom>
          <a:solidFill>
            <a:srgbClr val="000000"/>
          </a:solidFill>
        </p:spPr>
        <p:txBody>
          <a:bodyPr wrap="square" lIns="0" tIns="0" rIns="0" bIns="0" rtlCol="0">
            <a:noAutofit/>
          </a:bodyPr>
          <a:lstStyle/>
          <a:p>
            <a:endParaRPr/>
          </a:p>
        </p:txBody>
      </p:sp>
      <p:sp>
        <p:nvSpPr>
          <p:cNvPr id="956" name="object 956"/>
          <p:cNvSpPr/>
          <p:nvPr/>
        </p:nvSpPr>
        <p:spPr>
          <a:xfrm>
            <a:off x="3312245" y="2464419"/>
            <a:ext cx="322" cy="3247"/>
          </a:xfrm>
          <a:custGeom>
            <a:avLst/>
            <a:gdLst/>
            <a:ahLst/>
            <a:cxnLst/>
            <a:rect l="l" t="t" r="r" b="b"/>
            <a:pathLst>
              <a:path w="322" h="3247">
                <a:moveTo>
                  <a:pt x="0" y="3247"/>
                </a:moveTo>
                <a:lnTo>
                  <a:pt x="0" y="2922"/>
                </a:lnTo>
                <a:lnTo>
                  <a:pt x="107" y="2598"/>
                </a:lnTo>
                <a:lnTo>
                  <a:pt x="214" y="2273"/>
                </a:lnTo>
                <a:lnTo>
                  <a:pt x="322" y="0"/>
                </a:lnTo>
                <a:lnTo>
                  <a:pt x="0" y="216"/>
                </a:lnTo>
                <a:lnTo>
                  <a:pt x="0" y="3247"/>
                </a:lnTo>
                <a:close/>
              </a:path>
            </a:pathLst>
          </a:custGeom>
          <a:solidFill>
            <a:srgbClr val="000000"/>
          </a:solidFill>
        </p:spPr>
        <p:txBody>
          <a:bodyPr wrap="square" lIns="0" tIns="0" rIns="0" bIns="0" rtlCol="0">
            <a:noAutofit/>
          </a:bodyPr>
          <a:lstStyle/>
          <a:p>
            <a:endParaRPr/>
          </a:p>
        </p:txBody>
      </p:sp>
      <p:sp>
        <p:nvSpPr>
          <p:cNvPr id="957" name="object 957"/>
          <p:cNvSpPr/>
          <p:nvPr/>
        </p:nvSpPr>
        <p:spPr>
          <a:xfrm>
            <a:off x="3310742" y="2463661"/>
            <a:ext cx="7733" cy="9093"/>
          </a:xfrm>
          <a:custGeom>
            <a:avLst/>
            <a:gdLst/>
            <a:ahLst/>
            <a:cxnLst/>
            <a:rect l="l" t="t" r="r" b="b"/>
            <a:pathLst>
              <a:path w="7733" h="9093">
                <a:moveTo>
                  <a:pt x="1718" y="8552"/>
                </a:moveTo>
                <a:lnTo>
                  <a:pt x="2040" y="8768"/>
                </a:lnTo>
                <a:lnTo>
                  <a:pt x="2470" y="8876"/>
                </a:lnTo>
                <a:lnTo>
                  <a:pt x="2899" y="8985"/>
                </a:lnTo>
                <a:lnTo>
                  <a:pt x="3329" y="9093"/>
                </a:lnTo>
                <a:lnTo>
                  <a:pt x="4188" y="9093"/>
                </a:lnTo>
                <a:lnTo>
                  <a:pt x="4618" y="8985"/>
                </a:lnTo>
                <a:lnTo>
                  <a:pt x="4940" y="8985"/>
                </a:lnTo>
                <a:lnTo>
                  <a:pt x="5155" y="8876"/>
                </a:lnTo>
                <a:lnTo>
                  <a:pt x="5477" y="8876"/>
                </a:lnTo>
                <a:lnTo>
                  <a:pt x="5692" y="8768"/>
                </a:lnTo>
                <a:lnTo>
                  <a:pt x="5907" y="8660"/>
                </a:lnTo>
                <a:lnTo>
                  <a:pt x="6122" y="8552"/>
                </a:lnTo>
                <a:lnTo>
                  <a:pt x="6444" y="8335"/>
                </a:lnTo>
                <a:lnTo>
                  <a:pt x="6659" y="8010"/>
                </a:lnTo>
                <a:lnTo>
                  <a:pt x="6981" y="7794"/>
                </a:lnTo>
                <a:lnTo>
                  <a:pt x="7196" y="7469"/>
                </a:lnTo>
                <a:lnTo>
                  <a:pt x="7303" y="7036"/>
                </a:lnTo>
                <a:lnTo>
                  <a:pt x="7411" y="6711"/>
                </a:lnTo>
                <a:lnTo>
                  <a:pt x="7518" y="6495"/>
                </a:lnTo>
                <a:lnTo>
                  <a:pt x="7625" y="6278"/>
                </a:lnTo>
                <a:lnTo>
                  <a:pt x="6122" y="6278"/>
                </a:lnTo>
                <a:lnTo>
                  <a:pt x="6014" y="6603"/>
                </a:lnTo>
                <a:lnTo>
                  <a:pt x="5907" y="6928"/>
                </a:lnTo>
                <a:lnTo>
                  <a:pt x="5692" y="7144"/>
                </a:lnTo>
                <a:lnTo>
                  <a:pt x="5477" y="7361"/>
                </a:lnTo>
                <a:lnTo>
                  <a:pt x="5262" y="7469"/>
                </a:lnTo>
                <a:lnTo>
                  <a:pt x="5048" y="7686"/>
                </a:lnTo>
                <a:lnTo>
                  <a:pt x="4833" y="7794"/>
                </a:lnTo>
                <a:lnTo>
                  <a:pt x="4511" y="7794"/>
                </a:lnTo>
                <a:lnTo>
                  <a:pt x="4296" y="7902"/>
                </a:lnTo>
                <a:lnTo>
                  <a:pt x="3436" y="7902"/>
                </a:lnTo>
                <a:lnTo>
                  <a:pt x="2899" y="7686"/>
                </a:lnTo>
                <a:lnTo>
                  <a:pt x="2470" y="7469"/>
                </a:lnTo>
                <a:lnTo>
                  <a:pt x="2148" y="7144"/>
                </a:lnTo>
                <a:lnTo>
                  <a:pt x="1825" y="6820"/>
                </a:lnTo>
                <a:lnTo>
                  <a:pt x="1718" y="6278"/>
                </a:lnTo>
                <a:lnTo>
                  <a:pt x="1503" y="5737"/>
                </a:lnTo>
                <a:lnTo>
                  <a:pt x="1503" y="5087"/>
                </a:lnTo>
                <a:lnTo>
                  <a:pt x="7733" y="5087"/>
                </a:lnTo>
                <a:lnTo>
                  <a:pt x="7733" y="4113"/>
                </a:lnTo>
                <a:lnTo>
                  <a:pt x="7625" y="3680"/>
                </a:lnTo>
                <a:lnTo>
                  <a:pt x="7518" y="3247"/>
                </a:lnTo>
                <a:lnTo>
                  <a:pt x="7411" y="2922"/>
                </a:lnTo>
                <a:lnTo>
                  <a:pt x="7303" y="2489"/>
                </a:lnTo>
                <a:lnTo>
                  <a:pt x="7196" y="2165"/>
                </a:lnTo>
                <a:lnTo>
                  <a:pt x="6981" y="1840"/>
                </a:lnTo>
                <a:lnTo>
                  <a:pt x="6766" y="1623"/>
                </a:lnTo>
                <a:lnTo>
                  <a:pt x="6659" y="1299"/>
                </a:lnTo>
                <a:lnTo>
                  <a:pt x="6444" y="1082"/>
                </a:lnTo>
                <a:lnTo>
                  <a:pt x="6229" y="866"/>
                </a:lnTo>
                <a:lnTo>
                  <a:pt x="6014" y="649"/>
                </a:lnTo>
                <a:lnTo>
                  <a:pt x="5692" y="541"/>
                </a:lnTo>
                <a:lnTo>
                  <a:pt x="5477" y="324"/>
                </a:lnTo>
                <a:lnTo>
                  <a:pt x="5155" y="216"/>
                </a:lnTo>
                <a:lnTo>
                  <a:pt x="4940" y="108"/>
                </a:lnTo>
                <a:lnTo>
                  <a:pt x="4618" y="108"/>
                </a:lnTo>
                <a:lnTo>
                  <a:pt x="4296" y="0"/>
                </a:lnTo>
                <a:lnTo>
                  <a:pt x="3651" y="0"/>
                </a:lnTo>
                <a:lnTo>
                  <a:pt x="3329" y="108"/>
                </a:lnTo>
                <a:lnTo>
                  <a:pt x="2899" y="216"/>
                </a:lnTo>
                <a:lnTo>
                  <a:pt x="2577" y="324"/>
                </a:lnTo>
                <a:lnTo>
                  <a:pt x="2148" y="541"/>
                </a:lnTo>
                <a:lnTo>
                  <a:pt x="1825" y="757"/>
                </a:lnTo>
                <a:lnTo>
                  <a:pt x="1718" y="3031"/>
                </a:lnTo>
                <a:lnTo>
                  <a:pt x="1825" y="2706"/>
                </a:lnTo>
                <a:lnTo>
                  <a:pt x="2040" y="2489"/>
                </a:lnTo>
                <a:lnTo>
                  <a:pt x="2255" y="2273"/>
                </a:lnTo>
                <a:lnTo>
                  <a:pt x="2470" y="2056"/>
                </a:lnTo>
                <a:lnTo>
                  <a:pt x="2685" y="1840"/>
                </a:lnTo>
                <a:lnTo>
                  <a:pt x="3007" y="1623"/>
                </a:lnTo>
                <a:lnTo>
                  <a:pt x="3329" y="1515"/>
                </a:lnTo>
                <a:lnTo>
                  <a:pt x="3544" y="1407"/>
                </a:lnTo>
                <a:lnTo>
                  <a:pt x="3866" y="1407"/>
                </a:lnTo>
                <a:lnTo>
                  <a:pt x="4403" y="1515"/>
                </a:lnTo>
                <a:lnTo>
                  <a:pt x="4940" y="1623"/>
                </a:lnTo>
                <a:lnTo>
                  <a:pt x="5262" y="1840"/>
                </a:lnTo>
                <a:lnTo>
                  <a:pt x="5585" y="2165"/>
                </a:lnTo>
                <a:lnTo>
                  <a:pt x="5907" y="2489"/>
                </a:lnTo>
                <a:lnTo>
                  <a:pt x="6122" y="2922"/>
                </a:lnTo>
                <a:lnTo>
                  <a:pt x="6229" y="3464"/>
                </a:lnTo>
                <a:lnTo>
                  <a:pt x="6229" y="4005"/>
                </a:lnTo>
                <a:lnTo>
                  <a:pt x="1503" y="4005"/>
                </a:lnTo>
                <a:lnTo>
                  <a:pt x="1503" y="974"/>
                </a:lnTo>
                <a:lnTo>
                  <a:pt x="1288" y="1299"/>
                </a:lnTo>
                <a:lnTo>
                  <a:pt x="966" y="1623"/>
                </a:lnTo>
                <a:lnTo>
                  <a:pt x="751" y="1948"/>
                </a:lnTo>
                <a:lnTo>
                  <a:pt x="537" y="2381"/>
                </a:lnTo>
                <a:lnTo>
                  <a:pt x="322" y="2814"/>
                </a:lnTo>
                <a:lnTo>
                  <a:pt x="214" y="3355"/>
                </a:lnTo>
                <a:lnTo>
                  <a:pt x="107" y="3788"/>
                </a:lnTo>
                <a:lnTo>
                  <a:pt x="0" y="4330"/>
                </a:lnTo>
                <a:lnTo>
                  <a:pt x="0" y="4871"/>
                </a:lnTo>
                <a:lnTo>
                  <a:pt x="107" y="5629"/>
                </a:lnTo>
                <a:lnTo>
                  <a:pt x="214" y="6387"/>
                </a:lnTo>
                <a:lnTo>
                  <a:pt x="537" y="7036"/>
                </a:lnTo>
                <a:lnTo>
                  <a:pt x="859" y="7686"/>
                </a:lnTo>
                <a:lnTo>
                  <a:pt x="1074" y="8010"/>
                </a:lnTo>
                <a:lnTo>
                  <a:pt x="1396" y="8335"/>
                </a:lnTo>
                <a:lnTo>
                  <a:pt x="1718" y="8552"/>
                </a:lnTo>
                <a:close/>
              </a:path>
            </a:pathLst>
          </a:custGeom>
          <a:solidFill>
            <a:srgbClr val="000000"/>
          </a:solidFill>
        </p:spPr>
        <p:txBody>
          <a:bodyPr wrap="square" lIns="0" tIns="0" rIns="0" bIns="0" rtlCol="0">
            <a:noAutofit/>
          </a:bodyPr>
          <a:lstStyle/>
          <a:p>
            <a:endParaRPr/>
          </a:p>
        </p:txBody>
      </p:sp>
      <p:sp>
        <p:nvSpPr>
          <p:cNvPr id="958" name="object 958"/>
          <p:cNvSpPr/>
          <p:nvPr/>
        </p:nvSpPr>
        <p:spPr>
          <a:xfrm>
            <a:off x="3320408" y="2463985"/>
            <a:ext cx="4188" cy="8552"/>
          </a:xfrm>
          <a:custGeom>
            <a:avLst/>
            <a:gdLst/>
            <a:ahLst/>
            <a:cxnLst/>
            <a:rect l="l" t="t" r="r" b="b"/>
            <a:pathLst>
              <a:path w="4188" h="8552">
                <a:moveTo>
                  <a:pt x="2470" y="433"/>
                </a:moveTo>
                <a:lnTo>
                  <a:pt x="2148" y="649"/>
                </a:lnTo>
                <a:lnTo>
                  <a:pt x="1933" y="866"/>
                </a:lnTo>
                <a:lnTo>
                  <a:pt x="1611" y="1190"/>
                </a:lnTo>
                <a:lnTo>
                  <a:pt x="1288" y="1623"/>
                </a:lnTo>
                <a:lnTo>
                  <a:pt x="1288" y="108"/>
                </a:lnTo>
                <a:lnTo>
                  <a:pt x="0" y="108"/>
                </a:lnTo>
                <a:lnTo>
                  <a:pt x="0" y="8552"/>
                </a:lnTo>
                <a:lnTo>
                  <a:pt x="1396" y="8552"/>
                </a:lnTo>
                <a:lnTo>
                  <a:pt x="1396" y="3139"/>
                </a:lnTo>
                <a:lnTo>
                  <a:pt x="1611" y="2706"/>
                </a:lnTo>
                <a:lnTo>
                  <a:pt x="1825" y="2381"/>
                </a:lnTo>
                <a:lnTo>
                  <a:pt x="2148" y="2056"/>
                </a:lnTo>
                <a:lnTo>
                  <a:pt x="2577" y="1840"/>
                </a:lnTo>
                <a:lnTo>
                  <a:pt x="3007" y="1623"/>
                </a:lnTo>
                <a:lnTo>
                  <a:pt x="3544" y="1515"/>
                </a:lnTo>
                <a:lnTo>
                  <a:pt x="4188" y="1515"/>
                </a:lnTo>
                <a:lnTo>
                  <a:pt x="4188" y="0"/>
                </a:lnTo>
                <a:lnTo>
                  <a:pt x="3651" y="0"/>
                </a:lnTo>
                <a:lnTo>
                  <a:pt x="3222" y="108"/>
                </a:lnTo>
                <a:lnTo>
                  <a:pt x="2792" y="216"/>
                </a:lnTo>
                <a:lnTo>
                  <a:pt x="2470" y="433"/>
                </a:lnTo>
                <a:close/>
              </a:path>
            </a:pathLst>
          </a:custGeom>
          <a:solidFill>
            <a:srgbClr val="000000"/>
          </a:solidFill>
        </p:spPr>
        <p:txBody>
          <a:bodyPr wrap="square" lIns="0" tIns="0" rIns="0" bIns="0" rtlCol="0">
            <a:noAutofit/>
          </a:bodyPr>
          <a:lstStyle/>
          <a:p>
            <a:endParaRPr/>
          </a:p>
        </p:txBody>
      </p:sp>
      <p:sp>
        <p:nvSpPr>
          <p:cNvPr id="959" name="object 959"/>
          <p:cNvSpPr/>
          <p:nvPr/>
        </p:nvSpPr>
        <p:spPr>
          <a:xfrm>
            <a:off x="3325564" y="2463877"/>
            <a:ext cx="11277" cy="8660"/>
          </a:xfrm>
          <a:custGeom>
            <a:avLst/>
            <a:gdLst/>
            <a:ahLst/>
            <a:cxnLst/>
            <a:rect l="l" t="t" r="r" b="b"/>
            <a:pathLst>
              <a:path w="11277" h="8660">
                <a:moveTo>
                  <a:pt x="1611" y="2706"/>
                </a:moveTo>
                <a:lnTo>
                  <a:pt x="1718" y="2381"/>
                </a:lnTo>
                <a:lnTo>
                  <a:pt x="1933" y="2056"/>
                </a:lnTo>
                <a:lnTo>
                  <a:pt x="2148" y="1840"/>
                </a:lnTo>
                <a:lnTo>
                  <a:pt x="2362" y="1623"/>
                </a:lnTo>
                <a:lnTo>
                  <a:pt x="2685" y="1515"/>
                </a:lnTo>
                <a:lnTo>
                  <a:pt x="2899" y="1407"/>
                </a:lnTo>
                <a:lnTo>
                  <a:pt x="3222" y="1299"/>
                </a:lnTo>
                <a:lnTo>
                  <a:pt x="3436" y="1190"/>
                </a:lnTo>
                <a:lnTo>
                  <a:pt x="3974" y="1190"/>
                </a:lnTo>
                <a:lnTo>
                  <a:pt x="4296" y="1299"/>
                </a:lnTo>
                <a:lnTo>
                  <a:pt x="4511" y="1515"/>
                </a:lnTo>
                <a:lnTo>
                  <a:pt x="4725" y="1732"/>
                </a:lnTo>
                <a:lnTo>
                  <a:pt x="4833" y="1948"/>
                </a:lnTo>
                <a:lnTo>
                  <a:pt x="4940" y="2273"/>
                </a:lnTo>
                <a:lnTo>
                  <a:pt x="5048" y="2489"/>
                </a:lnTo>
                <a:lnTo>
                  <a:pt x="5048" y="8660"/>
                </a:lnTo>
                <a:lnTo>
                  <a:pt x="6444" y="8660"/>
                </a:lnTo>
                <a:lnTo>
                  <a:pt x="6444" y="2922"/>
                </a:lnTo>
                <a:lnTo>
                  <a:pt x="6551" y="2706"/>
                </a:lnTo>
                <a:lnTo>
                  <a:pt x="6659" y="2381"/>
                </a:lnTo>
                <a:lnTo>
                  <a:pt x="6766" y="2165"/>
                </a:lnTo>
                <a:lnTo>
                  <a:pt x="6981" y="1948"/>
                </a:lnTo>
                <a:lnTo>
                  <a:pt x="7088" y="1732"/>
                </a:lnTo>
                <a:lnTo>
                  <a:pt x="7303" y="1515"/>
                </a:lnTo>
                <a:lnTo>
                  <a:pt x="7518" y="1407"/>
                </a:lnTo>
                <a:lnTo>
                  <a:pt x="7840" y="1299"/>
                </a:lnTo>
                <a:lnTo>
                  <a:pt x="8055" y="1190"/>
                </a:lnTo>
                <a:lnTo>
                  <a:pt x="8377" y="1190"/>
                </a:lnTo>
                <a:lnTo>
                  <a:pt x="9022" y="1299"/>
                </a:lnTo>
                <a:lnTo>
                  <a:pt x="9559" y="1732"/>
                </a:lnTo>
                <a:lnTo>
                  <a:pt x="9773" y="2381"/>
                </a:lnTo>
                <a:lnTo>
                  <a:pt x="9881" y="3247"/>
                </a:lnTo>
                <a:lnTo>
                  <a:pt x="9881" y="8660"/>
                </a:lnTo>
                <a:lnTo>
                  <a:pt x="11277" y="8660"/>
                </a:lnTo>
                <a:lnTo>
                  <a:pt x="11277" y="2273"/>
                </a:lnTo>
                <a:lnTo>
                  <a:pt x="11170" y="1840"/>
                </a:lnTo>
                <a:lnTo>
                  <a:pt x="11062" y="1407"/>
                </a:lnTo>
                <a:lnTo>
                  <a:pt x="10847" y="1082"/>
                </a:lnTo>
                <a:lnTo>
                  <a:pt x="10633" y="757"/>
                </a:lnTo>
                <a:lnTo>
                  <a:pt x="10418" y="541"/>
                </a:lnTo>
                <a:lnTo>
                  <a:pt x="10096" y="324"/>
                </a:lnTo>
                <a:lnTo>
                  <a:pt x="9881" y="216"/>
                </a:lnTo>
                <a:lnTo>
                  <a:pt x="9559" y="108"/>
                </a:lnTo>
                <a:lnTo>
                  <a:pt x="9344" y="0"/>
                </a:lnTo>
                <a:lnTo>
                  <a:pt x="8270" y="0"/>
                </a:lnTo>
                <a:lnTo>
                  <a:pt x="7948" y="108"/>
                </a:lnTo>
                <a:lnTo>
                  <a:pt x="7625" y="216"/>
                </a:lnTo>
                <a:lnTo>
                  <a:pt x="7303" y="324"/>
                </a:lnTo>
                <a:lnTo>
                  <a:pt x="7088" y="541"/>
                </a:lnTo>
                <a:lnTo>
                  <a:pt x="6766" y="757"/>
                </a:lnTo>
                <a:lnTo>
                  <a:pt x="6444" y="974"/>
                </a:lnTo>
                <a:lnTo>
                  <a:pt x="6229" y="1299"/>
                </a:lnTo>
                <a:lnTo>
                  <a:pt x="6014" y="1082"/>
                </a:lnTo>
                <a:lnTo>
                  <a:pt x="5799" y="757"/>
                </a:lnTo>
                <a:lnTo>
                  <a:pt x="5585" y="541"/>
                </a:lnTo>
                <a:lnTo>
                  <a:pt x="5370" y="324"/>
                </a:lnTo>
                <a:lnTo>
                  <a:pt x="5155" y="216"/>
                </a:lnTo>
                <a:lnTo>
                  <a:pt x="4833" y="108"/>
                </a:lnTo>
                <a:lnTo>
                  <a:pt x="4403" y="0"/>
                </a:lnTo>
                <a:lnTo>
                  <a:pt x="3866" y="0"/>
                </a:lnTo>
                <a:lnTo>
                  <a:pt x="3114" y="108"/>
                </a:lnTo>
                <a:lnTo>
                  <a:pt x="2470" y="324"/>
                </a:lnTo>
                <a:lnTo>
                  <a:pt x="1825" y="757"/>
                </a:lnTo>
                <a:lnTo>
                  <a:pt x="1288" y="1407"/>
                </a:lnTo>
                <a:lnTo>
                  <a:pt x="1288" y="216"/>
                </a:lnTo>
                <a:lnTo>
                  <a:pt x="0" y="216"/>
                </a:lnTo>
                <a:lnTo>
                  <a:pt x="0" y="8660"/>
                </a:lnTo>
                <a:lnTo>
                  <a:pt x="1396" y="8660"/>
                </a:lnTo>
                <a:lnTo>
                  <a:pt x="1396" y="3572"/>
                </a:lnTo>
                <a:lnTo>
                  <a:pt x="1503" y="3139"/>
                </a:lnTo>
                <a:lnTo>
                  <a:pt x="1611" y="2706"/>
                </a:lnTo>
                <a:close/>
              </a:path>
            </a:pathLst>
          </a:custGeom>
          <a:solidFill>
            <a:srgbClr val="000000"/>
          </a:solidFill>
        </p:spPr>
        <p:txBody>
          <a:bodyPr wrap="square" lIns="0" tIns="0" rIns="0" bIns="0" rtlCol="0">
            <a:noAutofit/>
          </a:bodyPr>
          <a:lstStyle/>
          <a:p>
            <a:endParaRPr/>
          </a:p>
        </p:txBody>
      </p:sp>
      <p:sp>
        <p:nvSpPr>
          <p:cNvPr id="960" name="object 960"/>
          <p:cNvSpPr/>
          <p:nvPr/>
        </p:nvSpPr>
        <p:spPr>
          <a:xfrm>
            <a:off x="3338560" y="2463877"/>
            <a:ext cx="6873" cy="8876"/>
          </a:xfrm>
          <a:custGeom>
            <a:avLst/>
            <a:gdLst/>
            <a:ahLst/>
            <a:cxnLst/>
            <a:rect l="l" t="t" r="r" b="b"/>
            <a:pathLst>
              <a:path w="6873" h="8876">
                <a:moveTo>
                  <a:pt x="1288" y="5954"/>
                </a:moveTo>
                <a:lnTo>
                  <a:pt x="0" y="5954"/>
                </a:lnTo>
                <a:lnTo>
                  <a:pt x="0" y="6387"/>
                </a:lnTo>
                <a:lnTo>
                  <a:pt x="107" y="6711"/>
                </a:lnTo>
                <a:lnTo>
                  <a:pt x="214" y="7036"/>
                </a:lnTo>
                <a:lnTo>
                  <a:pt x="322" y="7361"/>
                </a:lnTo>
                <a:lnTo>
                  <a:pt x="429" y="7686"/>
                </a:lnTo>
                <a:lnTo>
                  <a:pt x="644" y="7902"/>
                </a:lnTo>
                <a:lnTo>
                  <a:pt x="966" y="8227"/>
                </a:lnTo>
                <a:lnTo>
                  <a:pt x="1288" y="8443"/>
                </a:lnTo>
                <a:lnTo>
                  <a:pt x="1718" y="8552"/>
                </a:lnTo>
                <a:lnTo>
                  <a:pt x="2255" y="8768"/>
                </a:lnTo>
                <a:lnTo>
                  <a:pt x="2899" y="8876"/>
                </a:lnTo>
                <a:lnTo>
                  <a:pt x="3974" y="8876"/>
                </a:lnTo>
                <a:lnTo>
                  <a:pt x="4403" y="8768"/>
                </a:lnTo>
                <a:lnTo>
                  <a:pt x="4833" y="8768"/>
                </a:lnTo>
                <a:lnTo>
                  <a:pt x="5262" y="8660"/>
                </a:lnTo>
                <a:lnTo>
                  <a:pt x="5585" y="8443"/>
                </a:lnTo>
                <a:lnTo>
                  <a:pt x="5907" y="8227"/>
                </a:lnTo>
                <a:lnTo>
                  <a:pt x="6229" y="8010"/>
                </a:lnTo>
                <a:lnTo>
                  <a:pt x="6444" y="7686"/>
                </a:lnTo>
                <a:lnTo>
                  <a:pt x="6551" y="7361"/>
                </a:lnTo>
                <a:lnTo>
                  <a:pt x="6766" y="6928"/>
                </a:lnTo>
                <a:lnTo>
                  <a:pt x="6873" y="6603"/>
                </a:lnTo>
                <a:lnTo>
                  <a:pt x="6873" y="5845"/>
                </a:lnTo>
                <a:lnTo>
                  <a:pt x="6766" y="5520"/>
                </a:lnTo>
                <a:lnTo>
                  <a:pt x="6659" y="5196"/>
                </a:lnTo>
                <a:lnTo>
                  <a:pt x="6444" y="4979"/>
                </a:lnTo>
                <a:lnTo>
                  <a:pt x="6229" y="4763"/>
                </a:lnTo>
                <a:lnTo>
                  <a:pt x="6014" y="4654"/>
                </a:lnTo>
                <a:lnTo>
                  <a:pt x="5799" y="4438"/>
                </a:lnTo>
                <a:lnTo>
                  <a:pt x="5585" y="4330"/>
                </a:lnTo>
                <a:lnTo>
                  <a:pt x="5262" y="4221"/>
                </a:lnTo>
                <a:lnTo>
                  <a:pt x="4940" y="4005"/>
                </a:lnTo>
                <a:lnTo>
                  <a:pt x="4618" y="3897"/>
                </a:lnTo>
                <a:lnTo>
                  <a:pt x="4296" y="3788"/>
                </a:lnTo>
                <a:lnTo>
                  <a:pt x="3974" y="3680"/>
                </a:lnTo>
                <a:lnTo>
                  <a:pt x="3651" y="3680"/>
                </a:lnTo>
                <a:lnTo>
                  <a:pt x="3329" y="3572"/>
                </a:lnTo>
                <a:lnTo>
                  <a:pt x="3114" y="3572"/>
                </a:lnTo>
                <a:lnTo>
                  <a:pt x="2792" y="3464"/>
                </a:lnTo>
                <a:lnTo>
                  <a:pt x="2577" y="3355"/>
                </a:lnTo>
                <a:lnTo>
                  <a:pt x="2362" y="3355"/>
                </a:lnTo>
                <a:lnTo>
                  <a:pt x="2148" y="3247"/>
                </a:lnTo>
                <a:lnTo>
                  <a:pt x="1933" y="3139"/>
                </a:lnTo>
                <a:lnTo>
                  <a:pt x="1718" y="2922"/>
                </a:lnTo>
                <a:lnTo>
                  <a:pt x="1611" y="2706"/>
                </a:lnTo>
                <a:lnTo>
                  <a:pt x="1503" y="2165"/>
                </a:lnTo>
                <a:lnTo>
                  <a:pt x="1611" y="1948"/>
                </a:lnTo>
                <a:lnTo>
                  <a:pt x="1825" y="1623"/>
                </a:lnTo>
                <a:lnTo>
                  <a:pt x="2040" y="1515"/>
                </a:lnTo>
                <a:lnTo>
                  <a:pt x="2362" y="1407"/>
                </a:lnTo>
                <a:lnTo>
                  <a:pt x="2577" y="1299"/>
                </a:lnTo>
                <a:lnTo>
                  <a:pt x="2792" y="1299"/>
                </a:lnTo>
                <a:lnTo>
                  <a:pt x="3222" y="1190"/>
                </a:lnTo>
                <a:lnTo>
                  <a:pt x="4081" y="1299"/>
                </a:lnTo>
                <a:lnTo>
                  <a:pt x="4725" y="1623"/>
                </a:lnTo>
                <a:lnTo>
                  <a:pt x="5155" y="2056"/>
                </a:lnTo>
                <a:lnTo>
                  <a:pt x="5262" y="2706"/>
                </a:lnTo>
                <a:lnTo>
                  <a:pt x="6551" y="2706"/>
                </a:lnTo>
                <a:lnTo>
                  <a:pt x="6551" y="2165"/>
                </a:lnTo>
                <a:lnTo>
                  <a:pt x="6444" y="1948"/>
                </a:lnTo>
                <a:lnTo>
                  <a:pt x="6336" y="1623"/>
                </a:lnTo>
                <a:lnTo>
                  <a:pt x="6229" y="1299"/>
                </a:lnTo>
                <a:lnTo>
                  <a:pt x="6014" y="974"/>
                </a:lnTo>
                <a:lnTo>
                  <a:pt x="5799" y="757"/>
                </a:lnTo>
                <a:lnTo>
                  <a:pt x="5477" y="433"/>
                </a:lnTo>
                <a:lnTo>
                  <a:pt x="5048" y="216"/>
                </a:lnTo>
                <a:lnTo>
                  <a:pt x="4618" y="108"/>
                </a:lnTo>
                <a:lnTo>
                  <a:pt x="4081" y="0"/>
                </a:lnTo>
                <a:lnTo>
                  <a:pt x="3007" y="0"/>
                </a:lnTo>
                <a:lnTo>
                  <a:pt x="2577" y="108"/>
                </a:lnTo>
                <a:lnTo>
                  <a:pt x="2255" y="108"/>
                </a:lnTo>
                <a:lnTo>
                  <a:pt x="1825" y="216"/>
                </a:lnTo>
                <a:lnTo>
                  <a:pt x="1503" y="433"/>
                </a:lnTo>
                <a:lnTo>
                  <a:pt x="1181" y="649"/>
                </a:lnTo>
                <a:lnTo>
                  <a:pt x="966" y="866"/>
                </a:lnTo>
                <a:lnTo>
                  <a:pt x="751" y="1190"/>
                </a:lnTo>
                <a:lnTo>
                  <a:pt x="537" y="1515"/>
                </a:lnTo>
                <a:lnTo>
                  <a:pt x="429" y="1840"/>
                </a:lnTo>
                <a:lnTo>
                  <a:pt x="322" y="2273"/>
                </a:lnTo>
                <a:lnTo>
                  <a:pt x="322" y="3031"/>
                </a:lnTo>
                <a:lnTo>
                  <a:pt x="429" y="3247"/>
                </a:lnTo>
                <a:lnTo>
                  <a:pt x="537" y="3572"/>
                </a:lnTo>
                <a:lnTo>
                  <a:pt x="644" y="3788"/>
                </a:lnTo>
                <a:lnTo>
                  <a:pt x="859" y="4005"/>
                </a:lnTo>
                <a:lnTo>
                  <a:pt x="966" y="4221"/>
                </a:lnTo>
                <a:lnTo>
                  <a:pt x="1181" y="4330"/>
                </a:lnTo>
                <a:lnTo>
                  <a:pt x="1396" y="4438"/>
                </a:lnTo>
                <a:lnTo>
                  <a:pt x="1611" y="4546"/>
                </a:lnTo>
                <a:lnTo>
                  <a:pt x="1933" y="4654"/>
                </a:lnTo>
                <a:lnTo>
                  <a:pt x="2255" y="4763"/>
                </a:lnTo>
                <a:lnTo>
                  <a:pt x="2577" y="4871"/>
                </a:lnTo>
                <a:lnTo>
                  <a:pt x="2899" y="4979"/>
                </a:lnTo>
                <a:lnTo>
                  <a:pt x="3222" y="4979"/>
                </a:lnTo>
                <a:lnTo>
                  <a:pt x="3544" y="5087"/>
                </a:lnTo>
                <a:lnTo>
                  <a:pt x="3759" y="5196"/>
                </a:lnTo>
                <a:lnTo>
                  <a:pt x="4188" y="5304"/>
                </a:lnTo>
                <a:lnTo>
                  <a:pt x="4618" y="5412"/>
                </a:lnTo>
                <a:lnTo>
                  <a:pt x="4833" y="5520"/>
                </a:lnTo>
                <a:lnTo>
                  <a:pt x="5048" y="5629"/>
                </a:lnTo>
                <a:lnTo>
                  <a:pt x="5262" y="5845"/>
                </a:lnTo>
                <a:lnTo>
                  <a:pt x="5477" y="6170"/>
                </a:lnTo>
                <a:lnTo>
                  <a:pt x="5477" y="6711"/>
                </a:lnTo>
                <a:lnTo>
                  <a:pt x="5370" y="6928"/>
                </a:lnTo>
                <a:lnTo>
                  <a:pt x="5155" y="7144"/>
                </a:lnTo>
                <a:lnTo>
                  <a:pt x="4940" y="7361"/>
                </a:lnTo>
                <a:lnTo>
                  <a:pt x="4618" y="7469"/>
                </a:lnTo>
                <a:lnTo>
                  <a:pt x="4296" y="7577"/>
                </a:lnTo>
                <a:lnTo>
                  <a:pt x="3974" y="7686"/>
                </a:lnTo>
                <a:lnTo>
                  <a:pt x="2899" y="7686"/>
                </a:lnTo>
                <a:lnTo>
                  <a:pt x="2470" y="7577"/>
                </a:lnTo>
                <a:lnTo>
                  <a:pt x="2040" y="7361"/>
                </a:lnTo>
                <a:lnTo>
                  <a:pt x="1825" y="7144"/>
                </a:lnTo>
                <a:lnTo>
                  <a:pt x="1611" y="6928"/>
                </a:lnTo>
                <a:lnTo>
                  <a:pt x="1396" y="6603"/>
                </a:lnTo>
                <a:lnTo>
                  <a:pt x="1288" y="6278"/>
                </a:lnTo>
                <a:lnTo>
                  <a:pt x="1288" y="5954"/>
                </a:lnTo>
                <a:close/>
              </a:path>
            </a:pathLst>
          </a:custGeom>
          <a:solidFill>
            <a:srgbClr val="000000"/>
          </a:solidFill>
        </p:spPr>
        <p:txBody>
          <a:bodyPr wrap="square" lIns="0" tIns="0" rIns="0" bIns="0" rtlCol="0">
            <a:noAutofit/>
          </a:bodyPr>
          <a:lstStyle/>
          <a:p>
            <a:endParaRPr/>
          </a:p>
        </p:txBody>
      </p:sp>
      <p:sp>
        <p:nvSpPr>
          <p:cNvPr id="961" name="object 961"/>
          <p:cNvSpPr/>
          <p:nvPr/>
        </p:nvSpPr>
        <p:spPr>
          <a:xfrm>
            <a:off x="3365304" y="2463877"/>
            <a:ext cx="6873" cy="8660"/>
          </a:xfrm>
          <a:custGeom>
            <a:avLst/>
            <a:gdLst/>
            <a:ahLst/>
            <a:cxnLst/>
            <a:rect l="l" t="t" r="r" b="b"/>
            <a:pathLst>
              <a:path w="6873" h="8660">
                <a:moveTo>
                  <a:pt x="1396" y="8660"/>
                </a:moveTo>
                <a:lnTo>
                  <a:pt x="1396" y="3464"/>
                </a:lnTo>
                <a:lnTo>
                  <a:pt x="1503" y="3139"/>
                </a:lnTo>
                <a:lnTo>
                  <a:pt x="1611" y="2814"/>
                </a:lnTo>
                <a:lnTo>
                  <a:pt x="1718" y="2489"/>
                </a:lnTo>
                <a:lnTo>
                  <a:pt x="1825" y="2165"/>
                </a:lnTo>
                <a:lnTo>
                  <a:pt x="2040" y="1948"/>
                </a:lnTo>
                <a:lnTo>
                  <a:pt x="2255" y="1732"/>
                </a:lnTo>
                <a:lnTo>
                  <a:pt x="2577" y="1515"/>
                </a:lnTo>
                <a:lnTo>
                  <a:pt x="2792" y="1407"/>
                </a:lnTo>
                <a:lnTo>
                  <a:pt x="3114" y="1299"/>
                </a:lnTo>
                <a:lnTo>
                  <a:pt x="3436" y="1190"/>
                </a:lnTo>
                <a:lnTo>
                  <a:pt x="4296" y="1190"/>
                </a:lnTo>
                <a:lnTo>
                  <a:pt x="4725" y="1299"/>
                </a:lnTo>
                <a:lnTo>
                  <a:pt x="4940" y="1515"/>
                </a:lnTo>
                <a:lnTo>
                  <a:pt x="5155" y="1840"/>
                </a:lnTo>
                <a:lnTo>
                  <a:pt x="5262" y="2165"/>
                </a:lnTo>
                <a:lnTo>
                  <a:pt x="5370" y="2489"/>
                </a:lnTo>
                <a:lnTo>
                  <a:pt x="5477" y="2922"/>
                </a:lnTo>
                <a:lnTo>
                  <a:pt x="5477" y="8660"/>
                </a:lnTo>
                <a:lnTo>
                  <a:pt x="6873" y="8660"/>
                </a:lnTo>
                <a:lnTo>
                  <a:pt x="6873" y="2489"/>
                </a:lnTo>
                <a:lnTo>
                  <a:pt x="6766" y="2056"/>
                </a:lnTo>
                <a:lnTo>
                  <a:pt x="6659" y="1623"/>
                </a:lnTo>
                <a:lnTo>
                  <a:pt x="6551" y="1299"/>
                </a:lnTo>
                <a:lnTo>
                  <a:pt x="6336" y="974"/>
                </a:lnTo>
                <a:lnTo>
                  <a:pt x="6122" y="757"/>
                </a:lnTo>
                <a:lnTo>
                  <a:pt x="5907" y="541"/>
                </a:lnTo>
                <a:lnTo>
                  <a:pt x="5585" y="324"/>
                </a:lnTo>
                <a:lnTo>
                  <a:pt x="5262" y="216"/>
                </a:lnTo>
                <a:lnTo>
                  <a:pt x="4833" y="108"/>
                </a:lnTo>
                <a:lnTo>
                  <a:pt x="4403" y="0"/>
                </a:lnTo>
                <a:lnTo>
                  <a:pt x="3544" y="0"/>
                </a:lnTo>
                <a:lnTo>
                  <a:pt x="3222" y="108"/>
                </a:lnTo>
                <a:lnTo>
                  <a:pt x="2899" y="108"/>
                </a:lnTo>
                <a:lnTo>
                  <a:pt x="2685" y="216"/>
                </a:lnTo>
                <a:lnTo>
                  <a:pt x="2362" y="324"/>
                </a:lnTo>
                <a:lnTo>
                  <a:pt x="2148" y="541"/>
                </a:lnTo>
                <a:lnTo>
                  <a:pt x="1933" y="649"/>
                </a:lnTo>
                <a:lnTo>
                  <a:pt x="1718" y="866"/>
                </a:lnTo>
                <a:lnTo>
                  <a:pt x="1503" y="1190"/>
                </a:lnTo>
                <a:lnTo>
                  <a:pt x="1288" y="1407"/>
                </a:lnTo>
                <a:lnTo>
                  <a:pt x="1288" y="216"/>
                </a:lnTo>
                <a:lnTo>
                  <a:pt x="0" y="216"/>
                </a:lnTo>
                <a:lnTo>
                  <a:pt x="0" y="8660"/>
                </a:lnTo>
                <a:lnTo>
                  <a:pt x="1396" y="8660"/>
                </a:lnTo>
                <a:close/>
              </a:path>
            </a:pathLst>
          </a:custGeom>
          <a:solidFill>
            <a:srgbClr val="000000"/>
          </a:solidFill>
        </p:spPr>
        <p:txBody>
          <a:bodyPr wrap="square" lIns="0" tIns="0" rIns="0" bIns="0" rtlCol="0">
            <a:noAutofit/>
          </a:bodyPr>
          <a:lstStyle/>
          <a:p>
            <a:endParaRPr/>
          </a:p>
        </p:txBody>
      </p:sp>
      <p:sp>
        <p:nvSpPr>
          <p:cNvPr id="962" name="object 962"/>
          <p:cNvSpPr/>
          <p:nvPr/>
        </p:nvSpPr>
        <p:spPr>
          <a:xfrm>
            <a:off x="3355745" y="2463877"/>
            <a:ext cx="8055" cy="8876"/>
          </a:xfrm>
          <a:custGeom>
            <a:avLst/>
            <a:gdLst/>
            <a:ahLst/>
            <a:cxnLst/>
            <a:rect l="l" t="t" r="r" b="b"/>
            <a:pathLst>
              <a:path w="8055" h="8876">
                <a:moveTo>
                  <a:pt x="7411" y="7794"/>
                </a:moveTo>
                <a:lnTo>
                  <a:pt x="7196" y="7686"/>
                </a:lnTo>
                <a:lnTo>
                  <a:pt x="7088" y="7469"/>
                </a:lnTo>
                <a:lnTo>
                  <a:pt x="7088" y="1840"/>
                </a:lnTo>
                <a:lnTo>
                  <a:pt x="6981" y="1515"/>
                </a:lnTo>
                <a:lnTo>
                  <a:pt x="6766" y="1190"/>
                </a:lnTo>
                <a:lnTo>
                  <a:pt x="6659" y="974"/>
                </a:lnTo>
                <a:lnTo>
                  <a:pt x="6444" y="649"/>
                </a:lnTo>
                <a:lnTo>
                  <a:pt x="6122" y="433"/>
                </a:lnTo>
                <a:lnTo>
                  <a:pt x="5799" y="324"/>
                </a:lnTo>
                <a:lnTo>
                  <a:pt x="5477" y="216"/>
                </a:lnTo>
                <a:lnTo>
                  <a:pt x="5048" y="108"/>
                </a:lnTo>
                <a:lnTo>
                  <a:pt x="4725" y="0"/>
                </a:lnTo>
                <a:lnTo>
                  <a:pt x="3329" y="0"/>
                </a:lnTo>
                <a:lnTo>
                  <a:pt x="2792" y="108"/>
                </a:lnTo>
                <a:lnTo>
                  <a:pt x="2362" y="216"/>
                </a:lnTo>
                <a:lnTo>
                  <a:pt x="1933" y="324"/>
                </a:lnTo>
                <a:lnTo>
                  <a:pt x="1611" y="541"/>
                </a:lnTo>
                <a:lnTo>
                  <a:pt x="1288" y="866"/>
                </a:lnTo>
                <a:lnTo>
                  <a:pt x="1074" y="1082"/>
                </a:lnTo>
                <a:lnTo>
                  <a:pt x="859" y="1407"/>
                </a:lnTo>
                <a:lnTo>
                  <a:pt x="751" y="1732"/>
                </a:lnTo>
                <a:lnTo>
                  <a:pt x="644" y="2056"/>
                </a:lnTo>
                <a:lnTo>
                  <a:pt x="537" y="2381"/>
                </a:lnTo>
                <a:lnTo>
                  <a:pt x="537" y="2814"/>
                </a:lnTo>
                <a:lnTo>
                  <a:pt x="1825" y="2814"/>
                </a:lnTo>
                <a:lnTo>
                  <a:pt x="2040" y="2056"/>
                </a:lnTo>
                <a:lnTo>
                  <a:pt x="2362" y="1515"/>
                </a:lnTo>
                <a:lnTo>
                  <a:pt x="3007" y="1190"/>
                </a:lnTo>
                <a:lnTo>
                  <a:pt x="3759" y="1082"/>
                </a:lnTo>
                <a:lnTo>
                  <a:pt x="4618" y="1190"/>
                </a:lnTo>
                <a:lnTo>
                  <a:pt x="5262" y="1515"/>
                </a:lnTo>
                <a:lnTo>
                  <a:pt x="5585" y="1948"/>
                </a:lnTo>
                <a:lnTo>
                  <a:pt x="5692" y="2598"/>
                </a:lnTo>
                <a:lnTo>
                  <a:pt x="5692" y="2814"/>
                </a:lnTo>
                <a:lnTo>
                  <a:pt x="5585" y="3031"/>
                </a:lnTo>
                <a:lnTo>
                  <a:pt x="5477" y="3355"/>
                </a:lnTo>
                <a:lnTo>
                  <a:pt x="5262" y="3464"/>
                </a:lnTo>
                <a:lnTo>
                  <a:pt x="4940" y="3572"/>
                </a:lnTo>
                <a:lnTo>
                  <a:pt x="4725" y="3572"/>
                </a:lnTo>
                <a:lnTo>
                  <a:pt x="4511" y="3680"/>
                </a:lnTo>
                <a:lnTo>
                  <a:pt x="3222" y="3680"/>
                </a:lnTo>
                <a:lnTo>
                  <a:pt x="3007" y="3788"/>
                </a:lnTo>
                <a:lnTo>
                  <a:pt x="2470" y="3897"/>
                </a:lnTo>
                <a:lnTo>
                  <a:pt x="1933" y="4005"/>
                </a:lnTo>
                <a:lnTo>
                  <a:pt x="1503" y="4221"/>
                </a:lnTo>
                <a:lnTo>
                  <a:pt x="1181" y="4330"/>
                </a:lnTo>
                <a:lnTo>
                  <a:pt x="966" y="4546"/>
                </a:lnTo>
                <a:lnTo>
                  <a:pt x="751" y="4763"/>
                </a:lnTo>
                <a:lnTo>
                  <a:pt x="537" y="4979"/>
                </a:lnTo>
                <a:lnTo>
                  <a:pt x="322" y="5196"/>
                </a:lnTo>
                <a:lnTo>
                  <a:pt x="214" y="5412"/>
                </a:lnTo>
                <a:lnTo>
                  <a:pt x="214" y="5737"/>
                </a:lnTo>
                <a:lnTo>
                  <a:pt x="107" y="6062"/>
                </a:lnTo>
                <a:lnTo>
                  <a:pt x="107" y="6495"/>
                </a:lnTo>
                <a:lnTo>
                  <a:pt x="107" y="6820"/>
                </a:lnTo>
                <a:lnTo>
                  <a:pt x="214" y="7144"/>
                </a:lnTo>
                <a:lnTo>
                  <a:pt x="322" y="7469"/>
                </a:lnTo>
                <a:lnTo>
                  <a:pt x="429" y="7686"/>
                </a:lnTo>
                <a:lnTo>
                  <a:pt x="644" y="8010"/>
                </a:lnTo>
                <a:lnTo>
                  <a:pt x="859" y="8227"/>
                </a:lnTo>
                <a:lnTo>
                  <a:pt x="1074" y="8443"/>
                </a:lnTo>
                <a:lnTo>
                  <a:pt x="1396" y="8660"/>
                </a:lnTo>
                <a:lnTo>
                  <a:pt x="1718" y="8768"/>
                </a:lnTo>
                <a:lnTo>
                  <a:pt x="1611" y="7036"/>
                </a:lnTo>
                <a:lnTo>
                  <a:pt x="1503" y="6495"/>
                </a:lnTo>
                <a:lnTo>
                  <a:pt x="1503" y="6170"/>
                </a:lnTo>
                <a:lnTo>
                  <a:pt x="1611" y="5954"/>
                </a:lnTo>
                <a:lnTo>
                  <a:pt x="1825" y="5737"/>
                </a:lnTo>
                <a:lnTo>
                  <a:pt x="2040" y="5520"/>
                </a:lnTo>
                <a:lnTo>
                  <a:pt x="2362" y="5304"/>
                </a:lnTo>
                <a:lnTo>
                  <a:pt x="2685" y="5196"/>
                </a:lnTo>
                <a:lnTo>
                  <a:pt x="3007" y="5087"/>
                </a:lnTo>
                <a:lnTo>
                  <a:pt x="3436" y="4979"/>
                </a:lnTo>
                <a:lnTo>
                  <a:pt x="3866" y="4871"/>
                </a:lnTo>
                <a:lnTo>
                  <a:pt x="4296" y="4763"/>
                </a:lnTo>
                <a:lnTo>
                  <a:pt x="4618" y="4763"/>
                </a:lnTo>
                <a:lnTo>
                  <a:pt x="4940" y="4654"/>
                </a:lnTo>
                <a:lnTo>
                  <a:pt x="5262" y="4546"/>
                </a:lnTo>
                <a:lnTo>
                  <a:pt x="5477" y="4438"/>
                </a:lnTo>
                <a:lnTo>
                  <a:pt x="5692" y="4330"/>
                </a:lnTo>
                <a:lnTo>
                  <a:pt x="5692" y="6170"/>
                </a:lnTo>
                <a:lnTo>
                  <a:pt x="5585" y="6387"/>
                </a:lnTo>
                <a:lnTo>
                  <a:pt x="5477" y="6711"/>
                </a:lnTo>
                <a:lnTo>
                  <a:pt x="5262" y="6928"/>
                </a:lnTo>
                <a:lnTo>
                  <a:pt x="5048" y="7036"/>
                </a:lnTo>
                <a:lnTo>
                  <a:pt x="4725" y="7253"/>
                </a:lnTo>
                <a:lnTo>
                  <a:pt x="4511" y="7361"/>
                </a:lnTo>
                <a:lnTo>
                  <a:pt x="4188" y="7577"/>
                </a:lnTo>
                <a:lnTo>
                  <a:pt x="3974" y="7686"/>
                </a:lnTo>
                <a:lnTo>
                  <a:pt x="3651" y="7686"/>
                </a:lnTo>
                <a:lnTo>
                  <a:pt x="3329" y="7794"/>
                </a:lnTo>
                <a:lnTo>
                  <a:pt x="3007" y="7794"/>
                </a:lnTo>
                <a:lnTo>
                  <a:pt x="2470" y="7686"/>
                </a:lnTo>
                <a:lnTo>
                  <a:pt x="2040" y="8768"/>
                </a:lnTo>
                <a:lnTo>
                  <a:pt x="2362" y="8876"/>
                </a:lnTo>
                <a:lnTo>
                  <a:pt x="2792" y="8876"/>
                </a:lnTo>
                <a:lnTo>
                  <a:pt x="3651" y="8768"/>
                </a:lnTo>
                <a:lnTo>
                  <a:pt x="4403" y="8552"/>
                </a:lnTo>
                <a:lnTo>
                  <a:pt x="5155" y="8119"/>
                </a:lnTo>
                <a:lnTo>
                  <a:pt x="5799" y="7577"/>
                </a:lnTo>
                <a:lnTo>
                  <a:pt x="5907" y="8119"/>
                </a:lnTo>
                <a:lnTo>
                  <a:pt x="6122" y="8443"/>
                </a:lnTo>
                <a:lnTo>
                  <a:pt x="6551" y="8660"/>
                </a:lnTo>
                <a:lnTo>
                  <a:pt x="7088" y="8768"/>
                </a:lnTo>
                <a:lnTo>
                  <a:pt x="7411" y="8768"/>
                </a:lnTo>
                <a:lnTo>
                  <a:pt x="7625" y="8660"/>
                </a:lnTo>
                <a:lnTo>
                  <a:pt x="8055" y="8660"/>
                </a:lnTo>
                <a:lnTo>
                  <a:pt x="8055" y="7686"/>
                </a:lnTo>
                <a:lnTo>
                  <a:pt x="7625" y="7686"/>
                </a:lnTo>
                <a:lnTo>
                  <a:pt x="7411" y="7794"/>
                </a:lnTo>
                <a:close/>
              </a:path>
            </a:pathLst>
          </a:custGeom>
          <a:solidFill>
            <a:srgbClr val="000000"/>
          </a:solidFill>
        </p:spPr>
        <p:txBody>
          <a:bodyPr wrap="square" lIns="0" tIns="0" rIns="0" bIns="0" rtlCol="0">
            <a:noAutofit/>
          </a:bodyPr>
          <a:lstStyle/>
          <a:p>
            <a:endParaRPr/>
          </a:p>
        </p:txBody>
      </p:sp>
      <p:sp>
        <p:nvSpPr>
          <p:cNvPr id="963" name="object 963"/>
          <p:cNvSpPr/>
          <p:nvPr/>
        </p:nvSpPr>
        <p:spPr>
          <a:xfrm>
            <a:off x="3357356" y="2470913"/>
            <a:ext cx="859" cy="1732"/>
          </a:xfrm>
          <a:custGeom>
            <a:avLst/>
            <a:gdLst/>
            <a:ahLst/>
            <a:cxnLst/>
            <a:rect l="l" t="t" r="r" b="b"/>
            <a:pathLst>
              <a:path w="859" h="1732">
                <a:moveTo>
                  <a:pt x="322" y="433"/>
                </a:moveTo>
                <a:lnTo>
                  <a:pt x="0" y="0"/>
                </a:lnTo>
                <a:lnTo>
                  <a:pt x="107" y="1732"/>
                </a:lnTo>
                <a:lnTo>
                  <a:pt x="429" y="1732"/>
                </a:lnTo>
                <a:lnTo>
                  <a:pt x="859" y="649"/>
                </a:lnTo>
                <a:lnTo>
                  <a:pt x="322" y="433"/>
                </a:lnTo>
                <a:close/>
              </a:path>
            </a:pathLst>
          </a:custGeom>
          <a:solidFill>
            <a:srgbClr val="000000"/>
          </a:solidFill>
        </p:spPr>
        <p:txBody>
          <a:bodyPr wrap="square" lIns="0" tIns="0" rIns="0" bIns="0" rtlCol="0">
            <a:noAutofit/>
          </a:bodyPr>
          <a:lstStyle/>
          <a:p>
            <a:endParaRPr/>
          </a:p>
        </p:txBody>
      </p:sp>
      <p:sp>
        <p:nvSpPr>
          <p:cNvPr id="964" name="object 964"/>
          <p:cNvSpPr/>
          <p:nvPr/>
        </p:nvSpPr>
        <p:spPr>
          <a:xfrm>
            <a:off x="3373897" y="2460955"/>
            <a:ext cx="7303" cy="11799"/>
          </a:xfrm>
          <a:custGeom>
            <a:avLst/>
            <a:gdLst/>
            <a:ahLst/>
            <a:cxnLst/>
            <a:rect l="l" t="t" r="r" b="b"/>
            <a:pathLst>
              <a:path w="7303" h="11799">
                <a:moveTo>
                  <a:pt x="3974" y="11799"/>
                </a:moveTo>
                <a:lnTo>
                  <a:pt x="4296" y="11691"/>
                </a:lnTo>
                <a:lnTo>
                  <a:pt x="4940" y="11583"/>
                </a:lnTo>
                <a:lnTo>
                  <a:pt x="5155" y="11475"/>
                </a:lnTo>
                <a:lnTo>
                  <a:pt x="5262" y="11258"/>
                </a:lnTo>
                <a:lnTo>
                  <a:pt x="5477" y="11150"/>
                </a:lnTo>
                <a:lnTo>
                  <a:pt x="5692" y="11041"/>
                </a:lnTo>
                <a:lnTo>
                  <a:pt x="5799" y="10825"/>
                </a:lnTo>
                <a:lnTo>
                  <a:pt x="6014" y="10608"/>
                </a:lnTo>
                <a:lnTo>
                  <a:pt x="6122" y="10392"/>
                </a:lnTo>
                <a:lnTo>
                  <a:pt x="6122" y="11583"/>
                </a:lnTo>
                <a:lnTo>
                  <a:pt x="7303" y="11583"/>
                </a:lnTo>
                <a:lnTo>
                  <a:pt x="7303" y="0"/>
                </a:lnTo>
                <a:lnTo>
                  <a:pt x="5907" y="0"/>
                </a:lnTo>
                <a:lnTo>
                  <a:pt x="5907" y="4330"/>
                </a:lnTo>
                <a:lnTo>
                  <a:pt x="5692" y="4005"/>
                </a:lnTo>
                <a:lnTo>
                  <a:pt x="5477" y="3788"/>
                </a:lnTo>
                <a:lnTo>
                  <a:pt x="5262" y="3464"/>
                </a:lnTo>
                <a:lnTo>
                  <a:pt x="5048" y="3247"/>
                </a:lnTo>
                <a:lnTo>
                  <a:pt x="4725" y="3139"/>
                </a:lnTo>
                <a:lnTo>
                  <a:pt x="4403" y="3031"/>
                </a:lnTo>
                <a:lnTo>
                  <a:pt x="3974" y="2922"/>
                </a:lnTo>
                <a:lnTo>
                  <a:pt x="3007" y="2922"/>
                </a:lnTo>
                <a:lnTo>
                  <a:pt x="2470" y="3031"/>
                </a:lnTo>
                <a:lnTo>
                  <a:pt x="2040" y="3247"/>
                </a:lnTo>
                <a:lnTo>
                  <a:pt x="1611" y="3464"/>
                </a:lnTo>
                <a:lnTo>
                  <a:pt x="1288" y="3788"/>
                </a:lnTo>
                <a:lnTo>
                  <a:pt x="966" y="4113"/>
                </a:lnTo>
                <a:lnTo>
                  <a:pt x="644" y="4546"/>
                </a:lnTo>
                <a:lnTo>
                  <a:pt x="429" y="4979"/>
                </a:lnTo>
                <a:lnTo>
                  <a:pt x="322" y="5520"/>
                </a:lnTo>
                <a:lnTo>
                  <a:pt x="107" y="5954"/>
                </a:lnTo>
                <a:lnTo>
                  <a:pt x="0" y="6495"/>
                </a:lnTo>
                <a:lnTo>
                  <a:pt x="0" y="7686"/>
                </a:lnTo>
                <a:lnTo>
                  <a:pt x="107" y="8227"/>
                </a:lnTo>
                <a:lnTo>
                  <a:pt x="214" y="8876"/>
                </a:lnTo>
                <a:lnTo>
                  <a:pt x="429" y="9418"/>
                </a:lnTo>
                <a:lnTo>
                  <a:pt x="644" y="9851"/>
                </a:lnTo>
                <a:lnTo>
                  <a:pt x="859" y="10392"/>
                </a:lnTo>
                <a:lnTo>
                  <a:pt x="1181" y="10825"/>
                </a:lnTo>
                <a:lnTo>
                  <a:pt x="1503" y="11150"/>
                </a:lnTo>
                <a:lnTo>
                  <a:pt x="1396" y="8010"/>
                </a:lnTo>
                <a:lnTo>
                  <a:pt x="1396" y="6711"/>
                </a:lnTo>
                <a:lnTo>
                  <a:pt x="1503" y="6170"/>
                </a:lnTo>
                <a:lnTo>
                  <a:pt x="1718" y="5629"/>
                </a:lnTo>
                <a:lnTo>
                  <a:pt x="1825" y="5087"/>
                </a:lnTo>
                <a:lnTo>
                  <a:pt x="2148" y="4654"/>
                </a:lnTo>
                <a:lnTo>
                  <a:pt x="2577" y="4330"/>
                </a:lnTo>
                <a:lnTo>
                  <a:pt x="3114" y="4221"/>
                </a:lnTo>
                <a:lnTo>
                  <a:pt x="3759" y="4113"/>
                </a:lnTo>
                <a:lnTo>
                  <a:pt x="4296" y="4221"/>
                </a:lnTo>
                <a:lnTo>
                  <a:pt x="4725" y="4330"/>
                </a:lnTo>
                <a:lnTo>
                  <a:pt x="5155" y="4654"/>
                </a:lnTo>
                <a:lnTo>
                  <a:pt x="5477" y="5087"/>
                </a:lnTo>
                <a:lnTo>
                  <a:pt x="5692" y="5629"/>
                </a:lnTo>
                <a:lnTo>
                  <a:pt x="5907" y="6170"/>
                </a:lnTo>
                <a:lnTo>
                  <a:pt x="6014" y="6928"/>
                </a:lnTo>
                <a:lnTo>
                  <a:pt x="6014" y="7794"/>
                </a:lnTo>
                <a:lnTo>
                  <a:pt x="5907" y="8443"/>
                </a:lnTo>
                <a:lnTo>
                  <a:pt x="5799" y="9093"/>
                </a:lnTo>
                <a:lnTo>
                  <a:pt x="5585" y="9526"/>
                </a:lnTo>
                <a:lnTo>
                  <a:pt x="5262" y="9959"/>
                </a:lnTo>
                <a:lnTo>
                  <a:pt x="4940" y="10284"/>
                </a:lnTo>
                <a:lnTo>
                  <a:pt x="4511" y="10392"/>
                </a:lnTo>
                <a:lnTo>
                  <a:pt x="4081" y="10608"/>
                </a:lnTo>
                <a:lnTo>
                  <a:pt x="3651" y="10608"/>
                </a:lnTo>
                <a:lnTo>
                  <a:pt x="3114" y="10500"/>
                </a:lnTo>
                <a:lnTo>
                  <a:pt x="2685" y="10392"/>
                </a:lnTo>
                <a:lnTo>
                  <a:pt x="2362" y="10067"/>
                </a:lnTo>
                <a:lnTo>
                  <a:pt x="2470" y="11583"/>
                </a:lnTo>
                <a:lnTo>
                  <a:pt x="3007" y="11799"/>
                </a:lnTo>
                <a:lnTo>
                  <a:pt x="3974" y="11799"/>
                </a:lnTo>
                <a:close/>
              </a:path>
            </a:pathLst>
          </a:custGeom>
          <a:solidFill>
            <a:srgbClr val="000000"/>
          </a:solidFill>
        </p:spPr>
        <p:txBody>
          <a:bodyPr wrap="square" lIns="0" tIns="0" rIns="0" bIns="0" rtlCol="0">
            <a:noAutofit/>
          </a:bodyPr>
          <a:lstStyle/>
          <a:p>
            <a:endParaRPr/>
          </a:p>
        </p:txBody>
      </p:sp>
      <p:sp>
        <p:nvSpPr>
          <p:cNvPr id="965" name="object 965"/>
          <p:cNvSpPr/>
          <p:nvPr/>
        </p:nvSpPr>
        <p:spPr>
          <a:xfrm>
            <a:off x="3375292" y="2468965"/>
            <a:ext cx="1074" cy="3572"/>
          </a:xfrm>
          <a:custGeom>
            <a:avLst/>
            <a:gdLst/>
            <a:ahLst/>
            <a:cxnLst/>
            <a:rect l="l" t="t" r="r" b="b"/>
            <a:pathLst>
              <a:path w="1074" h="3572">
                <a:moveTo>
                  <a:pt x="644" y="1732"/>
                </a:moveTo>
                <a:lnTo>
                  <a:pt x="322" y="1190"/>
                </a:lnTo>
                <a:lnTo>
                  <a:pt x="214" y="649"/>
                </a:lnTo>
                <a:lnTo>
                  <a:pt x="0" y="0"/>
                </a:lnTo>
                <a:lnTo>
                  <a:pt x="107" y="3139"/>
                </a:lnTo>
                <a:lnTo>
                  <a:pt x="537" y="3464"/>
                </a:lnTo>
                <a:lnTo>
                  <a:pt x="1074" y="3572"/>
                </a:lnTo>
                <a:lnTo>
                  <a:pt x="966" y="2056"/>
                </a:lnTo>
                <a:lnTo>
                  <a:pt x="644" y="1732"/>
                </a:lnTo>
                <a:close/>
              </a:path>
            </a:pathLst>
          </a:custGeom>
          <a:solidFill>
            <a:srgbClr val="000000"/>
          </a:solidFill>
        </p:spPr>
        <p:txBody>
          <a:bodyPr wrap="square" lIns="0" tIns="0" rIns="0" bIns="0" rtlCol="0">
            <a:noAutofit/>
          </a:bodyPr>
          <a:lstStyle/>
          <a:p>
            <a:endParaRPr/>
          </a:p>
        </p:txBody>
      </p:sp>
      <p:sp>
        <p:nvSpPr>
          <p:cNvPr id="966" name="object 966"/>
          <p:cNvSpPr/>
          <p:nvPr/>
        </p:nvSpPr>
        <p:spPr>
          <a:xfrm>
            <a:off x="3392155" y="2460629"/>
            <a:ext cx="10418" cy="12232"/>
          </a:xfrm>
          <a:custGeom>
            <a:avLst/>
            <a:gdLst/>
            <a:ahLst/>
            <a:cxnLst/>
            <a:rect l="l" t="t" r="r" b="b"/>
            <a:pathLst>
              <a:path w="10418" h="12232">
                <a:moveTo>
                  <a:pt x="107" y="6170"/>
                </a:moveTo>
                <a:lnTo>
                  <a:pt x="107" y="6928"/>
                </a:lnTo>
                <a:lnTo>
                  <a:pt x="214" y="7577"/>
                </a:lnTo>
                <a:lnTo>
                  <a:pt x="322" y="8119"/>
                </a:lnTo>
                <a:lnTo>
                  <a:pt x="429" y="8660"/>
                </a:lnTo>
                <a:lnTo>
                  <a:pt x="644" y="9201"/>
                </a:lnTo>
                <a:lnTo>
                  <a:pt x="859" y="9742"/>
                </a:lnTo>
                <a:lnTo>
                  <a:pt x="1074" y="10175"/>
                </a:lnTo>
                <a:lnTo>
                  <a:pt x="1396" y="10608"/>
                </a:lnTo>
                <a:lnTo>
                  <a:pt x="1718" y="11041"/>
                </a:lnTo>
                <a:lnTo>
                  <a:pt x="2148" y="11366"/>
                </a:lnTo>
                <a:lnTo>
                  <a:pt x="2577" y="11691"/>
                </a:lnTo>
                <a:lnTo>
                  <a:pt x="3114" y="11908"/>
                </a:lnTo>
                <a:lnTo>
                  <a:pt x="3651" y="12016"/>
                </a:lnTo>
                <a:lnTo>
                  <a:pt x="4188" y="12124"/>
                </a:lnTo>
                <a:lnTo>
                  <a:pt x="4833" y="12232"/>
                </a:lnTo>
                <a:lnTo>
                  <a:pt x="6122" y="12232"/>
                </a:lnTo>
                <a:lnTo>
                  <a:pt x="6766" y="12124"/>
                </a:lnTo>
                <a:lnTo>
                  <a:pt x="7411" y="11908"/>
                </a:lnTo>
                <a:lnTo>
                  <a:pt x="7948" y="11691"/>
                </a:lnTo>
                <a:lnTo>
                  <a:pt x="8377" y="11366"/>
                </a:lnTo>
                <a:lnTo>
                  <a:pt x="8914" y="10933"/>
                </a:lnTo>
                <a:lnTo>
                  <a:pt x="9344" y="10500"/>
                </a:lnTo>
                <a:lnTo>
                  <a:pt x="9666" y="10067"/>
                </a:lnTo>
                <a:lnTo>
                  <a:pt x="9988" y="9526"/>
                </a:lnTo>
                <a:lnTo>
                  <a:pt x="10203" y="8985"/>
                </a:lnTo>
                <a:lnTo>
                  <a:pt x="10310" y="8335"/>
                </a:lnTo>
                <a:lnTo>
                  <a:pt x="10418" y="7686"/>
                </a:lnTo>
                <a:lnTo>
                  <a:pt x="8914" y="7686"/>
                </a:lnTo>
                <a:lnTo>
                  <a:pt x="8699" y="8443"/>
                </a:lnTo>
                <a:lnTo>
                  <a:pt x="8485" y="9093"/>
                </a:lnTo>
                <a:lnTo>
                  <a:pt x="8162" y="9634"/>
                </a:lnTo>
                <a:lnTo>
                  <a:pt x="7733" y="10067"/>
                </a:lnTo>
                <a:lnTo>
                  <a:pt x="7303" y="10392"/>
                </a:lnTo>
                <a:lnTo>
                  <a:pt x="6659" y="10717"/>
                </a:lnTo>
                <a:lnTo>
                  <a:pt x="6014" y="10825"/>
                </a:lnTo>
                <a:lnTo>
                  <a:pt x="5262" y="10933"/>
                </a:lnTo>
                <a:lnTo>
                  <a:pt x="4833" y="10933"/>
                </a:lnTo>
                <a:lnTo>
                  <a:pt x="4511" y="10825"/>
                </a:lnTo>
                <a:lnTo>
                  <a:pt x="4188" y="10825"/>
                </a:lnTo>
                <a:lnTo>
                  <a:pt x="3866" y="10717"/>
                </a:lnTo>
                <a:lnTo>
                  <a:pt x="3544" y="10500"/>
                </a:lnTo>
                <a:lnTo>
                  <a:pt x="3329" y="10284"/>
                </a:lnTo>
                <a:lnTo>
                  <a:pt x="3007" y="10067"/>
                </a:lnTo>
                <a:lnTo>
                  <a:pt x="2792" y="9851"/>
                </a:lnTo>
                <a:lnTo>
                  <a:pt x="2470" y="9526"/>
                </a:lnTo>
                <a:lnTo>
                  <a:pt x="2255" y="9093"/>
                </a:lnTo>
                <a:lnTo>
                  <a:pt x="2148" y="8660"/>
                </a:lnTo>
                <a:lnTo>
                  <a:pt x="1933" y="8227"/>
                </a:lnTo>
                <a:lnTo>
                  <a:pt x="1825" y="7794"/>
                </a:lnTo>
                <a:lnTo>
                  <a:pt x="1718" y="7253"/>
                </a:lnTo>
                <a:lnTo>
                  <a:pt x="1718" y="5412"/>
                </a:lnTo>
                <a:lnTo>
                  <a:pt x="1825" y="4871"/>
                </a:lnTo>
                <a:lnTo>
                  <a:pt x="1933" y="4438"/>
                </a:lnTo>
                <a:lnTo>
                  <a:pt x="2040" y="3897"/>
                </a:lnTo>
                <a:lnTo>
                  <a:pt x="2255" y="3464"/>
                </a:lnTo>
                <a:lnTo>
                  <a:pt x="2470" y="3031"/>
                </a:lnTo>
                <a:lnTo>
                  <a:pt x="2792" y="2598"/>
                </a:lnTo>
                <a:lnTo>
                  <a:pt x="3114" y="2273"/>
                </a:lnTo>
                <a:lnTo>
                  <a:pt x="3436" y="1948"/>
                </a:lnTo>
                <a:lnTo>
                  <a:pt x="3866" y="1732"/>
                </a:lnTo>
                <a:lnTo>
                  <a:pt x="4296" y="1623"/>
                </a:lnTo>
                <a:lnTo>
                  <a:pt x="4725" y="1515"/>
                </a:lnTo>
                <a:lnTo>
                  <a:pt x="5155" y="1515"/>
                </a:lnTo>
                <a:lnTo>
                  <a:pt x="6229" y="1407"/>
                </a:lnTo>
                <a:lnTo>
                  <a:pt x="6766" y="1515"/>
                </a:lnTo>
                <a:lnTo>
                  <a:pt x="7196" y="1732"/>
                </a:lnTo>
                <a:lnTo>
                  <a:pt x="7625" y="2056"/>
                </a:lnTo>
                <a:lnTo>
                  <a:pt x="8055" y="2381"/>
                </a:lnTo>
                <a:lnTo>
                  <a:pt x="8377" y="2706"/>
                </a:lnTo>
                <a:lnTo>
                  <a:pt x="8592" y="3247"/>
                </a:lnTo>
                <a:lnTo>
                  <a:pt x="8807" y="3788"/>
                </a:lnTo>
                <a:lnTo>
                  <a:pt x="10310" y="3788"/>
                </a:lnTo>
                <a:lnTo>
                  <a:pt x="10203" y="3139"/>
                </a:lnTo>
                <a:lnTo>
                  <a:pt x="9988" y="2489"/>
                </a:lnTo>
                <a:lnTo>
                  <a:pt x="9666" y="1948"/>
                </a:lnTo>
                <a:lnTo>
                  <a:pt x="9236" y="1515"/>
                </a:lnTo>
                <a:lnTo>
                  <a:pt x="8807" y="1082"/>
                </a:lnTo>
                <a:lnTo>
                  <a:pt x="8377" y="757"/>
                </a:lnTo>
                <a:lnTo>
                  <a:pt x="7948" y="541"/>
                </a:lnTo>
                <a:lnTo>
                  <a:pt x="7411" y="324"/>
                </a:lnTo>
                <a:lnTo>
                  <a:pt x="6873" y="216"/>
                </a:lnTo>
                <a:lnTo>
                  <a:pt x="6444" y="108"/>
                </a:lnTo>
                <a:lnTo>
                  <a:pt x="5907" y="0"/>
                </a:lnTo>
                <a:lnTo>
                  <a:pt x="5370" y="0"/>
                </a:lnTo>
                <a:lnTo>
                  <a:pt x="4511" y="108"/>
                </a:lnTo>
                <a:lnTo>
                  <a:pt x="3759" y="324"/>
                </a:lnTo>
                <a:lnTo>
                  <a:pt x="3007" y="649"/>
                </a:lnTo>
                <a:lnTo>
                  <a:pt x="2362" y="974"/>
                </a:lnTo>
                <a:lnTo>
                  <a:pt x="1825" y="1515"/>
                </a:lnTo>
                <a:lnTo>
                  <a:pt x="1288" y="1948"/>
                </a:lnTo>
                <a:lnTo>
                  <a:pt x="859" y="2489"/>
                </a:lnTo>
                <a:lnTo>
                  <a:pt x="537" y="3139"/>
                </a:lnTo>
                <a:lnTo>
                  <a:pt x="322" y="3788"/>
                </a:lnTo>
                <a:lnTo>
                  <a:pt x="107" y="4546"/>
                </a:lnTo>
                <a:lnTo>
                  <a:pt x="0" y="5196"/>
                </a:lnTo>
                <a:lnTo>
                  <a:pt x="0" y="6170"/>
                </a:lnTo>
                <a:close/>
              </a:path>
            </a:pathLst>
          </a:custGeom>
          <a:solidFill>
            <a:srgbClr val="000000"/>
          </a:solidFill>
        </p:spPr>
        <p:txBody>
          <a:bodyPr wrap="square" lIns="0" tIns="0" rIns="0" bIns="0" rtlCol="0">
            <a:noAutofit/>
          </a:bodyPr>
          <a:lstStyle/>
          <a:p>
            <a:endParaRPr/>
          </a:p>
        </p:txBody>
      </p:sp>
      <p:sp>
        <p:nvSpPr>
          <p:cNvPr id="967" name="object 967"/>
          <p:cNvSpPr/>
          <p:nvPr/>
        </p:nvSpPr>
        <p:spPr>
          <a:xfrm>
            <a:off x="3403756" y="2463877"/>
            <a:ext cx="7733" cy="8876"/>
          </a:xfrm>
          <a:custGeom>
            <a:avLst/>
            <a:gdLst/>
            <a:ahLst/>
            <a:cxnLst/>
            <a:rect l="l" t="t" r="r" b="b"/>
            <a:pathLst>
              <a:path w="7733" h="8876">
                <a:moveTo>
                  <a:pt x="4511" y="8876"/>
                </a:moveTo>
                <a:lnTo>
                  <a:pt x="5048" y="8768"/>
                </a:lnTo>
                <a:lnTo>
                  <a:pt x="5477" y="8552"/>
                </a:lnTo>
                <a:lnTo>
                  <a:pt x="6014" y="8335"/>
                </a:lnTo>
                <a:lnTo>
                  <a:pt x="6444" y="8010"/>
                </a:lnTo>
                <a:lnTo>
                  <a:pt x="6766" y="7577"/>
                </a:lnTo>
                <a:lnTo>
                  <a:pt x="7088" y="7144"/>
                </a:lnTo>
                <a:lnTo>
                  <a:pt x="7303" y="6603"/>
                </a:lnTo>
                <a:lnTo>
                  <a:pt x="7518" y="6062"/>
                </a:lnTo>
                <a:lnTo>
                  <a:pt x="7625" y="5520"/>
                </a:lnTo>
                <a:lnTo>
                  <a:pt x="7733" y="4979"/>
                </a:lnTo>
                <a:lnTo>
                  <a:pt x="7733" y="3897"/>
                </a:lnTo>
                <a:lnTo>
                  <a:pt x="7625" y="3355"/>
                </a:lnTo>
                <a:lnTo>
                  <a:pt x="7518" y="2814"/>
                </a:lnTo>
                <a:lnTo>
                  <a:pt x="7303" y="2273"/>
                </a:lnTo>
                <a:lnTo>
                  <a:pt x="7088" y="1840"/>
                </a:lnTo>
                <a:lnTo>
                  <a:pt x="6766" y="1407"/>
                </a:lnTo>
                <a:lnTo>
                  <a:pt x="6444" y="974"/>
                </a:lnTo>
                <a:lnTo>
                  <a:pt x="6014" y="649"/>
                </a:lnTo>
                <a:lnTo>
                  <a:pt x="5477" y="324"/>
                </a:lnTo>
                <a:lnTo>
                  <a:pt x="5048" y="108"/>
                </a:lnTo>
                <a:lnTo>
                  <a:pt x="4511" y="0"/>
                </a:lnTo>
                <a:lnTo>
                  <a:pt x="3222" y="0"/>
                </a:lnTo>
                <a:lnTo>
                  <a:pt x="2685" y="108"/>
                </a:lnTo>
                <a:lnTo>
                  <a:pt x="2255" y="324"/>
                </a:lnTo>
                <a:lnTo>
                  <a:pt x="1718" y="649"/>
                </a:lnTo>
                <a:lnTo>
                  <a:pt x="1288" y="974"/>
                </a:lnTo>
                <a:lnTo>
                  <a:pt x="966" y="1299"/>
                </a:lnTo>
                <a:lnTo>
                  <a:pt x="644" y="1840"/>
                </a:lnTo>
                <a:lnTo>
                  <a:pt x="429" y="2273"/>
                </a:lnTo>
                <a:lnTo>
                  <a:pt x="322" y="2814"/>
                </a:lnTo>
                <a:lnTo>
                  <a:pt x="107" y="3355"/>
                </a:lnTo>
                <a:lnTo>
                  <a:pt x="0" y="3897"/>
                </a:lnTo>
                <a:lnTo>
                  <a:pt x="0" y="4979"/>
                </a:lnTo>
                <a:lnTo>
                  <a:pt x="107" y="5520"/>
                </a:lnTo>
                <a:lnTo>
                  <a:pt x="322" y="6062"/>
                </a:lnTo>
                <a:lnTo>
                  <a:pt x="429" y="6603"/>
                </a:lnTo>
                <a:lnTo>
                  <a:pt x="644" y="7144"/>
                </a:lnTo>
                <a:lnTo>
                  <a:pt x="966" y="7577"/>
                </a:lnTo>
                <a:lnTo>
                  <a:pt x="1288" y="8010"/>
                </a:lnTo>
                <a:lnTo>
                  <a:pt x="1718" y="8335"/>
                </a:lnTo>
                <a:lnTo>
                  <a:pt x="1396" y="4763"/>
                </a:lnTo>
                <a:lnTo>
                  <a:pt x="1396" y="3897"/>
                </a:lnTo>
                <a:lnTo>
                  <a:pt x="1503" y="3355"/>
                </a:lnTo>
                <a:lnTo>
                  <a:pt x="1718" y="2814"/>
                </a:lnTo>
                <a:lnTo>
                  <a:pt x="1933" y="2273"/>
                </a:lnTo>
                <a:lnTo>
                  <a:pt x="2255" y="1840"/>
                </a:lnTo>
                <a:lnTo>
                  <a:pt x="2792" y="1515"/>
                </a:lnTo>
                <a:lnTo>
                  <a:pt x="3222" y="1299"/>
                </a:lnTo>
                <a:lnTo>
                  <a:pt x="3866" y="1190"/>
                </a:lnTo>
                <a:lnTo>
                  <a:pt x="4296" y="1190"/>
                </a:lnTo>
                <a:lnTo>
                  <a:pt x="4725" y="1299"/>
                </a:lnTo>
                <a:lnTo>
                  <a:pt x="5048" y="1515"/>
                </a:lnTo>
                <a:lnTo>
                  <a:pt x="5370" y="1732"/>
                </a:lnTo>
                <a:lnTo>
                  <a:pt x="5585" y="1948"/>
                </a:lnTo>
                <a:lnTo>
                  <a:pt x="5799" y="2273"/>
                </a:lnTo>
                <a:lnTo>
                  <a:pt x="6014" y="2598"/>
                </a:lnTo>
                <a:lnTo>
                  <a:pt x="6122" y="3031"/>
                </a:lnTo>
                <a:lnTo>
                  <a:pt x="6229" y="3355"/>
                </a:lnTo>
                <a:lnTo>
                  <a:pt x="6229" y="3680"/>
                </a:lnTo>
                <a:lnTo>
                  <a:pt x="6336" y="4113"/>
                </a:lnTo>
                <a:lnTo>
                  <a:pt x="6336" y="4763"/>
                </a:lnTo>
                <a:lnTo>
                  <a:pt x="6229" y="5087"/>
                </a:lnTo>
                <a:lnTo>
                  <a:pt x="6229" y="5520"/>
                </a:lnTo>
                <a:lnTo>
                  <a:pt x="6122" y="5845"/>
                </a:lnTo>
                <a:lnTo>
                  <a:pt x="6014" y="6278"/>
                </a:lnTo>
                <a:lnTo>
                  <a:pt x="5799" y="6603"/>
                </a:lnTo>
                <a:lnTo>
                  <a:pt x="5585" y="6928"/>
                </a:lnTo>
                <a:lnTo>
                  <a:pt x="5370" y="7144"/>
                </a:lnTo>
                <a:lnTo>
                  <a:pt x="5048" y="7361"/>
                </a:lnTo>
                <a:lnTo>
                  <a:pt x="4725" y="7577"/>
                </a:lnTo>
                <a:lnTo>
                  <a:pt x="4296" y="7686"/>
                </a:lnTo>
                <a:lnTo>
                  <a:pt x="3436" y="7686"/>
                </a:lnTo>
                <a:lnTo>
                  <a:pt x="3007" y="7577"/>
                </a:lnTo>
                <a:lnTo>
                  <a:pt x="2685" y="7361"/>
                </a:lnTo>
                <a:lnTo>
                  <a:pt x="2362" y="7144"/>
                </a:lnTo>
                <a:lnTo>
                  <a:pt x="2148" y="6928"/>
                </a:lnTo>
                <a:lnTo>
                  <a:pt x="1933" y="6603"/>
                </a:lnTo>
                <a:lnTo>
                  <a:pt x="2255" y="8552"/>
                </a:lnTo>
                <a:lnTo>
                  <a:pt x="2685" y="8768"/>
                </a:lnTo>
                <a:lnTo>
                  <a:pt x="3222" y="8876"/>
                </a:lnTo>
                <a:lnTo>
                  <a:pt x="4511" y="8876"/>
                </a:lnTo>
                <a:close/>
              </a:path>
            </a:pathLst>
          </a:custGeom>
          <a:solidFill>
            <a:srgbClr val="000000"/>
          </a:solidFill>
        </p:spPr>
        <p:txBody>
          <a:bodyPr wrap="square" lIns="0" tIns="0" rIns="0" bIns="0" rtlCol="0">
            <a:noAutofit/>
          </a:bodyPr>
          <a:lstStyle/>
          <a:p>
            <a:endParaRPr/>
          </a:p>
        </p:txBody>
      </p:sp>
      <p:sp>
        <p:nvSpPr>
          <p:cNvPr id="968" name="object 968"/>
          <p:cNvSpPr/>
          <p:nvPr/>
        </p:nvSpPr>
        <p:spPr>
          <a:xfrm>
            <a:off x="3405152" y="2468640"/>
            <a:ext cx="859" cy="3788"/>
          </a:xfrm>
          <a:custGeom>
            <a:avLst/>
            <a:gdLst/>
            <a:ahLst/>
            <a:cxnLst/>
            <a:rect l="l" t="t" r="r" b="b"/>
            <a:pathLst>
              <a:path w="859" h="3788">
                <a:moveTo>
                  <a:pt x="322" y="1515"/>
                </a:moveTo>
                <a:lnTo>
                  <a:pt x="214" y="1082"/>
                </a:lnTo>
                <a:lnTo>
                  <a:pt x="107" y="757"/>
                </a:lnTo>
                <a:lnTo>
                  <a:pt x="107" y="324"/>
                </a:lnTo>
                <a:lnTo>
                  <a:pt x="0" y="0"/>
                </a:lnTo>
                <a:lnTo>
                  <a:pt x="322" y="3572"/>
                </a:lnTo>
                <a:lnTo>
                  <a:pt x="859" y="3788"/>
                </a:lnTo>
                <a:lnTo>
                  <a:pt x="537" y="1840"/>
                </a:lnTo>
                <a:lnTo>
                  <a:pt x="322" y="1515"/>
                </a:lnTo>
                <a:close/>
              </a:path>
            </a:pathLst>
          </a:custGeom>
          <a:solidFill>
            <a:srgbClr val="000000"/>
          </a:solidFill>
        </p:spPr>
        <p:txBody>
          <a:bodyPr wrap="square" lIns="0" tIns="0" rIns="0" bIns="0" rtlCol="0">
            <a:noAutofit/>
          </a:bodyPr>
          <a:lstStyle/>
          <a:p>
            <a:endParaRPr/>
          </a:p>
        </p:txBody>
      </p:sp>
      <p:sp>
        <p:nvSpPr>
          <p:cNvPr id="969" name="object 969"/>
          <p:cNvSpPr/>
          <p:nvPr/>
        </p:nvSpPr>
        <p:spPr>
          <a:xfrm>
            <a:off x="3413207" y="2463877"/>
            <a:ext cx="6873" cy="8660"/>
          </a:xfrm>
          <a:custGeom>
            <a:avLst/>
            <a:gdLst/>
            <a:ahLst/>
            <a:cxnLst/>
            <a:rect l="l" t="t" r="r" b="b"/>
            <a:pathLst>
              <a:path w="6873" h="8660">
                <a:moveTo>
                  <a:pt x="1396" y="8660"/>
                </a:moveTo>
                <a:lnTo>
                  <a:pt x="1396" y="3464"/>
                </a:lnTo>
                <a:lnTo>
                  <a:pt x="1503" y="3139"/>
                </a:lnTo>
                <a:lnTo>
                  <a:pt x="1611" y="2814"/>
                </a:lnTo>
                <a:lnTo>
                  <a:pt x="1718" y="2489"/>
                </a:lnTo>
                <a:lnTo>
                  <a:pt x="1825" y="2165"/>
                </a:lnTo>
                <a:lnTo>
                  <a:pt x="2040" y="1948"/>
                </a:lnTo>
                <a:lnTo>
                  <a:pt x="2255" y="1732"/>
                </a:lnTo>
                <a:lnTo>
                  <a:pt x="2577" y="1515"/>
                </a:lnTo>
                <a:lnTo>
                  <a:pt x="2792" y="1407"/>
                </a:lnTo>
                <a:lnTo>
                  <a:pt x="3114" y="1299"/>
                </a:lnTo>
                <a:lnTo>
                  <a:pt x="3436" y="1190"/>
                </a:lnTo>
                <a:lnTo>
                  <a:pt x="4296" y="1190"/>
                </a:lnTo>
                <a:lnTo>
                  <a:pt x="4725" y="1299"/>
                </a:lnTo>
                <a:lnTo>
                  <a:pt x="4940" y="1515"/>
                </a:lnTo>
                <a:lnTo>
                  <a:pt x="5155" y="1840"/>
                </a:lnTo>
                <a:lnTo>
                  <a:pt x="5262" y="2165"/>
                </a:lnTo>
                <a:lnTo>
                  <a:pt x="5370" y="2489"/>
                </a:lnTo>
                <a:lnTo>
                  <a:pt x="5477" y="2922"/>
                </a:lnTo>
                <a:lnTo>
                  <a:pt x="5477" y="8660"/>
                </a:lnTo>
                <a:lnTo>
                  <a:pt x="6873" y="8660"/>
                </a:lnTo>
                <a:lnTo>
                  <a:pt x="6873" y="2489"/>
                </a:lnTo>
                <a:lnTo>
                  <a:pt x="6766" y="2056"/>
                </a:lnTo>
                <a:lnTo>
                  <a:pt x="6659" y="1623"/>
                </a:lnTo>
                <a:lnTo>
                  <a:pt x="6551" y="1299"/>
                </a:lnTo>
                <a:lnTo>
                  <a:pt x="6336" y="974"/>
                </a:lnTo>
                <a:lnTo>
                  <a:pt x="6122" y="757"/>
                </a:lnTo>
                <a:lnTo>
                  <a:pt x="5907" y="541"/>
                </a:lnTo>
                <a:lnTo>
                  <a:pt x="5585" y="324"/>
                </a:lnTo>
                <a:lnTo>
                  <a:pt x="5262" y="216"/>
                </a:lnTo>
                <a:lnTo>
                  <a:pt x="4833" y="108"/>
                </a:lnTo>
                <a:lnTo>
                  <a:pt x="4403" y="0"/>
                </a:lnTo>
                <a:lnTo>
                  <a:pt x="3544" y="0"/>
                </a:lnTo>
                <a:lnTo>
                  <a:pt x="3222" y="108"/>
                </a:lnTo>
                <a:lnTo>
                  <a:pt x="2899" y="108"/>
                </a:lnTo>
                <a:lnTo>
                  <a:pt x="2685" y="216"/>
                </a:lnTo>
                <a:lnTo>
                  <a:pt x="2362" y="324"/>
                </a:lnTo>
                <a:lnTo>
                  <a:pt x="2148" y="541"/>
                </a:lnTo>
                <a:lnTo>
                  <a:pt x="1933" y="649"/>
                </a:lnTo>
                <a:lnTo>
                  <a:pt x="1718" y="866"/>
                </a:lnTo>
                <a:lnTo>
                  <a:pt x="1503" y="1190"/>
                </a:lnTo>
                <a:lnTo>
                  <a:pt x="1288" y="1407"/>
                </a:lnTo>
                <a:lnTo>
                  <a:pt x="1288" y="216"/>
                </a:lnTo>
                <a:lnTo>
                  <a:pt x="0" y="216"/>
                </a:lnTo>
                <a:lnTo>
                  <a:pt x="0" y="8660"/>
                </a:lnTo>
                <a:lnTo>
                  <a:pt x="1396" y="8660"/>
                </a:lnTo>
                <a:close/>
              </a:path>
            </a:pathLst>
          </a:custGeom>
          <a:solidFill>
            <a:srgbClr val="000000"/>
          </a:solidFill>
        </p:spPr>
        <p:txBody>
          <a:bodyPr wrap="square" lIns="0" tIns="0" rIns="0" bIns="0" rtlCol="0">
            <a:noAutofit/>
          </a:bodyPr>
          <a:lstStyle/>
          <a:p>
            <a:endParaRPr/>
          </a:p>
        </p:txBody>
      </p:sp>
      <p:sp>
        <p:nvSpPr>
          <p:cNvPr id="970" name="object 970"/>
          <p:cNvSpPr/>
          <p:nvPr/>
        </p:nvSpPr>
        <p:spPr>
          <a:xfrm>
            <a:off x="3421800" y="2460955"/>
            <a:ext cx="7303" cy="11799"/>
          </a:xfrm>
          <a:custGeom>
            <a:avLst/>
            <a:gdLst/>
            <a:ahLst/>
            <a:cxnLst/>
            <a:rect l="l" t="t" r="r" b="b"/>
            <a:pathLst>
              <a:path w="7303" h="11799">
                <a:moveTo>
                  <a:pt x="3974" y="11799"/>
                </a:moveTo>
                <a:lnTo>
                  <a:pt x="4296" y="11691"/>
                </a:lnTo>
                <a:lnTo>
                  <a:pt x="4940" y="11583"/>
                </a:lnTo>
                <a:lnTo>
                  <a:pt x="5155" y="11475"/>
                </a:lnTo>
                <a:lnTo>
                  <a:pt x="5262" y="11258"/>
                </a:lnTo>
                <a:lnTo>
                  <a:pt x="5477" y="11150"/>
                </a:lnTo>
                <a:lnTo>
                  <a:pt x="5692" y="11041"/>
                </a:lnTo>
                <a:lnTo>
                  <a:pt x="5799" y="10825"/>
                </a:lnTo>
                <a:lnTo>
                  <a:pt x="6014" y="10608"/>
                </a:lnTo>
                <a:lnTo>
                  <a:pt x="6122" y="10392"/>
                </a:lnTo>
                <a:lnTo>
                  <a:pt x="6122" y="11583"/>
                </a:lnTo>
                <a:lnTo>
                  <a:pt x="7303" y="11583"/>
                </a:lnTo>
                <a:lnTo>
                  <a:pt x="7303" y="0"/>
                </a:lnTo>
                <a:lnTo>
                  <a:pt x="5907" y="0"/>
                </a:lnTo>
                <a:lnTo>
                  <a:pt x="5907" y="4330"/>
                </a:lnTo>
                <a:lnTo>
                  <a:pt x="5692" y="4005"/>
                </a:lnTo>
                <a:lnTo>
                  <a:pt x="5477" y="3788"/>
                </a:lnTo>
                <a:lnTo>
                  <a:pt x="5262" y="3464"/>
                </a:lnTo>
                <a:lnTo>
                  <a:pt x="5048" y="3247"/>
                </a:lnTo>
                <a:lnTo>
                  <a:pt x="4725" y="3139"/>
                </a:lnTo>
                <a:lnTo>
                  <a:pt x="4403" y="3031"/>
                </a:lnTo>
                <a:lnTo>
                  <a:pt x="3974" y="2922"/>
                </a:lnTo>
                <a:lnTo>
                  <a:pt x="3007" y="2922"/>
                </a:lnTo>
                <a:lnTo>
                  <a:pt x="2470" y="3031"/>
                </a:lnTo>
                <a:lnTo>
                  <a:pt x="2040" y="3247"/>
                </a:lnTo>
                <a:lnTo>
                  <a:pt x="1611" y="3464"/>
                </a:lnTo>
                <a:lnTo>
                  <a:pt x="1288" y="3788"/>
                </a:lnTo>
                <a:lnTo>
                  <a:pt x="966" y="4113"/>
                </a:lnTo>
                <a:lnTo>
                  <a:pt x="644" y="4546"/>
                </a:lnTo>
                <a:lnTo>
                  <a:pt x="429" y="4979"/>
                </a:lnTo>
                <a:lnTo>
                  <a:pt x="322" y="5520"/>
                </a:lnTo>
                <a:lnTo>
                  <a:pt x="107" y="5954"/>
                </a:lnTo>
                <a:lnTo>
                  <a:pt x="0" y="6495"/>
                </a:lnTo>
                <a:lnTo>
                  <a:pt x="0" y="7686"/>
                </a:lnTo>
                <a:lnTo>
                  <a:pt x="107" y="8227"/>
                </a:lnTo>
                <a:lnTo>
                  <a:pt x="214" y="8876"/>
                </a:lnTo>
                <a:lnTo>
                  <a:pt x="429" y="9418"/>
                </a:lnTo>
                <a:lnTo>
                  <a:pt x="644" y="9851"/>
                </a:lnTo>
                <a:lnTo>
                  <a:pt x="859" y="10392"/>
                </a:lnTo>
                <a:lnTo>
                  <a:pt x="1181" y="10825"/>
                </a:lnTo>
                <a:lnTo>
                  <a:pt x="1503" y="11150"/>
                </a:lnTo>
                <a:lnTo>
                  <a:pt x="1396" y="8010"/>
                </a:lnTo>
                <a:lnTo>
                  <a:pt x="1396" y="6711"/>
                </a:lnTo>
                <a:lnTo>
                  <a:pt x="1503" y="6170"/>
                </a:lnTo>
                <a:lnTo>
                  <a:pt x="1718" y="5629"/>
                </a:lnTo>
                <a:lnTo>
                  <a:pt x="1825" y="5087"/>
                </a:lnTo>
                <a:lnTo>
                  <a:pt x="2148" y="4654"/>
                </a:lnTo>
                <a:lnTo>
                  <a:pt x="2577" y="4330"/>
                </a:lnTo>
                <a:lnTo>
                  <a:pt x="3114" y="4221"/>
                </a:lnTo>
                <a:lnTo>
                  <a:pt x="3759" y="4113"/>
                </a:lnTo>
                <a:lnTo>
                  <a:pt x="4296" y="4221"/>
                </a:lnTo>
                <a:lnTo>
                  <a:pt x="4725" y="4330"/>
                </a:lnTo>
                <a:lnTo>
                  <a:pt x="5155" y="4654"/>
                </a:lnTo>
                <a:lnTo>
                  <a:pt x="5477" y="5087"/>
                </a:lnTo>
                <a:lnTo>
                  <a:pt x="5692" y="5629"/>
                </a:lnTo>
                <a:lnTo>
                  <a:pt x="5907" y="6170"/>
                </a:lnTo>
                <a:lnTo>
                  <a:pt x="6014" y="6928"/>
                </a:lnTo>
                <a:lnTo>
                  <a:pt x="6014" y="7794"/>
                </a:lnTo>
                <a:lnTo>
                  <a:pt x="5907" y="8443"/>
                </a:lnTo>
                <a:lnTo>
                  <a:pt x="5799" y="9093"/>
                </a:lnTo>
                <a:lnTo>
                  <a:pt x="5585" y="9526"/>
                </a:lnTo>
                <a:lnTo>
                  <a:pt x="5262" y="9959"/>
                </a:lnTo>
                <a:lnTo>
                  <a:pt x="4940" y="10284"/>
                </a:lnTo>
                <a:lnTo>
                  <a:pt x="4511" y="10392"/>
                </a:lnTo>
                <a:lnTo>
                  <a:pt x="4081" y="10608"/>
                </a:lnTo>
                <a:lnTo>
                  <a:pt x="3651" y="10608"/>
                </a:lnTo>
                <a:lnTo>
                  <a:pt x="3114" y="10500"/>
                </a:lnTo>
                <a:lnTo>
                  <a:pt x="2685" y="10392"/>
                </a:lnTo>
                <a:lnTo>
                  <a:pt x="2362" y="10067"/>
                </a:lnTo>
                <a:lnTo>
                  <a:pt x="2470" y="11583"/>
                </a:lnTo>
                <a:lnTo>
                  <a:pt x="3007" y="11799"/>
                </a:lnTo>
                <a:lnTo>
                  <a:pt x="3974" y="11799"/>
                </a:lnTo>
                <a:close/>
              </a:path>
            </a:pathLst>
          </a:custGeom>
          <a:solidFill>
            <a:srgbClr val="000000"/>
          </a:solidFill>
        </p:spPr>
        <p:txBody>
          <a:bodyPr wrap="square" lIns="0" tIns="0" rIns="0" bIns="0" rtlCol="0">
            <a:noAutofit/>
          </a:bodyPr>
          <a:lstStyle/>
          <a:p>
            <a:endParaRPr/>
          </a:p>
        </p:txBody>
      </p:sp>
      <p:sp>
        <p:nvSpPr>
          <p:cNvPr id="971" name="object 971"/>
          <p:cNvSpPr/>
          <p:nvPr/>
        </p:nvSpPr>
        <p:spPr>
          <a:xfrm>
            <a:off x="3423195" y="2468965"/>
            <a:ext cx="1074" cy="3572"/>
          </a:xfrm>
          <a:custGeom>
            <a:avLst/>
            <a:gdLst/>
            <a:ahLst/>
            <a:cxnLst/>
            <a:rect l="l" t="t" r="r" b="b"/>
            <a:pathLst>
              <a:path w="1074" h="3572">
                <a:moveTo>
                  <a:pt x="644" y="1732"/>
                </a:moveTo>
                <a:lnTo>
                  <a:pt x="322" y="1190"/>
                </a:lnTo>
                <a:lnTo>
                  <a:pt x="214" y="649"/>
                </a:lnTo>
                <a:lnTo>
                  <a:pt x="0" y="0"/>
                </a:lnTo>
                <a:lnTo>
                  <a:pt x="107" y="3139"/>
                </a:lnTo>
                <a:lnTo>
                  <a:pt x="537" y="3464"/>
                </a:lnTo>
                <a:lnTo>
                  <a:pt x="1074" y="3572"/>
                </a:lnTo>
                <a:lnTo>
                  <a:pt x="966" y="2056"/>
                </a:lnTo>
                <a:lnTo>
                  <a:pt x="644" y="1732"/>
                </a:lnTo>
                <a:close/>
              </a:path>
            </a:pathLst>
          </a:custGeom>
          <a:solidFill>
            <a:srgbClr val="000000"/>
          </a:solidFill>
        </p:spPr>
        <p:txBody>
          <a:bodyPr wrap="square" lIns="0" tIns="0" rIns="0" bIns="0" rtlCol="0">
            <a:noAutofit/>
          </a:bodyPr>
          <a:lstStyle/>
          <a:p>
            <a:endParaRPr/>
          </a:p>
        </p:txBody>
      </p:sp>
      <p:sp>
        <p:nvSpPr>
          <p:cNvPr id="972" name="object 972"/>
          <p:cNvSpPr/>
          <p:nvPr/>
        </p:nvSpPr>
        <p:spPr>
          <a:xfrm>
            <a:off x="3431251" y="2461766"/>
            <a:ext cx="1396" cy="0"/>
          </a:xfrm>
          <a:custGeom>
            <a:avLst/>
            <a:gdLst/>
            <a:ahLst/>
            <a:cxnLst/>
            <a:rect l="l" t="t" r="r" b="b"/>
            <a:pathLst>
              <a:path w="1396">
                <a:moveTo>
                  <a:pt x="0" y="0"/>
                </a:moveTo>
                <a:lnTo>
                  <a:pt x="1396" y="0"/>
                </a:lnTo>
              </a:path>
            </a:pathLst>
          </a:custGeom>
          <a:ln w="2893">
            <a:solidFill>
              <a:srgbClr val="000000"/>
            </a:solidFill>
          </a:ln>
        </p:spPr>
        <p:txBody>
          <a:bodyPr wrap="square" lIns="0" tIns="0" rIns="0" bIns="0" rtlCol="0">
            <a:noAutofit/>
          </a:bodyPr>
          <a:lstStyle/>
          <a:p>
            <a:endParaRPr/>
          </a:p>
        </p:txBody>
      </p:sp>
      <p:sp>
        <p:nvSpPr>
          <p:cNvPr id="973" name="object 973"/>
          <p:cNvSpPr/>
          <p:nvPr/>
        </p:nvSpPr>
        <p:spPr>
          <a:xfrm>
            <a:off x="3431251" y="2468315"/>
            <a:ext cx="1396" cy="0"/>
          </a:xfrm>
          <a:custGeom>
            <a:avLst/>
            <a:gdLst/>
            <a:ahLst/>
            <a:cxnLst/>
            <a:rect l="l" t="t" r="r" b="b"/>
            <a:pathLst>
              <a:path w="1396">
                <a:moveTo>
                  <a:pt x="0" y="0"/>
                </a:moveTo>
                <a:lnTo>
                  <a:pt x="1396" y="0"/>
                </a:lnTo>
              </a:path>
            </a:pathLst>
          </a:custGeom>
          <a:ln w="9713">
            <a:solidFill>
              <a:srgbClr val="000000"/>
            </a:solidFill>
          </a:ln>
        </p:spPr>
        <p:txBody>
          <a:bodyPr wrap="square" lIns="0" tIns="0" rIns="0" bIns="0" rtlCol="0">
            <a:noAutofit/>
          </a:bodyPr>
          <a:lstStyle/>
          <a:p>
            <a:endParaRPr/>
          </a:p>
        </p:txBody>
      </p:sp>
      <p:sp>
        <p:nvSpPr>
          <p:cNvPr id="974" name="object 974"/>
          <p:cNvSpPr/>
          <p:nvPr/>
        </p:nvSpPr>
        <p:spPr>
          <a:xfrm>
            <a:off x="3433936" y="2461712"/>
            <a:ext cx="3866" cy="11150"/>
          </a:xfrm>
          <a:custGeom>
            <a:avLst/>
            <a:gdLst/>
            <a:ahLst/>
            <a:cxnLst/>
            <a:rect l="l" t="t" r="r" b="b"/>
            <a:pathLst>
              <a:path w="3866" h="11150">
                <a:moveTo>
                  <a:pt x="2470" y="2381"/>
                </a:moveTo>
                <a:lnTo>
                  <a:pt x="2470" y="0"/>
                </a:lnTo>
                <a:lnTo>
                  <a:pt x="1074" y="0"/>
                </a:lnTo>
                <a:lnTo>
                  <a:pt x="1074" y="2381"/>
                </a:lnTo>
                <a:lnTo>
                  <a:pt x="0" y="2381"/>
                </a:lnTo>
                <a:lnTo>
                  <a:pt x="0" y="3788"/>
                </a:lnTo>
                <a:lnTo>
                  <a:pt x="1074" y="3788"/>
                </a:lnTo>
                <a:lnTo>
                  <a:pt x="1074" y="9959"/>
                </a:lnTo>
                <a:lnTo>
                  <a:pt x="1181" y="10284"/>
                </a:lnTo>
                <a:lnTo>
                  <a:pt x="1288" y="10500"/>
                </a:lnTo>
                <a:lnTo>
                  <a:pt x="1396" y="10717"/>
                </a:lnTo>
                <a:lnTo>
                  <a:pt x="1611" y="10825"/>
                </a:lnTo>
                <a:lnTo>
                  <a:pt x="1825" y="10933"/>
                </a:lnTo>
                <a:lnTo>
                  <a:pt x="2148" y="11041"/>
                </a:lnTo>
                <a:lnTo>
                  <a:pt x="2470" y="11150"/>
                </a:lnTo>
                <a:lnTo>
                  <a:pt x="3544" y="11150"/>
                </a:lnTo>
                <a:lnTo>
                  <a:pt x="3866" y="11041"/>
                </a:lnTo>
                <a:lnTo>
                  <a:pt x="3866" y="9851"/>
                </a:lnTo>
                <a:lnTo>
                  <a:pt x="3329" y="9851"/>
                </a:lnTo>
                <a:lnTo>
                  <a:pt x="3114" y="9959"/>
                </a:lnTo>
                <a:lnTo>
                  <a:pt x="2792" y="9851"/>
                </a:lnTo>
                <a:lnTo>
                  <a:pt x="2577" y="9634"/>
                </a:lnTo>
                <a:lnTo>
                  <a:pt x="2470" y="9309"/>
                </a:lnTo>
                <a:lnTo>
                  <a:pt x="2470" y="3788"/>
                </a:lnTo>
                <a:lnTo>
                  <a:pt x="3866" y="3788"/>
                </a:lnTo>
                <a:lnTo>
                  <a:pt x="3866" y="2381"/>
                </a:lnTo>
                <a:lnTo>
                  <a:pt x="2470" y="2381"/>
                </a:lnTo>
                <a:close/>
              </a:path>
            </a:pathLst>
          </a:custGeom>
          <a:solidFill>
            <a:srgbClr val="000000"/>
          </a:solidFill>
        </p:spPr>
        <p:txBody>
          <a:bodyPr wrap="square" lIns="0" tIns="0" rIns="0" bIns="0" rtlCol="0">
            <a:noAutofit/>
          </a:bodyPr>
          <a:lstStyle/>
          <a:p>
            <a:endParaRPr/>
          </a:p>
        </p:txBody>
      </p:sp>
      <p:sp>
        <p:nvSpPr>
          <p:cNvPr id="975" name="object 975"/>
          <p:cNvSpPr/>
          <p:nvPr/>
        </p:nvSpPr>
        <p:spPr>
          <a:xfrm>
            <a:off x="3439306" y="2461766"/>
            <a:ext cx="1396" cy="0"/>
          </a:xfrm>
          <a:custGeom>
            <a:avLst/>
            <a:gdLst/>
            <a:ahLst/>
            <a:cxnLst/>
            <a:rect l="l" t="t" r="r" b="b"/>
            <a:pathLst>
              <a:path w="1396">
                <a:moveTo>
                  <a:pt x="0" y="0"/>
                </a:moveTo>
                <a:lnTo>
                  <a:pt x="1396" y="0"/>
                </a:lnTo>
              </a:path>
            </a:pathLst>
          </a:custGeom>
          <a:ln w="2893">
            <a:solidFill>
              <a:srgbClr val="000000"/>
            </a:solidFill>
          </a:ln>
        </p:spPr>
        <p:txBody>
          <a:bodyPr wrap="square" lIns="0" tIns="0" rIns="0" bIns="0" rtlCol="0">
            <a:noAutofit/>
          </a:bodyPr>
          <a:lstStyle/>
          <a:p>
            <a:endParaRPr/>
          </a:p>
        </p:txBody>
      </p:sp>
      <p:sp>
        <p:nvSpPr>
          <p:cNvPr id="976" name="object 976"/>
          <p:cNvSpPr/>
          <p:nvPr/>
        </p:nvSpPr>
        <p:spPr>
          <a:xfrm>
            <a:off x="3439306" y="2468315"/>
            <a:ext cx="1396" cy="0"/>
          </a:xfrm>
          <a:custGeom>
            <a:avLst/>
            <a:gdLst/>
            <a:ahLst/>
            <a:cxnLst/>
            <a:rect l="l" t="t" r="r" b="b"/>
            <a:pathLst>
              <a:path w="1396">
                <a:moveTo>
                  <a:pt x="0" y="0"/>
                </a:moveTo>
                <a:lnTo>
                  <a:pt x="1396" y="0"/>
                </a:lnTo>
              </a:path>
            </a:pathLst>
          </a:custGeom>
          <a:ln w="9713">
            <a:solidFill>
              <a:srgbClr val="000000"/>
            </a:solidFill>
          </a:ln>
        </p:spPr>
        <p:txBody>
          <a:bodyPr wrap="square" lIns="0" tIns="0" rIns="0" bIns="0" rtlCol="0">
            <a:noAutofit/>
          </a:bodyPr>
          <a:lstStyle/>
          <a:p>
            <a:endParaRPr/>
          </a:p>
        </p:txBody>
      </p:sp>
      <p:sp>
        <p:nvSpPr>
          <p:cNvPr id="977" name="object 977"/>
          <p:cNvSpPr/>
          <p:nvPr/>
        </p:nvSpPr>
        <p:spPr>
          <a:xfrm>
            <a:off x="3442422" y="2463877"/>
            <a:ext cx="7733" cy="8876"/>
          </a:xfrm>
          <a:custGeom>
            <a:avLst/>
            <a:gdLst/>
            <a:ahLst/>
            <a:cxnLst/>
            <a:rect l="l" t="t" r="r" b="b"/>
            <a:pathLst>
              <a:path w="7733" h="8876">
                <a:moveTo>
                  <a:pt x="4511" y="8876"/>
                </a:moveTo>
                <a:lnTo>
                  <a:pt x="5048" y="8768"/>
                </a:lnTo>
                <a:lnTo>
                  <a:pt x="5477" y="8552"/>
                </a:lnTo>
                <a:lnTo>
                  <a:pt x="6014" y="8335"/>
                </a:lnTo>
                <a:lnTo>
                  <a:pt x="6444" y="8010"/>
                </a:lnTo>
                <a:lnTo>
                  <a:pt x="6766" y="7577"/>
                </a:lnTo>
                <a:lnTo>
                  <a:pt x="7088" y="7144"/>
                </a:lnTo>
                <a:lnTo>
                  <a:pt x="7303" y="6603"/>
                </a:lnTo>
                <a:lnTo>
                  <a:pt x="7518" y="6062"/>
                </a:lnTo>
                <a:lnTo>
                  <a:pt x="7625" y="5520"/>
                </a:lnTo>
                <a:lnTo>
                  <a:pt x="7733" y="4979"/>
                </a:lnTo>
                <a:lnTo>
                  <a:pt x="7733" y="3897"/>
                </a:lnTo>
                <a:lnTo>
                  <a:pt x="7625" y="3355"/>
                </a:lnTo>
                <a:lnTo>
                  <a:pt x="7518" y="2814"/>
                </a:lnTo>
                <a:lnTo>
                  <a:pt x="7303" y="2273"/>
                </a:lnTo>
                <a:lnTo>
                  <a:pt x="7088" y="1840"/>
                </a:lnTo>
                <a:lnTo>
                  <a:pt x="6766" y="1407"/>
                </a:lnTo>
                <a:lnTo>
                  <a:pt x="6444" y="974"/>
                </a:lnTo>
                <a:lnTo>
                  <a:pt x="6014" y="649"/>
                </a:lnTo>
                <a:lnTo>
                  <a:pt x="5477" y="324"/>
                </a:lnTo>
                <a:lnTo>
                  <a:pt x="5048" y="108"/>
                </a:lnTo>
                <a:lnTo>
                  <a:pt x="4511" y="0"/>
                </a:lnTo>
                <a:lnTo>
                  <a:pt x="3222" y="0"/>
                </a:lnTo>
                <a:lnTo>
                  <a:pt x="2685" y="108"/>
                </a:lnTo>
                <a:lnTo>
                  <a:pt x="2255" y="324"/>
                </a:lnTo>
                <a:lnTo>
                  <a:pt x="1718" y="649"/>
                </a:lnTo>
                <a:lnTo>
                  <a:pt x="1288" y="974"/>
                </a:lnTo>
                <a:lnTo>
                  <a:pt x="966" y="1299"/>
                </a:lnTo>
                <a:lnTo>
                  <a:pt x="644" y="1840"/>
                </a:lnTo>
                <a:lnTo>
                  <a:pt x="429" y="2273"/>
                </a:lnTo>
                <a:lnTo>
                  <a:pt x="322" y="2814"/>
                </a:lnTo>
                <a:lnTo>
                  <a:pt x="107" y="3355"/>
                </a:lnTo>
                <a:lnTo>
                  <a:pt x="0" y="3897"/>
                </a:lnTo>
                <a:lnTo>
                  <a:pt x="0" y="4979"/>
                </a:lnTo>
                <a:lnTo>
                  <a:pt x="107" y="5520"/>
                </a:lnTo>
                <a:lnTo>
                  <a:pt x="322" y="6062"/>
                </a:lnTo>
                <a:lnTo>
                  <a:pt x="429" y="6603"/>
                </a:lnTo>
                <a:lnTo>
                  <a:pt x="644" y="7144"/>
                </a:lnTo>
                <a:lnTo>
                  <a:pt x="966" y="7577"/>
                </a:lnTo>
                <a:lnTo>
                  <a:pt x="1288" y="8010"/>
                </a:lnTo>
                <a:lnTo>
                  <a:pt x="1718" y="8335"/>
                </a:lnTo>
                <a:lnTo>
                  <a:pt x="1396" y="4763"/>
                </a:lnTo>
                <a:lnTo>
                  <a:pt x="1396" y="3897"/>
                </a:lnTo>
                <a:lnTo>
                  <a:pt x="1503" y="3355"/>
                </a:lnTo>
                <a:lnTo>
                  <a:pt x="1718" y="2814"/>
                </a:lnTo>
                <a:lnTo>
                  <a:pt x="1933" y="2273"/>
                </a:lnTo>
                <a:lnTo>
                  <a:pt x="2255" y="1840"/>
                </a:lnTo>
                <a:lnTo>
                  <a:pt x="2792" y="1515"/>
                </a:lnTo>
                <a:lnTo>
                  <a:pt x="3222" y="1299"/>
                </a:lnTo>
                <a:lnTo>
                  <a:pt x="3866" y="1190"/>
                </a:lnTo>
                <a:lnTo>
                  <a:pt x="4296" y="1190"/>
                </a:lnTo>
                <a:lnTo>
                  <a:pt x="4725" y="1299"/>
                </a:lnTo>
                <a:lnTo>
                  <a:pt x="5048" y="1515"/>
                </a:lnTo>
                <a:lnTo>
                  <a:pt x="5370" y="1732"/>
                </a:lnTo>
                <a:lnTo>
                  <a:pt x="5585" y="1948"/>
                </a:lnTo>
                <a:lnTo>
                  <a:pt x="5799" y="2273"/>
                </a:lnTo>
                <a:lnTo>
                  <a:pt x="6014" y="2598"/>
                </a:lnTo>
                <a:lnTo>
                  <a:pt x="6122" y="3031"/>
                </a:lnTo>
                <a:lnTo>
                  <a:pt x="6229" y="3355"/>
                </a:lnTo>
                <a:lnTo>
                  <a:pt x="6229" y="3680"/>
                </a:lnTo>
                <a:lnTo>
                  <a:pt x="6336" y="4113"/>
                </a:lnTo>
                <a:lnTo>
                  <a:pt x="6336" y="4763"/>
                </a:lnTo>
                <a:lnTo>
                  <a:pt x="6229" y="5087"/>
                </a:lnTo>
                <a:lnTo>
                  <a:pt x="6229" y="5520"/>
                </a:lnTo>
                <a:lnTo>
                  <a:pt x="6122" y="5845"/>
                </a:lnTo>
                <a:lnTo>
                  <a:pt x="6014" y="6278"/>
                </a:lnTo>
                <a:lnTo>
                  <a:pt x="5799" y="6603"/>
                </a:lnTo>
                <a:lnTo>
                  <a:pt x="5585" y="6928"/>
                </a:lnTo>
                <a:lnTo>
                  <a:pt x="5370" y="7144"/>
                </a:lnTo>
                <a:lnTo>
                  <a:pt x="5048" y="7361"/>
                </a:lnTo>
                <a:lnTo>
                  <a:pt x="4725" y="7577"/>
                </a:lnTo>
                <a:lnTo>
                  <a:pt x="4296" y="7686"/>
                </a:lnTo>
                <a:lnTo>
                  <a:pt x="3436" y="7686"/>
                </a:lnTo>
                <a:lnTo>
                  <a:pt x="3007" y="7577"/>
                </a:lnTo>
                <a:lnTo>
                  <a:pt x="2685" y="7361"/>
                </a:lnTo>
                <a:lnTo>
                  <a:pt x="2362" y="7144"/>
                </a:lnTo>
                <a:lnTo>
                  <a:pt x="2148" y="6928"/>
                </a:lnTo>
                <a:lnTo>
                  <a:pt x="1933" y="6603"/>
                </a:lnTo>
                <a:lnTo>
                  <a:pt x="2255" y="8552"/>
                </a:lnTo>
                <a:lnTo>
                  <a:pt x="2685" y="8768"/>
                </a:lnTo>
                <a:lnTo>
                  <a:pt x="3222" y="8876"/>
                </a:lnTo>
                <a:lnTo>
                  <a:pt x="4511" y="8876"/>
                </a:lnTo>
                <a:close/>
              </a:path>
            </a:pathLst>
          </a:custGeom>
          <a:solidFill>
            <a:srgbClr val="000000"/>
          </a:solidFill>
        </p:spPr>
        <p:txBody>
          <a:bodyPr wrap="square" lIns="0" tIns="0" rIns="0" bIns="0" rtlCol="0">
            <a:noAutofit/>
          </a:bodyPr>
          <a:lstStyle/>
          <a:p>
            <a:endParaRPr/>
          </a:p>
        </p:txBody>
      </p:sp>
      <p:sp>
        <p:nvSpPr>
          <p:cNvPr id="978" name="object 978"/>
          <p:cNvSpPr/>
          <p:nvPr/>
        </p:nvSpPr>
        <p:spPr>
          <a:xfrm>
            <a:off x="3443818" y="2468640"/>
            <a:ext cx="859" cy="3788"/>
          </a:xfrm>
          <a:custGeom>
            <a:avLst/>
            <a:gdLst/>
            <a:ahLst/>
            <a:cxnLst/>
            <a:rect l="l" t="t" r="r" b="b"/>
            <a:pathLst>
              <a:path w="859" h="3788">
                <a:moveTo>
                  <a:pt x="322" y="1515"/>
                </a:moveTo>
                <a:lnTo>
                  <a:pt x="214" y="1082"/>
                </a:lnTo>
                <a:lnTo>
                  <a:pt x="107" y="757"/>
                </a:lnTo>
                <a:lnTo>
                  <a:pt x="107" y="324"/>
                </a:lnTo>
                <a:lnTo>
                  <a:pt x="0" y="0"/>
                </a:lnTo>
                <a:lnTo>
                  <a:pt x="322" y="3572"/>
                </a:lnTo>
                <a:lnTo>
                  <a:pt x="859" y="3788"/>
                </a:lnTo>
                <a:lnTo>
                  <a:pt x="537" y="1840"/>
                </a:lnTo>
                <a:lnTo>
                  <a:pt x="322" y="1515"/>
                </a:lnTo>
                <a:close/>
              </a:path>
            </a:pathLst>
          </a:custGeom>
          <a:solidFill>
            <a:srgbClr val="000000"/>
          </a:solidFill>
        </p:spPr>
        <p:txBody>
          <a:bodyPr wrap="square" lIns="0" tIns="0" rIns="0" bIns="0" rtlCol="0">
            <a:noAutofit/>
          </a:bodyPr>
          <a:lstStyle/>
          <a:p>
            <a:endParaRPr/>
          </a:p>
        </p:txBody>
      </p:sp>
      <p:sp>
        <p:nvSpPr>
          <p:cNvPr id="979" name="object 979"/>
          <p:cNvSpPr/>
          <p:nvPr/>
        </p:nvSpPr>
        <p:spPr>
          <a:xfrm>
            <a:off x="3451873" y="2463877"/>
            <a:ext cx="6873" cy="8660"/>
          </a:xfrm>
          <a:custGeom>
            <a:avLst/>
            <a:gdLst/>
            <a:ahLst/>
            <a:cxnLst/>
            <a:rect l="l" t="t" r="r" b="b"/>
            <a:pathLst>
              <a:path w="6873" h="8660">
                <a:moveTo>
                  <a:pt x="1396" y="8660"/>
                </a:moveTo>
                <a:lnTo>
                  <a:pt x="1396" y="3464"/>
                </a:lnTo>
                <a:lnTo>
                  <a:pt x="1503" y="3139"/>
                </a:lnTo>
                <a:lnTo>
                  <a:pt x="1611" y="2814"/>
                </a:lnTo>
                <a:lnTo>
                  <a:pt x="1718" y="2489"/>
                </a:lnTo>
                <a:lnTo>
                  <a:pt x="1825" y="2165"/>
                </a:lnTo>
                <a:lnTo>
                  <a:pt x="2040" y="1948"/>
                </a:lnTo>
                <a:lnTo>
                  <a:pt x="2255" y="1732"/>
                </a:lnTo>
                <a:lnTo>
                  <a:pt x="2577" y="1515"/>
                </a:lnTo>
                <a:lnTo>
                  <a:pt x="2792" y="1407"/>
                </a:lnTo>
                <a:lnTo>
                  <a:pt x="3114" y="1299"/>
                </a:lnTo>
                <a:lnTo>
                  <a:pt x="3436" y="1190"/>
                </a:lnTo>
                <a:lnTo>
                  <a:pt x="4296" y="1190"/>
                </a:lnTo>
                <a:lnTo>
                  <a:pt x="4725" y="1299"/>
                </a:lnTo>
                <a:lnTo>
                  <a:pt x="4940" y="1515"/>
                </a:lnTo>
                <a:lnTo>
                  <a:pt x="5155" y="1840"/>
                </a:lnTo>
                <a:lnTo>
                  <a:pt x="5262" y="2165"/>
                </a:lnTo>
                <a:lnTo>
                  <a:pt x="5370" y="2489"/>
                </a:lnTo>
                <a:lnTo>
                  <a:pt x="5477" y="2922"/>
                </a:lnTo>
                <a:lnTo>
                  <a:pt x="5477" y="8660"/>
                </a:lnTo>
                <a:lnTo>
                  <a:pt x="6873" y="8660"/>
                </a:lnTo>
                <a:lnTo>
                  <a:pt x="6873" y="2489"/>
                </a:lnTo>
                <a:lnTo>
                  <a:pt x="6766" y="2056"/>
                </a:lnTo>
                <a:lnTo>
                  <a:pt x="6659" y="1623"/>
                </a:lnTo>
                <a:lnTo>
                  <a:pt x="6551" y="1299"/>
                </a:lnTo>
                <a:lnTo>
                  <a:pt x="6336" y="974"/>
                </a:lnTo>
                <a:lnTo>
                  <a:pt x="6122" y="757"/>
                </a:lnTo>
                <a:lnTo>
                  <a:pt x="5907" y="541"/>
                </a:lnTo>
                <a:lnTo>
                  <a:pt x="5585" y="324"/>
                </a:lnTo>
                <a:lnTo>
                  <a:pt x="5262" y="216"/>
                </a:lnTo>
                <a:lnTo>
                  <a:pt x="4833" y="108"/>
                </a:lnTo>
                <a:lnTo>
                  <a:pt x="4403" y="0"/>
                </a:lnTo>
                <a:lnTo>
                  <a:pt x="3544" y="0"/>
                </a:lnTo>
                <a:lnTo>
                  <a:pt x="3222" y="108"/>
                </a:lnTo>
                <a:lnTo>
                  <a:pt x="2899" y="108"/>
                </a:lnTo>
                <a:lnTo>
                  <a:pt x="2685" y="216"/>
                </a:lnTo>
                <a:lnTo>
                  <a:pt x="2362" y="324"/>
                </a:lnTo>
                <a:lnTo>
                  <a:pt x="2148" y="541"/>
                </a:lnTo>
                <a:lnTo>
                  <a:pt x="1933" y="649"/>
                </a:lnTo>
                <a:lnTo>
                  <a:pt x="1718" y="866"/>
                </a:lnTo>
                <a:lnTo>
                  <a:pt x="1503" y="1190"/>
                </a:lnTo>
                <a:lnTo>
                  <a:pt x="1288" y="1407"/>
                </a:lnTo>
                <a:lnTo>
                  <a:pt x="1288" y="216"/>
                </a:lnTo>
                <a:lnTo>
                  <a:pt x="0" y="216"/>
                </a:lnTo>
                <a:lnTo>
                  <a:pt x="0" y="8660"/>
                </a:lnTo>
                <a:lnTo>
                  <a:pt x="1396" y="8660"/>
                </a:lnTo>
                <a:close/>
              </a:path>
            </a:pathLst>
          </a:custGeom>
          <a:solidFill>
            <a:srgbClr val="000000"/>
          </a:solidFill>
        </p:spPr>
        <p:txBody>
          <a:bodyPr wrap="square" lIns="0" tIns="0" rIns="0" bIns="0" rtlCol="0">
            <a:noAutofit/>
          </a:bodyPr>
          <a:lstStyle/>
          <a:p>
            <a:endParaRPr/>
          </a:p>
        </p:txBody>
      </p:sp>
      <p:sp>
        <p:nvSpPr>
          <p:cNvPr id="980" name="object 980"/>
          <p:cNvSpPr/>
          <p:nvPr/>
        </p:nvSpPr>
        <p:spPr>
          <a:xfrm>
            <a:off x="3460466" y="2463877"/>
            <a:ext cx="6873" cy="8876"/>
          </a:xfrm>
          <a:custGeom>
            <a:avLst/>
            <a:gdLst/>
            <a:ahLst/>
            <a:cxnLst/>
            <a:rect l="l" t="t" r="r" b="b"/>
            <a:pathLst>
              <a:path w="6873" h="8876">
                <a:moveTo>
                  <a:pt x="1288" y="5954"/>
                </a:moveTo>
                <a:lnTo>
                  <a:pt x="0" y="5954"/>
                </a:lnTo>
                <a:lnTo>
                  <a:pt x="0" y="6387"/>
                </a:lnTo>
                <a:lnTo>
                  <a:pt x="107" y="6711"/>
                </a:lnTo>
                <a:lnTo>
                  <a:pt x="214" y="7036"/>
                </a:lnTo>
                <a:lnTo>
                  <a:pt x="322" y="7361"/>
                </a:lnTo>
                <a:lnTo>
                  <a:pt x="429" y="7686"/>
                </a:lnTo>
                <a:lnTo>
                  <a:pt x="644" y="7902"/>
                </a:lnTo>
                <a:lnTo>
                  <a:pt x="966" y="8227"/>
                </a:lnTo>
                <a:lnTo>
                  <a:pt x="1288" y="8443"/>
                </a:lnTo>
                <a:lnTo>
                  <a:pt x="1718" y="8552"/>
                </a:lnTo>
                <a:lnTo>
                  <a:pt x="2255" y="8768"/>
                </a:lnTo>
                <a:lnTo>
                  <a:pt x="2899" y="8876"/>
                </a:lnTo>
                <a:lnTo>
                  <a:pt x="3974" y="8876"/>
                </a:lnTo>
                <a:lnTo>
                  <a:pt x="4403" y="8768"/>
                </a:lnTo>
                <a:lnTo>
                  <a:pt x="4833" y="8768"/>
                </a:lnTo>
                <a:lnTo>
                  <a:pt x="5262" y="8660"/>
                </a:lnTo>
                <a:lnTo>
                  <a:pt x="5585" y="8443"/>
                </a:lnTo>
                <a:lnTo>
                  <a:pt x="5907" y="8227"/>
                </a:lnTo>
                <a:lnTo>
                  <a:pt x="6229" y="8010"/>
                </a:lnTo>
                <a:lnTo>
                  <a:pt x="6444" y="7686"/>
                </a:lnTo>
                <a:lnTo>
                  <a:pt x="6551" y="7361"/>
                </a:lnTo>
                <a:lnTo>
                  <a:pt x="6766" y="6928"/>
                </a:lnTo>
                <a:lnTo>
                  <a:pt x="6873" y="6603"/>
                </a:lnTo>
                <a:lnTo>
                  <a:pt x="6873" y="5845"/>
                </a:lnTo>
                <a:lnTo>
                  <a:pt x="6766" y="5520"/>
                </a:lnTo>
                <a:lnTo>
                  <a:pt x="6659" y="5196"/>
                </a:lnTo>
                <a:lnTo>
                  <a:pt x="6444" y="4979"/>
                </a:lnTo>
                <a:lnTo>
                  <a:pt x="6229" y="4763"/>
                </a:lnTo>
                <a:lnTo>
                  <a:pt x="6014" y="4654"/>
                </a:lnTo>
                <a:lnTo>
                  <a:pt x="5799" y="4438"/>
                </a:lnTo>
                <a:lnTo>
                  <a:pt x="5585" y="4330"/>
                </a:lnTo>
                <a:lnTo>
                  <a:pt x="5262" y="4221"/>
                </a:lnTo>
                <a:lnTo>
                  <a:pt x="4940" y="4005"/>
                </a:lnTo>
                <a:lnTo>
                  <a:pt x="4618" y="3897"/>
                </a:lnTo>
                <a:lnTo>
                  <a:pt x="4296" y="3788"/>
                </a:lnTo>
                <a:lnTo>
                  <a:pt x="3974" y="3680"/>
                </a:lnTo>
                <a:lnTo>
                  <a:pt x="3651" y="3680"/>
                </a:lnTo>
                <a:lnTo>
                  <a:pt x="3329" y="3572"/>
                </a:lnTo>
                <a:lnTo>
                  <a:pt x="3114" y="3572"/>
                </a:lnTo>
                <a:lnTo>
                  <a:pt x="2792" y="3464"/>
                </a:lnTo>
                <a:lnTo>
                  <a:pt x="2577" y="3355"/>
                </a:lnTo>
                <a:lnTo>
                  <a:pt x="2362" y="3355"/>
                </a:lnTo>
                <a:lnTo>
                  <a:pt x="2148" y="3247"/>
                </a:lnTo>
                <a:lnTo>
                  <a:pt x="1933" y="3139"/>
                </a:lnTo>
                <a:lnTo>
                  <a:pt x="1718" y="2922"/>
                </a:lnTo>
                <a:lnTo>
                  <a:pt x="1611" y="2706"/>
                </a:lnTo>
                <a:lnTo>
                  <a:pt x="1503" y="2165"/>
                </a:lnTo>
                <a:lnTo>
                  <a:pt x="1611" y="1948"/>
                </a:lnTo>
                <a:lnTo>
                  <a:pt x="1825" y="1623"/>
                </a:lnTo>
                <a:lnTo>
                  <a:pt x="2040" y="1515"/>
                </a:lnTo>
                <a:lnTo>
                  <a:pt x="2362" y="1407"/>
                </a:lnTo>
                <a:lnTo>
                  <a:pt x="2577" y="1299"/>
                </a:lnTo>
                <a:lnTo>
                  <a:pt x="2792" y="1299"/>
                </a:lnTo>
                <a:lnTo>
                  <a:pt x="3222" y="1190"/>
                </a:lnTo>
                <a:lnTo>
                  <a:pt x="4081" y="1299"/>
                </a:lnTo>
                <a:lnTo>
                  <a:pt x="4725" y="1623"/>
                </a:lnTo>
                <a:lnTo>
                  <a:pt x="5155" y="2056"/>
                </a:lnTo>
                <a:lnTo>
                  <a:pt x="5262" y="2706"/>
                </a:lnTo>
                <a:lnTo>
                  <a:pt x="6551" y="2706"/>
                </a:lnTo>
                <a:lnTo>
                  <a:pt x="6551" y="2165"/>
                </a:lnTo>
                <a:lnTo>
                  <a:pt x="6444" y="1948"/>
                </a:lnTo>
                <a:lnTo>
                  <a:pt x="6336" y="1623"/>
                </a:lnTo>
                <a:lnTo>
                  <a:pt x="6229" y="1299"/>
                </a:lnTo>
                <a:lnTo>
                  <a:pt x="6014" y="974"/>
                </a:lnTo>
                <a:lnTo>
                  <a:pt x="5799" y="757"/>
                </a:lnTo>
                <a:lnTo>
                  <a:pt x="5477" y="433"/>
                </a:lnTo>
                <a:lnTo>
                  <a:pt x="5048" y="216"/>
                </a:lnTo>
                <a:lnTo>
                  <a:pt x="4618" y="108"/>
                </a:lnTo>
                <a:lnTo>
                  <a:pt x="4081" y="0"/>
                </a:lnTo>
                <a:lnTo>
                  <a:pt x="3007" y="0"/>
                </a:lnTo>
                <a:lnTo>
                  <a:pt x="2577" y="108"/>
                </a:lnTo>
                <a:lnTo>
                  <a:pt x="2255" y="108"/>
                </a:lnTo>
                <a:lnTo>
                  <a:pt x="1825" y="216"/>
                </a:lnTo>
                <a:lnTo>
                  <a:pt x="1503" y="433"/>
                </a:lnTo>
                <a:lnTo>
                  <a:pt x="1181" y="649"/>
                </a:lnTo>
                <a:lnTo>
                  <a:pt x="966" y="866"/>
                </a:lnTo>
                <a:lnTo>
                  <a:pt x="751" y="1190"/>
                </a:lnTo>
                <a:lnTo>
                  <a:pt x="537" y="1515"/>
                </a:lnTo>
                <a:lnTo>
                  <a:pt x="429" y="1840"/>
                </a:lnTo>
                <a:lnTo>
                  <a:pt x="322" y="2273"/>
                </a:lnTo>
                <a:lnTo>
                  <a:pt x="322" y="3031"/>
                </a:lnTo>
                <a:lnTo>
                  <a:pt x="429" y="3247"/>
                </a:lnTo>
                <a:lnTo>
                  <a:pt x="537" y="3572"/>
                </a:lnTo>
                <a:lnTo>
                  <a:pt x="644" y="3788"/>
                </a:lnTo>
                <a:lnTo>
                  <a:pt x="859" y="4005"/>
                </a:lnTo>
                <a:lnTo>
                  <a:pt x="966" y="4221"/>
                </a:lnTo>
                <a:lnTo>
                  <a:pt x="1181" y="4330"/>
                </a:lnTo>
                <a:lnTo>
                  <a:pt x="1396" y="4438"/>
                </a:lnTo>
                <a:lnTo>
                  <a:pt x="1611" y="4546"/>
                </a:lnTo>
                <a:lnTo>
                  <a:pt x="1933" y="4654"/>
                </a:lnTo>
                <a:lnTo>
                  <a:pt x="2255" y="4763"/>
                </a:lnTo>
                <a:lnTo>
                  <a:pt x="2577" y="4871"/>
                </a:lnTo>
                <a:lnTo>
                  <a:pt x="2899" y="4979"/>
                </a:lnTo>
                <a:lnTo>
                  <a:pt x="3222" y="4979"/>
                </a:lnTo>
                <a:lnTo>
                  <a:pt x="3544" y="5087"/>
                </a:lnTo>
                <a:lnTo>
                  <a:pt x="3759" y="5196"/>
                </a:lnTo>
                <a:lnTo>
                  <a:pt x="4188" y="5304"/>
                </a:lnTo>
                <a:lnTo>
                  <a:pt x="4618" y="5412"/>
                </a:lnTo>
                <a:lnTo>
                  <a:pt x="4833" y="5520"/>
                </a:lnTo>
                <a:lnTo>
                  <a:pt x="5048" y="5629"/>
                </a:lnTo>
                <a:lnTo>
                  <a:pt x="5262" y="5845"/>
                </a:lnTo>
                <a:lnTo>
                  <a:pt x="5477" y="6170"/>
                </a:lnTo>
                <a:lnTo>
                  <a:pt x="5477" y="6711"/>
                </a:lnTo>
                <a:lnTo>
                  <a:pt x="5370" y="6928"/>
                </a:lnTo>
                <a:lnTo>
                  <a:pt x="5155" y="7144"/>
                </a:lnTo>
                <a:lnTo>
                  <a:pt x="4940" y="7361"/>
                </a:lnTo>
                <a:lnTo>
                  <a:pt x="4618" y="7469"/>
                </a:lnTo>
                <a:lnTo>
                  <a:pt x="4296" y="7577"/>
                </a:lnTo>
                <a:lnTo>
                  <a:pt x="3974" y="7686"/>
                </a:lnTo>
                <a:lnTo>
                  <a:pt x="2899" y="7686"/>
                </a:lnTo>
                <a:lnTo>
                  <a:pt x="2470" y="7577"/>
                </a:lnTo>
                <a:lnTo>
                  <a:pt x="2040" y="7361"/>
                </a:lnTo>
                <a:lnTo>
                  <a:pt x="1825" y="7144"/>
                </a:lnTo>
                <a:lnTo>
                  <a:pt x="1611" y="6928"/>
                </a:lnTo>
                <a:lnTo>
                  <a:pt x="1396" y="6603"/>
                </a:lnTo>
                <a:lnTo>
                  <a:pt x="1288" y="6278"/>
                </a:lnTo>
                <a:lnTo>
                  <a:pt x="1288" y="5954"/>
                </a:lnTo>
                <a:close/>
              </a:path>
            </a:pathLst>
          </a:custGeom>
          <a:solidFill>
            <a:srgbClr val="000000"/>
          </a:solidFill>
        </p:spPr>
        <p:txBody>
          <a:bodyPr wrap="square" lIns="0" tIns="0" rIns="0" bIns="0" rtlCol="0">
            <a:noAutofit/>
          </a:bodyPr>
          <a:lstStyle/>
          <a:p>
            <a:endParaRPr/>
          </a:p>
        </p:txBody>
      </p:sp>
      <p:sp>
        <p:nvSpPr>
          <p:cNvPr id="981" name="object 981"/>
          <p:cNvSpPr/>
          <p:nvPr/>
        </p:nvSpPr>
        <p:spPr>
          <a:xfrm>
            <a:off x="3711150" y="2001575"/>
            <a:ext cx="1396" cy="0"/>
          </a:xfrm>
          <a:custGeom>
            <a:avLst/>
            <a:gdLst/>
            <a:ahLst/>
            <a:cxnLst/>
            <a:rect l="l" t="t" r="r" b="b"/>
            <a:pathLst>
              <a:path w="1396">
                <a:moveTo>
                  <a:pt x="0" y="0"/>
                </a:moveTo>
                <a:lnTo>
                  <a:pt x="1396" y="0"/>
                </a:lnTo>
              </a:path>
            </a:pathLst>
          </a:custGeom>
          <a:ln w="2893">
            <a:solidFill>
              <a:srgbClr val="000000"/>
            </a:solidFill>
          </a:ln>
        </p:spPr>
        <p:txBody>
          <a:bodyPr wrap="square" lIns="0" tIns="0" rIns="0" bIns="0" rtlCol="0">
            <a:noAutofit/>
          </a:bodyPr>
          <a:lstStyle/>
          <a:p>
            <a:endParaRPr/>
          </a:p>
        </p:txBody>
      </p:sp>
      <p:sp>
        <p:nvSpPr>
          <p:cNvPr id="982" name="object 982"/>
          <p:cNvSpPr/>
          <p:nvPr/>
        </p:nvSpPr>
        <p:spPr>
          <a:xfrm>
            <a:off x="3711150" y="2008124"/>
            <a:ext cx="1396" cy="0"/>
          </a:xfrm>
          <a:custGeom>
            <a:avLst/>
            <a:gdLst/>
            <a:ahLst/>
            <a:cxnLst/>
            <a:rect l="l" t="t" r="r" b="b"/>
            <a:pathLst>
              <a:path w="1396">
                <a:moveTo>
                  <a:pt x="0" y="0"/>
                </a:moveTo>
                <a:lnTo>
                  <a:pt x="1396" y="0"/>
                </a:lnTo>
              </a:path>
            </a:pathLst>
          </a:custGeom>
          <a:ln w="9713">
            <a:solidFill>
              <a:srgbClr val="000000"/>
            </a:solidFill>
          </a:ln>
        </p:spPr>
        <p:txBody>
          <a:bodyPr wrap="square" lIns="0" tIns="0" rIns="0" bIns="0" rtlCol="0">
            <a:noAutofit/>
          </a:bodyPr>
          <a:lstStyle/>
          <a:p>
            <a:endParaRPr/>
          </a:p>
        </p:txBody>
      </p:sp>
      <p:sp>
        <p:nvSpPr>
          <p:cNvPr id="983" name="object 983"/>
          <p:cNvSpPr/>
          <p:nvPr/>
        </p:nvSpPr>
        <p:spPr>
          <a:xfrm>
            <a:off x="3714266" y="2003686"/>
            <a:ext cx="7733" cy="8876"/>
          </a:xfrm>
          <a:custGeom>
            <a:avLst/>
            <a:gdLst/>
            <a:ahLst/>
            <a:cxnLst/>
            <a:rect l="l" t="t" r="r" b="b"/>
            <a:pathLst>
              <a:path w="7733" h="8876">
                <a:moveTo>
                  <a:pt x="4511" y="8876"/>
                </a:moveTo>
                <a:lnTo>
                  <a:pt x="5048" y="8768"/>
                </a:lnTo>
                <a:lnTo>
                  <a:pt x="5477" y="8552"/>
                </a:lnTo>
                <a:lnTo>
                  <a:pt x="6014" y="8335"/>
                </a:lnTo>
                <a:lnTo>
                  <a:pt x="6444" y="8010"/>
                </a:lnTo>
                <a:lnTo>
                  <a:pt x="6766" y="7577"/>
                </a:lnTo>
                <a:lnTo>
                  <a:pt x="7088" y="7144"/>
                </a:lnTo>
                <a:lnTo>
                  <a:pt x="7303" y="6603"/>
                </a:lnTo>
                <a:lnTo>
                  <a:pt x="7518" y="6062"/>
                </a:lnTo>
                <a:lnTo>
                  <a:pt x="7625" y="5520"/>
                </a:lnTo>
                <a:lnTo>
                  <a:pt x="7733" y="4979"/>
                </a:lnTo>
                <a:lnTo>
                  <a:pt x="7733" y="3897"/>
                </a:lnTo>
                <a:lnTo>
                  <a:pt x="7625" y="3355"/>
                </a:lnTo>
                <a:lnTo>
                  <a:pt x="7518" y="2814"/>
                </a:lnTo>
                <a:lnTo>
                  <a:pt x="7303" y="2273"/>
                </a:lnTo>
                <a:lnTo>
                  <a:pt x="7088" y="1840"/>
                </a:lnTo>
                <a:lnTo>
                  <a:pt x="6766" y="1407"/>
                </a:lnTo>
                <a:lnTo>
                  <a:pt x="6444" y="974"/>
                </a:lnTo>
                <a:lnTo>
                  <a:pt x="6014" y="649"/>
                </a:lnTo>
                <a:lnTo>
                  <a:pt x="5477" y="324"/>
                </a:lnTo>
                <a:lnTo>
                  <a:pt x="5048" y="108"/>
                </a:lnTo>
                <a:lnTo>
                  <a:pt x="4511" y="0"/>
                </a:lnTo>
                <a:lnTo>
                  <a:pt x="3222" y="0"/>
                </a:lnTo>
                <a:lnTo>
                  <a:pt x="2685" y="108"/>
                </a:lnTo>
                <a:lnTo>
                  <a:pt x="2255" y="324"/>
                </a:lnTo>
                <a:lnTo>
                  <a:pt x="1718" y="649"/>
                </a:lnTo>
                <a:lnTo>
                  <a:pt x="1288" y="974"/>
                </a:lnTo>
                <a:lnTo>
                  <a:pt x="966" y="1299"/>
                </a:lnTo>
                <a:lnTo>
                  <a:pt x="644" y="1840"/>
                </a:lnTo>
                <a:lnTo>
                  <a:pt x="429" y="2273"/>
                </a:lnTo>
                <a:lnTo>
                  <a:pt x="322" y="2814"/>
                </a:lnTo>
                <a:lnTo>
                  <a:pt x="107" y="3355"/>
                </a:lnTo>
                <a:lnTo>
                  <a:pt x="0" y="3897"/>
                </a:lnTo>
                <a:lnTo>
                  <a:pt x="0" y="4979"/>
                </a:lnTo>
                <a:lnTo>
                  <a:pt x="107" y="5520"/>
                </a:lnTo>
                <a:lnTo>
                  <a:pt x="322" y="6062"/>
                </a:lnTo>
                <a:lnTo>
                  <a:pt x="429" y="6603"/>
                </a:lnTo>
                <a:lnTo>
                  <a:pt x="644" y="7144"/>
                </a:lnTo>
                <a:lnTo>
                  <a:pt x="966" y="7577"/>
                </a:lnTo>
                <a:lnTo>
                  <a:pt x="1288" y="8010"/>
                </a:lnTo>
                <a:lnTo>
                  <a:pt x="1718" y="8335"/>
                </a:lnTo>
                <a:lnTo>
                  <a:pt x="1396" y="4763"/>
                </a:lnTo>
                <a:lnTo>
                  <a:pt x="1396" y="3897"/>
                </a:lnTo>
                <a:lnTo>
                  <a:pt x="1503" y="3355"/>
                </a:lnTo>
                <a:lnTo>
                  <a:pt x="1718" y="2814"/>
                </a:lnTo>
                <a:lnTo>
                  <a:pt x="1933" y="2273"/>
                </a:lnTo>
                <a:lnTo>
                  <a:pt x="2255" y="1840"/>
                </a:lnTo>
                <a:lnTo>
                  <a:pt x="2792" y="1515"/>
                </a:lnTo>
                <a:lnTo>
                  <a:pt x="3222" y="1299"/>
                </a:lnTo>
                <a:lnTo>
                  <a:pt x="3866" y="1190"/>
                </a:lnTo>
                <a:lnTo>
                  <a:pt x="4296" y="1190"/>
                </a:lnTo>
                <a:lnTo>
                  <a:pt x="4725" y="1299"/>
                </a:lnTo>
                <a:lnTo>
                  <a:pt x="5048" y="1515"/>
                </a:lnTo>
                <a:lnTo>
                  <a:pt x="5370" y="1732"/>
                </a:lnTo>
                <a:lnTo>
                  <a:pt x="5585" y="1948"/>
                </a:lnTo>
                <a:lnTo>
                  <a:pt x="5799" y="2273"/>
                </a:lnTo>
                <a:lnTo>
                  <a:pt x="6014" y="2598"/>
                </a:lnTo>
                <a:lnTo>
                  <a:pt x="6122" y="3031"/>
                </a:lnTo>
                <a:lnTo>
                  <a:pt x="6229" y="3355"/>
                </a:lnTo>
                <a:lnTo>
                  <a:pt x="6229" y="3680"/>
                </a:lnTo>
                <a:lnTo>
                  <a:pt x="6336" y="4113"/>
                </a:lnTo>
                <a:lnTo>
                  <a:pt x="6336" y="4763"/>
                </a:lnTo>
                <a:lnTo>
                  <a:pt x="6229" y="5087"/>
                </a:lnTo>
                <a:lnTo>
                  <a:pt x="6229" y="5520"/>
                </a:lnTo>
                <a:lnTo>
                  <a:pt x="6122" y="5845"/>
                </a:lnTo>
                <a:lnTo>
                  <a:pt x="6014" y="6278"/>
                </a:lnTo>
                <a:lnTo>
                  <a:pt x="5799" y="6603"/>
                </a:lnTo>
                <a:lnTo>
                  <a:pt x="5585" y="6928"/>
                </a:lnTo>
                <a:lnTo>
                  <a:pt x="5370" y="7144"/>
                </a:lnTo>
                <a:lnTo>
                  <a:pt x="5048" y="7361"/>
                </a:lnTo>
                <a:lnTo>
                  <a:pt x="4725" y="7577"/>
                </a:lnTo>
                <a:lnTo>
                  <a:pt x="4296" y="7686"/>
                </a:lnTo>
                <a:lnTo>
                  <a:pt x="3436" y="7686"/>
                </a:lnTo>
                <a:lnTo>
                  <a:pt x="3007" y="7577"/>
                </a:lnTo>
                <a:lnTo>
                  <a:pt x="2685" y="7361"/>
                </a:lnTo>
                <a:lnTo>
                  <a:pt x="2362" y="7144"/>
                </a:lnTo>
                <a:lnTo>
                  <a:pt x="2148" y="6928"/>
                </a:lnTo>
                <a:lnTo>
                  <a:pt x="1933" y="6603"/>
                </a:lnTo>
                <a:lnTo>
                  <a:pt x="2255" y="8552"/>
                </a:lnTo>
                <a:lnTo>
                  <a:pt x="2685" y="8768"/>
                </a:lnTo>
                <a:lnTo>
                  <a:pt x="3222" y="8876"/>
                </a:lnTo>
                <a:lnTo>
                  <a:pt x="4511" y="8876"/>
                </a:lnTo>
                <a:close/>
              </a:path>
            </a:pathLst>
          </a:custGeom>
          <a:solidFill>
            <a:srgbClr val="000000"/>
          </a:solidFill>
        </p:spPr>
        <p:txBody>
          <a:bodyPr wrap="square" lIns="0" tIns="0" rIns="0" bIns="0" rtlCol="0">
            <a:noAutofit/>
          </a:bodyPr>
          <a:lstStyle/>
          <a:p>
            <a:endParaRPr/>
          </a:p>
        </p:txBody>
      </p:sp>
      <p:sp>
        <p:nvSpPr>
          <p:cNvPr id="984" name="object 984"/>
          <p:cNvSpPr/>
          <p:nvPr/>
        </p:nvSpPr>
        <p:spPr>
          <a:xfrm>
            <a:off x="3715662" y="2008449"/>
            <a:ext cx="859" cy="3788"/>
          </a:xfrm>
          <a:custGeom>
            <a:avLst/>
            <a:gdLst/>
            <a:ahLst/>
            <a:cxnLst/>
            <a:rect l="l" t="t" r="r" b="b"/>
            <a:pathLst>
              <a:path w="859" h="3788">
                <a:moveTo>
                  <a:pt x="322" y="1515"/>
                </a:moveTo>
                <a:lnTo>
                  <a:pt x="214" y="1082"/>
                </a:lnTo>
                <a:lnTo>
                  <a:pt x="107" y="757"/>
                </a:lnTo>
                <a:lnTo>
                  <a:pt x="107" y="324"/>
                </a:lnTo>
                <a:lnTo>
                  <a:pt x="0" y="0"/>
                </a:lnTo>
                <a:lnTo>
                  <a:pt x="322" y="3572"/>
                </a:lnTo>
                <a:lnTo>
                  <a:pt x="859" y="3788"/>
                </a:lnTo>
                <a:lnTo>
                  <a:pt x="537" y="1840"/>
                </a:lnTo>
                <a:lnTo>
                  <a:pt x="322" y="1515"/>
                </a:lnTo>
                <a:close/>
              </a:path>
            </a:pathLst>
          </a:custGeom>
          <a:solidFill>
            <a:srgbClr val="000000"/>
          </a:solidFill>
        </p:spPr>
        <p:txBody>
          <a:bodyPr wrap="square" lIns="0" tIns="0" rIns="0" bIns="0" rtlCol="0">
            <a:noAutofit/>
          </a:bodyPr>
          <a:lstStyle/>
          <a:p>
            <a:endParaRPr/>
          </a:p>
        </p:txBody>
      </p:sp>
      <p:sp>
        <p:nvSpPr>
          <p:cNvPr id="985" name="object 985"/>
          <p:cNvSpPr/>
          <p:nvPr/>
        </p:nvSpPr>
        <p:spPr>
          <a:xfrm>
            <a:off x="3723718" y="2003686"/>
            <a:ext cx="6873" cy="8660"/>
          </a:xfrm>
          <a:custGeom>
            <a:avLst/>
            <a:gdLst/>
            <a:ahLst/>
            <a:cxnLst/>
            <a:rect l="l" t="t" r="r" b="b"/>
            <a:pathLst>
              <a:path w="6873" h="8660">
                <a:moveTo>
                  <a:pt x="1396" y="8660"/>
                </a:moveTo>
                <a:lnTo>
                  <a:pt x="1396" y="3464"/>
                </a:lnTo>
                <a:lnTo>
                  <a:pt x="1503" y="3139"/>
                </a:lnTo>
                <a:lnTo>
                  <a:pt x="1611" y="2814"/>
                </a:lnTo>
                <a:lnTo>
                  <a:pt x="1718" y="2489"/>
                </a:lnTo>
                <a:lnTo>
                  <a:pt x="1825" y="2165"/>
                </a:lnTo>
                <a:lnTo>
                  <a:pt x="2040" y="1948"/>
                </a:lnTo>
                <a:lnTo>
                  <a:pt x="2255" y="1732"/>
                </a:lnTo>
                <a:lnTo>
                  <a:pt x="2577" y="1515"/>
                </a:lnTo>
                <a:lnTo>
                  <a:pt x="3114" y="1299"/>
                </a:lnTo>
                <a:lnTo>
                  <a:pt x="3436" y="1190"/>
                </a:lnTo>
                <a:lnTo>
                  <a:pt x="4296" y="1190"/>
                </a:lnTo>
                <a:lnTo>
                  <a:pt x="4725" y="1299"/>
                </a:lnTo>
                <a:lnTo>
                  <a:pt x="4940" y="1515"/>
                </a:lnTo>
                <a:lnTo>
                  <a:pt x="5155" y="1840"/>
                </a:lnTo>
                <a:lnTo>
                  <a:pt x="5262" y="2165"/>
                </a:lnTo>
                <a:lnTo>
                  <a:pt x="5370" y="2489"/>
                </a:lnTo>
                <a:lnTo>
                  <a:pt x="5477" y="2922"/>
                </a:lnTo>
                <a:lnTo>
                  <a:pt x="5477" y="8660"/>
                </a:lnTo>
                <a:lnTo>
                  <a:pt x="6873" y="8660"/>
                </a:lnTo>
                <a:lnTo>
                  <a:pt x="6873" y="2489"/>
                </a:lnTo>
                <a:lnTo>
                  <a:pt x="6766" y="2056"/>
                </a:lnTo>
                <a:lnTo>
                  <a:pt x="6659" y="1623"/>
                </a:lnTo>
                <a:lnTo>
                  <a:pt x="6551" y="1299"/>
                </a:lnTo>
                <a:lnTo>
                  <a:pt x="6336" y="974"/>
                </a:lnTo>
                <a:lnTo>
                  <a:pt x="6122" y="757"/>
                </a:lnTo>
                <a:lnTo>
                  <a:pt x="5907" y="541"/>
                </a:lnTo>
                <a:lnTo>
                  <a:pt x="5585" y="324"/>
                </a:lnTo>
                <a:lnTo>
                  <a:pt x="5262" y="216"/>
                </a:lnTo>
                <a:lnTo>
                  <a:pt x="4833" y="108"/>
                </a:lnTo>
                <a:lnTo>
                  <a:pt x="4403" y="0"/>
                </a:lnTo>
                <a:lnTo>
                  <a:pt x="3544" y="0"/>
                </a:lnTo>
                <a:lnTo>
                  <a:pt x="3222" y="108"/>
                </a:lnTo>
                <a:lnTo>
                  <a:pt x="2899" y="108"/>
                </a:lnTo>
                <a:lnTo>
                  <a:pt x="2685" y="216"/>
                </a:lnTo>
                <a:lnTo>
                  <a:pt x="2362" y="324"/>
                </a:lnTo>
                <a:lnTo>
                  <a:pt x="2148" y="541"/>
                </a:lnTo>
                <a:lnTo>
                  <a:pt x="1933" y="649"/>
                </a:lnTo>
                <a:lnTo>
                  <a:pt x="1718" y="866"/>
                </a:lnTo>
                <a:lnTo>
                  <a:pt x="1503" y="1190"/>
                </a:lnTo>
                <a:lnTo>
                  <a:pt x="1288" y="1407"/>
                </a:lnTo>
                <a:lnTo>
                  <a:pt x="1288" y="216"/>
                </a:lnTo>
                <a:lnTo>
                  <a:pt x="0" y="216"/>
                </a:lnTo>
                <a:lnTo>
                  <a:pt x="0" y="8660"/>
                </a:lnTo>
                <a:lnTo>
                  <a:pt x="1396" y="8660"/>
                </a:lnTo>
                <a:close/>
              </a:path>
            </a:pathLst>
          </a:custGeom>
          <a:solidFill>
            <a:srgbClr val="000000"/>
          </a:solidFill>
        </p:spPr>
        <p:txBody>
          <a:bodyPr wrap="square" lIns="0" tIns="0" rIns="0" bIns="0" rtlCol="0">
            <a:noAutofit/>
          </a:bodyPr>
          <a:lstStyle/>
          <a:p>
            <a:endParaRPr/>
          </a:p>
        </p:txBody>
      </p:sp>
      <p:sp>
        <p:nvSpPr>
          <p:cNvPr id="986" name="object 986"/>
          <p:cNvSpPr/>
          <p:nvPr/>
        </p:nvSpPr>
        <p:spPr>
          <a:xfrm>
            <a:off x="3697511" y="2003686"/>
            <a:ext cx="7411" cy="12016"/>
          </a:xfrm>
          <a:custGeom>
            <a:avLst/>
            <a:gdLst/>
            <a:ahLst/>
            <a:cxnLst/>
            <a:rect l="l" t="t" r="r" b="b"/>
            <a:pathLst>
              <a:path w="7411" h="12016">
                <a:moveTo>
                  <a:pt x="1396" y="12016"/>
                </a:moveTo>
                <a:lnTo>
                  <a:pt x="1396" y="7794"/>
                </a:lnTo>
                <a:lnTo>
                  <a:pt x="1503" y="6170"/>
                </a:lnTo>
                <a:lnTo>
                  <a:pt x="1288" y="5520"/>
                </a:lnTo>
                <a:lnTo>
                  <a:pt x="1288" y="4330"/>
                </a:lnTo>
                <a:lnTo>
                  <a:pt x="1396" y="3897"/>
                </a:lnTo>
                <a:lnTo>
                  <a:pt x="1396" y="3464"/>
                </a:lnTo>
                <a:lnTo>
                  <a:pt x="1503" y="3031"/>
                </a:lnTo>
                <a:lnTo>
                  <a:pt x="1611" y="2598"/>
                </a:lnTo>
                <a:lnTo>
                  <a:pt x="1825" y="2273"/>
                </a:lnTo>
                <a:lnTo>
                  <a:pt x="2040" y="1948"/>
                </a:lnTo>
                <a:lnTo>
                  <a:pt x="2255" y="1732"/>
                </a:lnTo>
                <a:lnTo>
                  <a:pt x="2470" y="1515"/>
                </a:lnTo>
                <a:lnTo>
                  <a:pt x="2792" y="1299"/>
                </a:lnTo>
                <a:lnTo>
                  <a:pt x="3114" y="1190"/>
                </a:lnTo>
                <a:lnTo>
                  <a:pt x="3544" y="1190"/>
                </a:lnTo>
                <a:lnTo>
                  <a:pt x="4081" y="1299"/>
                </a:lnTo>
                <a:lnTo>
                  <a:pt x="4511" y="1407"/>
                </a:lnTo>
                <a:lnTo>
                  <a:pt x="4940" y="1623"/>
                </a:lnTo>
                <a:lnTo>
                  <a:pt x="5262" y="1948"/>
                </a:lnTo>
                <a:lnTo>
                  <a:pt x="5477" y="2381"/>
                </a:lnTo>
                <a:lnTo>
                  <a:pt x="5692" y="2922"/>
                </a:lnTo>
                <a:lnTo>
                  <a:pt x="5799" y="3464"/>
                </a:lnTo>
                <a:lnTo>
                  <a:pt x="5907" y="4221"/>
                </a:lnTo>
                <a:lnTo>
                  <a:pt x="5907" y="4763"/>
                </a:lnTo>
                <a:lnTo>
                  <a:pt x="5799" y="5196"/>
                </a:lnTo>
                <a:lnTo>
                  <a:pt x="5692" y="5629"/>
                </a:lnTo>
                <a:lnTo>
                  <a:pt x="5585" y="6062"/>
                </a:lnTo>
                <a:lnTo>
                  <a:pt x="5370" y="6495"/>
                </a:lnTo>
                <a:lnTo>
                  <a:pt x="5262" y="6820"/>
                </a:lnTo>
                <a:lnTo>
                  <a:pt x="5048" y="7036"/>
                </a:lnTo>
                <a:lnTo>
                  <a:pt x="4833" y="7253"/>
                </a:lnTo>
                <a:lnTo>
                  <a:pt x="4618" y="7469"/>
                </a:lnTo>
                <a:lnTo>
                  <a:pt x="4296" y="7577"/>
                </a:lnTo>
                <a:lnTo>
                  <a:pt x="3974" y="7686"/>
                </a:lnTo>
                <a:lnTo>
                  <a:pt x="3222" y="7686"/>
                </a:lnTo>
                <a:lnTo>
                  <a:pt x="2792" y="7469"/>
                </a:lnTo>
                <a:lnTo>
                  <a:pt x="2362" y="7361"/>
                </a:lnTo>
                <a:lnTo>
                  <a:pt x="2148" y="8552"/>
                </a:lnTo>
                <a:lnTo>
                  <a:pt x="2362" y="8660"/>
                </a:lnTo>
                <a:lnTo>
                  <a:pt x="2685" y="8768"/>
                </a:lnTo>
                <a:lnTo>
                  <a:pt x="3007" y="8768"/>
                </a:lnTo>
                <a:lnTo>
                  <a:pt x="3329" y="8876"/>
                </a:lnTo>
                <a:lnTo>
                  <a:pt x="4296" y="8876"/>
                </a:lnTo>
                <a:lnTo>
                  <a:pt x="4833" y="8768"/>
                </a:lnTo>
                <a:lnTo>
                  <a:pt x="5262" y="8552"/>
                </a:lnTo>
                <a:lnTo>
                  <a:pt x="5692" y="8335"/>
                </a:lnTo>
                <a:lnTo>
                  <a:pt x="6122" y="7902"/>
                </a:lnTo>
                <a:lnTo>
                  <a:pt x="6444" y="7469"/>
                </a:lnTo>
                <a:lnTo>
                  <a:pt x="6766" y="7036"/>
                </a:lnTo>
                <a:lnTo>
                  <a:pt x="6981" y="6603"/>
                </a:lnTo>
                <a:lnTo>
                  <a:pt x="7196" y="6062"/>
                </a:lnTo>
                <a:lnTo>
                  <a:pt x="7303" y="5520"/>
                </a:lnTo>
                <a:lnTo>
                  <a:pt x="7411" y="4979"/>
                </a:lnTo>
                <a:lnTo>
                  <a:pt x="7411" y="3897"/>
                </a:lnTo>
                <a:lnTo>
                  <a:pt x="7303" y="3355"/>
                </a:lnTo>
                <a:lnTo>
                  <a:pt x="7196" y="2814"/>
                </a:lnTo>
                <a:lnTo>
                  <a:pt x="6981" y="2273"/>
                </a:lnTo>
                <a:lnTo>
                  <a:pt x="6766" y="1840"/>
                </a:lnTo>
                <a:lnTo>
                  <a:pt x="6551" y="1407"/>
                </a:lnTo>
                <a:lnTo>
                  <a:pt x="6229" y="974"/>
                </a:lnTo>
                <a:lnTo>
                  <a:pt x="5799" y="649"/>
                </a:lnTo>
                <a:lnTo>
                  <a:pt x="5370" y="324"/>
                </a:lnTo>
                <a:lnTo>
                  <a:pt x="4940" y="108"/>
                </a:lnTo>
                <a:lnTo>
                  <a:pt x="4403" y="0"/>
                </a:lnTo>
                <a:lnTo>
                  <a:pt x="3329" y="0"/>
                </a:lnTo>
                <a:lnTo>
                  <a:pt x="3007" y="108"/>
                </a:lnTo>
                <a:lnTo>
                  <a:pt x="2792" y="216"/>
                </a:lnTo>
                <a:lnTo>
                  <a:pt x="2470" y="324"/>
                </a:lnTo>
                <a:lnTo>
                  <a:pt x="2255" y="433"/>
                </a:lnTo>
                <a:lnTo>
                  <a:pt x="2040" y="649"/>
                </a:lnTo>
                <a:lnTo>
                  <a:pt x="1825" y="757"/>
                </a:lnTo>
                <a:lnTo>
                  <a:pt x="1503" y="1082"/>
                </a:lnTo>
                <a:lnTo>
                  <a:pt x="1288" y="1407"/>
                </a:lnTo>
                <a:lnTo>
                  <a:pt x="1288" y="216"/>
                </a:lnTo>
                <a:lnTo>
                  <a:pt x="0" y="216"/>
                </a:lnTo>
                <a:lnTo>
                  <a:pt x="0" y="12016"/>
                </a:lnTo>
                <a:lnTo>
                  <a:pt x="1396" y="12016"/>
                </a:lnTo>
                <a:close/>
              </a:path>
            </a:pathLst>
          </a:custGeom>
          <a:solidFill>
            <a:srgbClr val="000000"/>
          </a:solidFill>
        </p:spPr>
        <p:txBody>
          <a:bodyPr wrap="square" lIns="0" tIns="0" rIns="0" bIns="0" rtlCol="0">
            <a:noAutofit/>
          </a:bodyPr>
          <a:lstStyle/>
          <a:p>
            <a:endParaRPr/>
          </a:p>
        </p:txBody>
      </p:sp>
      <p:sp>
        <p:nvSpPr>
          <p:cNvPr id="987" name="object 987"/>
          <p:cNvSpPr/>
          <p:nvPr/>
        </p:nvSpPr>
        <p:spPr>
          <a:xfrm>
            <a:off x="3657663" y="2000764"/>
            <a:ext cx="9451" cy="11583"/>
          </a:xfrm>
          <a:custGeom>
            <a:avLst/>
            <a:gdLst/>
            <a:ahLst/>
            <a:cxnLst/>
            <a:rect l="l" t="t" r="r" b="b"/>
            <a:pathLst>
              <a:path w="9451" h="11583">
                <a:moveTo>
                  <a:pt x="7948" y="10284"/>
                </a:moveTo>
                <a:lnTo>
                  <a:pt x="8377" y="9634"/>
                </a:lnTo>
                <a:lnTo>
                  <a:pt x="8699" y="9093"/>
                </a:lnTo>
                <a:lnTo>
                  <a:pt x="9022" y="8335"/>
                </a:lnTo>
                <a:lnTo>
                  <a:pt x="9236" y="7686"/>
                </a:lnTo>
                <a:lnTo>
                  <a:pt x="9344" y="6928"/>
                </a:lnTo>
                <a:lnTo>
                  <a:pt x="9451" y="6170"/>
                </a:lnTo>
                <a:lnTo>
                  <a:pt x="9451" y="5412"/>
                </a:lnTo>
                <a:lnTo>
                  <a:pt x="9344" y="4546"/>
                </a:lnTo>
                <a:lnTo>
                  <a:pt x="9236" y="3788"/>
                </a:lnTo>
                <a:lnTo>
                  <a:pt x="9022" y="3031"/>
                </a:lnTo>
                <a:lnTo>
                  <a:pt x="8699" y="2381"/>
                </a:lnTo>
                <a:lnTo>
                  <a:pt x="8377" y="1840"/>
                </a:lnTo>
                <a:lnTo>
                  <a:pt x="7948" y="1299"/>
                </a:lnTo>
                <a:lnTo>
                  <a:pt x="7411" y="866"/>
                </a:lnTo>
                <a:lnTo>
                  <a:pt x="6981" y="541"/>
                </a:lnTo>
                <a:lnTo>
                  <a:pt x="6444" y="324"/>
                </a:lnTo>
                <a:lnTo>
                  <a:pt x="5907" y="108"/>
                </a:lnTo>
                <a:lnTo>
                  <a:pt x="5370" y="0"/>
                </a:lnTo>
                <a:lnTo>
                  <a:pt x="0" y="0"/>
                </a:lnTo>
                <a:lnTo>
                  <a:pt x="0" y="11583"/>
                </a:lnTo>
                <a:lnTo>
                  <a:pt x="5692" y="11583"/>
                </a:lnTo>
                <a:lnTo>
                  <a:pt x="6336" y="11366"/>
                </a:lnTo>
                <a:lnTo>
                  <a:pt x="5692" y="10175"/>
                </a:lnTo>
                <a:lnTo>
                  <a:pt x="5262" y="10392"/>
                </a:lnTo>
                <a:lnTo>
                  <a:pt x="1503" y="10392"/>
                </a:lnTo>
                <a:lnTo>
                  <a:pt x="1503" y="1407"/>
                </a:lnTo>
                <a:lnTo>
                  <a:pt x="5048" y="1407"/>
                </a:lnTo>
                <a:lnTo>
                  <a:pt x="5370" y="1515"/>
                </a:lnTo>
                <a:lnTo>
                  <a:pt x="5799" y="1623"/>
                </a:lnTo>
                <a:lnTo>
                  <a:pt x="6122" y="1732"/>
                </a:lnTo>
                <a:lnTo>
                  <a:pt x="6444" y="1948"/>
                </a:lnTo>
                <a:lnTo>
                  <a:pt x="6659" y="2165"/>
                </a:lnTo>
                <a:lnTo>
                  <a:pt x="6981" y="2381"/>
                </a:lnTo>
                <a:lnTo>
                  <a:pt x="7196" y="2598"/>
                </a:lnTo>
                <a:lnTo>
                  <a:pt x="7303" y="2922"/>
                </a:lnTo>
                <a:lnTo>
                  <a:pt x="7518" y="3247"/>
                </a:lnTo>
                <a:lnTo>
                  <a:pt x="7625" y="3572"/>
                </a:lnTo>
                <a:lnTo>
                  <a:pt x="7733" y="4005"/>
                </a:lnTo>
                <a:lnTo>
                  <a:pt x="7840" y="4330"/>
                </a:lnTo>
                <a:lnTo>
                  <a:pt x="7948" y="4763"/>
                </a:lnTo>
                <a:lnTo>
                  <a:pt x="7948" y="6170"/>
                </a:lnTo>
                <a:lnTo>
                  <a:pt x="7840" y="6711"/>
                </a:lnTo>
                <a:lnTo>
                  <a:pt x="7733" y="7361"/>
                </a:lnTo>
                <a:lnTo>
                  <a:pt x="7625" y="7902"/>
                </a:lnTo>
                <a:lnTo>
                  <a:pt x="7411" y="8443"/>
                </a:lnTo>
                <a:lnTo>
                  <a:pt x="7411" y="10717"/>
                </a:lnTo>
                <a:lnTo>
                  <a:pt x="7948" y="10284"/>
                </a:lnTo>
                <a:close/>
              </a:path>
            </a:pathLst>
          </a:custGeom>
          <a:solidFill>
            <a:srgbClr val="000000"/>
          </a:solidFill>
        </p:spPr>
        <p:txBody>
          <a:bodyPr wrap="square" lIns="0" tIns="0" rIns="0" bIns="0" rtlCol="0">
            <a:noAutofit/>
          </a:bodyPr>
          <a:lstStyle/>
          <a:p>
            <a:endParaRPr/>
          </a:p>
        </p:txBody>
      </p:sp>
      <p:sp>
        <p:nvSpPr>
          <p:cNvPr id="988" name="object 988"/>
          <p:cNvSpPr/>
          <p:nvPr/>
        </p:nvSpPr>
        <p:spPr>
          <a:xfrm>
            <a:off x="3663355" y="2009207"/>
            <a:ext cx="1718" cy="2922"/>
          </a:xfrm>
          <a:custGeom>
            <a:avLst/>
            <a:gdLst/>
            <a:ahLst/>
            <a:cxnLst/>
            <a:rect l="l" t="t" r="r" b="b"/>
            <a:pathLst>
              <a:path w="1718" h="2922">
                <a:moveTo>
                  <a:pt x="1718" y="0"/>
                </a:moveTo>
                <a:lnTo>
                  <a:pt x="1503" y="433"/>
                </a:lnTo>
                <a:lnTo>
                  <a:pt x="1181" y="866"/>
                </a:lnTo>
                <a:lnTo>
                  <a:pt x="859" y="1190"/>
                </a:lnTo>
                <a:lnTo>
                  <a:pt x="429" y="1515"/>
                </a:lnTo>
                <a:lnTo>
                  <a:pt x="0" y="1732"/>
                </a:lnTo>
                <a:lnTo>
                  <a:pt x="644" y="2922"/>
                </a:lnTo>
                <a:lnTo>
                  <a:pt x="1181" y="2706"/>
                </a:lnTo>
                <a:lnTo>
                  <a:pt x="1718" y="2273"/>
                </a:lnTo>
                <a:lnTo>
                  <a:pt x="1718" y="0"/>
                </a:lnTo>
                <a:close/>
              </a:path>
            </a:pathLst>
          </a:custGeom>
          <a:solidFill>
            <a:srgbClr val="000000"/>
          </a:solidFill>
        </p:spPr>
        <p:txBody>
          <a:bodyPr wrap="square" lIns="0" tIns="0" rIns="0" bIns="0" rtlCol="0">
            <a:noAutofit/>
          </a:bodyPr>
          <a:lstStyle/>
          <a:p>
            <a:endParaRPr/>
          </a:p>
        </p:txBody>
      </p:sp>
      <p:sp>
        <p:nvSpPr>
          <p:cNvPr id="989" name="object 989"/>
          <p:cNvSpPr/>
          <p:nvPr/>
        </p:nvSpPr>
        <p:spPr>
          <a:xfrm>
            <a:off x="3670014" y="2004228"/>
            <a:ext cx="322" cy="3247"/>
          </a:xfrm>
          <a:custGeom>
            <a:avLst/>
            <a:gdLst/>
            <a:ahLst/>
            <a:cxnLst/>
            <a:rect l="l" t="t" r="r" b="b"/>
            <a:pathLst>
              <a:path w="322" h="3247">
                <a:moveTo>
                  <a:pt x="0" y="3247"/>
                </a:moveTo>
                <a:lnTo>
                  <a:pt x="0" y="2922"/>
                </a:lnTo>
                <a:lnTo>
                  <a:pt x="107" y="2598"/>
                </a:lnTo>
                <a:lnTo>
                  <a:pt x="214" y="2273"/>
                </a:lnTo>
                <a:lnTo>
                  <a:pt x="322" y="0"/>
                </a:lnTo>
                <a:lnTo>
                  <a:pt x="0" y="216"/>
                </a:lnTo>
                <a:lnTo>
                  <a:pt x="0" y="3247"/>
                </a:lnTo>
                <a:close/>
              </a:path>
            </a:pathLst>
          </a:custGeom>
          <a:solidFill>
            <a:srgbClr val="000000"/>
          </a:solidFill>
        </p:spPr>
        <p:txBody>
          <a:bodyPr wrap="square" lIns="0" tIns="0" rIns="0" bIns="0" rtlCol="0">
            <a:noAutofit/>
          </a:bodyPr>
          <a:lstStyle/>
          <a:p>
            <a:endParaRPr/>
          </a:p>
        </p:txBody>
      </p:sp>
      <p:sp>
        <p:nvSpPr>
          <p:cNvPr id="990" name="object 990"/>
          <p:cNvSpPr/>
          <p:nvPr/>
        </p:nvSpPr>
        <p:spPr>
          <a:xfrm>
            <a:off x="3668511" y="2003470"/>
            <a:ext cx="7733" cy="9093"/>
          </a:xfrm>
          <a:custGeom>
            <a:avLst/>
            <a:gdLst/>
            <a:ahLst/>
            <a:cxnLst/>
            <a:rect l="l" t="t" r="r" b="b"/>
            <a:pathLst>
              <a:path w="7733" h="9093">
                <a:moveTo>
                  <a:pt x="1718" y="8552"/>
                </a:moveTo>
                <a:lnTo>
                  <a:pt x="2040" y="8768"/>
                </a:lnTo>
                <a:lnTo>
                  <a:pt x="2470" y="8876"/>
                </a:lnTo>
                <a:lnTo>
                  <a:pt x="2899" y="8985"/>
                </a:lnTo>
                <a:lnTo>
                  <a:pt x="3329" y="9093"/>
                </a:lnTo>
                <a:lnTo>
                  <a:pt x="4188" y="9093"/>
                </a:lnTo>
                <a:lnTo>
                  <a:pt x="4618" y="8985"/>
                </a:lnTo>
                <a:lnTo>
                  <a:pt x="4940" y="8985"/>
                </a:lnTo>
                <a:lnTo>
                  <a:pt x="5155" y="8876"/>
                </a:lnTo>
                <a:lnTo>
                  <a:pt x="5477" y="8876"/>
                </a:lnTo>
                <a:lnTo>
                  <a:pt x="5692" y="8768"/>
                </a:lnTo>
                <a:lnTo>
                  <a:pt x="5907" y="8660"/>
                </a:lnTo>
                <a:lnTo>
                  <a:pt x="6122" y="8552"/>
                </a:lnTo>
                <a:lnTo>
                  <a:pt x="6444" y="8335"/>
                </a:lnTo>
                <a:lnTo>
                  <a:pt x="6659" y="8010"/>
                </a:lnTo>
                <a:lnTo>
                  <a:pt x="6981" y="7794"/>
                </a:lnTo>
                <a:lnTo>
                  <a:pt x="7196" y="7469"/>
                </a:lnTo>
                <a:lnTo>
                  <a:pt x="7303" y="7036"/>
                </a:lnTo>
                <a:lnTo>
                  <a:pt x="7411" y="6711"/>
                </a:lnTo>
                <a:lnTo>
                  <a:pt x="7518" y="6495"/>
                </a:lnTo>
                <a:lnTo>
                  <a:pt x="7625" y="6278"/>
                </a:lnTo>
                <a:lnTo>
                  <a:pt x="6122" y="6278"/>
                </a:lnTo>
                <a:lnTo>
                  <a:pt x="6014" y="6603"/>
                </a:lnTo>
                <a:lnTo>
                  <a:pt x="5907" y="6928"/>
                </a:lnTo>
                <a:lnTo>
                  <a:pt x="5692" y="7144"/>
                </a:lnTo>
                <a:lnTo>
                  <a:pt x="5477" y="7361"/>
                </a:lnTo>
                <a:lnTo>
                  <a:pt x="5262" y="7469"/>
                </a:lnTo>
                <a:lnTo>
                  <a:pt x="5048" y="7686"/>
                </a:lnTo>
                <a:lnTo>
                  <a:pt x="4833" y="7794"/>
                </a:lnTo>
                <a:lnTo>
                  <a:pt x="4511" y="7794"/>
                </a:lnTo>
                <a:lnTo>
                  <a:pt x="4296" y="7902"/>
                </a:lnTo>
                <a:lnTo>
                  <a:pt x="3436" y="7902"/>
                </a:lnTo>
                <a:lnTo>
                  <a:pt x="2899" y="7686"/>
                </a:lnTo>
                <a:lnTo>
                  <a:pt x="2470" y="7469"/>
                </a:lnTo>
                <a:lnTo>
                  <a:pt x="2148" y="7144"/>
                </a:lnTo>
                <a:lnTo>
                  <a:pt x="1825" y="6820"/>
                </a:lnTo>
                <a:lnTo>
                  <a:pt x="1718" y="6278"/>
                </a:lnTo>
                <a:lnTo>
                  <a:pt x="1503" y="5737"/>
                </a:lnTo>
                <a:lnTo>
                  <a:pt x="1503" y="5087"/>
                </a:lnTo>
                <a:lnTo>
                  <a:pt x="7733" y="5087"/>
                </a:lnTo>
                <a:lnTo>
                  <a:pt x="7733" y="4113"/>
                </a:lnTo>
                <a:lnTo>
                  <a:pt x="7625" y="3680"/>
                </a:lnTo>
                <a:lnTo>
                  <a:pt x="7518" y="3247"/>
                </a:lnTo>
                <a:lnTo>
                  <a:pt x="7411" y="2922"/>
                </a:lnTo>
                <a:lnTo>
                  <a:pt x="7303" y="2489"/>
                </a:lnTo>
                <a:lnTo>
                  <a:pt x="7196" y="2165"/>
                </a:lnTo>
                <a:lnTo>
                  <a:pt x="6981" y="1840"/>
                </a:lnTo>
                <a:lnTo>
                  <a:pt x="6766" y="1623"/>
                </a:lnTo>
                <a:lnTo>
                  <a:pt x="6659" y="1299"/>
                </a:lnTo>
                <a:lnTo>
                  <a:pt x="6444" y="1082"/>
                </a:lnTo>
                <a:lnTo>
                  <a:pt x="6229" y="866"/>
                </a:lnTo>
                <a:lnTo>
                  <a:pt x="6014" y="649"/>
                </a:lnTo>
                <a:lnTo>
                  <a:pt x="5692" y="541"/>
                </a:lnTo>
                <a:lnTo>
                  <a:pt x="5477" y="324"/>
                </a:lnTo>
                <a:lnTo>
                  <a:pt x="5155" y="216"/>
                </a:lnTo>
                <a:lnTo>
                  <a:pt x="4940" y="108"/>
                </a:lnTo>
                <a:lnTo>
                  <a:pt x="4618" y="108"/>
                </a:lnTo>
                <a:lnTo>
                  <a:pt x="4296" y="0"/>
                </a:lnTo>
                <a:lnTo>
                  <a:pt x="3651" y="0"/>
                </a:lnTo>
                <a:lnTo>
                  <a:pt x="3329" y="108"/>
                </a:lnTo>
                <a:lnTo>
                  <a:pt x="2899" y="216"/>
                </a:lnTo>
                <a:lnTo>
                  <a:pt x="2577" y="324"/>
                </a:lnTo>
                <a:lnTo>
                  <a:pt x="2148" y="541"/>
                </a:lnTo>
                <a:lnTo>
                  <a:pt x="1825" y="757"/>
                </a:lnTo>
                <a:lnTo>
                  <a:pt x="1718" y="3031"/>
                </a:lnTo>
                <a:lnTo>
                  <a:pt x="1825" y="2706"/>
                </a:lnTo>
                <a:lnTo>
                  <a:pt x="2040" y="2489"/>
                </a:lnTo>
                <a:lnTo>
                  <a:pt x="2255" y="2273"/>
                </a:lnTo>
                <a:lnTo>
                  <a:pt x="2470" y="2056"/>
                </a:lnTo>
                <a:lnTo>
                  <a:pt x="2685" y="1840"/>
                </a:lnTo>
                <a:lnTo>
                  <a:pt x="3007" y="1623"/>
                </a:lnTo>
                <a:lnTo>
                  <a:pt x="3329" y="1515"/>
                </a:lnTo>
                <a:lnTo>
                  <a:pt x="3544" y="1407"/>
                </a:lnTo>
                <a:lnTo>
                  <a:pt x="3866" y="1407"/>
                </a:lnTo>
                <a:lnTo>
                  <a:pt x="4403" y="1515"/>
                </a:lnTo>
                <a:lnTo>
                  <a:pt x="4940" y="1623"/>
                </a:lnTo>
                <a:lnTo>
                  <a:pt x="5262" y="1840"/>
                </a:lnTo>
                <a:lnTo>
                  <a:pt x="5585" y="2165"/>
                </a:lnTo>
                <a:lnTo>
                  <a:pt x="5907" y="2489"/>
                </a:lnTo>
                <a:lnTo>
                  <a:pt x="6122" y="2922"/>
                </a:lnTo>
                <a:lnTo>
                  <a:pt x="6229" y="3464"/>
                </a:lnTo>
                <a:lnTo>
                  <a:pt x="6229" y="4005"/>
                </a:lnTo>
                <a:lnTo>
                  <a:pt x="1503" y="4005"/>
                </a:lnTo>
                <a:lnTo>
                  <a:pt x="1503" y="974"/>
                </a:lnTo>
                <a:lnTo>
                  <a:pt x="1288" y="1299"/>
                </a:lnTo>
                <a:lnTo>
                  <a:pt x="966" y="1623"/>
                </a:lnTo>
                <a:lnTo>
                  <a:pt x="751" y="1948"/>
                </a:lnTo>
                <a:lnTo>
                  <a:pt x="537" y="2381"/>
                </a:lnTo>
                <a:lnTo>
                  <a:pt x="322" y="2814"/>
                </a:lnTo>
                <a:lnTo>
                  <a:pt x="214" y="3355"/>
                </a:lnTo>
                <a:lnTo>
                  <a:pt x="107" y="3788"/>
                </a:lnTo>
                <a:lnTo>
                  <a:pt x="0" y="4330"/>
                </a:lnTo>
                <a:lnTo>
                  <a:pt x="0" y="4871"/>
                </a:lnTo>
                <a:lnTo>
                  <a:pt x="107" y="5629"/>
                </a:lnTo>
                <a:lnTo>
                  <a:pt x="214" y="6387"/>
                </a:lnTo>
                <a:lnTo>
                  <a:pt x="537" y="7036"/>
                </a:lnTo>
                <a:lnTo>
                  <a:pt x="859" y="7686"/>
                </a:lnTo>
                <a:lnTo>
                  <a:pt x="1074" y="8010"/>
                </a:lnTo>
                <a:lnTo>
                  <a:pt x="1396" y="8335"/>
                </a:lnTo>
                <a:lnTo>
                  <a:pt x="1718" y="8552"/>
                </a:lnTo>
                <a:close/>
              </a:path>
            </a:pathLst>
          </a:custGeom>
          <a:solidFill>
            <a:srgbClr val="000000"/>
          </a:solidFill>
        </p:spPr>
        <p:txBody>
          <a:bodyPr wrap="square" lIns="0" tIns="0" rIns="0" bIns="0" rtlCol="0">
            <a:noAutofit/>
          </a:bodyPr>
          <a:lstStyle/>
          <a:p>
            <a:endParaRPr/>
          </a:p>
        </p:txBody>
      </p:sp>
      <p:sp>
        <p:nvSpPr>
          <p:cNvPr id="991" name="object 991"/>
          <p:cNvSpPr/>
          <p:nvPr/>
        </p:nvSpPr>
        <p:spPr>
          <a:xfrm>
            <a:off x="3677533" y="2003686"/>
            <a:ext cx="6873" cy="8876"/>
          </a:xfrm>
          <a:custGeom>
            <a:avLst/>
            <a:gdLst/>
            <a:ahLst/>
            <a:cxnLst/>
            <a:rect l="l" t="t" r="r" b="b"/>
            <a:pathLst>
              <a:path w="6873" h="8876">
                <a:moveTo>
                  <a:pt x="1288" y="5954"/>
                </a:moveTo>
                <a:lnTo>
                  <a:pt x="0" y="5954"/>
                </a:lnTo>
                <a:lnTo>
                  <a:pt x="0" y="6387"/>
                </a:lnTo>
                <a:lnTo>
                  <a:pt x="107" y="6711"/>
                </a:lnTo>
                <a:lnTo>
                  <a:pt x="214" y="7036"/>
                </a:lnTo>
                <a:lnTo>
                  <a:pt x="322" y="7361"/>
                </a:lnTo>
                <a:lnTo>
                  <a:pt x="429" y="7686"/>
                </a:lnTo>
                <a:lnTo>
                  <a:pt x="644" y="7902"/>
                </a:lnTo>
                <a:lnTo>
                  <a:pt x="966" y="8227"/>
                </a:lnTo>
                <a:lnTo>
                  <a:pt x="1288" y="8443"/>
                </a:lnTo>
                <a:lnTo>
                  <a:pt x="1718" y="8552"/>
                </a:lnTo>
                <a:lnTo>
                  <a:pt x="2255" y="8768"/>
                </a:lnTo>
                <a:lnTo>
                  <a:pt x="2899" y="8876"/>
                </a:lnTo>
                <a:lnTo>
                  <a:pt x="3974" y="8876"/>
                </a:lnTo>
                <a:lnTo>
                  <a:pt x="4403" y="8768"/>
                </a:lnTo>
                <a:lnTo>
                  <a:pt x="4833" y="8768"/>
                </a:lnTo>
                <a:lnTo>
                  <a:pt x="5262" y="8660"/>
                </a:lnTo>
                <a:lnTo>
                  <a:pt x="5585" y="8443"/>
                </a:lnTo>
                <a:lnTo>
                  <a:pt x="5907" y="8227"/>
                </a:lnTo>
                <a:lnTo>
                  <a:pt x="6229" y="8010"/>
                </a:lnTo>
                <a:lnTo>
                  <a:pt x="6444" y="7686"/>
                </a:lnTo>
                <a:lnTo>
                  <a:pt x="6551" y="7361"/>
                </a:lnTo>
                <a:lnTo>
                  <a:pt x="6766" y="6928"/>
                </a:lnTo>
                <a:lnTo>
                  <a:pt x="6873" y="6603"/>
                </a:lnTo>
                <a:lnTo>
                  <a:pt x="6873" y="5845"/>
                </a:lnTo>
                <a:lnTo>
                  <a:pt x="6766" y="5520"/>
                </a:lnTo>
                <a:lnTo>
                  <a:pt x="6659" y="5196"/>
                </a:lnTo>
                <a:lnTo>
                  <a:pt x="6444" y="4979"/>
                </a:lnTo>
                <a:lnTo>
                  <a:pt x="6229" y="4763"/>
                </a:lnTo>
                <a:lnTo>
                  <a:pt x="6014" y="4654"/>
                </a:lnTo>
                <a:lnTo>
                  <a:pt x="5799" y="4438"/>
                </a:lnTo>
                <a:lnTo>
                  <a:pt x="5585" y="4330"/>
                </a:lnTo>
                <a:lnTo>
                  <a:pt x="5262" y="4221"/>
                </a:lnTo>
                <a:lnTo>
                  <a:pt x="4940" y="4005"/>
                </a:lnTo>
                <a:lnTo>
                  <a:pt x="4618" y="3897"/>
                </a:lnTo>
                <a:lnTo>
                  <a:pt x="4296" y="3788"/>
                </a:lnTo>
                <a:lnTo>
                  <a:pt x="3974" y="3680"/>
                </a:lnTo>
                <a:lnTo>
                  <a:pt x="3651" y="3680"/>
                </a:lnTo>
                <a:lnTo>
                  <a:pt x="3329" y="3572"/>
                </a:lnTo>
                <a:lnTo>
                  <a:pt x="3114" y="3572"/>
                </a:lnTo>
                <a:lnTo>
                  <a:pt x="2792" y="3464"/>
                </a:lnTo>
                <a:lnTo>
                  <a:pt x="2577" y="3355"/>
                </a:lnTo>
                <a:lnTo>
                  <a:pt x="2362" y="3355"/>
                </a:lnTo>
                <a:lnTo>
                  <a:pt x="2148" y="3247"/>
                </a:lnTo>
                <a:lnTo>
                  <a:pt x="1933" y="3139"/>
                </a:lnTo>
                <a:lnTo>
                  <a:pt x="1718" y="2922"/>
                </a:lnTo>
                <a:lnTo>
                  <a:pt x="1611" y="2706"/>
                </a:lnTo>
                <a:lnTo>
                  <a:pt x="1503" y="2165"/>
                </a:lnTo>
                <a:lnTo>
                  <a:pt x="1611" y="1948"/>
                </a:lnTo>
                <a:lnTo>
                  <a:pt x="1825" y="1623"/>
                </a:lnTo>
                <a:lnTo>
                  <a:pt x="2040" y="1515"/>
                </a:lnTo>
                <a:lnTo>
                  <a:pt x="2362" y="1407"/>
                </a:lnTo>
                <a:lnTo>
                  <a:pt x="2577" y="1299"/>
                </a:lnTo>
                <a:lnTo>
                  <a:pt x="2792" y="1299"/>
                </a:lnTo>
                <a:lnTo>
                  <a:pt x="3222" y="1190"/>
                </a:lnTo>
                <a:lnTo>
                  <a:pt x="4081" y="1299"/>
                </a:lnTo>
                <a:lnTo>
                  <a:pt x="4725" y="1623"/>
                </a:lnTo>
                <a:lnTo>
                  <a:pt x="5155" y="2056"/>
                </a:lnTo>
                <a:lnTo>
                  <a:pt x="5262" y="2706"/>
                </a:lnTo>
                <a:lnTo>
                  <a:pt x="6551" y="2706"/>
                </a:lnTo>
                <a:lnTo>
                  <a:pt x="6551" y="2165"/>
                </a:lnTo>
                <a:lnTo>
                  <a:pt x="6444" y="1948"/>
                </a:lnTo>
                <a:lnTo>
                  <a:pt x="6336" y="1623"/>
                </a:lnTo>
                <a:lnTo>
                  <a:pt x="6229" y="1299"/>
                </a:lnTo>
                <a:lnTo>
                  <a:pt x="6014" y="974"/>
                </a:lnTo>
                <a:lnTo>
                  <a:pt x="5799" y="757"/>
                </a:lnTo>
                <a:lnTo>
                  <a:pt x="5477" y="433"/>
                </a:lnTo>
                <a:lnTo>
                  <a:pt x="5048" y="216"/>
                </a:lnTo>
                <a:lnTo>
                  <a:pt x="4618" y="108"/>
                </a:lnTo>
                <a:lnTo>
                  <a:pt x="4081" y="0"/>
                </a:lnTo>
                <a:lnTo>
                  <a:pt x="3007" y="0"/>
                </a:lnTo>
                <a:lnTo>
                  <a:pt x="2577" y="108"/>
                </a:lnTo>
                <a:lnTo>
                  <a:pt x="2255" y="108"/>
                </a:lnTo>
                <a:lnTo>
                  <a:pt x="1825" y="216"/>
                </a:lnTo>
                <a:lnTo>
                  <a:pt x="1503" y="433"/>
                </a:lnTo>
                <a:lnTo>
                  <a:pt x="1181" y="649"/>
                </a:lnTo>
                <a:lnTo>
                  <a:pt x="966" y="866"/>
                </a:lnTo>
                <a:lnTo>
                  <a:pt x="751" y="1190"/>
                </a:lnTo>
                <a:lnTo>
                  <a:pt x="537" y="1515"/>
                </a:lnTo>
                <a:lnTo>
                  <a:pt x="429" y="1840"/>
                </a:lnTo>
                <a:lnTo>
                  <a:pt x="322" y="2273"/>
                </a:lnTo>
                <a:lnTo>
                  <a:pt x="322" y="3031"/>
                </a:lnTo>
                <a:lnTo>
                  <a:pt x="429" y="3247"/>
                </a:lnTo>
                <a:lnTo>
                  <a:pt x="537" y="3572"/>
                </a:lnTo>
                <a:lnTo>
                  <a:pt x="644" y="3788"/>
                </a:lnTo>
                <a:lnTo>
                  <a:pt x="859" y="4005"/>
                </a:lnTo>
                <a:lnTo>
                  <a:pt x="966" y="4221"/>
                </a:lnTo>
                <a:lnTo>
                  <a:pt x="1181" y="4330"/>
                </a:lnTo>
                <a:lnTo>
                  <a:pt x="1396" y="4438"/>
                </a:lnTo>
                <a:lnTo>
                  <a:pt x="1611" y="4546"/>
                </a:lnTo>
                <a:lnTo>
                  <a:pt x="1933" y="4654"/>
                </a:lnTo>
                <a:lnTo>
                  <a:pt x="2255" y="4763"/>
                </a:lnTo>
                <a:lnTo>
                  <a:pt x="2577" y="4871"/>
                </a:lnTo>
                <a:lnTo>
                  <a:pt x="2899" y="4979"/>
                </a:lnTo>
                <a:lnTo>
                  <a:pt x="3222" y="4979"/>
                </a:lnTo>
                <a:lnTo>
                  <a:pt x="3544" y="5087"/>
                </a:lnTo>
                <a:lnTo>
                  <a:pt x="3759" y="5196"/>
                </a:lnTo>
                <a:lnTo>
                  <a:pt x="4188" y="5304"/>
                </a:lnTo>
                <a:lnTo>
                  <a:pt x="4618" y="5412"/>
                </a:lnTo>
                <a:lnTo>
                  <a:pt x="4833" y="5520"/>
                </a:lnTo>
                <a:lnTo>
                  <a:pt x="5048" y="5629"/>
                </a:lnTo>
                <a:lnTo>
                  <a:pt x="5262" y="5845"/>
                </a:lnTo>
                <a:lnTo>
                  <a:pt x="5477" y="6170"/>
                </a:lnTo>
                <a:lnTo>
                  <a:pt x="5477" y="6711"/>
                </a:lnTo>
                <a:lnTo>
                  <a:pt x="5370" y="6928"/>
                </a:lnTo>
                <a:lnTo>
                  <a:pt x="5155" y="7144"/>
                </a:lnTo>
                <a:lnTo>
                  <a:pt x="4940" y="7361"/>
                </a:lnTo>
                <a:lnTo>
                  <a:pt x="4618" y="7469"/>
                </a:lnTo>
                <a:lnTo>
                  <a:pt x="4296" y="7577"/>
                </a:lnTo>
                <a:lnTo>
                  <a:pt x="3974" y="7686"/>
                </a:lnTo>
                <a:lnTo>
                  <a:pt x="2899" y="7686"/>
                </a:lnTo>
                <a:lnTo>
                  <a:pt x="2470" y="7577"/>
                </a:lnTo>
                <a:lnTo>
                  <a:pt x="2040" y="7361"/>
                </a:lnTo>
                <a:lnTo>
                  <a:pt x="1825" y="7144"/>
                </a:lnTo>
                <a:lnTo>
                  <a:pt x="1611" y="6928"/>
                </a:lnTo>
                <a:lnTo>
                  <a:pt x="1396" y="6603"/>
                </a:lnTo>
                <a:lnTo>
                  <a:pt x="1288" y="6278"/>
                </a:lnTo>
                <a:lnTo>
                  <a:pt x="1288" y="5954"/>
                </a:lnTo>
                <a:close/>
              </a:path>
            </a:pathLst>
          </a:custGeom>
          <a:solidFill>
            <a:srgbClr val="000000"/>
          </a:solidFill>
        </p:spPr>
        <p:txBody>
          <a:bodyPr wrap="square" lIns="0" tIns="0" rIns="0" bIns="0" rtlCol="0">
            <a:noAutofit/>
          </a:bodyPr>
          <a:lstStyle/>
          <a:p>
            <a:endParaRPr/>
          </a:p>
        </p:txBody>
      </p:sp>
      <p:sp>
        <p:nvSpPr>
          <p:cNvPr id="992" name="object 992"/>
          <p:cNvSpPr/>
          <p:nvPr/>
        </p:nvSpPr>
        <p:spPr>
          <a:xfrm>
            <a:off x="3685480" y="2003686"/>
            <a:ext cx="7196" cy="8876"/>
          </a:xfrm>
          <a:custGeom>
            <a:avLst/>
            <a:gdLst/>
            <a:ahLst/>
            <a:cxnLst/>
            <a:rect l="l" t="t" r="r" b="b"/>
            <a:pathLst>
              <a:path w="7196" h="8876">
                <a:moveTo>
                  <a:pt x="1718" y="6062"/>
                </a:moveTo>
                <a:lnTo>
                  <a:pt x="1611" y="5412"/>
                </a:lnTo>
                <a:lnTo>
                  <a:pt x="1503" y="4763"/>
                </a:lnTo>
                <a:lnTo>
                  <a:pt x="1503" y="4005"/>
                </a:lnTo>
                <a:lnTo>
                  <a:pt x="1611" y="3247"/>
                </a:lnTo>
                <a:lnTo>
                  <a:pt x="1825" y="2706"/>
                </a:lnTo>
                <a:lnTo>
                  <a:pt x="2040" y="2165"/>
                </a:lnTo>
                <a:lnTo>
                  <a:pt x="2362" y="1732"/>
                </a:lnTo>
                <a:lnTo>
                  <a:pt x="2792" y="1515"/>
                </a:lnTo>
                <a:lnTo>
                  <a:pt x="3222" y="1299"/>
                </a:lnTo>
                <a:lnTo>
                  <a:pt x="3759" y="1190"/>
                </a:lnTo>
                <a:lnTo>
                  <a:pt x="4188" y="1190"/>
                </a:lnTo>
                <a:lnTo>
                  <a:pt x="4618" y="1299"/>
                </a:lnTo>
                <a:lnTo>
                  <a:pt x="4940" y="1515"/>
                </a:lnTo>
                <a:lnTo>
                  <a:pt x="5155" y="1623"/>
                </a:lnTo>
                <a:lnTo>
                  <a:pt x="5477" y="1840"/>
                </a:lnTo>
                <a:lnTo>
                  <a:pt x="5692" y="2165"/>
                </a:lnTo>
                <a:lnTo>
                  <a:pt x="5799" y="2598"/>
                </a:lnTo>
                <a:lnTo>
                  <a:pt x="5907" y="3031"/>
                </a:lnTo>
                <a:lnTo>
                  <a:pt x="7196" y="3031"/>
                </a:lnTo>
                <a:lnTo>
                  <a:pt x="7088" y="2489"/>
                </a:lnTo>
                <a:lnTo>
                  <a:pt x="6981" y="1948"/>
                </a:lnTo>
                <a:lnTo>
                  <a:pt x="6766" y="1515"/>
                </a:lnTo>
                <a:lnTo>
                  <a:pt x="6551" y="1190"/>
                </a:lnTo>
                <a:lnTo>
                  <a:pt x="6336" y="866"/>
                </a:lnTo>
                <a:lnTo>
                  <a:pt x="6014" y="649"/>
                </a:lnTo>
                <a:lnTo>
                  <a:pt x="5692" y="433"/>
                </a:lnTo>
                <a:lnTo>
                  <a:pt x="5370" y="216"/>
                </a:lnTo>
                <a:lnTo>
                  <a:pt x="5048" y="108"/>
                </a:lnTo>
                <a:lnTo>
                  <a:pt x="4618" y="0"/>
                </a:lnTo>
                <a:lnTo>
                  <a:pt x="3436" y="0"/>
                </a:lnTo>
                <a:lnTo>
                  <a:pt x="2899" y="108"/>
                </a:lnTo>
                <a:lnTo>
                  <a:pt x="2470" y="216"/>
                </a:lnTo>
                <a:lnTo>
                  <a:pt x="2040" y="433"/>
                </a:lnTo>
                <a:lnTo>
                  <a:pt x="1611" y="649"/>
                </a:lnTo>
                <a:lnTo>
                  <a:pt x="1288" y="974"/>
                </a:lnTo>
                <a:lnTo>
                  <a:pt x="966" y="1299"/>
                </a:lnTo>
                <a:lnTo>
                  <a:pt x="644" y="1732"/>
                </a:lnTo>
                <a:lnTo>
                  <a:pt x="429" y="2165"/>
                </a:lnTo>
                <a:lnTo>
                  <a:pt x="214" y="2598"/>
                </a:lnTo>
                <a:lnTo>
                  <a:pt x="107" y="3139"/>
                </a:lnTo>
                <a:lnTo>
                  <a:pt x="107" y="4330"/>
                </a:lnTo>
                <a:lnTo>
                  <a:pt x="0" y="4546"/>
                </a:lnTo>
                <a:lnTo>
                  <a:pt x="0" y="5196"/>
                </a:lnTo>
                <a:lnTo>
                  <a:pt x="107" y="5845"/>
                </a:lnTo>
                <a:lnTo>
                  <a:pt x="322" y="6387"/>
                </a:lnTo>
                <a:lnTo>
                  <a:pt x="429" y="6820"/>
                </a:lnTo>
                <a:lnTo>
                  <a:pt x="644" y="7253"/>
                </a:lnTo>
                <a:lnTo>
                  <a:pt x="966" y="7577"/>
                </a:lnTo>
                <a:lnTo>
                  <a:pt x="1181" y="7902"/>
                </a:lnTo>
                <a:lnTo>
                  <a:pt x="1396" y="8227"/>
                </a:lnTo>
                <a:lnTo>
                  <a:pt x="1718" y="8335"/>
                </a:lnTo>
                <a:lnTo>
                  <a:pt x="2040" y="8552"/>
                </a:lnTo>
                <a:lnTo>
                  <a:pt x="2362" y="8660"/>
                </a:lnTo>
                <a:lnTo>
                  <a:pt x="2577" y="8660"/>
                </a:lnTo>
                <a:lnTo>
                  <a:pt x="2899" y="8768"/>
                </a:lnTo>
                <a:lnTo>
                  <a:pt x="3222" y="8768"/>
                </a:lnTo>
                <a:lnTo>
                  <a:pt x="3544" y="8876"/>
                </a:lnTo>
                <a:lnTo>
                  <a:pt x="4188" y="8876"/>
                </a:lnTo>
                <a:lnTo>
                  <a:pt x="4618" y="8768"/>
                </a:lnTo>
                <a:lnTo>
                  <a:pt x="5048" y="8660"/>
                </a:lnTo>
                <a:lnTo>
                  <a:pt x="5477" y="8552"/>
                </a:lnTo>
                <a:lnTo>
                  <a:pt x="5799" y="8335"/>
                </a:lnTo>
                <a:lnTo>
                  <a:pt x="6122" y="8119"/>
                </a:lnTo>
                <a:lnTo>
                  <a:pt x="6444" y="7794"/>
                </a:lnTo>
                <a:lnTo>
                  <a:pt x="6659" y="7469"/>
                </a:lnTo>
                <a:lnTo>
                  <a:pt x="6766" y="7036"/>
                </a:lnTo>
                <a:lnTo>
                  <a:pt x="6981" y="6603"/>
                </a:lnTo>
                <a:lnTo>
                  <a:pt x="7088" y="6170"/>
                </a:lnTo>
                <a:lnTo>
                  <a:pt x="7196" y="5737"/>
                </a:lnTo>
                <a:lnTo>
                  <a:pt x="5799" y="5737"/>
                </a:lnTo>
                <a:lnTo>
                  <a:pt x="5692" y="6170"/>
                </a:lnTo>
                <a:lnTo>
                  <a:pt x="5585" y="6495"/>
                </a:lnTo>
                <a:lnTo>
                  <a:pt x="5370" y="6820"/>
                </a:lnTo>
                <a:lnTo>
                  <a:pt x="5155" y="7144"/>
                </a:lnTo>
                <a:lnTo>
                  <a:pt x="4833" y="7361"/>
                </a:lnTo>
                <a:lnTo>
                  <a:pt x="4511" y="7577"/>
                </a:lnTo>
                <a:lnTo>
                  <a:pt x="4188" y="7686"/>
                </a:lnTo>
                <a:lnTo>
                  <a:pt x="3329" y="7686"/>
                </a:lnTo>
                <a:lnTo>
                  <a:pt x="2899" y="7469"/>
                </a:lnTo>
                <a:lnTo>
                  <a:pt x="2470" y="7361"/>
                </a:lnTo>
                <a:lnTo>
                  <a:pt x="2148" y="7036"/>
                </a:lnTo>
                <a:lnTo>
                  <a:pt x="1933" y="6603"/>
                </a:lnTo>
                <a:lnTo>
                  <a:pt x="1718" y="6062"/>
                </a:lnTo>
                <a:close/>
              </a:path>
            </a:pathLst>
          </a:custGeom>
          <a:solidFill>
            <a:srgbClr val="000000"/>
          </a:solidFill>
        </p:spPr>
        <p:txBody>
          <a:bodyPr wrap="square" lIns="0" tIns="0" rIns="0" bIns="0" rtlCol="0">
            <a:noAutofit/>
          </a:bodyPr>
          <a:lstStyle/>
          <a:p>
            <a:endParaRPr/>
          </a:p>
        </p:txBody>
      </p:sp>
      <p:sp>
        <p:nvSpPr>
          <p:cNvPr id="993" name="object 993"/>
          <p:cNvSpPr/>
          <p:nvPr/>
        </p:nvSpPr>
        <p:spPr>
          <a:xfrm>
            <a:off x="3694073" y="2001575"/>
            <a:ext cx="1396" cy="0"/>
          </a:xfrm>
          <a:custGeom>
            <a:avLst/>
            <a:gdLst/>
            <a:ahLst/>
            <a:cxnLst/>
            <a:rect l="l" t="t" r="r" b="b"/>
            <a:pathLst>
              <a:path w="1396">
                <a:moveTo>
                  <a:pt x="0" y="0"/>
                </a:moveTo>
                <a:lnTo>
                  <a:pt x="1396" y="0"/>
                </a:lnTo>
              </a:path>
            </a:pathLst>
          </a:custGeom>
          <a:ln w="2893">
            <a:solidFill>
              <a:srgbClr val="000000"/>
            </a:solidFill>
          </a:ln>
        </p:spPr>
        <p:txBody>
          <a:bodyPr wrap="square" lIns="0" tIns="0" rIns="0" bIns="0" rtlCol="0">
            <a:noAutofit/>
          </a:bodyPr>
          <a:lstStyle/>
          <a:p>
            <a:endParaRPr/>
          </a:p>
        </p:txBody>
      </p:sp>
      <p:sp>
        <p:nvSpPr>
          <p:cNvPr id="994" name="object 994"/>
          <p:cNvSpPr/>
          <p:nvPr/>
        </p:nvSpPr>
        <p:spPr>
          <a:xfrm>
            <a:off x="3694073" y="2008124"/>
            <a:ext cx="1396" cy="0"/>
          </a:xfrm>
          <a:custGeom>
            <a:avLst/>
            <a:gdLst/>
            <a:ahLst/>
            <a:cxnLst/>
            <a:rect l="l" t="t" r="r" b="b"/>
            <a:pathLst>
              <a:path w="1396">
                <a:moveTo>
                  <a:pt x="0" y="0"/>
                </a:moveTo>
                <a:lnTo>
                  <a:pt x="1396" y="0"/>
                </a:lnTo>
              </a:path>
            </a:pathLst>
          </a:custGeom>
          <a:ln w="9713">
            <a:solidFill>
              <a:srgbClr val="000000"/>
            </a:solidFill>
          </a:ln>
        </p:spPr>
        <p:txBody>
          <a:bodyPr wrap="square" lIns="0" tIns="0" rIns="0" bIns="0" rtlCol="0">
            <a:noAutofit/>
          </a:bodyPr>
          <a:lstStyle/>
          <a:p>
            <a:endParaRPr/>
          </a:p>
        </p:txBody>
      </p:sp>
      <p:sp>
        <p:nvSpPr>
          <p:cNvPr id="995" name="object 995"/>
          <p:cNvSpPr/>
          <p:nvPr/>
        </p:nvSpPr>
        <p:spPr>
          <a:xfrm>
            <a:off x="3698906" y="2009857"/>
            <a:ext cx="966" cy="2381"/>
          </a:xfrm>
          <a:custGeom>
            <a:avLst/>
            <a:gdLst/>
            <a:ahLst/>
            <a:cxnLst/>
            <a:rect l="l" t="t" r="r" b="b"/>
            <a:pathLst>
              <a:path w="966" h="2381">
                <a:moveTo>
                  <a:pt x="107" y="0"/>
                </a:moveTo>
                <a:lnTo>
                  <a:pt x="0" y="1623"/>
                </a:lnTo>
                <a:lnTo>
                  <a:pt x="214" y="1948"/>
                </a:lnTo>
                <a:lnTo>
                  <a:pt x="537" y="2165"/>
                </a:lnTo>
                <a:lnTo>
                  <a:pt x="751" y="2381"/>
                </a:lnTo>
                <a:lnTo>
                  <a:pt x="966" y="1190"/>
                </a:lnTo>
                <a:lnTo>
                  <a:pt x="644" y="866"/>
                </a:lnTo>
                <a:lnTo>
                  <a:pt x="322" y="433"/>
                </a:lnTo>
                <a:lnTo>
                  <a:pt x="107" y="0"/>
                </a:lnTo>
                <a:close/>
              </a:path>
            </a:pathLst>
          </a:custGeom>
          <a:solidFill>
            <a:srgbClr val="000000"/>
          </a:solidFill>
        </p:spPr>
        <p:txBody>
          <a:bodyPr wrap="square" lIns="0" tIns="0" rIns="0" bIns="0" rtlCol="0">
            <a:noAutofit/>
          </a:bodyPr>
          <a:lstStyle/>
          <a:p>
            <a:endParaRPr/>
          </a:p>
        </p:txBody>
      </p:sp>
      <p:sp>
        <p:nvSpPr>
          <p:cNvPr id="996" name="object 996"/>
          <p:cNvSpPr/>
          <p:nvPr/>
        </p:nvSpPr>
        <p:spPr>
          <a:xfrm>
            <a:off x="3705780" y="2001521"/>
            <a:ext cx="3866" cy="11150"/>
          </a:xfrm>
          <a:custGeom>
            <a:avLst/>
            <a:gdLst/>
            <a:ahLst/>
            <a:cxnLst/>
            <a:rect l="l" t="t" r="r" b="b"/>
            <a:pathLst>
              <a:path w="3866" h="11150">
                <a:moveTo>
                  <a:pt x="2470" y="2381"/>
                </a:moveTo>
                <a:lnTo>
                  <a:pt x="2470" y="0"/>
                </a:lnTo>
                <a:lnTo>
                  <a:pt x="1074" y="0"/>
                </a:lnTo>
                <a:lnTo>
                  <a:pt x="1074" y="2381"/>
                </a:lnTo>
                <a:lnTo>
                  <a:pt x="0" y="2381"/>
                </a:lnTo>
                <a:lnTo>
                  <a:pt x="0" y="3788"/>
                </a:lnTo>
                <a:lnTo>
                  <a:pt x="1074" y="3788"/>
                </a:lnTo>
                <a:lnTo>
                  <a:pt x="1074" y="9959"/>
                </a:lnTo>
                <a:lnTo>
                  <a:pt x="1181" y="10284"/>
                </a:lnTo>
                <a:lnTo>
                  <a:pt x="1288" y="10500"/>
                </a:lnTo>
                <a:lnTo>
                  <a:pt x="1396" y="10717"/>
                </a:lnTo>
                <a:lnTo>
                  <a:pt x="1611" y="10825"/>
                </a:lnTo>
                <a:lnTo>
                  <a:pt x="1825" y="10933"/>
                </a:lnTo>
                <a:lnTo>
                  <a:pt x="2148" y="11041"/>
                </a:lnTo>
                <a:lnTo>
                  <a:pt x="2470" y="11150"/>
                </a:lnTo>
                <a:lnTo>
                  <a:pt x="3544" y="11150"/>
                </a:lnTo>
                <a:lnTo>
                  <a:pt x="3866" y="11041"/>
                </a:lnTo>
                <a:lnTo>
                  <a:pt x="3866" y="9851"/>
                </a:lnTo>
                <a:lnTo>
                  <a:pt x="3329" y="9851"/>
                </a:lnTo>
                <a:lnTo>
                  <a:pt x="3114" y="9959"/>
                </a:lnTo>
                <a:lnTo>
                  <a:pt x="2792" y="9851"/>
                </a:lnTo>
                <a:lnTo>
                  <a:pt x="2577" y="9634"/>
                </a:lnTo>
                <a:lnTo>
                  <a:pt x="2470" y="9309"/>
                </a:lnTo>
                <a:lnTo>
                  <a:pt x="2470" y="3788"/>
                </a:lnTo>
                <a:lnTo>
                  <a:pt x="3866" y="3788"/>
                </a:lnTo>
                <a:lnTo>
                  <a:pt x="3866" y="2381"/>
                </a:lnTo>
                <a:lnTo>
                  <a:pt x="2470" y="2381"/>
                </a:lnTo>
                <a:close/>
              </a:path>
            </a:pathLst>
          </a:custGeom>
          <a:solidFill>
            <a:srgbClr val="000000"/>
          </a:solidFill>
        </p:spPr>
        <p:txBody>
          <a:bodyPr wrap="square" lIns="0" tIns="0" rIns="0" bIns="0" rtlCol="0">
            <a:noAutofit/>
          </a:bodyPr>
          <a:lstStyle/>
          <a:p>
            <a:endParaRPr/>
          </a:p>
        </p:txBody>
      </p:sp>
      <p:sp>
        <p:nvSpPr>
          <p:cNvPr id="997" name="object 997"/>
          <p:cNvSpPr/>
          <p:nvPr/>
        </p:nvSpPr>
        <p:spPr>
          <a:xfrm>
            <a:off x="3339957" y="2003686"/>
            <a:ext cx="6873" cy="8660"/>
          </a:xfrm>
          <a:custGeom>
            <a:avLst/>
            <a:gdLst/>
            <a:ahLst/>
            <a:cxnLst/>
            <a:rect l="l" t="t" r="r" b="b"/>
            <a:pathLst>
              <a:path w="6873" h="8660">
                <a:moveTo>
                  <a:pt x="1396" y="8660"/>
                </a:moveTo>
                <a:lnTo>
                  <a:pt x="1396" y="3464"/>
                </a:lnTo>
                <a:lnTo>
                  <a:pt x="1503" y="3139"/>
                </a:lnTo>
                <a:lnTo>
                  <a:pt x="1611" y="2814"/>
                </a:lnTo>
                <a:lnTo>
                  <a:pt x="1718" y="2489"/>
                </a:lnTo>
                <a:lnTo>
                  <a:pt x="1825" y="2165"/>
                </a:lnTo>
                <a:lnTo>
                  <a:pt x="2040" y="1948"/>
                </a:lnTo>
                <a:lnTo>
                  <a:pt x="2255" y="1732"/>
                </a:lnTo>
                <a:lnTo>
                  <a:pt x="2577" y="1515"/>
                </a:lnTo>
                <a:lnTo>
                  <a:pt x="2792" y="1407"/>
                </a:lnTo>
                <a:lnTo>
                  <a:pt x="3114" y="1299"/>
                </a:lnTo>
                <a:lnTo>
                  <a:pt x="3436" y="1190"/>
                </a:lnTo>
                <a:lnTo>
                  <a:pt x="4296" y="1190"/>
                </a:lnTo>
                <a:lnTo>
                  <a:pt x="4725" y="1299"/>
                </a:lnTo>
                <a:lnTo>
                  <a:pt x="4940" y="1515"/>
                </a:lnTo>
                <a:lnTo>
                  <a:pt x="5155" y="1840"/>
                </a:lnTo>
                <a:lnTo>
                  <a:pt x="5262" y="2165"/>
                </a:lnTo>
                <a:lnTo>
                  <a:pt x="5370" y="2489"/>
                </a:lnTo>
                <a:lnTo>
                  <a:pt x="5477" y="2922"/>
                </a:lnTo>
                <a:lnTo>
                  <a:pt x="5477" y="8660"/>
                </a:lnTo>
                <a:lnTo>
                  <a:pt x="6873" y="8660"/>
                </a:lnTo>
                <a:lnTo>
                  <a:pt x="6873" y="2489"/>
                </a:lnTo>
                <a:lnTo>
                  <a:pt x="6766" y="2056"/>
                </a:lnTo>
                <a:lnTo>
                  <a:pt x="6659" y="1623"/>
                </a:lnTo>
                <a:lnTo>
                  <a:pt x="6551" y="1299"/>
                </a:lnTo>
                <a:lnTo>
                  <a:pt x="6336" y="974"/>
                </a:lnTo>
                <a:lnTo>
                  <a:pt x="6122" y="757"/>
                </a:lnTo>
                <a:lnTo>
                  <a:pt x="5907" y="541"/>
                </a:lnTo>
                <a:lnTo>
                  <a:pt x="5585" y="324"/>
                </a:lnTo>
                <a:lnTo>
                  <a:pt x="5262" y="216"/>
                </a:lnTo>
                <a:lnTo>
                  <a:pt x="4833" y="108"/>
                </a:lnTo>
                <a:lnTo>
                  <a:pt x="4403" y="0"/>
                </a:lnTo>
                <a:lnTo>
                  <a:pt x="3544" y="0"/>
                </a:lnTo>
                <a:lnTo>
                  <a:pt x="3222" y="108"/>
                </a:lnTo>
                <a:lnTo>
                  <a:pt x="2899" y="108"/>
                </a:lnTo>
                <a:lnTo>
                  <a:pt x="2685" y="216"/>
                </a:lnTo>
                <a:lnTo>
                  <a:pt x="2362" y="324"/>
                </a:lnTo>
                <a:lnTo>
                  <a:pt x="2148" y="541"/>
                </a:lnTo>
                <a:lnTo>
                  <a:pt x="1933" y="649"/>
                </a:lnTo>
                <a:lnTo>
                  <a:pt x="1718" y="866"/>
                </a:lnTo>
                <a:lnTo>
                  <a:pt x="1503" y="1190"/>
                </a:lnTo>
                <a:lnTo>
                  <a:pt x="1288" y="1407"/>
                </a:lnTo>
                <a:lnTo>
                  <a:pt x="1288" y="216"/>
                </a:lnTo>
                <a:lnTo>
                  <a:pt x="0" y="216"/>
                </a:lnTo>
                <a:lnTo>
                  <a:pt x="0" y="8660"/>
                </a:lnTo>
                <a:lnTo>
                  <a:pt x="1396" y="8660"/>
                </a:lnTo>
                <a:close/>
              </a:path>
            </a:pathLst>
          </a:custGeom>
          <a:solidFill>
            <a:srgbClr val="000000"/>
          </a:solidFill>
        </p:spPr>
        <p:txBody>
          <a:bodyPr wrap="square" lIns="0" tIns="0" rIns="0" bIns="0" rtlCol="0">
            <a:noAutofit/>
          </a:bodyPr>
          <a:lstStyle/>
          <a:p>
            <a:endParaRPr/>
          </a:p>
        </p:txBody>
      </p:sp>
      <p:sp>
        <p:nvSpPr>
          <p:cNvPr id="998" name="object 998"/>
          <p:cNvSpPr/>
          <p:nvPr/>
        </p:nvSpPr>
        <p:spPr>
          <a:xfrm>
            <a:off x="3330397" y="2003686"/>
            <a:ext cx="8055" cy="8876"/>
          </a:xfrm>
          <a:custGeom>
            <a:avLst/>
            <a:gdLst/>
            <a:ahLst/>
            <a:cxnLst/>
            <a:rect l="l" t="t" r="r" b="b"/>
            <a:pathLst>
              <a:path w="8055" h="8876">
                <a:moveTo>
                  <a:pt x="7411" y="7794"/>
                </a:moveTo>
                <a:lnTo>
                  <a:pt x="7196" y="7686"/>
                </a:lnTo>
                <a:lnTo>
                  <a:pt x="7088" y="7469"/>
                </a:lnTo>
                <a:lnTo>
                  <a:pt x="7088" y="1840"/>
                </a:lnTo>
                <a:lnTo>
                  <a:pt x="6981" y="1515"/>
                </a:lnTo>
                <a:lnTo>
                  <a:pt x="6766" y="1190"/>
                </a:lnTo>
                <a:lnTo>
                  <a:pt x="6659" y="974"/>
                </a:lnTo>
                <a:lnTo>
                  <a:pt x="6444" y="649"/>
                </a:lnTo>
                <a:lnTo>
                  <a:pt x="6122" y="433"/>
                </a:lnTo>
                <a:lnTo>
                  <a:pt x="5799" y="324"/>
                </a:lnTo>
                <a:lnTo>
                  <a:pt x="5477" y="216"/>
                </a:lnTo>
                <a:lnTo>
                  <a:pt x="5048" y="108"/>
                </a:lnTo>
                <a:lnTo>
                  <a:pt x="4725" y="0"/>
                </a:lnTo>
                <a:lnTo>
                  <a:pt x="3329" y="0"/>
                </a:lnTo>
                <a:lnTo>
                  <a:pt x="2792" y="108"/>
                </a:lnTo>
                <a:lnTo>
                  <a:pt x="2362" y="216"/>
                </a:lnTo>
                <a:lnTo>
                  <a:pt x="1933" y="324"/>
                </a:lnTo>
                <a:lnTo>
                  <a:pt x="1611" y="541"/>
                </a:lnTo>
                <a:lnTo>
                  <a:pt x="1288" y="866"/>
                </a:lnTo>
                <a:lnTo>
                  <a:pt x="1074" y="1082"/>
                </a:lnTo>
                <a:lnTo>
                  <a:pt x="859" y="1407"/>
                </a:lnTo>
                <a:lnTo>
                  <a:pt x="751" y="1732"/>
                </a:lnTo>
                <a:lnTo>
                  <a:pt x="644" y="2056"/>
                </a:lnTo>
                <a:lnTo>
                  <a:pt x="537" y="2381"/>
                </a:lnTo>
                <a:lnTo>
                  <a:pt x="537" y="2814"/>
                </a:lnTo>
                <a:lnTo>
                  <a:pt x="1825" y="2814"/>
                </a:lnTo>
                <a:lnTo>
                  <a:pt x="2040" y="2056"/>
                </a:lnTo>
                <a:lnTo>
                  <a:pt x="2362" y="1515"/>
                </a:lnTo>
                <a:lnTo>
                  <a:pt x="3007" y="1190"/>
                </a:lnTo>
                <a:lnTo>
                  <a:pt x="3759" y="1082"/>
                </a:lnTo>
                <a:lnTo>
                  <a:pt x="4618" y="1190"/>
                </a:lnTo>
                <a:lnTo>
                  <a:pt x="5262" y="1515"/>
                </a:lnTo>
                <a:lnTo>
                  <a:pt x="5585" y="1948"/>
                </a:lnTo>
                <a:lnTo>
                  <a:pt x="5692" y="2598"/>
                </a:lnTo>
                <a:lnTo>
                  <a:pt x="5692" y="2814"/>
                </a:lnTo>
                <a:lnTo>
                  <a:pt x="5585" y="3031"/>
                </a:lnTo>
                <a:lnTo>
                  <a:pt x="5477" y="3355"/>
                </a:lnTo>
                <a:lnTo>
                  <a:pt x="5262" y="3464"/>
                </a:lnTo>
                <a:lnTo>
                  <a:pt x="4940" y="3572"/>
                </a:lnTo>
                <a:lnTo>
                  <a:pt x="4725" y="3572"/>
                </a:lnTo>
                <a:lnTo>
                  <a:pt x="4511" y="3680"/>
                </a:lnTo>
                <a:lnTo>
                  <a:pt x="3222" y="3680"/>
                </a:lnTo>
                <a:lnTo>
                  <a:pt x="3007" y="3788"/>
                </a:lnTo>
                <a:lnTo>
                  <a:pt x="2470" y="3897"/>
                </a:lnTo>
                <a:lnTo>
                  <a:pt x="1933" y="4005"/>
                </a:lnTo>
                <a:lnTo>
                  <a:pt x="1503" y="4221"/>
                </a:lnTo>
                <a:lnTo>
                  <a:pt x="1181" y="4330"/>
                </a:lnTo>
                <a:lnTo>
                  <a:pt x="966" y="4546"/>
                </a:lnTo>
                <a:lnTo>
                  <a:pt x="751" y="4763"/>
                </a:lnTo>
                <a:lnTo>
                  <a:pt x="537" y="4979"/>
                </a:lnTo>
                <a:lnTo>
                  <a:pt x="322" y="5196"/>
                </a:lnTo>
                <a:lnTo>
                  <a:pt x="214" y="5412"/>
                </a:lnTo>
                <a:lnTo>
                  <a:pt x="214" y="5737"/>
                </a:lnTo>
                <a:lnTo>
                  <a:pt x="107" y="6062"/>
                </a:lnTo>
                <a:lnTo>
                  <a:pt x="107" y="6495"/>
                </a:lnTo>
                <a:lnTo>
                  <a:pt x="107" y="6820"/>
                </a:lnTo>
                <a:lnTo>
                  <a:pt x="214" y="7144"/>
                </a:lnTo>
                <a:lnTo>
                  <a:pt x="322" y="7469"/>
                </a:lnTo>
                <a:lnTo>
                  <a:pt x="429" y="7686"/>
                </a:lnTo>
                <a:lnTo>
                  <a:pt x="644" y="8010"/>
                </a:lnTo>
                <a:lnTo>
                  <a:pt x="859" y="8227"/>
                </a:lnTo>
                <a:lnTo>
                  <a:pt x="1074" y="8443"/>
                </a:lnTo>
                <a:lnTo>
                  <a:pt x="1396" y="8660"/>
                </a:lnTo>
                <a:lnTo>
                  <a:pt x="1718" y="8768"/>
                </a:lnTo>
                <a:lnTo>
                  <a:pt x="1611" y="7036"/>
                </a:lnTo>
                <a:lnTo>
                  <a:pt x="1503" y="6495"/>
                </a:lnTo>
                <a:lnTo>
                  <a:pt x="1503" y="6170"/>
                </a:lnTo>
                <a:lnTo>
                  <a:pt x="1611" y="5954"/>
                </a:lnTo>
                <a:lnTo>
                  <a:pt x="1825" y="5737"/>
                </a:lnTo>
                <a:lnTo>
                  <a:pt x="2040" y="5520"/>
                </a:lnTo>
                <a:lnTo>
                  <a:pt x="2362" y="5304"/>
                </a:lnTo>
                <a:lnTo>
                  <a:pt x="2685" y="5196"/>
                </a:lnTo>
                <a:lnTo>
                  <a:pt x="3007" y="5087"/>
                </a:lnTo>
                <a:lnTo>
                  <a:pt x="3436" y="4979"/>
                </a:lnTo>
                <a:lnTo>
                  <a:pt x="3866" y="4871"/>
                </a:lnTo>
                <a:lnTo>
                  <a:pt x="4296" y="4763"/>
                </a:lnTo>
                <a:lnTo>
                  <a:pt x="4618" y="4763"/>
                </a:lnTo>
                <a:lnTo>
                  <a:pt x="4940" y="4654"/>
                </a:lnTo>
                <a:lnTo>
                  <a:pt x="5262" y="4546"/>
                </a:lnTo>
                <a:lnTo>
                  <a:pt x="5477" y="4438"/>
                </a:lnTo>
                <a:lnTo>
                  <a:pt x="5692" y="4330"/>
                </a:lnTo>
                <a:lnTo>
                  <a:pt x="5692" y="6170"/>
                </a:lnTo>
                <a:lnTo>
                  <a:pt x="5585" y="6387"/>
                </a:lnTo>
                <a:lnTo>
                  <a:pt x="5477" y="6711"/>
                </a:lnTo>
                <a:lnTo>
                  <a:pt x="5262" y="6928"/>
                </a:lnTo>
                <a:lnTo>
                  <a:pt x="5048" y="7036"/>
                </a:lnTo>
                <a:lnTo>
                  <a:pt x="4725" y="7253"/>
                </a:lnTo>
                <a:lnTo>
                  <a:pt x="4511" y="7361"/>
                </a:lnTo>
                <a:lnTo>
                  <a:pt x="4188" y="7577"/>
                </a:lnTo>
                <a:lnTo>
                  <a:pt x="3974" y="7686"/>
                </a:lnTo>
                <a:lnTo>
                  <a:pt x="3651" y="7686"/>
                </a:lnTo>
                <a:lnTo>
                  <a:pt x="3329" y="7794"/>
                </a:lnTo>
                <a:lnTo>
                  <a:pt x="3007" y="7794"/>
                </a:lnTo>
                <a:lnTo>
                  <a:pt x="2470" y="7686"/>
                </a:lnTo>
                <a:lnTo>
                  <a:pt x="2040" y="8768"/>
                </a:lnTo>
                <a:lnTo>
                  <a:pt x="2362" y="8876"/>
                </a:lnTo>
                <a:lnTo>
                  <a:pt x="2792" y="8876"/>
                </a:lnTo>
                <a:lnTo>
                  <a:pt x="3651" y="8768"/>
                </a:lnTo>
                <a:lnTo>
                  <a:pt x="4403" y="8552"/>
                </a:lnTo>
                <a:lnTo>
                  <a:pt x="5155" y="8119"/>
                </a:lnTo>
                <a:lnTo>
                  <a:pt x="5799" y="7577"/>
                </a:lnTo>
                <a:lnTo>
                  <a:pt x="5907" y="8119"/>
                </a:lnTo>
                <a:lnTo>
                  <a:pt x="6122" y="8443"/>
                </a:lnTo>
                <a:lnTo>
                  <a:pt x="6551" y="8660"/>
                </a:lnTo>
                <a:lnTo>
                  <a:pt x="7088" y="8768"/>
                </a:lnTo>
                <a:lnTo>
                  <a:pt x="7411" y="8768"/>
                </a:lnTo>
                <a:lnTo>
                  <a:pt x="7625" y="8660"/>
                </a:lnTo>
                <a:lnTo>
                  <a:pt x="8055" y="8660"/>
                </a:lnTo>
                <a:lnTo>
                  <a:pt x="8055" y="7686"/>
                </a:lnTo>
                <a:lnTo>
                  <a:pt x="7625" y="7686"/>
                </a:lnTo>
                <a:lnTo>
                  <a:pt x="7411" y="7794"/>
                </a:lnTo>
                <a:close/>
              </a:path>
            </a:pathLst>
          </a:custGeom>
          <a:solidFill>
            <a:srgbClr val="000000"/>
          </a:solidFill>
        </p:spPr>
        <p:txBody>
          <a:bodyPr wrap="square" lIns="0" tIns="0" rIns="0" bIns="0" rtlCol="0">
            <a:noAutofit/>
          </a:bodyPr>
          <a:lstStyle/>
          <a:p>
            <a:endParaRPr/>
          </a:p>
        </p:txBody>
      </p:sp>
      <p:sp>
        <p:nvSpPr>
          <p:cNvPr id="999" name="object 999"/>
          <p:cNvSpPr/>
          <p:nvPr/>
        </p:nvSpPr>
        <p:spPr>
          <a:xfrm>
            <a:off x="3332009" y="2010722"/>
            <a:ext cx="859" cy="1732"/>
          </a:xfrm>
          <a:custGeom>
            <a:avLst/>
            <a:gdLst/>
            <a:ahLst/>
            <a:cxnLst/>
            <a:rect l="l" t="t" r="r" b="b"/>
            <a:pathLst>
              <a:path w="859" h="1732">
                <a:moveTo>
                  <a:pt x="322" y="433"/>
                </a:moveTo>
                <a:lnTo>
                  <a:pt x="0" y="0"/>
                </a:lnTo>
                <a:lnTo>
                  <a:pt x="107" y="1732"/>
                </a:lnTo>
                <a:lnTo>
                  <a:pt x="429" y="1732"/>
                </a:lnTo>
                <a:lnTo>
                  <a:pt x="859" y="649"/>
                </a:lnTo>
                <a:lnTo>
                  <a:pt x="322" y="433"/>
                </a:lnTo>
                <a:close/>
              </a:path>
            </a:pathLst>
          </a:custGeom>
          <a:solidFill>
            <a:srgbClr val="000000"/>
          </a:solidFill>
        </p:spPr>
        <p:txBody>
          <a:bodyPr wrap="square" lIns="0" tIns="0" rIns="0" bIns="0" rtlCol="0">
            <a:noAutofit/>
          </a:bodyPr>
          <a:lstStyle/>
          <a:p>
            <a:endParaRPr/>
          </a:p>
        </p:txBody>
      </p:sp>
      <p:sp>
        <p:nvSpPr>
          <p:cNvPr id="1000" name="object 1000"/>
          <p:cNvSpPr/>
          <p:nvPr/>
        </p:nvSpPr>
        <p:spPr>
          <a:xfrm>
            <a:off x="3348118" y="2001521"/>
            <a:ext cx="3866" cy="11150"/>
          </a:xfrm>
          <a:custGeom>
            <a:avLst/>
            <a:gdLst/>
            <a:ahLst/>
            <a:cxnLst/>
            <a:rect l="l" t="t" r="r" b="b"/>
            <a:pathLst>
              <a:path w="3866" h="11150">
                <a:moveTo>
                  <a:pt x="2470" y="2381"/>
                </a:moveTo>
                <a:lnTo>
                  <a:pt x="2470" y="0"/>
                </a:lnTo>
                <a:lnTo>
                  <a:pt x="1074" y="0"/>
                </a:lnTo>
                <a:lnTo>
                  <a:pt x="1074" y="2381"/>
                </a:lnTo>
                <a:lnTo>
                  <a:pt x="0" y="2381"/>
                </a:lnTo>
                <a:lnTo>
                  <a:pt x="0" y="3788"/>
                </a:lnTo>
                <a:lnTo>
                  <a:pt x="1074" y="3788"/>
                </a:lnTo>
                <a:lnTo>
                  <a:pt x="1074" y="9959"/>
                </a:lnTo>
                <a:lnTo>
                  <a:pt x="1181" y="10284"/>
                </a:lnTo>
                <a:lnTo>
                  <a:pt x="1288" y="10500"/>
                </a:lnTo>
                <a:lnTo>
                  <a:pt x="1396" y="10717"/>
                </a:lnTo>
                <a:lnTo>
                  <a:pt x="1611" y="10825"/>
                </a:lnTo>
                <a:lnTo>
                  <a:pt x="1825" y="10933"/>
                </a:lnTo>
                <a:lnTo>
                  <a:pt x="2148" y="11041"/>
                </a:lnTo>
                <a:lnTo>
                  <a:pt x="2470" y="11150"/>
                </a:lnTo>
                <a:lnTo>
                  <a:pt x="3544" y="11150"/>
                </a:lnTo>
                <a:lnTo>
                  <a:pt x="3866" y="11041"/>
                </a:lnTo>
                <a:lnTo>
                  <a:pt x="3866" y="9851"/>
                </a:lnTo>
                <a:lnTo>
                  <a:pt x="3329" y="9851"/>
                </a:lnTo>
                <a:lnTo>
                  <a:pt x="3114" y="9959"/>
                </a:lnTo>
                <a:lnTo>
                  <a:pt x="2792" y="9851"/>
                </a:lnTo>
                <a:lnTo>
                  <a:pt x="2577" y="9634"/>
                </a:lnTo>
                <a:lnTo>
                  <a:pt x="2470" y="9309"/>
                </a:lnTo>
                <a:lnTo>
                  <a:pt x="2470" y="3788"/>
                </a:lnTo>
                <a:lnTo>
                  <a:pt x="3866" y="3788"/>
                </a:lnTo>
                <a:lnTo>
                  <a:pt x="3866" y="2381"/>
                </a:lnTo>
                <a:lnTo>
                  <a:pt x="2470" y="2381"/>
                </a:lnTo>
                <a:close/>
              </a:path>
            </a:pathLst>
          </a:custGeom>
          <a:solidFill>
            <a:srgbClr val="000000"/>
          </a:solidFill>
        </p:spPr>
        <p:txBody>
          <a:bodyPr wrap="square" lIns="0" tIns="0" rIns="0" bIns="0" rtlCol="0">
            <a:noAutofit/>
          </a:bodyPr>
          <a:lstStyle/>
          <a:p>
            <a:endParaRPr/>
          </a:p>
        </p:txBody>
      </p:sp>
      <p:sp>
        <p:nvSpPr>
          <p:cNvPr id="1001" name="object 1001"/>
          <p:cNvSpPr/>
          <p:nvPr/>
        </p:nvSpPr>
        <p:spPr>
          <a:xfrm>
            <a:off x="3353489" y="2001575"/>
            <a:ext cx="1396" cy="0"/>
          </a:xfrm>
          <a:custGeom>
            <a:avLst/>
            <a:gdLst/>
            <a:ahLst/>
            <a:cxnLst/>
            <a:rect l="l" t="t" r="r" b="b"/>
            <a:pathLst>
              <a:path w="1396">
                <a:moveTo>
                  <a:pt x="0" y="0"/>
                </a:moveTo>
                <a:lnTo>
                  <a:pt x="1396" y="0"/>
                </a:lnTo>
              </a:path>
            </a:pathLst>
          </a:custGeom>
          <a:ln w="2893">
            <a:solidFill>
              <a:srgbClr val="000000"/>
            </a:solidFill>
          </a:ln>
        </p:spPr>
        <p:txBody>
          <a:bodyPr wrap="square" lIns="0" tIns="0" rIns="0" bIns="0" rtlCol="0">
            <a:noAutofit/>
          </a:bodyPr>
          <a:lstStyle/>
          <a:p>
            <a:endParaRPr/>
          </a:p>
        </p:txBody>
      </p:sp>
      <p:sp>
        <p:nvSpPr>
          <p:cNvPr id="1002" name="object 1002"/>
          <p:cNvSpPr/>
          <p:nvPr/>
        </p:nvSpPr>
        <p:spPr>
          <a:xfrm>
            <a:off x="3353489" y="2008124"/>
            <a:ext cx="1396" cy="0"/>
          </a:xfrm>
          <a:custGeom>
            <a:avLst/>
            <a:gdLst/>
            <a:ahLst/>
            <a:cxnLst/>
            <a:rect l="l" t="t" r="r" b="b"/>
            <a:pathLst>
              <a:path w="1396">
                <a:moveTo>
                  <a:pt x="0" y="0"/>
                </a:moveTo>
                <a:lnTo>
                  <a:pt x="1396" y="0"/>
                </a:lnTo>
              </a:path>
            </a:pathLst>
          </a:custGeom>
          <a:ln w="9713">
            <a:solidFill>
              <a:srgbClr val="000000"/>
            </a:solidFill>
          </a:ln>
        </p:spPr>
        <p:txBody>
          <a:bodyPr wrap="square" lIns="0" tIns="0" rIns="0" bIns="0" rtlCol="0">
            <a:noAutofit/>
          </a:bodyPr>
          <a:lstStyle/>
          <a:p>
            <a:endParaRPr/>
          </a:p>
        </p:txBody>
      </p:sp>
      <p:sp>
        <p:nvSpPr>
          <p:cNvPr id="1003" name="object 1003"/>
          <p:cNvSpPr/>
          <p:nvPr/>
        </p:nvSpPr>
        <p:spPr>
          <a:xfrm>
            <a:off x="3356174" y="2001521"/>
            <a:ext cx="3866" cy="11150"/>
          </a:xfrm>
          <a:custGeom>
            <a:avLst/>
            <a:gdLst/>
            <a:ahLst/>
            <a:cxnLst/>
            <a:rect l="l" t="t" r="r" b="b"/>
            <a:pathLst>
              <a:path w="3866" h="11150">
                <a:moveTo>
                  <a:pt x="2470" y="2381"/>
                </a:moveTo>
                <a:lnTo>
                  <a:pt x="2470" y="0"/>
                </a:lnTo>
                <a:lnTo>
                  <a:pt x="1074" y="0"/>
                </a:lnTo>
                <a:lnTo>
                  <a:pt x="1074" y="2381"/>
                </a:lnTo>
                <a:lnTo>
                  <a:pt x="0" y="2381"/>
                </a:lnTo>
                <a:lnTo>
                  <a:pt x="0" y="3788"/>
                </a:lnTo>
                <a:lnTo>
                  <a:pt x="1074" y="3788"/>
                </a:lnTo>
                <a:lnTo>
                  <a:pt x="1074" y="9959"/>
                </a:lnTo>
                <a:lnTo>
                  <a:pt x="1181" y="10284"/>
                </a:lnTo>
                <a:lnTo>
                  <a:pt x="1288" y="10500"/>
                </a:lnTo>
                <a:lnTo>
                  <a:pt x="1396" y="10717"/>
                </a:lnTo>
                <a:lnTo>
                  <a:pt x="1611" y="10825"/>
                </a:lnTo>
                <a:lnTo>
                  <a:pt x="1825" y="10933"/>
                </a:lnTo>
                <a:lnTo>
                  <a:pt x="2148" y="11041"/>
                </a:lnTo>
                <a:lnTo>
                  <a:pt x="2470" y="11150"/>
                </a:lnTo>
                <a:lnTo>
                  <a:pt x="3544" y="11150"/>
                </a:lnTo>
                <a:lnTo>
                  <a:pt x="3866" y="11041"/>
                </a:lnTo>
                <a:lnTo>
                  <a:pt x="3866" y="9851"/>
                </a:lnTo>
                <a:lnTo>
                  <a:pt x="3329" y="9851"/>
                </a:lnTo>
                <a:lnTo>
                  <a:pt x="3114" y="9959"/>
                </a:lnTo>
                <a:lnTo>
                  <a:pt x="2792" y="9851"/>
                </a:lnTo>
                <a:lnTo>
                  <a:pt x="2577" y="9634"/>
                </a:lnTo>
                <a:lnTo>
                  <a:pt x="2470" y="9309"/>
                </a:lnTo>
                <a:lnTo>
                  <a:pt x="2470" y="3788"/>
                </a:lnTo>
                <a:lnTo>
                  <a:pt x="3866" y="3788"/>
                </a:lnTo>
                <a:lnTo>
                  <a:pt x="3866" y="2381"/>
                </a:lnTo>
                <a:lnTo>
                  <a:pt x="2470" y="2381"/>
                </a:lnTo>
                <a:close/>
              </a:path>
            </a:pathLst>
          </a:custGeom>
          <a:solidFill>
            <a:srgbClr val="000000"/>
          </a:solidFill>
        </p:spPr>
        <p:txBody>
          <a:bodyPr wrap="square" lIns="0" tIns="0" rIns="0" bIns="0" rtlCol="0">
            <a:noAutofit/>
          </a:bodyPr>
          <a:lstStyle/>
          <a:p>
            <a:endParaRPr/>
          </a:p>
        </p:txBody>
      </p:sp>
      <p:sp>
        <p:nvSpPr>
          <p:cNvPr id="1004" name="object 1004"/>
          <p:cNvSpPr/>
          <p:nvPr/>
        </p:nvSpPr>
        <p:spPr>
          <a:xfrm>
            <a:off x="3360686" y="2003902"/>
            <a:ext cx="7625" cy="11908"/>
          </a:xfrm>
          <a:custGeom>
            <a:avLst/>
            <a:gdLst/>
            <a:ahLst/>
            <a:cxnLst/>
            <a:rect l="l" t="t" r="r" b="b"/>
            <a:pathLst>
              <a:path w="7625" h="11908">
                <a:moveTo>
                  <a:pt x="1181" y="11908"/>
                </a:moveTo>
                <a:lnTo>
                  <a:pt x="2255" y="11908"/>
                </a:lnTo>
                <a:lnTo>
                  <a:pt x="2470" y="11799"/>
                </a:lnTo>
                <a:lnTo>
                  <a:pt x="2685" y="11799"/>
                </a:lnTo>
                <a:lnTo>
                  <a:pt x="2899" y="11691"/>
                </a:lnTo>
                <a:lnTo>
                  <a:pt x="3007" y="11475"/>
                </a:lnTo>
                <a:lnTo>
                  <a:pt x="3329" y="11150"/>
                </a:lnTo>
                <a:lnTo>
                  <a:pt x="3436" y="10933"/>
                </a:lnTo>
                <a:lnTo>
                  <a:pt x="3651" y="10717"/>
                </a:lnTo>
                <a:lnTo>
                  <a:pt x="3759" y="10392"/>
                </a:lnTo>
                <a:lnTo>
                  <a:pt x="3974" y="10067"/>
                </a:lnTo>
                <a:lnTo>
                  <a:pt x="4188" y="9526"/>
                </a:lnTo>
                <a:lnTo>
                  <a:pt x="4403" y="8985"/>
                </a:lnTo>
                <a:lnTo>
                  <a:pt x="4618" y="8335"/>
                </a:lnTo>
                <a:lnTo>
                  <a:pt x="4940" y="7577"/>
                </a:lnTo>
                <a:lnTo>
                  <a:pt x="5262" y="6711"/>
                </a:lnTo>
                <a:lnTo>
                  <a:pt x="5585" y="5737"/>
                </a:lnTo>
                <a:lnTo>
                  <a:pt x="6014" y="4763"/>
                </a:lnTo>
                <a:lnTo>
                  <a:pt x="6336" y="3680"/>
                </a:lnTo>
                <a:lnTo>
                  <a:pt x="6766" y="2489"/>
                </a:lnTo>
                <a:lnTo>
                  <a:pt x="7196" y="1299"/>
                </a:lnTo>
                <a:lnTo>
                  <a:pt x="7625" y="0"/>
                </a:lnTo>
                <a:lnTo>
                  <a:pt x="6122" y="0"/>
                </a:lnTo>
                <a:lnTo>
                  <a:pt x="3866" y="6928"/>
                </a:lnTo>
                <a:lnTo>
                  <a:pt x="1503" y="0"/>
                </a:lnTo>
                <a:lnTo>
                  <a:pt x="0" y="0"/>
                </a:lnTo>
                <a:lnTo>
                  <a:pt x="3114" y="8768"/>
                </a:lnTo>
                <a:lnTo>
                  <a:pt x="2899" y="9201"/>
                </a:lnTo>
                <a:lnTo>
                  <a:pt x="2792" y="9526"/>
                </a:lnTo>
                <a:lnTo>
                  <a:pt x="2685" y="9851"/>
                </a:lnTo>
                <a:lnTo>
                  <a:pt x="2577" y="10067"/>
                </a:lnTo>
                <a:lnTo>
                  <a:pt x="2362" y="10392"/>
                </a:lnTo>
                <a:lnTo>
                  <a:pt x="2148" y="10500"/>
                </a:lnTo>
                <a:lnTo>
                  <a:pt x="1933" y="10608"/>
                </a:lnTo>
                <a:lnTo>
                  <a:pt x="1718" y="10717"/>
                </a:lnTo>
                <a:lnTo>
                  <a:pt x="1288" y="10717"/>
                </a:lnTo>
                <a:lnTo>
                  <a:pt x="1074" y="10608"/>
                </a:lnTo>
                <a:lnTo>
                  <a:pt x="751" y="10500"/>
                </a:lnTo>
                <a:lnTo>
                  <a:pt x="751" y="11799"/>
                </a:lnTo>
                <a:lnTo>
                  <a:pt x="966" y="11908"/>
                </a:lnTo>
                <a:lnTo>
                  <a:pt x="1181" y="11908"/>
                </a:lnTo>
                <a:close/>
              </a:path>
            </a:pathLst>
          </a:custGeom>
          <a:solidFill>
            <a:srgbClr val="000000"/>
          </a:solidFill>
        </p:spPr>
        <p:txBody>
          <a:bodyPr wrap="square" lIns="0" tIns="0" rIns="0" bIns="0" rtlCol="0">
            <a:noAutofit/>
          </a:bodyPr>
          <a:lstStyle/>
          <a:p>
            <a:endParaRPr/>
          </a:p>
        </p:txBody>
      </p:sp>
      <p:sp>
        <p:nvSpPr>
          <p:cNvPr id="1005" name="object 1005"/>
          <p:cNvSpPr/>
          <p:nvPr/>
        </p:nvSpPr>
        <p:spPr>
          <a:xfrm>
            <a:off x="3310527" y="2007908"/>
            <a:ext cx="429" cy="3680"/>
          </a:xfrm>
          <a:custGeom>
            <a:avLst/>
            <a:gdLst/>
            <a:ahLst/>
            <a:cxnLst/>
            <a:rect l="l" t="t" r="r" b="b"/>
            <a:pathLst>
              <a:path w="429" h="3680">
                <a:moveTo>
                  <a:pt x="0" y="0"/>
                </a:moveTo>
                <a:lnTo>
                  <a:pt x="0" y="3247"/>
                </a:lnTo>
                <a:lnTo>
                  <a:pt x="429" y="3680"/>
                </a:lnTo>
                <a:lnTo>
                  <a:pt x="214" y="649"/>
                </a:lnTo>
                <a:lnTo>
                  <a:pt x="0" y="0"/>
                </a:lnTo>
                <a:close/>
              </a:path>
            </a:pathLst>
          </a:custGeom>
          <a:solidFill>
            <a:srgbClr val="000000"/>
          </a:solidFill>
        </p:spPr>
        <p:txBody>
          <a:bodyPr wrap="square" lIns="0" tIns="0" rIns="0" bIns="0" rtlCol="0">
            <a:noAutofit/>
          </a:bodyPr>
          <a:lstStyle/>
          <a:p>
            <a:endParaRPr/>
          </a:p>
        </p:txBody>
      </p:sp>
      <p:sp>
        <p:nvSpPr>
          <p:cNvPr id="1006" name="object 1006"/>
          <p:cNvSpPr/>
          <p:nvPr/>
        </p:nvSpPr>
        <p:spPr>
          <a:xfrm>
            <a:off x="3308916" y="2000438"/>
            <a:ext cx="11277" cy="12882"/>
          </a:xfrm>
          <a:custGeom>
            <a:avLst/>
            <a:gdLst/>
            <a:ahLst/>
            <a:cxnLst/>
            <a:rect l="l" t="t" r="r" b="b"/>
            <a:pathLst>
              <a:path w="11277" h="12882">
                <a:moveTo>
                  <a:pt x="1611" y="10717"/>
                </a:moveTo>
                <a:lnTo>
                  <a:pt x="1611" y="7469"/>
                </a:lnTo>
                <a:lnTo>
                  <a:pt x="1503" y="6820"/>
                </a:lnTo>
                <a:lnTo>
                  <a:pt x="1503" y="5520"/>
                </a:lnTo>
                <a:lnTo>
                  <a:pt x="1611" y="4871"/>
                </a:lnTo>
                <a:lnTo>
                  <a:pt x="1825" y="4221"/>
                </a:lnTo>
                <a:lnTo>
                  <a:pt x="2040" y="3680"/>
                </a:lnTo>
                <a:lnTo>
                  <a:pt x="2255" y="3247"/>
                </a:lnTo>
                <a:lnTo>
                  <a:pt x="2577" y="2814"/>
                </a:lnTo>
                <a:lnTo>
                  <a:pt x="3007" y="2381"/>
                </a:lnTo>
                <a:lnTo>
                  <a:pt x="3436" y="2056"/>
                </a:lnTo>
                <a:lnTo>
                  <a:pt x="3974" y="1732"/>
                </a:lnTo>
                <a:lnTo>
                  <a:pt x="4511" y="1515"/>
                </a:lnTo>
                <a:lnTo>
                  <a:pt x="5048" y="1407"/>
                </a:lnTo>
                <a:lnTo>
                  <a:pt x="6229" y="1407"/>
                </a:lnTo>
                <a:lnTo>
                  <a:pt x="6766" y="1515"/>
                </a:lnTo>
                <a:lnTo>
                  <a:pt x="7303" y="1732"/>
                </a:lnTo>
                <a:lnTo>
                  <a:pt x="7840" y="2056"/>
                </a:lnTo>
                <a:lnTo>
                  <a:pt x="8270" y="2381"/>
                </a:lnTo>
                <a:lnTo>
                  <a:pt x="8699" y="2814"/>
                </a:lnTo>
                <a:lnTo>
                  <a:pt x="9022" y="3247"/>
                </a:lnTo>
                <a:lnTo>
                  <a:pt x="9236" y="3680"/>
                </a:lnTo>
                <a:lnTo>
                  <a:pt x="9451" y="4221"/>
                </a:lnTo>
                <a:lnTo>
                  <a:pt x="9666" y="4871"/>
                </a:lnTo>
                <a:lnTo>
                  <a:pt x="9773" y="5520"/>
                </a:lnTo>
                <a:lnTo>
                  <a:pt x="9773" y="6711"/>
                </a:lnTo>
                <a:lnTo>
                  <a:pt x="9666" y="7253"/>
                </a:lnTo>
                <a:lnTo>
                  <a:pt x="9559" y="7794"/>
                </a:lnTo>
                <a:lnTo>
                  <a:pt x="9451" y="8227"/>
                </a:lnTo>
                <a:lnTo>
                  <a:pt x="9236" y="8660"/>
                </a:lnTo>
                <a:lnTo>
                  <a:pt x="9022" y="9093"/>
                </a:lnTo>
                <a:lnTo>
                  <a:pt x="8807" y="9418"/>
                </a:lnTo>
                <a:lnTo>
                  <a:pt x="8485" y="9742"/>
                </a:lnTo>
                <a:lnTo>
                  <a:pt x="6981" y="8660"/>
                </a:lnTo>
                <a:lnTo>
                  <a:pt x="6122" y="9634"/>
                </a:lnTo>
                <a:lnTo>
                  <a:pt x="7303" y="10500"/>
                </a:lnTo>
                <a:lnTo>
                  <a:pt x="6981" y="10717"/>
                </a:lnTo>
                <a:lnTo>
                  <a:pt x="6551" y="10825"/>
                </a:lnTo>
                <a:lnTo>
                  <a:pt x="6122" y="10933"/>
                </a:lnTo>
                <a:lnTo>
                  <a:pt x="5048" y="10933"/>
                </a:lnTo>
                <a:lnTo>
                  <a:pt x="4511" y="10717"/>
                </a:lnTo>
                <a:lnTo>
                  <a:pt x="3974" y="10608"/>
                </a:lnTo>
                <a:lnTo>
                  <a:pt x="3436" y="10284"/>
                </a:lnTo>
                <a:lnTo>
                  <a:pt x="3007" y="9959"/>
                </a:lnTo>
                <a:lnTo>
                  <a:pt x="2577" y="9634"/>
                </a:lnTo>
                <a:lnTo>
                  <a:pt x="2255" y="9201"/>
                </a:lnTo>
                <a:lnTo>
                  <a:pt x="2040" y="8660"/>
                </a:lnTo>
                <a:lnTo>
                  <a:pt x="1825" y="8119"/>
                </a:lnTo>
                <a:lnTo>
                  <a:pt x="2040" y="11150"/>
                </a:lnTo>
                <a:lnTo>
                  <a:pt x="2577" y="11475"/>
                </a:lnTo>
                <a:lnTo>
                  <a:pt x="3007" y="11799"/>
                </a:lnTo>
                <a:lnTo>
                  <a:pt x="3544" y="11908"/>
                </a:lnTo>
                <a:lnTo>
                  <a:pt x="4188" y="12124"/>
                </a:lnTo>
                <a:lnTo>
                  <a:pt x="4940" y="12232"/>
                </a:lnTo>
                <a:lnTo>
                  <a:pt x="6551" y="12232"/>
                </a:lnTo>
                <a:lnTo>
                  <a:pt x="7303" y="12016"/>
                </a:lnTo>
                <a:lnTo>
                  <a:pt x="8055" y="11908"/>
                </a:lnTo>
                <a:lnTo>
                  <a:pt x="8699" y="11583"/>
                </a:lnTo>
                <a:lnTo>
                  <a:pt x="10418" y="12882"/>
                </a:lnTo>
                <a:lnTo>
                  <a:pt x="11170" y="11908"/>
                </a:lnTo>
                <a:lnTo>
                  <a:pt x="9666" y="10717"/>
                </a:lnTo>
                <a:lnTo>
                  <a:pt x="10096" y="10284"/>
                </a:lnTo>
                <a:lnTo>
                  <a:pt x="10418" y="9851"/>
                </a:lnTo>
                <a:lnTo>
                  <a:pt x="10633" y="9309"/>
                </a:lnTo>
                <a:lnTo>
                  <a:pt x="10847" y="8660"/>
                </a:lnTo>
                <a:lnTo>
                  <a:pt x="10955" y="8010"/>
                </a:lnTo>
                <a:lnTo>
                  <a:pt x="11170" y="7361"/>
                </a:lnTo>
                <a:lnTo>
                  <a:pt x="11277" y="6820"/>
                </a:lnTo>
                <a:lnTo>
                  <a:pt x="11277" y="5629"/>
                </a:lnTo>
                <a:lnTo>
                  <a:pt x="11170" y="5087"/>
                </a:lnTo>
                <a:lnTo>
                  <a:pt x="11062" y="4654"/>
                </a:lnTo>
                <a:lnTo>
                  <a:pt x="10955" y="4113"/>
                </a:lnTo>
                <a:lnTo>
                  <a:pt x="10740" y="3572"/>
                </a:lnTo>
                <a:lnTo>
                  <a:pt x="10525" y="3031"/>
                </a:lnTo>
                <a:lnTo>
                  <a:pt x="10310" y="2598"/>
                </a:lnTo>
                <a:lnTo>
                  <a:pt x="9988" y="2056"/>
                </a:lnTo>
                <a:lnTo>
                  <a:pt x="9666" y="1623"/>
                </a:lnTo>
                <a:lnTo>
                  <a:pt x="9236" y="1299"/>
                </a:lnTo>
                <a:lnTo>
                  <a:pt x="8807" y="974"/>
                </a:lnTo>
                <a:lnTo>
                  <a:pt x="8270" y="649"/>
                </a:lnTo>
                <a:lnTo>
                  <a:pt x="7733" y="324"/>
                </a:lnTo>
                <a:lnTo>
                  <a:pt x="7088" y="108"/>
                </a:lnTo>
                <a:lnTo>
                  <a:pt x="6444" y="0"/>
                </a:lnTo>
                <a:lnTo>
                  <a:pt x="4940" y="0"/>
                </a:lnTo>
                <a:lnTo>
                  <a:pt x="4188" y="108"/>
                </a:lnTo>
                <a:lnTo>
                  <a:pt x="3544" y="324"/>
                </a:lnTo>
                <a:lnTo>
                  <a:pt x="3007" y="649"/>
                </a:lnTo>
                <a:lnTo>
                  <a:pt x="2470" y="974"/>
                </a:lnTo>
                <a:lnTo>
                  <a:pt x="2040" y="1299"/>
                </a:lnTo>
                <a:lnTo>
                  <a:pt x="1611" y="1623"/>
                </a:lnTo>
                <a:lnTo>
                  <a:pt x="1288" y="2056"/>
                </a:lnTo>
                <a:lnTo>
                  <a:pt x="966" y="2598"/>
                </a:lnTo>
                <a:lnTo>
                  <a:pt x="751" y="3031"/>
                </a:lnTo>
                <a:lnTo>
                  <a:pt x="537" y="3572"/>
                </a:lnTo>
                <a:lnTo>
                  <a:pt x="322" y="4113"/>
                </a:lnTo>
                <a:lnTo>
                  <a:pt x="214" y="4654"/>
                </a:lnTo>
                <a:lnTo>
                  <a:pt x="107" y="5087"/>
                </a:lnTo>
                <a:lnTo>
                  <a:pt x="0" y="5629"/>
                </a:lnTo>
                <a:lnTo>
                  <a:pt x="0" y="6711"/>
                </a:lnTo>
                <a:lnTo>
                  <a:pt x="107" y="7144"/>
                </a:lnTo>
                <a:lnTo>
                  <a:pt x="214" y="7686"/>
                </a:lnTo>
                <a:lnTo>
                  <a:pt x="322" y="8227"/>
                </a:lnTo>
                <a:lnTo>
                  <a:pt x="537" y="8768"/>
                </a:lnTo>
                <a:lnTo>
                  <a:pt x="751" y="9309"/>
                </a:lnTo>
                <a:lnTo>
                  <a:pt x="966" y="9742"/>
                </a:lnTo>
                <a:lnTo>
                  <a:pt x="1288" y="10284"/>
                </a:lnTo>
                <a:lnTo>
                  <a:pt x="1611" y="10717"/>
                </a:lnTo>
                <a:close/>
              </a:path>
            </a:pathLst>
          </a:custGeom>
          <a:solidFill>
            <a:srgbClr val="000000"/>
          </a:solidFill>
        </p:spPr>
        <p:txBody>
          <a:bodyPr wrap="square" lIns="0" tIns="0" rIns="0" bIns="0" rtlCol="0">
            <a:noAutofit/>
          </a:bodyPr>
          <a:lstStyle/>
          <a:p>
            <a:endParaRPr/>
          </a:p>
        </p:txBody>
      </p:sp>
      <p:sp>
        <p:nvSpPr>
          <p:cNvPr id="1007" name="object 1007"/>
          <p:cNvSpPr/>
          <p:nvPr/>
        </p:nvSpPr>
        <p:spPr>
          <a:xfrm>
            <a:off x="3322020" y="2003902"/>
            <a:ext cx="6659" cy="8768"/>
          </a:xfrm>
          <a:custGeom>
            <a:avLst/>
            <a:gdLst/>
            <a:ahLst/>
            <a:cxnLst/>
            <a:rect l="l" t="t" r="r" b="b"/>
            <a:pathLst>
              <a:path w="6659" h="8768">
                <a:moveTo>
                  <a:pt x="3007" y="7686"/>
                </a:moveTo>
                <a:lnTo>
                  <a:pt x="2470" y="7686"/>
                </a:lnTo>
                <a:lnTo>
                  <a:pt x="2255" y="7577"/>
                </a:lnTo>
                <a:lnTo>
                  <a:pt x="2040" y="7469"/>
                </a:lnTo>
                <a:lnTo>
                  <a:pt x="1825" y="7361"/>
                </a:lnTo>
                <a:lnTo>
                  <a:pt x="1611" y="7144"/>
                </a:lnTo>
                <a:lnTo>
                  <a:pt x="1503" y="6820"/>
                </a:lnTo>
                <a:lnTo>
                  <a:pt x="1396" y="6495"/>
                </a:lnTo>
                <a:lnTo>
                  <a:pt x="1396" y="0"/>
                </a:lnTo>
                <a:lnTo>
                  <a:pt x="0" y="0"/>
                </a:lnTo>
                <a:lnTo>
                  <a:pt x="0" y="6928"/>
                </a:lnTo>
                <a:lnTo>
                  <a:pt x="214" y="7361"/>
                </a:lnTo>
                <a:lnTo>
                  <a:pt x="322" y="7794"/>
                </a:lnTo>
                <a:lnTo>
                  <a:pt x="644" y="8227"/>
                </a:lnTo>
                <a:lnTo>
                  <a:pt x="966" y="8443"/>
                </a:lnTo>
                <a:lnTo>
                  <a:pt x="1396" y="8660"/>
                </a:lnTo>
                <a:lnTo>
                  <a:pt x="1933" y="8768"/>
                </a:lnTo>
                <a:lnTo>
                  <a:pt x="2792" y="8768"/>
                </a:lnTo>
                <a:lnTo>
                  <a:pt x="3222" y="8660"/>
                </a:lnTo>
                <a:lnTo>
                  <a:pt x="3544" y="8552"/>
                </a:lnTo>
                <a:lnTo>
                  <a:pt x="3974" y="8443"/>
                </a:lnTo>
                <a:lnTo>
                  <a:pt x="4403" y="8335"/>
                </a:lnTo>
                <a:lnTo>
                  <a:pt x="4725" y="8119"/>
                </a:lnTo>
                <a:lnTo>
                  <a:pt x="5048" y="7902"/>
                </a:lnTo>
                <a:lnTo>
                  <a:pt x="5262" y="7686"/>
                </a:lnTo>
                <a:lnTo>
                  <a:pt x="5262" y="8443"/>
                </a:lnTo>
                <a:lnTo>
                  <a:pt x="6659" y="8443"/>
                </a:lnTo>
                <a:lnTo>
                  <a:pt x="6659" y="0"/>
                </a:lnTo>
                <a:lnTo>
                  <a:pt x="5262" y="0"/>
                </a:lnTo>
                <a:lnTo>
                  <a:pt x="5262" y="5520"/>
                </a:lnTo>
                <a:lnTo>
                  <a:pt x="5155" y="6062"/>
                </a:lnTo>
                <a:lnTo>
                  <a:pt x="4940" y="6495"/>
                </a:lnTo>
                <a:lnTo>
                  <a:pt x="4618" y="6820"/>
                </a:lnTo>
                <a:lnTo>
                  <a:pt x="4296" y="7144"/>
                </a:lnTo>
                <a:lnTo>
                  <a:pt x="3974" y="7361"/>
                </a:lnTo>
                <a:lnTo>
                  <a:pt x="3651" y="7577"/>
                </a:lnTo>
                <a:lnTo>
                  <a:pt x="3222" y="7686"/>
                </a:lnTo>
                <a:lnTo>
                  <a:pt x="3007" y="7686"/>
                </a:lnTo>
                <a:close/>
              </a:path>
            </a:pathLst>
          </a:custGeom>
          <a:solidFill>
            <a:srgbClr val="000000"/>
          </a:solidFill>
        </p:spPr>
        <p:txBody>
          <a:bodyPr wrap="square" lIns="0" tIns="0" rIns="0" bIns="0" rtlCol="0">
            <a:noAutofit/>
          </a:bodyPr>
          <a:lstStyle/>
          <a:p>
            <a:endParaRPr/>
          </a:p>
        </p:txBody>
      </p:sp>
      <p:sp>
        <p:nvSpPr>
          <p:cNvPr id="1008" name="object 1008"/>
          <p:cNvSpPr/>
          <p:nvPr/>
        </p:nvSpPr>
        <p:spPr>
          <a:xfrm>
            <a:off x="3418792" y="2008449"/>
            <a:ext cx="859" cy="3788"/>
          </a:xfrm>
          <a:custGeom>
            <a:avLst/>
            <a:gdLst/>
            <a:ahLst/>
            <a:cxnLst/>
            <a:rect l="l" t="t" r="r" b="b"/>
            <a:pathLst>
              <a:path w="859" h="3788">
                <a:moveTo>
                  <a:pt x="322" y="1515"/>
                </a:moveTo>
                <a:lnTo>
                  <a:pt x="214" y="1082"/>
                </a:lnTo>
                <a:lnTo>
                  <a:pt x="107" y="757"/>
                </a:lnTo>
                <a:lnTo>
                  <a:pt x="107" y="324"/>
                </a:lnTo>
                <a:lnTo>
                  <a:pt x="0" y="0"/>
                </a:lnTo>
                <a:lnTo>
                  <a:pt x="322" y="3572"/>
                </a:lnTo>
                <a:lnTo>
                  <a:pt x="859" y="3788"/>
                </a:lnTo>
                <a:lnTo>
                  <a:pt x="537" y="1840"/>
                </a:lnTo>
                <a:lnTo>
                  <a:pt x="322" y="1515"/>
                </a:lnTo>
                <a:close/>
              </a:path>
            </a:pathLst>
          </a:custGeom>
          <a:solidFill>
            <a:srgbClr val="000000"/>
          </a:solidFill>
        </p:spPr>
        <p:txBody>
          <a:bodyPr wrap="square" lIns="0" tIns="0" rIns="0" bIns="0" rtlCol="0">
            <a:noAutofit/>
          </a:bodyPr>
          <a:lstStyle/>
          <a:p>
            <a:endParaRPr/>
          </a:p>
        </p:txBody>
      </p:sp>
      <p:sp>
        <p:nvSpPr>
          <p:cNvPr id="1009" name="object 1009"/>
          <p:cNvSpPr/>
          <p:nvPr/>
        </p:nvSpPr>
        <p:spPr>
          <a:xfrm>
            <a:off x="3426418" y="2000764"/>
            <a:ext cx="7303" cy="11799"/>
          </a:xfrm>
          <a:custGeom>
            <a:avLst/>
            <a:gdLst/>
            <a:ahLst/>
            <a:cxnLst/>
            <a:rect l="l" t="t" r="r" b="b"/>
            <a:pathLst>
              <a:path w="7303" h="11799">
                <a:moveTo>
                  <a:pt x="3974" y="11799"/>
                </a:moveTo>
                <a:lnTo>
                  <a:pt x="4296" y="11691"/>
                </a:lnTo>
                <a:lnTo>
                  <a:pt x="4940" y="11583"/>
                </a:lnTo>
                <a:lnTo>
                  <a:pt x="5155" y="11475"/>
                </a:lnTo>
                <a:lnTo>
                  <a:pt x="5262" y="11258"/>
                </a:lnTo>
                <a:lnTo>
                  <a:pt x="5477" y="11150"/>
                </a:lnTo>
                <a:lnTo>
                  <a:pt x="5692" y="11041"/>
                </a:lnTo>
                <a:lnTo>
                  <a:pt x="5799" y="10825"/>
                </a:lnTo>
                <a:lnTo>
                  <a:pt x="6014" y="10608"/>
                </a:lnTo>
                <a:lnTo>
                  <a:pt x="6122" y="10392"/>
                </a:lnTo>
                <a:lnTo>
                  <a:pt x="6122" y="11583"/>
                </a:lnTo>
                <a:lnTo>
                  <a:pt x="7303" y="11583"/>
                </a:lnTo>
                <a:lnTo>
                  <a:pt x="7303" y="0"/>
                </a:lnTo>
                <a:lnTo>
                  <a:pt x="5907" y="0"/>
                </a:lnTo>
                <a:lnTo>
                  <a:pt x="5907" y="4330"/>
                </a:lnTo>
                <a:lnTo>
                  <a:pt x="5692" y="4005"/>
                </a:lnTo>
                <a:lnTo>
                  <a:pt x="5477" y="3788"/>
                </a:lnTo>
                <a:lnTo>
                  <a:pt x="5262" y="3464"/>
                </a:lnTo>
                <a:lnTo>
                  <a:pt x="5048" y="3247"/>
                </a:lnTo>
                <a:lnTo>
                  <a:pt x="4725" y="3139"/>
                </a:lnTo>
                <a:lnTo>
                  <a:pt x="4403" y="3031"/>
                </a:lnTo>
                <a:lnTo>
                  <a:pt x="3974" y="2922"/>
                </a:lnTo>
                <a:lnTo>
                  <a:pt x="3007" y="2922"/>
                </a:lnTo>
                <a:lnTo>
                  <a:pt x="2470" y="3031"/>
                </a:lnTo>
                <a:lnTo>
                  <a:pt x="2040" y="3247"/>
                </a:lnTo>
                <a:lnTo>
                  <a:pt x="1611" y="3464"/>
                </a:lnTo>
                <a:lnTo>
                  <a:pt x="1288" y="3788"/>
                </a:lnTo>
                <a:lnTo>
                  <a:pt x="966" y="4113"/>
                </a:lnTo>
                <a:lnTo>
                  <a:pt x="644" y="4546"/>
                </a:lnTo>
                <a:lnTo>
                  <a:pt x="429" y="4979"/>
                </a:lnTo>
                <a:lnTo>
                  <a:pt x="322" y="5520"/>
                </a:lnTo>
                <a:lnTo>
                  <a:pt x="107" y="5954"/>
                </a:lnTo>
                <a:lnTo>
                  <a:pt x="0" y="6495"/>
                </a:lnTo>
                <a:lnTo>
                  <a:pt x="0" y="7686"/>
                </a:lnTo>
                <a:lnTo>
                  <a:pt x="107" y="8227"/>
                </a:lnTo>
                <a:lnTo>
                  <a:pt x="214" y="8876"/>
                </a:lnTo>
                <a:lnTo>
                  <a:pt x="429" y="9418"/>
                </a:lnTo>
                <a:lnTo>
                  <a:pt x="644" y="9851"/>
                </a:lnTo>
                <a:lnTo>
                  <a:pt x="859" y="10392"/>
                </a:lnTo>
                <a:lnTo>
                  <a:pt x="1181" y="10825"/>
                </a:lnTo>
                <a:lnTo>
                  <a:pt x="1503" y="11150"/>
                </a:lnTo>
                <a:lnTo>
                  <a:pt x="1396" y="8010"/>
                </a:lnTo>
                <a:lnTo>
                  <a:pt x="1396" y="6711"/>
                </a:lnTo>
                <a:lnTo>
                  <a:pt x="1503" y="6170"/>
                </a:lnTo>
                <a:lnTo>
                  <a:pt x="1718" y="5629"/>
                </a:lnTo>
                <a:lnTo>
                  <a:pt x="1825" y="5087"/>
                </a:lnTo>
                <a:lnTo>
                  <a:pt x="2148" y="4654"/>
                </a:lnTo>
                <a:lnTo>
                  <a:pt x="2577" y="4330"/>
                </a:lnTo>
                <a:lnTo>
                  <a:pt x="3114" y="4221"/>
                </a:lnTo>
                <a:lnTo>
                  <a:pt x="3759" y="4113"/>
                </a:lnTo>
                <a:lnTo>
                  <a:pt x="4296" y="4221"/>
                </a:lnTo>
                <a:lnTo>
                  <a:pt x="4725" y="4330"/>
                </a:lnTo>
                <a:lnTo>
                  <a:pt x="5155" y="4654"/>
                </a:lnTo>
                <a:lnTo>
                  <a:pt x="5477" y="5087"/>
                </a:lnTo>
                <a:lnTo>
                  <a:pt x="5692" y="5629"/>
                </a:lnTo>
                <a:lnTo>
                  <a:pt x="5907" y="6170"/>
                </a:lnTo>
                <a:lnTo>
                  <a:pt x="6014" y="6928"/>
                </a:lnTo>
                <a:lnTo>
                  <a:pt x="6014" y="7794"/>
                </a:lnTo>
                <a:lnTo>
                  <a:pt x="5907" y="8443"/>
                </a:lnTo>
                <a:lnTo>
                  <a:pt x="5799" y="9093"/>
                </a:lnTo>
                <a:lnTo>
                  <a:pt x="5585" y="9526"/>
                </a:lnTo>
                <a:lnTo>
                  <a:pt x="5262" y="9959"/>
                </a:lnTo>
                <a:lnTo>
                  <a:pt x="4940" y="10284"/>
                </a:lnTo>
                <a:lnTo>
                  <a:pt x="4511" y="10392"/>
                </a:lnTo>
                <a:lnTo>
                  <a:pt x="4081" y="10608"/>
                </a:lnTo>
                <a:lnTo>
                  <a:pt x="3651" y="10608"/>
                </a:lnTo>
                <a:lnTo>
                  <a:pt x="3114" y="10500"/>
                </a:lnTo>
                <a:lnTo>
                  <a:pt x="2685" y="10392"/>
                </a:lnTo>
                <a:lnTo>
                  <a:pt x="2362" y="10067"/>
                </a:lnTo>
                <a:lnTo>
                  <a:pt x="2470" y="11583"/>
                </a:lnTo>
                <a:lnTo>
                  <a:pt x="3007" y="11799"/>
                </a:lnTo>
                <a:lnTo>
                  <a:pt x="3974" y="11799"/>
                </a:lnTo>
                <a:close/>
              </a:path>
            </a:pathLst>
          </a:custGeom>
          <a:solidFill>
            <a:srgbClr val="000000"/>
          </a:solidFill>
        </p:spPr>
        <p:txBody>
          <a:bodyPr wrap="square" lIns="0" tIns="0" rIns="0" bIns="0" rtlCol="0">
            <a:noAutofit/>
          </a:bodyPr>
          <a:lstStyle/>
          <a:p>
            <a:endParaRPr/>
          </a:p>
        </p:txBody>
      </p:sp>
      <p:sp>
        <p:nvSpPr>
          <p:cNvPr id="1010" name="object 1010"/>
          <p:cNvSpPr/>
          <p:nvPr/>
        </p:nvSpPr>
        <p:spPr>
          <a:xfrm>
            <a:off x="3427814" y="2008774"/>
            <a:ext cx="1074" cy="3572"/>
          </a:xfrm>
          <a:custGeom>
            <a:avLst/>
            <a:gdLst/>
            <a:ahLst/>
            <a:cxnLst/>
            <a:rect l="l" t="t" r="r" b="b"/>
            <a:pathLst>
              <a:path w="1074" h="3572">
                <a:moveTo>
                  <a:pt x="644" y="1732"/>
                </a:moveTo>
                <a:lnTo>
                  <a:pt x="322" y="1190"/>
                </a:lnTo>
                <a:lnTo>
                  <a:pt x="214" y="649"/>
                </a:lnTo>
                <a:lnTo>
                  <a:pt x="0" y="0"/>
                </a:lnTo>
                <a:lnTo>
                  <a:pt x="107" y="3139"/>
                </a:lnTo>
                <a:lnTo>
                  <a:pt x="537" y="3464"/>
                </a:lnTo>
                <a:lnTo>
                  <a:pt x="1074" y="3572"/>
                </a:lnTo>
                <a:lnTo>
                  <a:pt x="966" y="2056"/>
                </a:lnTo>
                <a:lnTo>
                  <a:pt x="644" y="1732"/>
                </a:lnTo>
                <a:close/>
              </a:path>
            </a:pathLst>
          </a:custGeom>
          <a:solidFill>
            <a:srgbClr val="000000"/>
          </a:solidFill>
        </p:spPr>
        <p:txBody>
          <a:bodyPr wrap="square" lIns="0" tIns="0" rIns="0" bIns="0" rtlCol="0">
            <a:noAutofit/>
          </a:bodyPr>
          <a:lstStyle/>
          <a:p>
            <a:endParaRPr/>
          </a:p>
        </p:txBody>
      </p:sp>
      <p:sp>
        <p:nvSpPr>
          <p:cNvPr id="1011" name="object 1011"/>
          <p:cNvSpPr/>
          <p:nvPr/>
        </p:nvSpPr>
        <p:spPr>
          <a:xfrm>
            <a:off x="3436943" y="2004228"/>
            <a:ext cx="322" cy="3247"/>
          </a:xfrm>
          <a:custGeom>
            <a:avLst/>
            <a:gdLst/>
            <a:ahLst/>
            <a:cxnLst/>
            <a:rect l="l" t="t" r="r" b="b"/>
            <a:pathLst>
              <a:path w="322" h="3247">
                <a:moveTo>
                  <a:pt x="0" y="3247"/>
                </a:moveTo>
                <a:lnTo>
                  <a:pt x="0" y="2922"/>
                </a:lnTo>
                <a:lnTo>
                  <a:pt x="107" y="2598"/>
                </a:lnTo>
                <a:lnTo>
                  <a:pt x="214" y="2273"/>
                </a:lnTo>
                <a:lnTo>
                  <a:pt x="322" y="0"/>
                </a:lnTo>
                <a:lnTo>
                  <a:pt x="0" y="216"/>
                </a:lnTo>
                <a:lnTo>
                  <a:pt x="0" y="3247"/>
                </a:lnTo>
                <a:close/>
              </a:path>
            </a:pathLst>
          </a:custGeom>
          <a:solidFill>
            <a:srgbClr val="000000"/>
          </a:solidFill>
        </p:spPr>
        <p:txBody>
          <a:bodyPr wrap="square" lIns="0" tIns="0" rIns="0" bIns="0" rtlCol="0">
            <a:noAutofit/>
          </a:bodyPr>
          <a:lstStyle/>
          <a:p>
            <a:endParaRPr/>
          </a:p>
        </p:txBody>
      </p:sp>
      <p:sp>
        <p:nvSpPr>
          <p:cNvPr id="1012" name="object 1012"/>
          <p:cNvSpPr/>
          <p:nvPr/>
        </p:nvSpPr>
        <p:spPr>
          <a:xfrm>
            <a:off x="3435440" y="2003470"/>
            <a:ext cx="7733" cy="9093"/>
          </a:xfrm>
          <a:custGeom>
            <a:avLst/>
            <a:gdLst/>
            <a:ahLst/>
            <a:cxnLst/>
            <a:rect l="l" t="t" r="r" b="b"/>
            <a:pathLst>
              <a:path w="7733" h="9093">
                <a:moveTo>
                  <a:pt x="1718" y="8552"/>
                </a:moveTo>
                <a:lnTo>
                  <a:pt x="2040" y="8768"/>
                </a:lnTo>
                <a:lnTo>
                  <a:pt x="2470" y="8876"/>
                </a:lnTo>
                <a:lnTo>
                  <a:pt x="2899" y="8985"/>
                </a:lnTo>
                <a:lnTo>
                  <a:pt x="3329" y="9093"/>
                </a:lnTo>
                <a:lnTo>
                  <a:pt x="4188" y="9093"/>
                </a:lnTo>
                <a:lnTo>
                  <a:pt x="4618" y="8985"/>
                </a:lnTo>
                <a:lnTo>
                  <a:pt x="4940" y="8985"/>
                </a:lnTo>
                <a:lnTo>
                  <a:pt x="5155" y="8876"/>
                </a:lnTo>
                <a:lnTo>
                  <a:pt x="5477" y="8876"/>
                </a:lnTo>
                <a:lnTo>
                  <a:pt x="5692" y="8768"/>
                </a:lnTo>
                <a:lnTo>
                  <a:pt x="5907" y="8660"/>
                </a:lnTo>
                <a:lnTo>
                  <a:pt x="6122" y="8552"/>
                </a:lnTo>
                <a:lnTo>
                  <a:pt x="6444" y="8335"/>
                </a:lnTo>
                <a:lnTo>
                  <a:pt x="6659" y="8010"/>
                </a:lnTo>
                <a:lnTo>
                  <a:pt x="6981" y="7794"/>
                </a:lnTo>
                <a:lnTo>
                  <a:pt x="7196" y="7469"/>
                </a:lnTo>
                <a:lnTo>
                  <a:pt x="7303" y="7036"/>
                </a:lnTo>
                <a:lnTo>
                  <a:pt x="7411" y="6711"/>
                </a:lnTo>
                <a:lnTo>
                  <a:pt x="7518" y="6495"/>
                </a:lnTo>
                <a:lnTo>
                  <a:pt x="7625" y="6278"/>
                </a:lnTo>
                <a:lnTo>
                  <a:pt x="6122" y="6278"/>
                </a:lnTo>
                <a:lnTo>
                  <a:pt x="6014" y="6603"/>
                </a:lnTo>
                <a:lnTo>
                  <a:pt x="5907" y="6928"/>
                </a:lnTo>
                <a:lnTo>
                  <a:pt x="5692" y="7144"/>
                </a:lnTo>
                <a:lnTo>
                  <a:pt x="5477" y="7361"/>
                </a:lnTo>
                <a:lnTo>
                  <a:pt x="5262" y="7469"/>
                </a:lnTo>
                <a:lnTo>
                  <a:pt x="5048" y="7686"/>
                </a:lnTo>
                <a:lnTo>
                  <a:pt x="4833" y="7794"/>
                </a:lnTo>
                <a:lnTo>
                  <a:pt x="4511" y="7794"/>
                </a:lnTo>
                <a:lnTo>
                  <a:pt x="4296" y="7902"/>
                </a:lnTo>
                <a:lnTo>
                  <a:pt x="3436" y="7902"/>
                </a:lnTo>
                <a:lnTo>
                  <a:pt x="2899" y="7686"/>
                </a:lnTo>
                <a:lnTo>
                  <a:pt x="2470" y="7469"/>
                </a:lnTo>
                <a:lnTo>
                  <a:pt x="2148" y="7144"/>
                </a:lnTo>
                <a:lnTo>
                  <a:pt x="1825" y="6820"/>
                </a:lnTo>
                <a:lnTo>
                  <a:pt x="1718" y="6278"/>
                </a:lnTo>
                <a:lnTo>
                  <a:pt x="1503" y="5737"/>
                </a:lnTo>
                <a:lnTo>
                  <a:pt x="1503" y="5087"/>
                </a:lnTo>
                <a:lnTo>
                  <a:pt x="7733" y="5087"/>
                </a:lnTo>
                <a:lnTo>
                  <a:pt x="7733" y="4113"/>
                </a:lnTo>
                <a:lnTo>
                  <a:pt x="7625" y="3680"/>
                </a:lnTo>
                <a:lnTo>
                  <a:pt x="7518" y="3247"/>
                </a:lnTo>
                <a:lnTo>
                  <a:pt x="7411" y="2922"/>
                </a:lnTo>
                <a:lnTo>
                  <a:pt x="7303" y="2489"/>
                </a:lnTo>
                <a:lnTo>
                  <a:pt x="7196" y="2165"/>
                </a:lnTo>
                <a:lnTo>
                  <a:pt x="6981" y="1840"/>
                </a:lnTo>
                <a:lnTo>
                  <a:pt x="6766" y="1623"/>
                </a:lnTo>
                <a:lnTo>
                  <a:pt x="6659" y="1299"/>
                </a:lnTo>
                <a:lnTo>
                  <a:pt x="6444" y="1082"/>
                </a:lnTo>
                <a:lnTo>
                  <a:pt x="6229" y="866"/>
                </a:lnTo>
                <a:lnTo>
                  <a:pt x="6014" y="649"/>
                </a:lnTo>
                <a:lnTo>
                  <a:pt x="5692" y="541"/>
                </a:lnTo>
                <a:lnTo>
                  <a:pt x="5477" y="324"/>
                </a:lnTo>
                <a:lnTo>
                  <a:pt x="5155" y="216"/>
                </a:lnTo>
                <a:lnTo>
                  <a:pt x="4940" y="108"/>
                </a:lnTo>
                <a:lnTo>
                  <a:pt x="4618" y="108"/>
                </a:lnTo>
                <a:lnTo>
                  <a:pt x="4296" y="0"/>
                </a:lnTo>
                <a:lnTo>
                  <a:pt x="3651" y="0"/>
                </a:lnTo>
                <a:lnTo>
                  <a:pt x="3329" y="108"/>
                </a:lnTo>
                <a:lnTo>
                  <a:pt x="2899" y="216"/>
                </a:lnTo>
                <a:lnTo>
                  <a:pt x="2577" y="324"/>
                </a:lnTo>
                <a:lnTo>
                  <a:pt x="2148" y="541"/>
                </a:lnTo>
                <a:lnTo>
                  <a:pt x="1825" y="757"/>
                </a:lnTo>
                <a:lnTo>
                  <a:pt x="1718" y="3031"/>
                </a:lnTo>
                <a:lnTo>
                  <a:pt x="1825" y="2706"/>
                </a:lnTo>
                <a:lnTo>
                  <a:pt x="2040" y="2489"/>
                </a:lnTo>
                <a:lnTo>
                  <a:pt x="2255" y="2273"/>
                </a:lnTo>
                <a:lnTo>
                  <a:pt x="2470" y="2056"/>
                </a:lnTo>
                <a:lnTo>
                  <a:pt x="2685" y="1840"/>
                </a:lnTo>
                <a:lnTo>
                  <a:pt x="3007" y="1623"/>
                </a:lnTo>
                <a:lnTo>
                  <a:pt x="3329" y="1515"/>
                </a:lnTo>
                <a:lnTo>
                  <a:pt x="3544" y="1407"/>
                </a:lnTo>
                <a:lnTo>
                  <a:pt x="3866" y="1407"/>
                </a:lnTo>
                <a:lnTo>
                  <a:pt x="4403" y="1515"/>
                </a:lnTo>
                <a:lnTo>
                  <a:pt x="4940" y="1623"/>
                </a:lnTo>
                <a:lnTo>
                  <a:pt x="5262" y="1840"/>
                </a:lnTo>
                <a:lnTo>
                  <a:pt x="5585" y="2165"/>
                </a:lnTo>
                <a:lnTo>
                  <a:pt x="5907" y="2489"/>
                </a:lnTo>
                <a:lnTo>
                  <a:pt x="6122" y="2922"/>
                </a:lnTo>
                <a:lnTo>
                  <a:pt x="6229" y="3464"/>
                </a:lnTo>
                <a:lnTo>
                  <a:pt x="6229" y="4005"/>
                </a:lnTo>
                <a:lnTo>
                  <a:pt x="1503" y="4005"/>
                </a:lnTo>
                <a:lnTo>
                  <a:pt x="1503" y="974"/>
                </a:lnTo>
                <a:lnTo>
                  <a:pt x="1288" y="1299"/>
                </a:lnTo>
                <a:lnTo>
                  <a:pt x="966" y="1623"/>
                </a:lnTo>
                <a:lnTo>
                  <a:pt x="751" y="1948"/>
                </a:lnTo>
                <a:lnTo>
                  <a:pt x="537" y="2381"/>
                </a:lnTo>
                <a:lnTo>
                  <a:pt x="322" y="2814"/>
                </a:lnTo>
                <a:lnTo>
                  <a:pt x="214" y="3355"/>
                </a:lnTo>
                <a:lnTo>
                  <a:pt x="107" y="3788"/>
                </a:lnTo>
                <a:lnTo>
                  <a:pt x="0" y="4330"/>
                </a:lnTo>
                <a:lnTo>
                  <a:pt x="0" y="4871"/>
                </a:lnTo>
                <a:lnTo>
                  <a:pt x="107" y="5629"/>
                </a:lnTo>
                <a:lnTo>
                  <a:pt x="214" y="6387"/>
                </a:lnTo>
                <a:lnTo>
                  <a:pt x="537" y="7036"/>
                </a:lnTo>
                <a:lnTo>
                  <a:pt x="859" y="7686"/>
                </a:lnTo>
                <a:lnTo>
                  <a:pt x="1074" y="8010"/>
                </a:lnTo>
                <a:lnTo>
                  <a:pt x="1396" y="8335"/>
                </a:lnTo>
                <a:lnTo>
                  <a:pt x="1718" y="8552"/>
                </a:lnTo>
                <a:close/>
              </a:path>
            </a:pathLst>
          </a:custGeom>
          <a:solidFill>
            <a:srgbClr val="000000"/>
          </a:solidFill>
        </p:spPr>
        <p:txBody>
          <a:bodyPr wrap="square" lIns="0" tIns="0" rIns="0" bIns="0" rtlCol="0">
            <a:noAutofit/>
          </a:bodyPr>
          <a:lstStyle/>
          <a:p>
            <a:endParaRPr/>
          </a:p>
        </p:txBody>
      </p:sp>
      <p:sp>
        <p:nvSpPr>
          <p:cNvPr id="1013" name="object 1013"/>
          <p:cNvSpPr/>
          <p:nvPr/>
        </p:nvSpPr>
        <p:spPr>
          <a:xfrm>
            <a:off x="3405795" y="2000438"/>
            <a:ext cx="10418" cy="12232"/>
          </a:xfrm>
          <a:custGeom>
            <a:avLst/>
            <a:gdLst/>
            <a:ahLst/>
            <a:cxnLst/>
            <a:rect l="l" t="t" r="r" b="b"/>
            <a:pathLst>
              <a:path w="10418" h="12232">
                <a:moveTo>
                  <a:pt x="107" y="6170"/>
                </a:moveTo>
                <a:lnTo>
                  <a:pt x="107" y="6928"/>
                </a:lnTo>
                <a:lnTo>
                  <a:pt x="214" y="7577"/>
                </a:lnTo>
                <a:lnTo>
                  <a:pt x="322" y="8119"/>
                </a:lnTo>
                <a:lnTo>
                  <a:pt x="429" y="8660"/>
                </a:lnTo>
                <a:lnTo>
                  <a:pt x="644" y="9201"/>
                </a:lnTo>
                <a:lnTo>
                  <a:pt x="859" y="9742"/>
                </a:lnTo>
                <a:lnTo>
                  <a:pt x="1074" y="10175"/>
                </a:lnTo>
                <a:lnTo>
                  <a:pt x="1396" y="10608"/>
                </a:lnTo>
                <a:lnTo>
                  <a:pt x="1718" y="11041"/>
                </a:lnTo>
                <a:lnTo>
                  <a:pt x="2148" y="11366"/>
                </a:lnTo>
                <a:lnTo>
                  <a:pt x="2577" y="11691"/>
                </a:lnTo>
                <a:lnTo>
                  <a:pt x="3114" y="11908"/>
                </a:lnTo>
                <a:lnTo>
                  <a:pt x="3651" y="12016"/>
                </a:lnTo>
                <a:lnTo>
                  <a:pt x="4188" y="12124"/>
                </a:lnTo>
                <a:lnTo>
                  <a:pt x="4833" y="12232"/>
                </a:lnTo>
                <a:lnTo>
                  <a:pt x="6122" y="12232"/>
                </a:lnTo>
                <a:lnTo>
                  <a:pt x="6766" y="12124"/>
                </a:lnTo>
                <a:lnTo>
                  <a:pt x="7411" y="11908"/>
                </a:lnTo>
                <a:lnTo>
                  <a:pt x="7948" y="11691"/>
                </a:lnTo>
                <a:lnTo>
                  <a:pt x="8377" y="11366"/>
                </a:lnTo>
                <a:lnTo>
                  <a:pt x="8914" y="10933"/>
                </a:lnTo>
                <a:lnTo>
                  <a:pt x="9344" y="10500"/>
                </a:lnTo>
                <a:lnTo>
                  <a:pt x="9666" y="10067"/>
                </a:lnTo>
                <a:lnTo>
                  <a:pt x="9988" y="9526"/>
                </a:lnTo>
                <a:lnTo>
                  <a:pt x="10203" y="8985"/>
                </a:lnTo>
                <a:lnTo>
                  <a:pt x="10310" y="8335"/>
                </a:lnTo>
                <a:lnTo>
                  <a:pt x="10418" y="7686"/>
                </a:lnTo>
                <a:lnTo>
                  <a:pt x="8914" y="7686"/>
                </a:lnTo>
                <a:lnTo>
                  <a:pt x="8699" y="8443"/>
                </a:lnTo>
                <a:lnTo>
                  <a:pt x="8485" y="9093"/>
                </a:lnTo>
                <a:lnTo>
                  <a:pt x="8162" y="9634"/>
                </a:lnTo>
                <a:lnTo>
                  <a:pt x="7733" y="10067"/>
                </a:lnTo>
                <a:lnTo>
                  <a:pt x="7303" y="10392"/>
                </a:lnTo>
                <a:lnTo>
                  <a:pt x="6659" y="10717"/>
                </a:lnTo>
                <a:lnTo>
                  <a:pt x="6014" y="10825"/>
                </a:lnTo>
                <a:lnTo>
                  <a:pt x="5262" y="10933"/>
                </a:lnTo>
                <a:lnTo>
                  <a:pt x="4833" y="10933"/>
                </a:lnTo>
                <a:lnTo>
                  <a:pt x="4511" y="10825"/>
                </a:lnTo>
                <a:lnTo>
                  <a:pt x="4188" y="10825"/>
                </a:lnTo>
                <a:lnTo>
                  <a:pt x="3866" y="10717"/>
                </a:lnTo>
                <a:lnTo>
                  <a:pt x="3544" y="10500"/>
                </a:lnTo>
                <a:lnTo>
                  <a:pt x="3329" y="10284"/>
                </a:lnTo>
                <a:lnTo>
                  <a:pt x="3007" y="10067"/>
                </a:lnTo>
                <a:lnTo>
                  <a:pt x="2792" y="9851"/>
                </a:lnTo>
                <a:lnTo>
                  <a:pt x="2470" y="9526"/>
                </a:lnTo>
                <a:lnTo>
                  <a:pt x="2255" y="9093"/>
                </a:lnTo>
                <a:lnTo>
                  <a:pt x="2148" y="8660"/>
                </a:lnTo>
                <a:lnTo>
                  <a:pt x="1933" y="8227"/>
                </a:lnTo>
                <a:lnTo>
                  <a:pt x="1825" y="7794"/>
                </a:lnTo>
                <a:lnTo>
                  <a:pt x="1718" y="7253"/>
                </a:lnTo>
                <a:lnTo>
                  <a:pt x="1718" y="5412"/>
                </a:lnTo>
                <a:lnTo>
                  <a:pt x="1825" y="4871"/>
                </a:lnTo>
                <a:lnTo>
                  <a:pt x="1933" y="4438"/>
                </a:lnTo>
                <a:lnTo>
                  <a:pt x="2040" y="3897"/>
                </a:lnTo>
                <a:lnTo>
                  <a:pt x="2255" y="3464"/>
                </a:lnTo>
                <a:lnTo>
                  <a:pt x="2470" y="3031"/>
                </a:lnTo>
                <a:lnTo>
                  <a:pt x="2792" y="2598"/>
                </a:lnTo>
                <a:lnTo>
                  <a:pt x="3114" y="2273"/>
                </a:lnTo>
                <a:lnTo>
                  <a:pt x="3436" y="1948"/>
                </a:lnTo>
                <a:lnTo>
                  <a:pt x="3866" y="1732"/>
                </a:lnTo>
                <a:lnTo>
                  <a:pt x="4296" y="1623"/>
                </a:lnTo>
                <a:lnTo>
                  <a:pt x="4725" y="1515"/>
                </a:lnTo>
                <a:lnTo>
                  <a:pt x="5155" y="1515"/>
                </a:lnTo>
                <a:lnTo>
                  <a:pt x="6229" y="1407"/>
                </a:lnTo>
                <a:lnTo>
                  <a:pt x="6766" y="1515"/>
                </a:lnTo>
                <a:lnTo>
                  <a:pt x="7196" y="1732"/>
                </a:lnTo>
                <a:lnTo>
                  <a:pt x="7625" y="2056"/>
                </a:lnTo>
                <a:lnTo>
                  <a:pt x="8055" y="2381"/>
                </a:lnTo>
                <a:lnTo>
                  <a:pt x="8377" y="2706"/>
                </a:lnTo>
                <a:lnTo>
                  <a:pt x="8592" y="3247"/>
                </a:lnTo>
                <a:lnTo>
                  <a:pt x="8807" y="3788"/>
                </a:lnTo>
                <a:lnTo>
                  <a:pt x="10310" y="3788"/>
                </a:lnTo>
                <a:lnTo>
                  <a:pt x="10203" y="3139"/>
                </a:lnTo>
                <a:lnTo>
                  <a:pt x="9988" y="2489"/>
                </a:lnTo>
                <a:lnTo>
                  <a:pt x="9666" y="1948"/>
                </a:lnTo>
                <a:lnTo>
                  <a:pt x="9236" y="1515"/>
                </a:lnTo>
                <a:lnTo>
                  <a:pt x="8807" y="1082"/>
                </a:lnTo>
                <a:lnTo>
                  <a:pt x="8377" y="757"/>
                </a:lnTo>
                <a:lnTo>
                  <a:pt x="7948" y="541"/>
                </a:lnTo>
                <a:lnTo>
                  <a:pt x="7411" y="324"/>
                </a:lnTo>
                <a:lnTo>
                  <a:pt x="6873" y="216"/>
                </a:lnTo>
                <a:lnTo>
                  <a:pt x="6444" y="108"/>
                </a:lnTo>
                <a:lnTo>
                  <a:pt x="5907" y="0"/>
                </a:lnTo>
                <a:lnTo>
                  <a:pt x="5370" y="0"/>
                </a:lnTo>
                <a:lnTo>
                  <a:pt x="4511" y="108"/>
                </a:lnTo>
                <a:lnTo>
                  <a:pt x="3759" y="324"/>
                </a:lnTo>
                <a:lnTo>
                  <a:pt x="3007" y="649"/>
                </a:lnTo>
                <a:lnTo>
                  <a:pt x="2362" y="974"/>
                </a:lnTo>
                <a:lnTo>
                  <a:pt x="1825" y="1515"/>
                </a:lnTo>
                <a:lnTo>
                  <a:pt x="1288" y="1948"/>
                </a:lnTo>
                <a:lnTo>
                  <a:pt x="859" y="2489"/>
                </a:lnTo>
                <a:lnTo>
                  <a:pt x="537" y="3139"/>
                </a:lnTo>
                <a:lnTo>
                  <a:pt x="322" y="3788"/>
                </a:lnTo>
                <a:lnTo>
                  <a:pt x="107" y="4546"/>
                </a:lnTo>
                <a:lnTo>
                  <a:pt x="0" y="5196"/>
                </a:lnTo>
                <a:lnTo>
                  <a:pt x="0" y="6170"/>
                </a:lnTo>
                <a:close/>
              </a:path>
            </a:pathLst>
          </a:custGeom>
          <a:solidFill>
            <a:srgbClr val="000000"/>
          </a:solidFill>
        </p:spPr>
        <p:txBody>
          <a:bodyPr wrap="square" lIns="0" tIns="0" rIns="0" bIns="0" rtlCol="0">
            <a:noAutofit/>
          </a:bodyPr>
          <a:lstStyle/>
          <a:p>
            <a:endParaRPr/>
          </a:p>
        </p:txBody>
      </p:sp>
      <p:sp>
        <p:nvSpPr>
          <p:cNvPr id="1014" name="object 1014"/>
          <p:cNvSpPr/>
          <p:nvPr/>
        </p:nvSpPr>
        <p:spPr>
          <a:xfrm>
            <a:off x="3417396" y="2003686"/>
            <a:ext cx="7733" cy="8876"/>
          </a:xfrm>
          <a:custGeom>
            <a:avLst/>
            <a:gdLst/>
            <a:ahLst/>
            <a:cxnLst/>
            <a:rect l="l" t="t" r="r" b="b"/>
            <a:pathLst>
              <a:path w="7733" h="8876">
                <a:moveTo>
                  <a:pt x="4511" y="8876"/>
                </a:moveTo>
                <a:lnTo>
                  <a:pt x="5048" y="8768"/>
                </a:lnTo>
                <a:lnTo>
                  <a:pt x="5477" y="8552"/>
                </a:lnTo>
                <a:lnTo>
                  <a:pt x="6014" y="8335"/>
                </a:lnTo>
                <a:lnTo>
                  <a:pt x="6444" y="8010"/>
                </a:lnTo>
                <a:lnTo>
                  <a:pt x="6766" y="7577"/>
                </a:lnTo>
                <a:lnTo>
                  <a:pt x="7088" y="7144"/>
                </a:lnTo>
                <a:lnTo>
                  <a:pt x="7303" y="6603"/>
                </a:lnTo>
                <a:lnTo>
                  <a:pt x="7518" y="6062"/>
                </a:lnTo>
                <a:lnTo>
                  <a:pt x="7625" y="5520"/>
                </a:lnTo>
                <a:lnTo>
                  <a:pt x="7733" y="4979"/>
                </a:lnTo>
                <a:lnTo>
                  <a:pt x="7733" y="3897"/>
                </a:lnTo>
                <a:lnTo>
                  <a:pt x="7625" y="3355"/>
                </a:lnTo>
                <a:lnTo>
                  <a:pt x="7518" y="2814"/>
                </a:lnTo>
                <a:lnTo>
                  <a:pt x="7303" y="2273"/>
                </a:lnTo>
                <a:lnTo>
                  <a:pt x="7088" y="1840"/>
                </a:lnTo>
                <a:lnTo>
                  <a:pt x="6766" y="1407"/>
                </a:lnTo>
                <a:lnTo>
                  <a:pt x="6444" y="974"/>
                </a:lnTo>
                <a:lnTo>
                  <a:pt x="6014" y="649"/>
                </a:lnTo>
                <a:lnTo>
                  <a:pt x="5477" y="324"/>
                </a:lnTo>
                <a:lnTo>
                  <a:pt x="5048" y="108"/>
                </a:lnTo>
                <a:lnTo>
                  <a:pt x="4511" y="0"/>
                </a:lnTo>
                <a:lnTo>
                  <a:pt x="3222" y="0"/>
                </a:lnTo>
                <a:lnTo>
                  <a:pt x="2685" y="108"/>
                </a:lnTo>
                <a:lnTo>
                  <a:pt x="2255" y="324"/>
                </a:lnTo>
                <a:lnTo>
                  <a:pt x="1718" y="649"/>
                </a:lnTo>
                <a:lnTo>
                  <a:pt x="1288" y="974"/>
                </a:lnTo>
                <a:lnTo>
                  <a:pt x="966" y="1299"/>
                </a:lnTo>
                <a:lnTo>
                  <a:pt x="644" y="1840"/>
                </a:lnTo>
                <a:lnTo>
                  <a:pt x="429" y="2273"/>
                </a:lnTo>
                <a:lnTo>
                  <a:pt x="322" y="2814"/>
                </a:lnTo>
                <a:lnTo>
                  <a:pt x="107" y="3355"/>
                </a:lnTo>
                <a:lnTo>
                  <a:pt x="0" y="3897"/>
                </a:lnTo>
                <a:lnTo>
                  <a:pt x="0" y="4979"/>
                </a:lnTo>
                <a:lnTo>
                  <a:pt x="107" y="5520"/>
                </a:lnTo>
                <a:lnTo>
                  <a:pt x="322" y="6062"/>
                </a:lnTo>
                <a:lnTo>
                  <a:pt x="429" y="6603"/>
                </a:lnTo>
                <a:lnTo>
                  <a:pt x="644" y="7144"/>
                </a:lnTo>
                <a:lnTo>
                  <a:pt x="966" y="7577"/>
                </a:lnTo>
                <a:lnTo>
                  <a:pt x="1288" y="8010"/>
                </a:lnTo>
                <a:lnTo>
                  <a:pt x="1718" y="8335"/>
                </a:lnTo>
                <a:lnTo>
                  <a:pt x="1396" y="4763"/>
                </a:lnTo>
                <a:lnTo>
                  <a:pt x="1396" y="3897"/>
                </a:lnTo>
                <a:lnTo>
                  <a:pt x="1503" y="3355"/>
                </a:lnTo>
                <a:lnTo>
                  <a:pt x="1718" y="2814"/>
                </a:lnTo>
                <a:lnTo>
                  <a:pt x="1933" y="2273"/>
                </a:lnTo>
                <a:lnTo>
                  <a:pt x="2255" y="1840"/>
                </a:lnTo>
                <a:lnTo>
                  <a:pt x="2792" y="1515"/>
                </a:lnTo>
                <a:lnTo>
                  <a:pt x="3222" y="1299"/>
                </a:lnTo>
                <a:lnTo>
                  <a:pt x="3866" y="1190"/>
                </a:lnTo>
                <a:lnTo>
                  <a:pt x="4296" y="1190"/>
                </a:lnTo>
                <a:lnTo>
                  <a:pt x="4725" y="1299"/>
                </a:lnTo>
                <a:lnTo>
                  <a:pt x="5048" y="1515"/>
                </a:lnTo>
                <a:lnTo>
                  <a:pt x="5370" y="1732"/>
                </a:lnTo>
                <a:lnTo>
                  <a:pt x="5585" y="1948"/>
                </a:lnTo>
                <a:lnTo>
                  <a:pt x="5799" y="2273"/>
                </a:lnTo>
                <a:lnTo>
                  <a:pt x="6014" y="2598"/>
                </a:lnTo>
                <a:lnTo>
                  <a:pt x="6122" y="3031"/>
                </a:lnTo>
                <a:lnTo>
                  <a:pt x="6229" y="3355"/>
                </a:lnTo>
                <a:lnTo>
                  <a:pt x="6229" y="3680"/>
                </a:lnTo>
                <a:lnTo>
                  <a:pt x="6336" y="4113"/>
                </a:lnTo>
                <a:lnTo>
                  <a:pt x="6336" y="4763"/>
                </a:lnTo>
                <a:lnTo>
                  <a:pt x="6229" y="5087"/>
                </a:lnTo>
                <a:lnTo>
                  <a:pt x="6229" y="5520"/>
                </a:lnTo>
                <a:lnTo>
                  <a:pt x="6122" y="5845"/>
                </a:lnTo>
                <a:lnTo>
                  <a:pt x="6014" y="6278"/>
                </a:lnTo>
                <a:lnTo>
                  <a:pt x="5799" y="6603"/>
                </a:lnTo>
                <a:lnTo>
                  <a:pt x="5585" y="6928"/>
                </a:lnTo>
                <a:lnTo>
                  <a:pt x="5370" y="7144"/>
                </a:lnTo>
                <a:lnTo>
                  <a:pt x="5048" y="7361"/>
                </a:lnTo>
                <a:lnTo>
                  <a:pt x="4725" y="7577"/>
                </a:lnTo>
                <a:lnTo>
                  <a:pt x="4296" y="7686"/>
                </a:lnTo>
                <a:lnTo>
                  <a:pt x="3436" y="7686"/>
                </a:lnTo>
                <a:lnTo>
                  <a:pt x="3007" y="7577"/>
                </a:lnTo>
                <a:lnTo>
                  <a:pt x="2685" y="7361"/>
                </a:lnTo>
                <a:lnTo>
                  <a:pt x="2362" y="7144"/>
                </a:lnTo>
                <a:lnTo>
                  <a:pt x="2148" y="6928"/>
                </a:lnTo>
                <a:lnTo>
                  <a:pt x="1933" y="6603"/>
                </a:lnTo>
                <a:lnTo>
                  <a:pt x="2255" y="8552"/>
                </a:lnTo>
                <a:lnTo>
                  <a:pt x="2685" y="8768"/>
                </a:lnTo>
                <a:lnTo>
                  <a:pt x="3222" y="8876"/>
                </a:lnTo>
                <a:lnTo>
                  <a:pt x="4511" y="8876"/>
                </a:lnTo>
                <a:close/>
              </a:path>
            </a:pathLst>
          </a:custGeom>
          <a:solidFill>
            <a:srgbClr val="000000"/>
          </a:solidFill>
        </p:spPr>
        <p:txBody>
          <a:bodyPr wrap="square" lIns="0" tIns="0" rIns="0" bIns="0" rtlCol="0">
            <a:noAutofit/>
          </a:bodyPr>
          <a:lstStyle/>
          <a:p>
            <a:endParaRPr/>
          </a:p>
        </p:txBody>
      </p:sp>
      <p:sp>
        <p:nvSpPr>
          <p:cNvPr id="1015" name="object 1015"/>
          <p:cNvSpPr/>
          <p:nvPr/>
        </p:nvSpPr>
        <p:spPr>
          <a:xfrm>
            <a:off x="4009524" y="2002495"/>
            <a:ext cx="3866" cy="11150"/>
          </a:xfrm>
          <a:custGeom>
            <a:avLst/>
            <a:gdLst/>
            <a:ahLst/>
            <a:cxnLst/>
            <a:rect l="l" t="t" r="r" b="b"/>
            <a:pathLst>
              <a:path w="3866" h="11150">
                <a:moveTo>
                  <a:pt x="2470" y="2381"/>
                </a:moveTo>
                <a:lnTo>
                  <a:pt x="2470" y="0"/>
                </a:lnTo>
                <a:lnTo>
                  <a:pt x="1074" y="0"/>
                </a:lnTo>
                <a:lnTo>
                  <a:pt x="1074" y="2381"/>
                </a:lnTo>
                <a:lnTo>
                  <a:pt x="0" y="2381"/>
                </a:lnTo>
                <a:lnTo>
                  <a:pt x="0" y="3788"/>
                </a:lnTo>
                <a:lnTo>
                  <a:pt x="1074" y="3788"/>
                </a:lnTo>
                <a:lnTo>
                  <a:pt x="1074" y="9959"/>
                </a:lnTo>
                <a:lnTo>
                  <a:pt x="1181" y="10284"/>
                </a:lnTo>
                <a:lnTo>
                  <a:pt x="1288" y="10500"/>
                </a:lnTo>
                <a:lnTo>
                  <a:pt x="1396" y="10717"/>
                </a:lnTo>
                <a:lnTo>
                  <a:pt x="1611" y="10825"/>
                </a:lnTo>
                <a:lnTo>
                  <a:pt x="1825" y="10933"/>
                </a:lnTo>
                <a:lnTo>
                  <a:pt x="2148" y="11041"/>
                </a:lnTo>
                <a:lnTo>
                  <a:pt x="2470" y="11150"/>
                </a:lnTo>
                <a:lnTo>
                  <a:pt x="3544" y="11150"/>
                </a:lnTo>
                <a:lnTo>
                  <a:pt x="3866" y="11041"/>
                </a:lnTo>
                <a:lnTo>
                  <a:pt x="3866" y="9851"/>
                </a:lnTo>
                <a:lnTo>
                  <a:pt x="3329" y="9851"/>
                </a:lnTo>
                <a:lnTo>
                  <a:pt x="3114" y="9959"/>
                </a:lnTo>
                <a:lnTo>
                  <a:pt x="2792" y="9851"/>
                </a:lnTo>
                <a:lnTo>
                  <a:pt x="2577" y="9634"/>
                </a:lnTo>
                <a:lnTo>
                  <a:pt x="2470" y="9309"/>
                </a:lnTo>
                <a:lnTo>
                  <a:pt x="2470" y="3788"/>
                </a:lnTo>
                <a:lnTo>
                  <a:pt x="3866" y="3788"/>
                </a:lnTo>
                <a:lnTo>
                  <a:pt x="3866" y="2381"/>
                </a:lnTo>
                <a:lnTo>
                  <a:pt x="2470" y="2381"/>
                </a:lnTo>
                <a:close/>
              </a:path>
            </a:pathLst>
          </a:custGeom>
          <a:solidFill>
            <a:srgbClr val="000000"/>
          </a:solidFill>
        </p:spPr>
        <p:txBody>
          <a:bodyPr wrap="square" lIns="0" tIns="0" rIns="0" bIns="0" rtlCol="0">
            <a:noAutofit/>
          </a:bodyPr>
          <a:lstStyle/>
          <a:p>
            <a:endParaRPr/>
          </a:p>
        </p:txBody>
      </p:sp>
      <p:sp>
        <p:nvSpPr>
          <p:cNvPr id="1016" name="object 1016"/>
          <p:cNvSpPr/>
          <p:nvPr/>
        </p:nvSpPr>
        <p:spPr>
          <a:xfrm>
            <a:off x="3944007" y="2001737"/>
            <a:ext cx="9129" cy="11908"/>
          </a:xfrm>
          <a:custGeom>
            <a:avLst/>
            <a:gdLst/>
            <a:ahLst/>
            <a:cxnLst/>
            <a:rect l="l" t="t" r="r" b="b"/>
            <a:pathLst>
              <a:path w="9129" h="11908">
                <a:moveTo>
                  <a:pt x="1825" y="9201"/>
                </a:moveTo>
                <a:lnTo>
                  <a:pt x="1718" y="8876"/>
                </a:lnTo>
                <a:lnTo>
                  <a:pt x="1611" y="8443"/>
                </a:lnTo>
                <a:lnTo>
                  <a:pt x="1503" y="8010"/>
                </a:lnTo>
                <a:lnTo>
                  <a:pt x="1503" y="0"/>
                </a:lnTo>
                <a:lnTo>
                  <a:pt x="0" y="0"/>
                </a:lnTo>
                <a:lnTo>
                  <a:pt x="0" y="8552"/>
                </a:lnTo>
                <a:lnTo>
                  <a:pt x="214" y="9093"/>
                </a:lnTo>
                <a:lnTo>
                  <a:pt x="322" y="9634"/>
                </a:lnTo>
                <a:lnTo>
                  <a:pt x="644" y="10067"/>
                </a:lnTo>
                <a:lnTo>
                  <a:pt x="966" y="10500"/>
                </a:lnTo>
                <a:lnTo>
                  <a:pt x="1396" y="10933"/>
                </a:lnTo>
                <a:lnTo>
                  <a:pt x="1825" y="11258"/>
                </a:lnTo>
                <a:lnTo>
                  <a:pt x="2255" y="11583"/>
                </a:lnTo>
                <a:lnTo>
                  <a:pt x="2792" y="11691"/>
                </a:lnTo>
                <a:lnTo>
                  <a:pt x="3329" y="11799"/>
                </a:lnTo>
                <a:lnTo>
                  <a:pt x="3866" y="11908"/>
                </a:lnTo>
                <a:lnTo>
                  <a:pt x="5048" y="11908"/>
                </a:lnTo>
                <a:lnTo>
                  <a:pt x="5692" y="11799"/>
                </a:lnTo>
                <a:lnTo>
                  <a:pt x="6336" y="11583"/>
                </a:lnTo>
                <a:lnTo>
                  <a:pt x="6873" y="11475"/>
                </a:lnTo>
                <a:lnTo>
                  <a:pt x="7303" y="11150"/>
                </a:lnTo>
                <a:lnTo>
                  <a:pt x="7840" y="10825"/>
                </a:lnTo>
                <a:lnTo>
                  <a:pt x="8162" y="10392"/>
                </a:lnTo>
                <a:lnTo>
                  <a:pt x="8485" y="9959"/>
                </a:lnTo>
                <a:lnTo>
                  <a:pt x="8807" y="9526"/>
                </a:lnTo>
                <a:lnTo>
                  <a:pt x="9022" y="8985"/>
                </a:lnTo>
                <a:lnTo>
                  <a:pt x="9129" y="8443"/>
                </a:lnTo>
                <a:lnTo>
                  <a:pt x="9129" y="0"/>
                </a:lnTo>
                <a:lnTo>
                  <a:pt x="7625" y="0"/>
                </a:lnTo>
                <a:lnTo>
                  <a:pt x="7625" y="8119"/>
                </a:lnTo>
                <a:lnTo>
                  <a:pt x="7518" y="8443"/>
                </a:lnTo>
                <a:lnTo>
                  <a:pt x="7303" y="8876"/>
                </a:lnTo>
                <a:lnTo>
                  <a:pt x="7196" y="9201"/>
                </a:lnTo>
                <a:lnTo>
                  <a:pt x="6981" y="9526"/>
                </a:lnTo>
                <a:lnTo>
                  <a:pt x="6766" y="9742"/>
                </a:lnTo>
                <a:lnTo>
                  <a:pt x="6444" y="10067"/>
                </a:lnTo>
                <a:lnTo>
                  <a:pt x="6122" y="10284"/>
                </a:lnTo>
                <a:lnTo>
                  <a:pt x="5799" y="10392"/>
                </a:lnTo>
                <a:lnTo>
                  <a:pt x="5370" y="10500"/>
                </a:lnTo>
                <a:lnTo>
                  <a:pt x="4940" y="10608"/>
                </a:lnTo>
                <a:lnTo>
                  <a:pt x="4081" y="10608"/>
                </a:lnTo>
                <a:lnTo>
                  <a:pt x="3651" y="10500"/>
                </a:lnTo>
                <a:lnTo>
                  <a:pt x="3222" y="10392"/>
                </a:lnTo>
                <a:lnTo>
                  <a:pt x="2899" y="10284"/>
                </a:lnTo>
                <a:lnTo>
                  <a:pt x="2577" y="10067"/>
                </a:lnTo>
                <a:lnTo>
                  <a:pt x="2255" y="9742"/>
                </a:lnTo>
                <a:lnTo>
                  <a:pt x="2040" y="9526"/>
                </a:lnTo>
                <a:lnTo>
                  <a:pt x="1825" y="9201"/>
                </a:lnTo>
                <a:close/>
              </a:path>
            </a:pathLst>
          </a:custGeom>
          <a:solidFill>
            <a:srgbClr val="000000"/>
          </a:solidFill>
        </p:spPr>
        <p:txBody>
          <a:bodyPr wrap="square" lIns="0" tIns="0" rIns="0" bIns="0" rtlCol="0">
            <a:noAutofit/>
          </a:bodyPr>
          <a:lstStyle/>
          <a:p>
            <a:endParaRPr/>
          </a:p>
        </p:txBody>
      </p:sp>
      <p:sp>
        <p:nvSpPr>
          <p:cNvPr id="1017" name="object 1017"/>
          <p:cNvSpPr/>
          <p:nvPr/>
        </p:nvSpPr>
        <p:spPr>
          <a:xfrm>
            <a:off x="3955392" y="2004660"/>
            <a:ext cx="6873" cy="8660"/>
          </a:xfrm>
          <a:custGeom>
            <a:avLst/>
            <a:gdLst/>
            <a:ahLst/>
            <a:cxnLst/>
            <a:rect l="l" t="t" r="r" b="b"/>
            <a:pathLst>
              <a:path w="6873" h="8660">
                <a:moveTo>
                  <a:pt x="1396" y="8660"/>
                </a:moveTo>
                <a:lnTo>
                  <a:pt x="1396" y="3464"/>
                </a:lnTo>
                <a:lnTo>
                  <a:pt x="1503" y="3139"/>
                </a:lnTo>
                <a:lnTo>
                  <a:pt x="1611" y="2814"/>
                </a:lnTo>
                <a:lnTo>
                  <a:pt x="1718" y="2489"/>
                </a:lnTo>
                <a:lnTo>
                  <a:pt x="1825" y="2165"/>
                </a:lnTo>
                <a:lnTo>
                  <a:pt x="2040" y="1948"/>
                </a:lnTo>
                <a:lnTo>
                  <a:pt x="2255" y="1732"/>
                </a:lnTo>
                <a:lnTo>
                  <a:pt x="2577" y="1515"/>
                </a:lnTo>
                <a:lnTo>
                  <a:pt x="2792" y="1407"/>
                </a:lnTo>
                <a:lnTo>
                  <a:pt x="3114" y="1299"/>
                </a:lnTo>
                <a:lnTo>
                  <a:pt x="3436" y="1190"/>
                </a:lnTo>
                <a:lnTo>
                  <a:pt x="4296" y="1190"/>
                </a:lnTo>
                <a:lnTo>
                  <a:pt x="4725" y="1299"/>
                </a:lnTo>
                <a:lnTo>
                  <a:pt x="4940" y="1515"/>
                </a:lnTo>
                <a:lnTo>
                  <a:pt x="5155" y="1840"/>
                </a:lnTo>
                <a:lnTo>
                  <a:pt x="5262" y="2165"/>
                </a:lnTo>
                <a:lnTo>
                  <a:pt x="5370" y="2489"/>
                </a:lnTo>
                <a:lnTo>
                  <a:pt x="5477" y="2922"/>
                </a:lnTo>
                <a:lnTo>
                  <a:pt x="5477" y="8660"/>
                </a:lnTo>
                <a:lnTo>
                  <a:pt x="6873" y="8660"/>
                </a:lnTo>
                <a:lnTo>
                  <a:pt x="6873" y="2489"/>
                </a:lnTo>
                <a:lnTo>
                  <a:pt x="6766" y="2056"/>
                </a:lnTo>
                <a:lnTo>
                  <a:pt x="6659" y="1623"/>
                </a:lnTo>
                <a:lnTo>
                  <a:pt x="6551" y="1299"/>
                </a:lnTo>
                <a:lnTo>
                  <a:pt x="6336" y="974"/>
                </a:lnTo>
                <a:lnTo>
                  <a:pt x="6122" y="757"/>
                </a:lnTo>
                <a:lnTo>
                  <a:pt x="5907" y="541"/>
                </a:lnTo>
                <a:lnTo>
                  <a:pt x="5585" y="324"/>
                </a:lnTo>
                <a:lnTo>
                  <a:pt x="5262" y="216"/>
                </a:lnTo>
                <a:lnTo>
                  <a:pt x="4833" y="108"/>
                </a:lnTo>
                <a:lnTo>
                  <a:pt x="4403" y="0"/>
                </a:lnTo>
                <a:lnTo>
                  <a:pt x="3544" y="0"/>
                </a:lnTo>
                <a:lnTo>
                  <a:pt x="3222" y="108"/>
                </a:lnTo>
                <a:lnTo>
                  <a:pt x="2899" y="108"/>
                </a:lnTo>
                <a:lnTo>
                  <a:pt x="2685" y="216"/>
                </a:lnTo>
                <a:lnTo>
                  <a:pt x="2362" y="324"/>
                </a:lnTo>
                <a:lnTo>
                  <a:pt x="2148" y="541"/>
                </a:lnTo>
                <a:lnTo>
                  <a:pt x="1933" y="649"/>
                </a:lnTo>
                <a:lnTo>
                  <a:pt x="1718" y="866"/>
                </a:lnTo>
                <a:lnTo>
                  <a:pt x="1503" y="1190"/>
                </a:lnTo>
                <a:lnTo>
                  <a:pt x="1288" y="1407"/>
                </a:lnTo>
                <a:lnTo>
                  <a:pt x="1288" y="216"/>
                </a:lnTo>
                <a:lnTo>
                  <a:pt x="0" y="216"/>
                </a:lnTo>
                <a:lnTo>
                  <a:pt x="0" y="8660"/>
                </a:lnTo>
                <a:lnTo>
                  <a:pt x="1396" y="8660"/>
                </a:lnTo>
                <a:close/>
              </a:path>
            </a:pathLst>
          </a:custGeom>
          <a:solidFill>
            <a:srgbClr val="000000"/>
          </a:solidFill>
        </p:spPr>
        <p:txBody>
          <a:bodyPr wrap="square" lIns="0" tIns="0" rIns="0" bIns="0" rtlCol="0">
            <a:noAutofit/>
          </a:bodyPr>
          <a:lstStyle/>
          <a:p>
            <a:endParaRPr/>
          </a:p>
        </p:txBody>
      </p:sp>
      <p:sp>
        <p:nvSpPr>
          <p:cNvPr id="1018" name="object 1018"/>
          <p:cNvSpPr/>
          <p:nvPr/>
        </p:nvSpPr>
        <p:spPr>
          <a:xfrm>
            <a:off x="3964413" y="2002549"/>
            <a:ext cx="1396" cy="0"/>
          </a:xfrm>
          <a:custGeom>
            <a:avLst/>
            <a:gdLst/>
            <a:ahLst/>
            <a:cxnLst/>
            <a:rect l="l" t="t" r="r" b="b"/>
            <a:pathLst>
              <a:path w="1396">
                <a:moveTo>
                  <a:pt x="0" y="0"/>
                </a:moveTo>
                <a:lnTo>
                  <a:pt x="1396" y="0"/>
                </a:lnTo>
              </a:path>
            </a:pathLst>
          </a:custGeom>
          <a:ln w="2893">
            <a:solidFill>
              <a:srgbClr val="000000"/>
            </a:solidFill>
          </a:ln>
        </p:spPr>
        <p:txBody>
          <a:bodyPr wrap="square" lIns="0" tIns="0" rIns="0" bIns="0" rtlCol="0">
            <a:noAutofit/>
          </a:bodyPr>
          <a:lstStyle/>
          <a:p>
            <a:endParaRPr/>
          </a:p>
        </p:txBody>
      </p:sp>
      <p:sp>
        <p:nvSpPr>
          <p:cNvPr id="1019" name="object 1019"/>
          <p:cNvSpPr/>
          <p:nvPr/>
        </p:nvSpPr>
        <p:spPr>
          <a:xfrm>
            <a:off x="3964413" y="2009098"/>
            <a:ext cx="1396" cy="0"/>
          </a:xfrm>
          <a:custGeom>
            <a:avLst/>
            <a:gdLst/>
            <a:ahLst/>
            <a:cxnLst/>
            <a:rect l="l" t="t" r="r" b="b"/>
            <a:pathLst>
              <a:path w="1396">
                <a:moveTo>
                  <a:pt x="0" y="0"/>
                </a:moveTo>
                <a:lnTo>
                  <a:pt x="1396" y="0"/>
                </a:lnTo>
              </a:path>
            </a:pathLst>
          </a:custGeom>
          <a:ln w="9713">
            <a:solidFill>
              <a:srgbClr val="000000"/>
            </a:solidFill>
          </a:ln>
        </p:spPr>
        <p:txBody>
          <a:bodyPr wrap="square" lIns="0" tIns="0" rIns="0" bIns="0" rtlCol="0">
            <a:noAutofit/>
          </a:bodyPr>
          <a:lstStyle/>
          <a:p>
            <a:endParaRPr/>
          </a:p>
        </p:txBody>
      </p:sp>
      <p:sp>
        <p:nvSpPr>
          <p:cNvPr id="1020" name="object 1020"/>
          <p:cNvSpPr/>
          <p:nvPr/>
        </p:nvSpPr>
        <p:spPr>
          <a:xfrm>
            <a:off x="3967098" y="2002495"/>
            <a:ext cx="3866" cy="11150"/>
          </a:xfrm>
          <a:custGeom>
            <a:avLst/>
            <a:gdLst/>
            <a:ahLst/>
            <a:cxnLst/>
            <a:rect l="l" t="t" r="r" b="b"/>
            <a:pathLst>
              <a:path w="3866" h="11150">
                <a:moveTo>
                  <a:pt x="2470" y="2381"/>
                </a:moveTo>
                <a:lnTo>
                  <a:pt x="2470" y="0"/>
                </a:lnTo>
                <a:lnTo>
                  <a:pt x="1074" y="0"/>
                </a:lnTo>
                <a:lnTo>
                  <a:pt x="1074" y="2381"/>
                </a:lnTo>
                <a:lnTo>
                  <a:pt x="0" y="2381"/>
                </a:lnTo>
                <a:lnTo>
                  <a:pt x="0" y="3788"/>
                </a:lnTo>
                <a:lnTo>
                  <a:pt x="1074" y="3788"/>
                </a:lnTo>
                <a:lnTo>
                  <a:pt x="1074" y="9959"/>
                </a:lnTo>
                <a:lnTo>
                  <a:pt x="1181" y="10284"/>
                </a:lnTo>
                <a:lnTo>
                  <a:pt x="1288" y="10500"/>
                </a:lnTo>
                <a:lnTo>
                  <a:pt x="1396" y="10717"/>
                </a:lnTo>
                <a:lnTo>
                  <a:pt x="1611" y="10825"/>
                </a:lnTo>
                <a:lnTo>
                  <a:pt x="1825" y="10933"/>
                </a:lnTo>
                <a:lnTo>
                  <a:pt x="2148" y="11041"/>
                </a:lnTo>
                <a:lnTo>
                  <a:pt x="2470" y="11150"/>
                </a:lnTo>
                <a:lnTo>
                  <a:pt x="3544" y="11150"/>
                </a:lnTo>
                <a:lnTo>
                  <a:pt x="3866" y="11041"/>
                </a:lnTo>
                <a:lnTo>
                  <a:pt x="3866" y="9851"/>
                </a:lnTo>
                <a:lnTo>
                  <a:pt x="3329" y="9851"/>
                </a:lnTo>
                <a:lnTo>
                  <a:pt x="3114" y="9959"/>
                </a:lnTo>
                <a:lnTo>
                  <a:pt x="2792" y="9851"/>
                </a:lnTo>
                <a:lnTo>
                  <a:pt x="2577" y="9634"/>
                </a:lnTo>
                <a:lnTo>
                  <a:pt x="2470" y="9309"/>
                </a:lnTo>
                <a:lnTo>
                  <a:pt x="2470" y="3788"/>
                </a:lnTo>
                <a:lnTo>
                  <a:pt x="3866" y="3788"/>
                </a:lnTo>
                <a:lnTo>
                  <a:pt x="3866" y="2381"/>
                </a:lnTo>
                <a:lnTo>
                  <a:pt x="2470" y="2381"/>
                </a:lnTo>
                <a:close/>
              </a:path>
            </a:pathLst>
          </a:custGeom>
          <a:solidFill>
            <a:srgbClr val="000000"/>
          </a:solidFill>
        </p:spPr>
        <p:txBody>
          <a:bodyPr wrap="square" lIns="0" tIns="0" rIns="0" bIns="0" rtlCol="0">
            <a:noAutofit/>
          </a:bodyPr>
          <a:lstStyle/>
          <a:p>
            <a:endParaRPr/>
          </a:p>
        </p:txBody>
      </p:sp>
      <p:sp>
        <p:nvSpPr>
          <p:cNvPr id="1021" name="object 1021"/>
          <p:cNvSpPr/>
          <p:nvPr/>
        </p:nvSpPr>
        <p:spPr>
          <a:xfrm>
            <a:off x="3981276" y="2001412"/>
            <a:ext cx="10418" cy="12232"/>
          </a:xfrm>
          <a:custGeom>
            <a:avLst/>
            <a:gdLst/>
            <a:ahLst/>
            <a:cxnLst/>
            <a:rect l="l" t="t" r="r" b="b"/>
            <a:pathLst>
              <a:path w="10418" h="12232">
                <a:moveTo>
                  <a:pt x="107" y="6170"/>
                </a:moveTo>
                <a:lnTo>
                  <a:pt x="107" y="6928"/>
                </a:lnTo>
                <a:lnTo>
                  <a:pt x="214" y="7577"/>
                </a:lnTo>
                <a:lnTo>
                  <a:pt x="322" y="8119"/>
                </a:lnTo>
                <a:lnTo>
                  <a:pt x="429" y="8660"/>
                </a:lnTo>
                <a:lnTo>
                  <a:pt x="644" y="9201"/>
                </a:lnTo>
                <a:lnTo>
                  <a:pt x="859" y="9742"/>
                </a:lnTo>
                <a:lnTo>
                  <a:pt x="1074" y="10175"/>
                </a:lnTo>
                <a:lnTo>
                  <a:pt x="1396" y="10608"/>
                </a:lnTo>
                <a:lnTo>
                  <a:pt x="1718" y="11041"/>
                </a:lnTo>
                <a:lnTo>
                  <a:pt x="2148" y="11366"/>
                </a:lnTo>
                <a:lnTo>
                  <a:pt x="2577" y="11691"/>
                </a:lnTo>
                <a:lnTo>
                  <a:pt x="3114" y="11908"/>
                </a:lnTo>
                <a:lnTo>
                  <a:pt x="3651" y="12016"/>
                </a:lnTo>
                <a:lnTo>
                  <a:pt x="4188" y="12124"/>
                </a:lnTo>
                <a:lnTo>
                  <a:pt x="4833" y="12232"/>
                </a:lnTo>
                <a:lnTo>
                  <a:pt x="6122" y="12232"/>
                </a:lnTo>
                <a:lnTo>
                  <a:pt x="6766" y="12124"/>
                </a:lnTo>
                <a:lnTo>
                  <a:pt x="7411" y="11908"/>
                </a:lnTo>
                <a:lnTo>
                  <a:pt x="7948" y="11691"/>
                </a:lnTo>
                <a:lnTo>
                  <a:pt x="8377" y="11366"/>
                </a:lnTo>
                <a:lnTo>
                  <a:pt x="8914" y="10933"/>
                </a:lnTo>
                <a:lnTo>
                  <a:pt x="9344" y="10500"/>
                </a:lnTo>
                <a:lnTo>
                  <a:pt x="9666" y="10067"/>
                </a:lnTo>
                <a:lnTo>
                  <a:pt x="9988" y="9526"/>
                </a:lnTo>
                <a:lnTo>
                  <a:pt x="10203" y="8985"/>
                </a:lnTo>
                <a:lnTo>
                  <a:pt x="10310" y="8335"/>
                </a:lnTo>
                <a:lnTo>
                  <a:pt x="10418" y="7686"/>
                </a:lnTo>
                <a:lnTo>
                  <a:pt x="8914" y="7686"/>
                </a:lnTo>
                <a:lnTo>
                  <a:pt x="8699" y="8443"/>
                </a:lnTo>
                <a:lnTo>
                  <a:pt x="8485" y="9093"/>
                </a:lnTo>
                <a:lnTo>
                  <a:pt x="8162" y="9634"/>
                </a:lnTo>
                <a:lnTo>
                  <a:pt x="7733" y="10067"/>
                </a:lnTo>
                <a:lnTo>
                  <a:pt x="7303" y="10392"/>
                </a:lnTo>
                <a:lnTo>
                  <a:pt x="6659" y="10717"/>
                </a:lnTo>
                <a:lnTo>
                  <a:pt x="6014" y="10825"/>
                </a:lnTo>
                <a:lnTo>
                  <a:pt x="5262" y="10933"/>
                </a:lnTo>
                <a:lnTo>
                  <a:pt x="4833" y="10933"/>
                </a:lnTo>
                <a:lnTo>
                  <a:pt x="4511" y="10825"/>
                </a:lnTo>
                <a:lnTo>
                  <a:pt x="4188" y="10825"/>
                </a:lnTo>
                <a:lnTo>
                  <a:pt x="3866" y="10717"/>
                </a:lnTo>
                <a:lnTo>
                  <a:pt x="3544" y="10500"/>
                </a:lnTo>
                <a:lnTo>
                  <a:pt x="3329" y="10284"/>
                </a:lnTo>
                <a:lnTo>
                  <a:pt x="3007" y="10067"/>
                </a:lnTo>
                <a:lnTo>
                  <a:pt x="2792" y="9851"/>
                </a:lnTo>
                <a:lnTo>
                  <a:pt x="2470" y="9526"/>
                </a:lnTo>
                <a:lnTo>
                  <a:pt x="2255" y="9093"/>
                </a:lnTo>
                <a:lnTo>
                  <a:pt x="2148" y="8660"/>
                </a:lnTo>
                <a:lnTo>
                  <a:pt x="1933" y="8227"/>
                </a:lnTo>
                <a:lnTo>
                  <a:pt x="1825" y="7794"/>
                </a:lnTo>
                <a:lnTo>
                  <a:pt x="1718" y="7253"/>
                </a:lnTo>
                <a:lnTo>
                  <a:pt x="1718" y="5412"/>
                </a:lnTo>
                <a:lnTo>
                  <a:pt x="1825" y="4871"/>
                </a:lnTo>
                <a:lnTo>
                  <a:pt x="1933" y="4438"/>
                </a:lnTo>
                <a:lnTo>
                  <a:pt x="2040" y="3897"/>
                </a:lnTo>
                <a:lnTo>
                  <a:pt x="2255" y="3464"/>
                </a:lnTo>
                <a:lnTo>
                  <a:pt x="2470" y="3031"/>
                </a:lnTo>
                <a:lnTo>
                  <a:pt x="2792" y="2598"/>
                </a:lnTo>
                <a:lnTo>
                  <a:pt x="3114" y="2273"/>
                </a:lnTo>
                <a:lnTo>
                  <a:pt x="3436" y="1948"/>
                </a:lnTo>
                <a:lnTo>
                  <a:pt x="3866" y="1732"/>
                </a:lnTo>
                <a:lnTo>
                  <a:pt x="4296" y="1623"/>
                </a:lnTo>
                <a:lnTo>
                  <a:pt x="4725" y="1515"/>
                </a:lnTo>
                <a:lnTo>
                  <a:pt x="5155" y="1515"/>
                </a:lnTo>
                <a:lnTo>
                  <a:pt x="6229" y="1407"/>
                </a:lnTo>
                <a:lnTo>
                  <a:pt x="6766" y="1515"/>
                </a:lnTo>
                <a:lnTo>
                  <a:pt x="7196" y="1732"/>
                </a:lnTo>
                <a:lnTo>
                  <a:pt x="7625" y="2056"/>
                </a:lnTo>
                <a:lnTo>
                  <a:pt x="8055" y="2381"/>
                </a:lnTo>
                <a:lnTo>
                  <a:pt x="8377" y="2706"/>
                </a:lnTo>
                <a:lnTo>
                  <a:pt x="8592" y="3247"/>
                </a:lnTo>
                <a:lnTo>
                  <a:pt x="8807" y="3788"/>
                </a:lnTo>
                <a:lnTo>
                  <a:pt x="10310" y="3788"/>
                </a:lnTo>
                <a:lnTo>
                  <a:pt x="10203" y="3139"/>
                </a:lnTo>
                <a:lnTo>
                  <a:pt x="9988" y="2489"/>
                </a:lnTo>
                <a:lnTo>
                  <a:pt x="9666" y="1948"/>
                </a:lnTo>
                <a:lnTo>
                  <a:pt x="9236" y="1515"/>
                </a:lnTo>
                <a:lnTo>
                  <a:pt x="8807" y="1082"/>
                </a:lnTo>
                <a:lnTo>
                  <a:pt x="8377" y="757"/>
                </a:lnTo>
                <a:lnTo>
                  <a:pt x="7948" y="541"/>
                </a:lnTo>
                <a:lnTo>
                  <a:pt x="7411" y="324"/>
                </a:lnTo>
                <a:lnTo>
                  <a:pt x="6873" y="216"/>
                </a:lnTo>
                <a:lnTo>
                  <a:pt x="6444" y="108"/>
                </a:lnTo>
                <a:lnTo>
                  <a:pt x="5907" y="0"/>
                </a:lnTo>
                <a:lnTo>
                  <a:pt x="5370" y="0"/>
                </a:lnTo>
                <a:lnTo>
                  <a:pt x="4511" y="108"/>
                </a:lnTo>
                <a:lnTo>
                  <a:pt x="3759" y="324"/>
                </a:lnTo>
                <a:lnTo>
                  <a:pt x="3007" y="649"/>
                </a:lnTo>
                <a:lnTo>
                  <a:pt x="2362" y="974"/>
                </a:lnTo>
                <a:lnTo>
                  <a:pt x="1825" y="1515"/>
                </a:lnTo>
                <a:lnTo>
                  <a:pt x="1288" y="1948"/>
                </a:lnTo>
                <a:lnTo>
                  <a:pt x="859" y="2489"/>
                </a:lnTo>
                <a:lnTo>
                  <a:pt x="537" y="3139"/>
                </a:lnTo>
                <a:lnTo>
                  <a:pt x="322" y="3788"/>
                </a:lnTo>
                <a:lnTo>
                  <a:pt x="107" y="4546"/>
                </a:lnTo>
                <a:lnTo>
                  <a:pt x="0" y="5196"/>
                </a:lnTo>
                <a:lnTo>
                  <a:pt x="0" y="6170"/>
                </a:lnTo>
                <a:close/>
              </a:path>
            </a:pathLst>
          </a:custGeom>
          <a:solidFill>
            <a:srgbClr val="000000"/>
          </a:solidFill>
        </p:spPr>
        <p:txBody>
          <a:bodyPr wrap="square" lIns="0" tIns="0" rIns="0" bIns="0" rtlCol="0">
            <a:noAutofit/>
          </a:bodyPr>
          <a:lstStyle/>
          <a:p>
            <a:endParaRPr/>
          </a:p>
        </p:txBody>
      </p:sp>
      <p:sp>
        <p:nvSpPr>
          <p:cNvPr id="1022" name="object 1022"/>
          <p:cNvSpPr/>
          <p:nvPr/>
        </p:nvSpPr>
        <p:spPr>
          <a:xfrm>
            <a:off x="3992877" y="2004660"/>
            <a:ext cx="7733" cy="8876"/>
          </a:xfrm>
          <a:custGeom>
            <a:avLst/>
            <a:gdLst/>
            <a:ahLst/>
            <a:cxnLst/>
            <a:rect l="l" t="t" r="r" b="b"/>
            <a:pathLst>
              <a:path w="7733" h="8876">
                <a:moveTo>
                  <a:pt x="4511" y="8876"/>
                </a:moveTo>
                <a:lnTo>
                  <a:pt x="5048" y="8768"/>
                </a:lnTo>
                <a:lnTo>
                  <a:pt x="5477" y="8552"/>
                </a:lnTo>
                <a:lnTo>
                  <a:pt x="6014" y="8335"/>
                </a:lnTo>
                <a:lnTo>
                  <a:pt x="6444" y="8010"/>
                </a:lnTo>
                <a:lnTo>
                  <a:pt x="6766" y="7577"/>
                </a:lnTo>
                <a:lnTo>
                  <a:pt x="7088" y="7144"/>
                </a:lnTo>
                <a:lnTo>
                  <a:pt x="7303" y="6603"/>
                </a:lnTo>
                <a:lnTo>
                  <a:pt x="7518" y="6062"/>
                </a:lnTo>
                <a:lnTo>
                  <a:pt x="7625" y="5520"/>
                </a:lnTo>
                <a:lnTo>
                  <a:pt x="7733" y="4979"/>
                </a:lnTo>
                <a:lnTo>
                  <a:pt x="7733" y="3897"/>
                </a:lnTo>
                <a:lnTo>
                  <a:pt x="7625" y="3355"/>
                </a:lnTo>
                <a:lnTo>
                  <a:pt x="7518" y="2814"/>
                </a:lnTo>
                <a:lnTo>
                  <a:pt x="7303" y="2273"/>
                </a:lnTo>
                <a:lnTo>
                  <a:pt x="7088" y="1840"/>
                </a:lnTo>
                <a:lnTo>
                  <a:pt x="6766" y="1407"/>
                </a:lnTo>
                <a:lnTo>
                  <a:pt x="6444" y="974"/>
                </a:lnTo>
                <a:lnTo>
                  <a:pt x="6014" y="649"/>
                </a:lnTo>
                <a:lnTo>
                  <a:pt x="5477" y="324"/>
                </a:lnTo>
                <a:lnTo>
                  <a:pt x="5048" y="108"/>
                </a:lnTo>
                <a:lnTo>
                  <a:pt x="4511" y="0"/>
                </a:lnTo>
                <a:lnTo>
                  <a:pt x="3222" y="0"/>
                </a:lnTo>
                <a:lnTo>
                  <a:pt x="2685" y="108"/>
                </a:lnTo>
                <a:lnTo>
                  <a:pt x="2255" y="324"/>
                </a:lnTo>
                <a:lnTo>
                  <a:pt x="1718" y="649"/>
                </a:lnTo>
                <a:lnTo>
                  <a:pt x="1288" y="974"/>
                </a:lnTo>
                <a:lnTo>
                  <a:pt x="966" y="1299"/>
                </a:lnTo>
                <a:lnTo>
                  <a:pt x="644" y="1840"/>
                </a:lnTo>
                <a:lnTo>
                  <a:pt x="429" y="2273"/>
                </a:lnTo>
                <a:lnTo>
                  <a:pt x="322" y="2814"/>
                </a:lnTo>
                <a:lnTo>
                  <a:pt x="107" y="3355"/>
                </a:lnTo>
                <a:lnTo>
                  <a:pt x="0" y="3897"/>
                </a:lnTo>
                <a:lnTo>
                  <a:pt x="0" y="4979"/>
                </a:lnTo>
                <a:lnTo>
                  <a:pt x="107" y="5520"/>
                </a:lnTo>
                <a:lnTo>
                  <a:pt x="322" y="6062"/>
                </a:lnTo>
                <a:lnTo>
                  <a:pt x="429" y="6603"/>
                </a:lnTo>
                <a:lnTo>
                  <a:pt x="644" y="7144"/>
                </a:lnTo>
                <a:lnTo>
                  <a:pt x="966" y="7577"/>
                </a:lnTo>
                <a:lnTo>
                  <a:pt x="1288" y="8010"/>
                </a:lnTo>
                <a:lnTo>
                  <a:pt x="1718" y="8335"/>
                </a:lnTo>
                <a:lnTo>
                  <a:pt x="1396" y="4763"/>
                </a:lnTo>
                <a:lnTo>
                  <a:pt x="1396" y="3897"/>
                </a:lnTo>
                <a:lnTo>
                  <a:pt x="1503" y="3355"/>
                </a:lnTo>
                <a:lnTo>
                  <a:pt x="1718" y="2814"/>
                </a:lnTo>
                <a:lnTo>
                  <a:pt x="1933" y="2273"/>
                </a:lnTo>
                <a:lnTo>
                  <a:pt x="2255" y="1840"/>
                </a:lnTo>
                <a:lnTo>
                  <a:pt x="2792" y="1515"/>
                </a:lnTo>
                <a:lnTo>
                  <a:pt x="3222" y="1299"/>
                </a:lnTo>
                <a:lnTo>
                  <a:pt x="3866" y="1190"/>
                </a:lnTo>
                <a:lnTo>
                  <a:pt x="4296" y="1190"/>
                </a:lnTo>
                <a:lnTo>
                  <a:pt x="4725" y="1299"/>
                </a:lnTo>
                <a:lnTo>
                  <a:pt x="5048" y="1515"/>
                </a:lnTo>
                <a:lnTo>
                  <a:pt x="5370" y="1732"/>
                </a:lnTo>
                <a:lnTo>
                  <a:pt x="5585" y="1948"/>
                </a:lnTo>
                <a:lnTo>
                  <a:pt x="5799" y="2273"/>
                </a:lnTo>
                <a:lnTo>
                  <a:pt x="6014" y="2598"/>
                </a:lnTo>
                <a:lnTo>
                  <a:pt x="6122" y="3031"/>
                </a:lnTo>
                <a:lnTo>
                  <a:pt x="6229" y="3355"/>
                </a:lnTo>
                <a:lnTo>
                  <a:pt x="6229" y="3680"/>
                </a:lnTo>
                <a:lnTo>
                  <a:pt x="6336" y="4113"/>
                </a:lnTo>
                <a:lnTo>
                  <a:pt x="6336" y="4763"/>
                </a:lnTo>
                <a:lnTo>
                  <a:pt x="6229" y="5087"/>
                </a:lnTo>
                <a:lnTo>
                  <a:pt x="6229" y="5520"/>
                </a:lnTo>
                <a:lnTo>
                  <a:pt x="6122" y="5845"/>
                </a:lnTo>
                <a:lnTo>
                  <a:pt x="6014" y="6278"/>
                </a:lnTo>
                <a:lnTo>
                  <a:pt x="5799" y="6603"/>
                </a:lnTo>
                <a:lnTo>
                  <a:pt x="5585" y="6928"/>
                </a:lnTo>
                <a:lnTo>
                  <a:pt x="5370" y="7144"/>
                </a:lnTo>
                <a:lnTo>
                  <a:pt x="5048" y="7361"/>
                </a:lnTo>
                <a:lnTo>
                  <a:pt x="4725" y="7577"/>
                </a:lnTo>
                <a:lnTo>
                  <a:pt x="4296" y="7686"/>
                </a:lnTo>
                <a:lnTo>
                  <a:pt x="3436" y="7686"/>
                </a:lnTo>
                <a:lnTo>
                  <a:pt x="3007" y="7577"/>
                </a:lnTo>
                <a:lnTo>
                  <a:pt x="2685" y="7361"/>
                </a:lnTo>
                <a:lnTo>
                  <a:pt x="2362" y="7144"/>
                </a:lnTo>
                <a:lnTo>
                  <a:pt x="2148" y="6928"/>
                </a:lnTo>
                <a:lnTo>
                  <a:pt x="1933" y="6603"/>
                </a:lnTo>
                <a:lnTo>
                  <a:pt x="2255" y="8552"/>
                </a:lnTo>
                <a:lnTo>
                  <a:pt x="2685" y="8768"/>
                </a:lnTo>
                <a:lnTo>
                  <a:pt x="3222" y="8876"/>
                </a:lnTo>
                <a:lnTo>
                  <a:pt x="4511" y="8876"/>
                </a:lnTo>
                <a:close/>
              </a:path>
            </a:pathLst>
          </a:custGeom>
          <a:solidFill>
            <a:srgbClr val="000000"/>
          </a:solidFill>
        </p:spPr>
        <p:txBody>
          <a:bodyPr wrap="square" lIns="0" tIns="0" rIns="0" bIns="0" rtlCol="0">
            <a:noAutofit/>
          </a:bodyPr>
          <a:lstStyle/>
          <a:p>
            <a:endParaRPr/>
          </a:p>
        </p:txBody>
      </p:sp>
      <p:sp>
        <p:nvSpPr>
          <p:cNvPr id="1023" name="object 1023"/>
          <p:cNvSpPr/>
          <p:nvPr/>
        </p:nvSpPr>
        <p:spPr>
          <a:xfrm>
            <a:off x="3994273" y="2009423"/>
            <a:ext cx="859" cy="3788"/>
          </a:xfrm>
          <a:custGeom>
            <a:avLst/>
            <a:gdLst/>
            <a:ahLst/>
            <a:cxnLst/>
            <a:rect l="l" t="t" r="r" b="b"/>
            <a:pathLst>
              <a:path w="859" h="3788">
                <a:moveTo>
                  <a:pt x="322" y="1515"/>
                </a:moveTo>
                <a:lnTo>
                  <a:pt x="214" y="1082"/>
                </a:lnTo>
                <a:lnTo>
                  <a:pt x="107" y="757"/>
                </a:lnTo>
                <a:lnTo>
                  <a:pt x="107" y="324"/>
                </a:lnTo>
                <a:lnTo>
                  <a:pt x="0" y="0"/>
                </a:lnTo>
                <a:lnTo>
                  <a:pt x="322" y="3572"/>
                </a:lnTo>
                <a:lnTo>
                  <a:pt x="859" y="3788"/>
                </a:lnTo>
                <a:lnTo>
                  <a:pt x="537" y="1840"/>
                </a:lnTo>
                <a:lnTo>
                  <a:pt x="322" y="1515"/>
                </a:lnTo>
                <a:close/>
              </a:path>
            </a:pathLst>
          </a:custGeom>
          <a:solidFill>
            <a:srgbClr val="000000"/>
          </a:solidFill>
        </p:spPr>
        <p:txBody>
          <a:bodyPr wrap="square" lIns="0" tIns="0" rIns="0" bIns="0" rtlCol="0">
            <a:noAutofit/>
          </a:bodyPr>
          <a:lstStyle/>
          <a:p>
            <a:endParaRPr/>
          </a:p>
        </p:txBody>
      </p:sp>
      <p:sp>
        <p:nvSpPr>
          <p:cNvPr id="1024" name="object 1024"/>
          <p:cNvSpPr/>
          <p:nvPr/>
        </p:nvSpPr>
        <p:spPr>
          <a:xfrm>
            <a:off x="4001899" y="2004660"/>
            <a:ext cx="6873" cy="8876"/>
          </a:xfrm>
          <a:custGeom>
            <a:avLst/>
            <a:gdLst/>
            <a:ahLst/>
            <a:cxnLst/>
            <a:rect l="l" t="t" r="r" b="b"/>
            <a:pathLst>
              <a:path w="6873" h="8876">
                <a:moveTo>
                  <a:pt x="1288" y="5954"/>
                </a:moveTo>
                <a:lnTo>
                  <a:pt x="0" y="5954"/>
                </a:lnTo>
                <a:lnTo>
                  <a:pt x="0" y="6387"/>
                </a:lnTo>
                <a:lnTo>
                  <a:pt x="107" y="6711"/>
                </a:lnTo>
                <a:lnTo>
                  <a:pt x="214" y="7036"/>
                </a:lnTo>
                <a:lnTo>
                  <a:pt x="322" y="7361"/>
                </a:lnTo>
                <a:lnTo>
                  <a:pt x="429" y="7686"/>
                </a:lnTo>
                <a:lnTo>
                  <a:pt x="644" y="7902"/>
                </a:lnTo>
                <a:lnTo>
                  <a:pt x="966" y="8227"/>
                </a:lnTo>
                <a:lnTo>
                  <a:pt x="1288" y="8443"/>
                </a:lnTo>
                <a:lnTo>
                  <a:pt x="1718" y="8552"/>
                </a:lnTo>
                <a:lnTo>
                  <a:pt x="2255" y="8768"/>
                </a:lnTo>
                <a:lnTo>
                  <a:pt x="2899" y="8876"/>
                </a:lnTo>
                <a:lnTo>
                  <a:pt x="3974" y="8876"/>
                </a:lnTo>
                <a:lnTo>
                  <a:pt x="4403" y="8768"/>
                </a:lnTo>
                <a:lnTo>
                  <a:pt x="4833" y="8768"/>
                </a:lnTo>
                <a:lnTo>
                  <a:pt x="5262" y="8660"/>
                </a:lnTo>
                <a:lnTo>
                  <a:pt x="5585" y="8443"/>
                </a:lnTo>
                <a:lnTo>
                  <a:pt x="5907" y="8227"/>
                </a:lnTo>
                <a:lnTo>
                  <a:pt x="6229" y="8010"/>
                </a:lnTo>
                <a:lnTo>
                  <a:pt x="6444" y="7686"/>
                </a:lnTo>
                <a:lnTo>
                  <a:pt x="6551" y="7361"/>
                </a:lnTo>
                <a:lnTo>
                  <a:pt x="6766" y="6928"/>
                </a:lnTo>
                <a:lnTo>
                  <a:pt x="6873" y="6603"/>
                </a:lnTo>
                <a:lnTo>
                  <a:pt x="6873" y="5845"/>
                </a:lnTo>
                <a:lnTo>
                  <a:pt x="6766" y="5520"/>
                </a:lnTo>
                <a:lnTo>
                  <a:pt x="6659" y="5196"/>
                </a:lnTo>
                <a:lnTo>
                  <a:pt x="6444" y="4979"/>
                </a:lnTo>
                <a:lnTo>
                  <a:pt x="6229" y="4763"/>
                </a:lnTo>
                <a:lnTo>
                  <a:pt x="6014" y="4654"/>
                </a:lnTo>
                <a:lnTo>
                  <a:pt x="5799" y="4438"/>
                </a:lnTo>
                <a:lnTo>
                  <a:pt x="5585" y="4330"/>
                </a:lnTo>
                <a:lnTo>
                  <a:pt x="5262" y="4221"/>
                </a:lnTo>
                <a:lnTo>
                  <a:pt x="4940" y="4005"/>
                </a:lnTo>
                <a:lnTo>
                  <a:pt x="4618" y="3897"/>
                </a:lnTo>
                <a:lnTo>
                  <a:pt x="4296" y="3788"/>
                </a:lnTo>
                <a:lnTo>
                  <a:pt x="3974" y="3680"/>
                </a:lnTo>
                <a:lnTo>
                  <a:pt x="3651" y="3680"/>
                </a:lnTo>
                <a:lnTo>
                  <a:pt x="3329" y="3572"/>
                </a:lnTo>
                <a:lnTo>
                  <a:pt x="3114" y="3572"/>
                </a:lnTo>
                <a:lnTo>
                  <a:pt x="2792" y="3464"/>
                </a:lnTo>
                <a:lnTo>
                  <a:pt x="2577" y="3355"/>
                </a:lnTo>
                <a:lnTo>
                  <a:pt x="2362" y="3355"/>
                </a:lnTo>
                <a:lnTo>
                  <a:pt x="2148" y="3247"/>
                </a:lnTo>
                <a:lnTo>
                  <a:pt x="1933" y="3139"/>
                </a:lnTo>
                <a:lnTo>
                  <a:pt x="1718" y="2922"/>
                </a:lnTo>
                <a:lnTo>
                  <a:pt x="1611" y="2706"/>
                </a:lnTo>
                <a:lnTo>
                  <a:pt x="1503" y="2165"/>
                </a:lnTo>
                <a:lnTo>
                  <a:pt x="1611" y="1948"/>
                </a:lnTo>
                <a:lnTo>
                  <a:pt x="1825" y="1623"/>
                </a:lnTo>
                <a:lnTo>
                  <a:pt x="2040" y="1515"/>
                </a:lnTo>
                <a:lnTo>
                  <a:pt x="2362" y="1407"/>
                </a:lnTo>
                <a:lnTo>
                  <a:pt x="2577" y="1299"/>
                </a:lnTo>
                <a:lnTo>
                  <a:pt x="2792" y="1299"/>
                </a:lnTo>
                <a:lnTo>
                  <a:pt x="3222" y="1190"/>
                </a:lnTo>
                <a:lnTo>
                  <a:pt x="4081" y="1299"/>
                </a:lnTo>
                <a:lnTo>
                  <a:pt x="4725" y="1623"/>
                </a:lnTo>
                <a:lnTo>
                  <a:pt x="5155" y="2056"/>
                </a:lnTo>
                <a:lnTo>
                  <a:pt x="5262" y="2706"/>
                </a:lnTo>
                <a:lnTo>
                  <a:pt x="6551" y="2706"/>
                </a:lnTo>
                <a:lnTo>
                  <a:pt x="6551" y="2165"/>
                </a:lnTo>
                <a:lnTo>
                  <a:pt x="6444" y="1948"/>
                </a:lnTo>
                <a:lnTo>
                  <a:pt x="6336" y="1623"/>
                </a:lnTo>
                <a:lnTo>
                  <a:pt x="6229" y="1299"/>
                </a:lnTo>
                <a:lnTo>
                  <a:pt x="6014" y="974"/>
                </a:lnTo>
                <a:lnTo>
                  <a:pt x="5799" y="757"/>
                </a:lnTo>
                <a:lnTo>
                  <a:pt x="5477" y="433"/>
                </a:lnTo>
                <a:lnTo>
                  <a:pt x="5048" y="216"/>
                </a:lnTo>
                <a:lnTo>
                  <a:pt x="4618" y="108"/>
                </a:lnTo>
                <a:lnTo>
                  <a:pt x="4081" y="0"/>
                </a:lnTo>
                <a:lnTo>
                  <a:pt x="3007" y="0"/>
                </a:lnTo>
                <a:lnTo>
                  <a:pt x="2577" y="108"/>
                </a:lnTo>
                <a:lnTo>
                  <a:pt x="2255" y="108"/>
                </a:lnTo>
                <a:lnTo>
                  <a:pt x="1825" y="216"/>
                </a:lnTo>
                <a:lnTo>
                  <a:pt x="1503" y="433"/>
                </a:lnTo>
                <a:lnTo>
                  <a:pt x="1181" y="649"/>
                </a:lnTo>
                <a:lnTo>
                  <a:pt x="966" y="866"/>
                </a:lnTo>
                <a:lnTo>
                  <a:pt x="751" y="1190"/>
                </a:lnTo>
                <a:lnTo>
                  <a:pt x="537" y="1515"/>
                </a:lnTo>
                <a:lnTo>
                  <a:pt x="429" y="1840"/>
                </a:lnTo>
                <a:lnTo>
                  <a:pt x="322" y="2273"/>
                </a:lnTo>
                <a:lnTo>
                  <a:pt x="322" y="3031"/>
                </a:lnTo>
                <a:lnTo>
                  <a:pt x="429" y="3247"/>
                </a:lnTo>
                <a:lnTo>
                  <a:pt x="537" y="3572"/>
                </a:lnTo>
                <a:lnTo>
                  <a:pt x="644" y="3788"/>
                </a:lnTo>
                <a:lnTo>
                  <a:pt x="859" y="4005"/>
                </a:lnTo>
                <a:lnTo>
                  <a:pt x="966" y="4221"/>
                </a:lnTo>
                <a:lnTo>
                  <a:pt x="1181" y="4330"/>
                </a:lnTo>
                <a:lnTo>
                  <a:pt x="1396" y="4438"/>
                </a:lnTo>
                <a:lnTo>
                  <a:pt x="1611" y="4546"/>
                </a:lnTo>
                <a:lnTo>
                  <a:pt x="1933" y="4654"/>
                </a:lnTo>
                <a:lnTo>
                  <a:pt x="2255" y="4763"/>
                </a:lnTo>
                <a:lnTo>
                  <a:pt x="2577" y="4871"/>
                </a:lnTo>
                <a:lnTo>
                  <a:pt x="2899" y="4979"/>
                </a:lnTo>
                <a:lnTo>
                  <a:pt x="3222" y="4979"/>
                </a:lnTo>
                <a:lnTo>
                  <a:pt x="3544" y="5087"/>
                </a:lnTo>
                <a:lnTo>
                  <a:pt x="3759" y="5196"/>
                </a:lnTo>
                <a:lnTo>
                  <a:pt x="4188" y="5304"/>
                </a:lnTo>
                <a:lnTo>
                  <a:pt x="4618" y="5412"/>
                </a:lnTo>
                <a:lnTo>
                  <a:pt x="4833" y="5520"/>
                </a:lnTo>
                <a:lnTo>
                  <a:pt x="5048" y="5629"/>
                </a:lnTo>
                <a:lnTo>
                  <a:pt x="5262" y="5845"/>
                </a:lnTo>
                <a:lnTo>
                  <a:pt x="5477" y="6170"/>
                </a:lnTo>
                <a:lnTo>
                  <a:pt x="5477" y="6711"/>
                </a:lnTo>
                <a:lnTo>
                  <a:pt x="5370" y="6928"/>
                </a:lnTo>
                <a:lnTo>
                  <a:pt x="5155" y="7144"/>
                </a:lnTo>
                <a:lnTo>
                  <a:pt x="4940" y="7361"/>
                </a:lnTo>
                <a:lnTo>
                  <a:pt x="4618" y="7469"/>
                </a:lnTo>
                <a:lnTo>
                  <a:pt x="4296" y="7577"/>
                </a:lnTo>
                <a:lnTo>
                  <a:pt x="3974" y="7686"/>
                </a:lnTo>
                <a:lnTo>
                  <a:pt x="2899" y="7686"/>
                </a:lnTo>
                <a:lnTo>
                  <a:pt x="2470" y="7577"/>
                </a:lnTo>
                <a:lnTo>
                  <a:pt x="2040" y="7361"/>
                </a:lnTo>
                <a:lnTo>
                  <a:pt x="1825" y="7144"/>
                </a:lnTo>
                <a:lnTo>
                  <a:pt x="1611" y="6928"/>
                </a:lnTo>
                <a:lnTo>
                  <a:pt x="1396" y="6603"/>
                </a:lnTo>
                <a:lnTo>
                  <a:pt x="1288" y="6278"/>
                </a:lnTo>
                <a:lnTo>
                  <a:pt x="1288" y="5954"/>
                </a:lnTo>
                <a:close/>
              </a:path>
            </a:pathLst>
          </a:custGeom>
          <a:solidFill>
            <a:srgbClr val="000000"/>
          </a:solidFill>
        </p:spPr>
        <p:txBody>
          <a:bodyPr wrap="square" lIns="0" tIns="0" rIns="0" bIns="0" rtlCol="0">
            <a:noAutofit/>
          </a:bodyPr>
          <a:lstStyle/>
          <a:p>
            <a:endParaRPr/>
          </a:p>
        </p:txBody>
      </p:sp>
      <p:sp>
        <p:nvSpPr>
          <p:cNvPr id="1025" name="object 1025"/>
          <p:cNvSpPr/>
          <p:nvPr/>
        </p:nvSpPr>
        <p:spPr>
          <a:xfrm>
            <a:off x="4068813" y="2003686"/>
            <a:ext cx="7733" cy="8876"/>
          </a:xfrm>
          <a:custGeom>
            <a:avLst/>
            <a:gdLst/>
            <a:ahLst/>
            <a:cxnLst/>
            <a:rect l="l" t="t" r="r" b="b"/>
            <a:pathLst>
              <a:path w="7733" h="8876">
                <a:moveTo>
                  <a:pt x="4511" y="8876"/>
                </a:moveTo>
                <a:lnTo>
                  <a:pt x="5048" y="8768"/>
                </a:lnTo>
                <a:lnTo>
                  <a:pt x="5477" y="8552"/>
                </a:lnTo>
                <a:lnTo>
                  <a:pt x="6014" y="8335"/>
                </a:lnTo>
                <a:lnTo>
                  <a:pt x="6444" y="8010"/>
                </a:lnTo>
                <a:lnTo>
                  <a:pt x="6766" y="7577"/>
                </a:lnTo>
                <a:lnTo>
                  <a:pt x="7088" y="7144"/>
                </a:lnTo>
                <a:lnTo>
                  <a:pt x="7303" y="6603"/>
                </a:lnTo>
                <a:lnTo>
                  <a:pt x="7518" y="6062"/>
                </a:lnTo>
                <a:lnTo>
                  <a:pt x="7625" y="5520"/>
                </a:lnTo>
                <a:lnTo>
                  <a:pt x="7733" y="4979"/>
                </a:lnTo>
                <a:lnTo>
                  <a:pt x="7733" y="3897"/>
                </a:lnTo>
                <a:lnTo>
                  <a:pt x="7625" y="3355"/>
                </a:lnTo>
                <a:lnTo>
                  <a:pt x="7518" y="2814"/>
                </a:lnTo>
                <a:lnTo>
                  <a:pt x="7303" y="2273"/>
                </a:lnTo>
                <a:lnTo>
                  <a:pt x="7088" y="1840"/>
                </a:lnTo>
                <a:lnTo>
                  <a:pt x="6766" y="1407"/>
                </a:lnTo>
                <a:lnTo>
                  <a:pt x="6444" y="974"/>
                </a:lnTo>
                <a:lnTo>
                  <a:pt x="6014" y="649"/>
                </a:lnTo>
                <a:lnTo>
                  <a:pt x="5477" y="324"/>
                </a:lnTo>
                <a:lnTo>
                  <a:pt x="5048" y="108"/>
                </a:lnTo>
                <a:lnTo>
                  <a:pt x="4511" y="0"/>
                </a:lnTo>
                <a:lnTo>
                  <a:pt x="3222" y="0"/>
                </a:lnTo>
                <a:lnTo>
                  <a:pt x="2685" y="108"/>
                </a:lnTo>
                <a:lnTo>
                  <a:pt x="2255" y="324"/>
                </a:lnTo>
                <a:lnTo>
                  <a:pt x="1718" y="649"/>
                </a:lnTo>
                <a:lnTo>
                  <a:pt x="1288" y="974"/>
                </a:lnTo>
                <a:lnTo>
                  <a:pt x="966" y="1299"/>
                </a:lnTo>
                <a:lnTo>
                  <a:pt x="644" y="1840"/>
                </a:lnTo>
                <a:lnTo>
                  <a:pt x="429" y="2273"/>
                </a:lnTo>
                <a:lnTo>
                  <a:pt x="322" y="2814"/>
                </a:lnTo>
                <a:lnTo>
                  <a:pt x="107" y="3355"/>
                </a:lnTo>
                <a:lnTo>
                  <a:pt x="0" y="3897"/>
                </a:lnTo>
                <a:lnTo>
                  <a:pt x="0" y="4979"/>
                </a:lnTo>
                <a:lnTo>
                  <a:pt x="107" y="5520"/>
                </a:lnTo>
                <a:lnTo>
                  <a:pt x="322" y="6062"/>
                </a:lnTo>
                <a:lnTo>
                  <a:pt x="429" y="6603"/>
                </a:lnTo>
                <a:lnTo>
                  <a:pt x="644" y="7144"/>
                </a:lnTo>
                <a:lnTo>
                  <a:pt x="966" y="7577"/>
                </a:lnTo>
                <a:lnTo>
                  <a:pt x="1288" y="8010"/>
                </a:lnTo>
                <a:lnTo>
                  <a:pt x="1718" y="8335"/>
                </a:lnTo>
                <a:lnTo>
                  <a:pt x="1396" y="4763"/>
                </a:lnTo>
                <a:lnTo>
                  <a:pt x="1396" y="3897"/>
                </a:lnTo>
                <a:lnTo>
                  <a:pt x="1503" y="3355"/>
                </a:lnTo>
                <a:lnTo>
                  <a:pt x="1718" y="2814"/>
                </a:lnTo>
                <a:lnTo>
                  <a:pt x="1933" y="2273"/>
                </a:lnTo>
                <a:lnTo>
                  <a:pt x="2255" y="1840"/>
                </a:lnTo>
                <a:lnTo>
                  <a:pt x="2792" y="1515"/>
                </a:lnTo>
                <a:lnTo>
                  <a:pt x="3222" y="1299"/>
                </a:lnTo>
                <a:lnTo>
                  <a:pt x="3866" y="1190"/>
                </a:lnTo>
                <a:lnTo>
                  <a:pt x="4296" y="1190"/>
                </a:lnTo>
                <a:lnTo>
                  <a:pt x="4725" y="1299"/>
                </a:lnTo>
                <a:lnTo>
                  <a:pt x="5048" y="1515"/>
                </a:lnTo>
                <a:lnTo>
                  <a:pt x="5370" y="1732"/>
                </a:lnTo>
                <a:lnTo>
                  <a:pt x="5585" y="1948"/>
                </a:lnTo>
                <a:lnTo>
                  <a:pt x="5799" y="2273"/>
                </a:lnTo>
                <a:lnTo>
                  <a:pt x="6014" y="2598"/>
                </a:lnTo>
                <a:lnTo>
                  <a:pt x="6122" y="3031"/>
                </a:lnTo>
                <a:lnTo>
                  <a:pt x="6229" y="3355"/>
                </a:lnTo>
                <a:lnTo>
                  <a:pt x="6229" y="3680"/>
                </a:lnTo>
                <a:lnTo>
                  <a:pt x="6336" y="4113"/>
                </a:lnTo>
                <a:lnTo>
                  <a:pt x="6336" y="4763"/>
                </a:lnTo>
                <a:lnTo>
                  <a:pt x="6229" y="5087"/>
                </a:lnTo>
                <a:lnTo>
                  <a:pt x="6229" y="5520"/>
                </a:lnTo>
                <a:lnTo>
                  <a:pt x="6122" y="5845"/>
                </a:lnTo>
                <a:lnTo>
                  <a:pt x="6014" y="6278"/>
                </a:lnTo>
                <a:lnTo>
                  <a:pt x="5799" y="6603"/>
                </a:lnTo>
                <a:lnTo>
                  <a:pt x="5585" y="6928"/>
                </a:lnTo>
                <a:lnTo>
                  <a:pt x="5370" y="7144"/>
                </a:lnTo>
                <a:lnTo>
                  <a:pt x="5048" y="7361"/>
                </a:lnTo>
                <a:lnTo>
                  <a:pt x="4725" y="7577"/>
                </a:lnTo>
                <a:lnTo>
                  <a:pt x="4296" y="7686"/>
                </a:lnTo>
                <a:lnTo>
                  <a:pt x="3436" y="7686"/>
                </a:lnTo>
                <a:lnTo>
                  <a:pt x="3007" y="7577"/>
                </a:lnTo>
                <a:lnTo>
                  <a:pt x="2685" y="7361"/>
                </a:lnTo>
                <a:lnTo>
                  <a:pt x="2362" y="7144"/>
                </a:lnTo>
                <a:lnTo>
                  <a:pt x="2148" y="6928"/>
                </a:lnTo>
                <a:lnTo>
                  <a:pt x="1933" y="6603"/>
                </a:lnTo>
                <a:lnTo>
                  <a:pt x="2255" y="8552"/>
                </a:lnTo>
                <a:lnTo>
                  <a:pt x="2685" y="8768"/>
                </a:lnTo>
                <a:lnTo>
                  <a:pt x="3222" y="8876"/>
                </a:lnTo>
                <a:lnTo>
                  <a:pt x="4511" y="8876"/>
                </a:lnTo>
                <a:close/>
              </a:path>
            </a:pathLst>
          </a:custGeom>
          <a:solidFill>
            <a:srgbClr val="000000"/>
          </a:solidFill>
        </p:spPr>
        <p:txBody>
          <a:bodyPr wrap="square" lIns="0" tIns="0" rIns="0" bIns="0" rtlCol="0">
            <a:noAutofit/>
          </a:bodyPr>
          <a:lstStyle/>
          <a:p>
            <a:endParaRPr/>
          </a:p>
        </p:txBody>
      </p:sp>
      <p:sp>
        <p:nvSpPr>
          <p:cNvPr id="1026" name="object 1026"/>
          <p:cNvSpPr/>
          <p:nvPr/>
        </p:nvSpPr>
        <p:spPr>
          <a:xfrm>
            <a:off x="4070209" y="2008449"/>
            <a:ext cx="859" cy="3788"/>
          </a:xfrm>
          <a:custGeom>
            <a:avLst/>
            <a:gdLst/>
            <a:ahLst/>
            <a:cxnLst/>
            <a:rect l="l" t="t" r="r" b="b"/>
            <a:pathLst>
              <a:path w="859" h="3788">
                <a:moveTo>
                  <a:pt x="322" y="1515"/>
                </a:moveTo>
                <a:lnTo>
                  <a:pt x="214" y="1082"/>
                </a:lnTo>
                <a:lnTo>
                  <a:pt x="107" y="757"/>
                </a:lnTo>
                <a:lnTo>
                  <a:pt x="107" y="324"/>
                </a:lnTo>
                <a:lnTo>
                  <a:pt x="0" y="0"/>
                </a:lnTo>
                <a:lnTo>
                  <a:pt x="322" y="3572"/>
                </a:lnTo>
                <a:lnTo>
                  <a:pt x="859" y="3788"/>
                </a:lnTo>
                <a:lnTo>
                  <a:pt x="537" y="1840"/>
                </a:lnTo>
                <a:lnTo>
                  <a:pt x="322" y="1515"/>
                </a:lnTo>
                <a:close/>
              </a:path>
            </a:pathLst>
          </a:custGeom>
          <a:solidFill>
            <a:srgbClr val="000000"/>
          </a:solidFill>
        </p:spPr>
        <p:txBody>
          <a:bodyPr wrap="square" lIns="0" tIns="0" rIns="0" bIns="0" rtlCol="0">
            <a:noAutofit/>
          </a:bodyPr>
          <a:lstStyle/>
          <a:p>
            <a:endParaRPr/>
          </a:p>
        </p:txBody>
      </p:sp>
      <p:sp>
        <p:nvSpPr>
          <p:cNvPr id="1027" name="object 1027"/>
          <p:cNvSpPr/>
          <p:nvPr/>
        </p:nvSpPr>
        <p:spPr>
          <a:xfrm>
            <a:off x="4077404" y="2001521"/>
            <a:ext cx="3866" cy="11150"/>
          </a:xfrm>
          <a:custGeom>
            <a:avLst/>
            <a:gdLst/>
            <a:ahLst/>
            <a:cxnLst/>
            <a:rect l="l" t="t" r="r" b="b"/>
            <a:pathLst>
              <a:path w="3866" h="11150">
                <a:moveTo>
                  <a:pt x="2470" y="2381"/>
                </a:moveTo>
                <a:lnTo>
                  <a:pt x="2470" y="0"/>
                </a:lnTo>
                <a:lnTo>
                  <a:pt x="1074" y="0"/>
                </a:lnTo>
                <a:lnTo>
                  <a:pt x="1074" y="2381"/>
                </a:lnTo>
                <a:lnTo>
                  <a:pt x="0" y="2381"/>
                </a:lnTo>
                <a:lnTo>
                  <a:pt x="0" y="3788"/>
                </a:lnTo>
                <a:lnTo>
                  <a:pt x="1074" y="3788"/>
                </a:lnTo>
                <a:lnTo>
                  <a:pt x="1074" y="9959"/>
                </a:lnTo>
                <a:lnTo>
                  <a:pt x="1181" y="10284"/>
                </a:lnTo>
                <a:lnTo>
                  <a:pt x="1288" y="10500"/>
                </a:lnTo>
                <a:lnTo>
                  <a:pt x="1396" y="10717"/>
                </a:lnTo>
                <a:lnTo>
                  <a:pt x="1611" y="10825"/>
                </a:lnTo>
                <a:lnTo>
                  <a:pt x="1825" y="10933"/>
                </a:lnTo>
                <a:lnTo>
                  <a:pt x="2148" y="11041"/>
                </a:lnTo>
                <a:lnTo>
                  <a:pt x="2470" y="11150"/>
                </a:lnTo>
                <a:lnTo>
                  <a:pt x="3544" y="11150"/>
                </a:lnTo>
                <a:lnTo>
                  <a:pt x="3866" y="11041"/>
                </a:lnTo>
                <a:lnTo>
                  <a:pt x="3866" y="9851"/>
                </a:lnTo>
                <a:lnTo>
                  <a:pt x="3329" y="9851"/>
                </a:lnTo>
                <a:lnTo>
                  <a:pt x="3114" y="9959"/>
                </a:lnTo>
                <a:lnTo>
                  <a:pt x="2792" y="9851"/>
                </a:lnTo>
                <a:lnTo>
                  <a:pt x="2577" y="9634"/>
                </a:lnTo>
                <a:lnTo>
                  <a:pt x="2470" y="9309"/>
                </a:lnTo>
                <a:lnTo>
                  <a:pt x="2470" y="3788"/>
                </a:lnTo>
                <a:lnTo>
                  <a:pt x="3866" y="3788"/>
                </a:lnTo>
                <a:lnTo>
                  <a:pt x="3866" y="2381"/>
                </a:lnTo>
                <a:lnTo>
                  <a:pt x="2470" y="2381"/>
                </a:lnTo>
                <a:close/>
              </a:path>
            </a:pathLst>
          </a:custGeom>
          <a:solidFill>
            <a:srgbClr val="000000"/>
          </a:solidFill>
        </p:spPr>
        <p:txBody>
          <a:bodyPr wrap="square" lIns="0" tIns="0" rIns="0" bIns="0" rtlCol="0">
            <a:noAutofit/>
          </a:bodyPr>
          <a:lstStyle/>
          <a:p>
            <a:endParaRPr/>
          </a:p>
        </p:txBody>
      </p:sp>
      <p:sp>
        <p:nvSpPr>
          <p:cNvPr id="1028" name="object 1028"/>
          <p:cNvSpPr/>
          <p:nvPr/>
        </p:nvSpPr>
        <p:spPr>
          <a:xfrm>
            <a:off x="4082238" y="2003686"/>
            <a:ext cx="8055" cy="8876"/>
          </a:xfrm>
          <a:custGeom>
            <a:avLst/>
            <a:gdLst/>
            <a:ahLst/>
            <a:cxnLst/>
            <a:rect l="l" t="t" r="r" b="b"/>
            <a:pathLst>
              <a:path w="8055" h="8876">
                <a:moveTo>
                  <a:pt x="7411" y="7794"/>
                </a:moveTo>
                <a:lnTo>
                  <a:pt x="7196" y="7686"/>
                </a:lnTo>
                <a:lnTo>
                  <a:pt x="7088" y="7469"/>
                </a:lnTo>
                <a:lnTo>
                  <a:pt x="7088" y="1840"/>
                </a:lnTo>
                <a:lnTo>
                  <a:pt x="6981" y="1515"/>
                </a:lnTo>
                <a:lnTo>
                  <a:pt x="6766" y="1190"/>
                </a:lnTo>
                <a:lnTo>
                  <a:pt x="6659" y="974"/>
                </a:lnTo>
                <a:lnTo>
                  <a:pt x="6444" y="649"/>
                </a:lnTo>
                <a:lnTo>
                  <a:pt x="6122" y="433"/>
                </a:lnTo>
                <a:lnTo>
                  <a:pt x="5799" y="324"/>
                </a:lnTo>
                <a:lnTo>
                  <a:pt x="5477" y="216"/>
                </a:lnTo>
                <a:lnTo>
                  <a:pt x="5048" y="108"/>
                </a:lnTo>
                <a:lnTo>
                  <a:pt x="4725" y="0"/>
                </a:lnTo>
                <a:lnTo>
                  <a:pt x="3329" y="0"/>
                </a:lnTo>
                <a:lnTo>
                  <a:pt x="2792" y="108"/>
                </a:lnTo>
                <a:lnTo>
                  <a:pt x="2362" y="216"/>
                </a:lnTo>
                <a:lnTo>
                  <a:pt x="1933" y="324"/>
                </a:lnTo>
                <a:lnTo>
                  <a:pt x="1611" y="541"/>
                </a:lnTo>
                <a:lnTo>
                  <a:pt x="1288" y="866"/>
                </a:lnTo>
                <a:lnTo>
                  <a:pt x="1074" y="1082"/>
                </a:lnTo>
                <a:lnTo>
                  <a:pt x="859" y="1407"/>
                </a:lnTo>
                <a:lnTo>
                  <a:pt x="751" y="1732"/>
                </a:lnTo>
                <a:lnTo>
                  <a:pt x="644" y="2056"/>
                </a:lnTo>
                <a:lnTo>
                  <a:pt x="537" y="2381"/>
                </a:lnTo>
                <a:lnTo>
                  <a:pt x="537" y="2814"/>
                </a:lnTo>
                <a:lnTo>
                  <a:pt x="1825" y="2814"/>
                </a:lnTo>
                <a:lnTo>
                  <a:pt x="2040" y="2056"/>
                </a:lnTo>
                <a:lnTo>
                  <a:pt x="2362" y="1515"/>
                </a:lnTo>
                <a:lnTo>
                  <a:pt x="3007" y="1190"/>
                </a:lnTo>
                <a:lnTo>
                  <a:pt x="3759" y="1082"/>
                </a:lnTo>
                <a:lnTo>
                  <a:pt x="4618" y="1190"/>
                </a:lnTo>
                <a:lnTo>
                  <a:pt x="5262" y="1515"/>
                </a:lnTo>
                <a:lnTo>
                  <a:pt x="5585" y="1948"/>
                </a:lnTo>
                <a:lnTo>
                  <a:pt x="5692" y="2598"/>
                </a:lnTo>
                <a:lnTo>
                  <a:pt x="5692" y="2814"/>
                </a:lnTo>
                <a:lnTo>
                  <a:pt x="5585" y="3031"/>
                </a:lnTo>
                <a:lnTo>
                  <a:pt x="5477" y="3355"/>
                </a:lnTo>
                <a:lnTo>
                  <a:pt x="5262" y="3464"/>
                </a:lnTo>
                <a:lnTo>
                  <a:pt x="4940" y="3572"/>
                </a:lnTo>
                <a:lnTo>
                  <a:pt x="4725" y="3572"/>
                </a:lnTo>
                <a:lnTo>
                  <a:pt x="4511" y="3680"/>
                </a:lnTo>
                <a:lnTo>
                  <a:pt x="3222" y="3680"/>
                </a:lnTo>
                <a:lnTo>
                  <a:pt x="3007" y="3788"/>
                </a:lnTo>
                <a:lnTo>
                  <a:pt x="2470" y="3897"/>
                </a:lnTo>
                <a:lnTo>
                  <a:pt x="1933" y="4005"/>
                </a:lnTo>
                <a:lnTo>
                  <a:pt x="1503" y="4221"/>
                </a:lnTo>
                <a:lnTo>
                  <a:pt x="1181" y="4330"/>
                </a:lnTo>
                <a:lnTo>
                  <a:pt x="966" y="4546"/>
                </a:lnTo>
                <a:lnTo>
                  <a:pt x="751" y="4763"/>
                </a:lnTo>
                <a:lnTo>
                  <a:pt x="537" y="4979"/>
                </a:lnTo>
                <a:lnTo>
                  <a:pt x="322" y="5196"/>
                </a:lnTo>
                <a:lnTo>
                  <a:pt x="214" y="5412"/>
                </a:lnTo>
                <a:lnTo>
                  <a:pt x="214" y="5737"/>
                </a:lnTo>
                <a:lnTo>
                  <a:pt x="107" y="6062"/>
                </a:lnTo>
                <a:lnTo>
                  <a:pt x="107" y="6495"/>
                </a:lnTo>
                <a:lnTo>
                  <a:pt x="107" y="6820"/>
                </a:lnTo>
                <a:lnTo>
                  <a:pt x="214" y="7144"/>
                </a:lnTo>
                <a:lnTo>
                  <a:pt x="322" y="7469"/>
                </a:lnTo>
                <a:lnTo>
                  <a:pt x="429" y="7686"/>
                </a:lnTo>
                <a:lnTo>
                  <a:pt x="644" y="8010"/>
                </a:lnTo>
                <a:lnTo>
                  <a:pt x="859" y="8227"/>
                </a:lnTo>
                <a:lnTo>
                  <a:pt x="1074" y="8443"/>
                </a:lnTo>
                <a:lnTo>
                  <a:pt x="1396" y="8660"/>
                </a:lnTo>
                <a:lnTo>
                  <a:pt x="1718" y="8768"/>
                </a:lnTo>
                <a:lnTo>
                  <a:pt x="1611" y="7036"/>
                </a:lnTo>
                <a:lnTo>
                  <a:pt x="1503" y="6495"/>
                </a:lnTo>
                <a:lnTo>
                  <a:pt x="1503" y="6170"/>
                </a:lnTo>
                <a:lnTo>
                  <a:pt x="1611" y="5954"/>
                </a:lnTo>
                <a:lnTo>
                  <a:pt x="1825" y="5737"/>
                </a:lnTo>
                <a:lnTo>
                  <a:pt x="2040" y="5520"/>
                </a:lnTo>
                <a:lnTo>
                  <a:pt x="2362" y="5304"/>
                </a:lnTo>
                <a:lnTo>
                  <a:pt x="2685" y="5196"/>
                </a:lnTo>
                <a:lnTo>
                  <a:pt x="3007" y="5087"/>
                </a:lnTo>
                <a:lnTo>
                  <a:pt x="3436" y="4979"/>
                </a:lnTo>
                <a:lnTo>
                  <a:pt x="3866" y="4871"/>
                </a:lnTo>
                <a:lnTo>
                  <a:pt x="4296" y="4763"/>
                </a:lnTo>
                <a:lnTo>
                  <a:pt x="4618" y="4763"/>
                </a:lnTo>
                <a:lnTo>
                  <a:pt x="4940" y="4654"/>
                </a:lnTo>
                <a:lnTo>
                  <a:pt x="5262" y="4546"/>
                </a:lnTo>
                <a:lnTo>
                  <a:pt x="5477" y="4438"/>
                </a:lnTo>
                <a:lnTo>
                  <a:pt x="5692" y="4330"/>
                </a:lnTo>
                <a:lnTo>
                  <a:pt x="5692" y="6170"/>
                </a:lnTo>
                <a:lnTo>
                  <a:pt x="5585" y="6387"/>
                </a:lnTo>
                <a:lnTo>
                  <a:pt x="5477" y="6711"/>
                </a:lnTo>
                <a:lnTo>
                  <a:pt x="5262" y="6928"/>
                </a:lnTo>
                <a:lnTo>
                  <a:pt x="5048" y="7036"/>
                </a:lnTo>
                <a:lnTo>
                  <a:pt x="4725" y="7253"/>
                </a:lnTo>
                <a:lnTo>
                  <a:pt x="4511" y="7361"/>
                </a:lnTo>
                <a:lnTo>
                  <a:pt x="4188" y="7577"/>
                </a:lnTo>
                <a:lnTo>
                  <a:pt x="3974" y="7686"/>
                </a:lnTo>
                <a:lnTo>
                  <a:pt x="3651" y="7686"/>
                </a:lnTo>
                <a:lnTo>
                  <a:pt x="3329" y="7794"/>
                </a:lnTo>
                <a:lnTo>
                  <a:pt x="3007" y="7794"/>
                </a:lnTo>
                <a:lnTo>
                  <a:pt x="2470" y="7686"/>
                </a:lnTo>
                <a:lnTo>
                  <a:pt x="2040" y="8768"/>
                </a:lnTo>
                <a:lnTo>
                  <a:pt x="2362" y="8876"/>
                </a:lnTo>
                <a:lnTo>
                  <a:pt x="2792" y="8876"/>
                </a:lnTo>
                <a:lnTo>
                  <a:pt x="3651" y="8768"/>
                </a:lnTo>
                <a:lnTo>
                  <a:pt x="4403" y="8552"/>
                </a:lnTo>
                <a:lnTo>
                  <a:pt x="5155" y="8119"/>
                </a:lnTo>
                <a:lnTo>
                  <a:pt x="5799" y="7577"/>
                </a:lnTo>
                <a:lnTo>
                  <a:pt x="5907" y="8119"/>
                </a:lnTo>
                <a:lnTo>
                  <a:pt x="6122" y="8443"/>
                </a:lnTo>
                <a:lnTo>
                  <a:pt x="6551" y="8660"/>
                </a:lnTo>
                <a:lnTo>
                  <a:pt x="7088" y="8768"/>
                </a:lnTo>
                <a:lnTo>
                  <a:pt x="7411" y="8768"/>
                </a:lnTo>
                <a:lnTo>
                  <a:pt x="7625" y="8660"/>
                </a:lnTo>
                <a:lnTo>
                  <a:pt x="8055" y="8660"/>
                </a:lnTo>
                <a:lnTo>
                  <a:pt x="8055" y="7686"/>
                </a:lnTo>
                <a:lnTo>
                  <a:pt x="7625" y="7686"/>
                </a:lnTo>
                <a:lnTo>
                  <a:pt x="7411" y="7794"/>
                </a:lnTo>
                <a:close/>
              </a:path>
            </a:pathLst>
          </a:custGeom>
          <a:solidFill>
            <a:srgbClr val="000000"/>
          </a:solidFill>
        </p:spPr>
        <p:txBody>
          <a:bodyPr wrap="square" lIns="0" tIns="0" rIns="0" bIns="0" rtlCol="0">
            <a:noAutofit/>
          </a:bodyPr>
          <a:lstStyle/>
          <a:p>
            <a:endParaRPr/>
          </a:p>
        </p:txBody>
      </p:sp>
      <p:sp>
        <p:nvSpPr>
          <p:cNvPr id="1029" name="object 1029"/>
          <p:cNvSpPr/>
          <p:nvPr/>
        </p:nvSpPr>
        <p:spPr>
          <a:xfrm>
            <a:off x="4083849" y="2010722"/>
            <a:ext cx="859" cy="1732"/>
          </a:xfrm>
          <a:custGeom>
            <a:avLst/>
            <a:gdLst/>
            <a:ahLst/>
            <a:cxnLst/>
            <a:rect l="l" t="t" r="r" b="b"/>
            <a:pathLst>
              <a:path w="859" h="1732">
                <a:moveTo>
                  <a:pt x="322" y="433"/>
                </a:moveTo>
                <a:lnTo>
                  <a:pt x="0" y="0"/>
                </a:lnTo>
                <a:lnTo>
                  <a:pt x="107" y="1732"/>
                </a:lnTo>
                <a:lnTo>
                  <a:pt x="429" y="1732"/>
                </a:lnTo>
                <a:lnTo>
                  <a:pt x="859" y="649"/>
                </a:lnTo>
                <a:lnTo>
                  <a:pt x="322" y="433"/>
                </a:lnTo>
                <a:close/>
              </a:path>
            </a:pathLst>
          </a:custGeom>
          <a:solidFill>
            <a:srgbClr val="000000"/>
          </a:solidFill>
        </p:spPr>
        <p:txBody>
          <a:bodyPr wrap="square" lIns="0" tIns="0" rIns="0" bIns="0" rtlCol="0">
            <a:noAutofit/>
          </a:bodyPr>
          <a:lstStyle/>
          <a:p>
            <a:endParaRPr/>
          </a:p>
        </p:txBody>
      </p:sp>
      <p:sp>
        <p:nvSpPr>
          <p:cNvPr id="1030" name="object 1030"/>
          <p:cNvSpPr/>
          <p:nvPr/>
        </p:nvSpPr>
        <p:spPr>
          <a:xfrm>
            <a:off x="4091904" y="2006554"/>
            <a:ext cx="1396" cy="0"/>
          </a:xfrm>
          <a:custGeom>
            <a:avLst/>
            <a:gdLst/>
            <a:ahLst/>
            <a:cxnLst/>
            <a:rect l="l" t="t" r="r" b="b"/>
            <a:pathLst>
              <a:path w="1396">
                <a:moveTo>
                  <a:pt x="0" y="0"/>
                </a:moveTo>
                <a:lnTo>
                  <a:pt x="1396" y="0"/>
                </a:lnTo>
              </a:path>
            </a:pathLst>
          </a:custGeom>
          <a:ln w="12853">
            <a:solidFill>
              <a:srgbClr val="000000"/>
            </a:solidFill>
          </a:ln>
        </p:spPr>
        <p:txBody>
          <a:bodyPr wrap="square" lIns="0" tIns="0" rIns="0" bIns="0" rtlCol="0">
            <a:noAutofit/>
          </a:bodyPr>
          <a:lstStyle/>
          <a:p>
            <a:endParaRPr/>
          </a:p>
        </p:txBody>
      </p:sp>
      <p:sp>
        <p:nvSpPr>
          <p:cNvPr id="1031" name="object 1031"/>
          <p:cNvSpPr/>
          <p:nvPr/>
        </p:nvSpPr>
        <p:spPr>
          <a:xfrm>
            <a:off x="4060434" y="2000764"/>
            <a:ext cx="9344" cy="11583"/>
          </a:xfrm>
          <a:custGeom>
            <a:avLst/>
            <a:gdLst/>
            <a:ahLst/>
            <a:cxnLst/>
            <a:rect l="l" t="t" r="r" b="b"/>
            <a:pathLst>
              <a:path w="9344" h="11583">
                <a:moveTo>
                  <a:pt x="3866" y="11583"/>
                </a:moveTo>
                <a:lnTo>
                  <a:pt x="5370" y="11583"/>
                </a:lnTo>
                <a:lnTo>
                  <a:pt x="5370" y="1407"/>
                </a:lnTo>
                <a:lnTo>
                  <a:pt x="9344" y="1407"/>
                </a:lnTo>
                <a:lnTo>
                  <a:pt x="9344" y="0"/>
                </a:lnTo>
                <a:lnTo>
                  <a:pt x="0" y="0"/>
                </a:lnTo>
                <a:lnTo>
                  <a:pt x="0" y="1407"/>
                </a:lnTo>
                <a:lnTo>
                  <a:pt x="3866" y="1407"/>
                </a:lnTo>
                <a:lnTo>
                  <a:pt x="3866" y="11583"/>
                </a:lnTo>
                <a:close/>
              </a:path>
            </a:pathLst>
          </a:custGeom>
          <a:solidFill>
            <a:srgbClr val="000000"/>
          </a:solidFill>
        </p:spPr>
        <p:txBody>
          <a:bodyPr wrap="square" lIns="0" tIns="0" rIns="0" bIns="0" rtlCol="0">
            <a:noAutofit/>
          </a:bodyPr>
          <a:lstStyle/>
          <a:p>
            <a:endParaRPr/>
          </a:p>
        </p:txBody>
      </p:sp>
      <p:sp>
        <p:nvSpPr>
          <p:cNvPr id="1032" name="object 1032"/>
          <p:cNvSpPr/>
          <p:nvPr/>
        </p:nvSpPr>
        <p:spPr>
          <a:xfrm>
            <a:off x="3841433" y="2545610"/>
            <a:ext cx="4618" cy="1407"/>
          </a:xfrm>
          <a:custGeom>
            <a:avLst/>
            <a:gdLst/>
            <a:ahLst/>
            <a:cxnLst/>
            <a:rect l="l" t="t" r="r" b="b"/>
            <a:pathLst>
              <a:path w="4618" h="1407">
                <a:moveTo>
                  <a:pt x="429" y="0"/>
                </a:moveTo>
                <a:lnTo>
                  <a:pt x="0" y="1407"/>
                </a:lnTo>
                <a:lnTo>
                  <a:pt x="4618" y="1407"/>
                </a:lnTo>
                <a:lnTo>
                  <a:pt x="3974" y="0"/>
                </a:lnTo>
                <a:lnTo>
                  <a:pt x="429" y="0"/>
                </a:lnTo>
                <a:close/>
              </a:path>
            </a:pathLst>
          </a:custGeom>
          <a:solidFill>
            <a:srgbClr val="000000"/>
          </a:solidFill>
        </p:spPr>
        <p:txBody>
          <a:bodyPr wrap="square" lIns="0" tIns="0" rIns="0" bIns="0" rtlCol="0">
            <a:noAutofit/>
          </a:bodyPr>
          <a:lstStyle/>
          <a:p>
            <a:endParaRPr/>
          </a:p>
        </p:txBody>
      </p:sp>
      <p:sp>
        <p:nvSpPr>
          <p:cNvPr id="1033" name="object 1033"/>
          <p:cNvSpPr/>
          <p:nvPr/>
        </p:nvSpPr>
        <p:spPr>
          <a:xfrm>
            <a:off x="3848200" y="2538790"/>
            <a:ext cx="9344" cy="11583"/>
          </a:xfrm>
          <a:custGeom>
            <a:avLst/>
            <a:gdLst/>
            <a:ahLst/>
            <a:cxnLst/>
            <a:rect l="l" t="t" r="r" b="b"/>
            <a:pathLst>
              <a:path w="9344" h="11583">
                <a:moveTo>
                  <a:pt x="3866" y="11583"/>
                </a:moveTo>
                <a:lnTo>
                  <a:pt x="5370" y="11583"/>
                </a:lnTo>
                <a:lnTo>
                  <a:pt x="5370" y="1407"/>
                </a:lnTo>
                <a:lnTo>
                  <a:pt x="9344" y="1407"/>
                </a:lnTo>
                <a:lnTo>
                  <a:pt x="9344" y="0"/>
                </a:lnTo>
                <a:lnTo>
                  <a:pt x="0" y="0"/>
                </a:lnTo>
                <a:lnTo>
                  <a:pt x="0" y="1407"/>
                </a:lnTo>
                <a:lnTo>
                  <a:pt x="3866" y="1407"/>
                </a:lnTo>
                <a:lnTo>
                  <a:pt x="3866" y="11583"/>
                </a:lnTo>
                <a:close/>
              </a:path>
            </a:pathLst>
          </a:custGeom>
          <a:solidFill>
            <a:srgbClr val="000000"/>
          </a:solidFill>
        </p:spPr>
        <p:txBody>
          <a:bodyPr wrap="square" lIns="0" tIns="0" rIns="0" bIns="0" rtlCol="0">
            <a:noAutofit/>
          </a:bodyPr>
          <a:lstStyle/>
          <a:p>
            <a:endParaRPr/>
          </a:p>
        </p:txBody>
      </p:sp>
      <p:sp>
        <p:nvSpPr>
          <p:cNvPr id="1034" name="object 1034"/>
          <p:cNvSpPr/>
          <p:nvPr/>
        </p:nvSpPr>
        <p:spPr>
          <a:xfrm>
            <a:off x="3859155" y="2538790"/>
            <a:ext cx="8592" cy="11583"/>
          </a:xfrm>
          <a:custGeom>
            <a:avLst/>
            <a:gdLst/>
            <a:ahLst/>
            <a:cxnLst/>
            <a:rect l="l" t="t" r="r" b="b"/>
            <a:pathLst>
              <a:path w="8592" h="11583">
                <a:moveTo>
                  <a:pt x="1503" y="10284"/>
                </a:moveTo>
                <a:lnTo>
                  <a:pt x="1503" y="6278"/>
                </a:lnTo>
                <a:lnTo>
                  <a:pt x="7948" y="6278"/>
                </a:lnTo>
                <a:lnTo>
                  <a:pt x="7948" y="4871"/>
                </a:lnTo>
                <a:lnTo>
                  <a:pt x="1503" y="4871"/>
                </a:lnTo>
                <a:lnTo>
                  <a:pt x="1503" y="1407"/>
                </a:lnTo>
                <a:lnTo>
                  <a:pt x="8485" y="1407"/>
                </a:lnTo>
                <a:lnTo>
                  <a:pt x="8485" y="0"/>
                </a:lnTo>
                <a:lnTo>
                  <a:pt x="0" y="0"/>
                </a:lnTo>
                <a:lnTo>
                  <a:pt x="0" y="11583"/>
                </a:lnTo>
                <a:lnTo>
                  <a:pt x="8592" y="11583"/>
                </a:lnTo>
                <a:lnTo>
                  <a:pt x="8592" y="10284"/>
                </a:lnTo>
                <a:lnTo>
                  <a:pt x="1503" y="10284"/>
                </a:lnTo>
                <a:close/>
              </a:path>
            </a:pathLst>
          </a:custGeom>
          <a:solidFill>
            <a:srgbClr val="000000"/>
          </a:solidFill>
        </p:spPr>
        <p:txBody>
          <a:bodyPr wrap="square" lIns="0" tIns="0" rIns="0" bIns="0" rtlCol="0">
            <a:noAutofit/>
          </a:bodyPr>
          <a:lstStyle/>
          <a:p>
            <a:endParaRPr/>
          </a:p>
        </p:txBody>
      </p:sp>
      <p:sp>
        <p:nvSpPr>
          <p:cNvPr id="1035" name="object 1035"/>
          <p:cNvSpPr/>
          <p:nvPr/>
        </p:nvSpPr>
        <p:spPr>
          <a:xfrm>
            <a:off x="3828116" y="2538790"/>
            <a:ext cx="9451" cy="11583"/>
          </a:xfrm>
          <a:custGeom>
            <a:avLst/>
            <a:gdLst/>
            <a:ahLst/>
            <a:cxnLst/>
            <a:rect l="l" t="t" r="r" b="b"/>
            <a:pathLst>
              <a:path w="9451" h="11583">
                <a:moveTo>
                  <a:pt x="7948" y="10284"/>
                </a:moveTo>
                <a:lnTo>
                  <a:pt x="8377" y="9634"/>
                </a:lnTo>
                <a:lnTo>
                  <a:pt x="8699" y="9093"/>
                </a:lnTo>
                <a:lnTo>
                  <a:pt x="9022" y="8335"/>
                </a:lnTo>
                <a:lnTo>
                  <a:pt x="9236" y="7686"/>
                </a:lnTo>
                <a:lnTo>
                  <a:pt x="9344" y="6928"/>
                </a:lnTo>
                <a:lnTo>
                  <a:pt x="9451" y="6170"/>
                </a:lnTo>
                <a:lnTo>
                  <a:pt x="9451" y="5412"/>
                </a:lnTo>
                <a:lnTo>
                  <a:pt x="9344" y="4546"/>
                </a:lnTo>
                <a:lnTo>
                  <a:pt x="9236" y="3788"/>
                </a:lnTo>
                <a:lnTo>
                  <a:pt x="9022" y="3031"/>
                </a:lnTo>
                <a:lnTo>
                  <a:pt x="8699" y="2381"/>
                </a:lnTo>
                <a:lnTo>
                  <a:pt x="8377" y="1840"/>
                </a:lnTo>
                <a:lnTo>
                  <a:pt x="7948" y="1299"/>
                </a:lnTo>
                <a:lnTo>
                  <a:pt x="7411" y="866"/>
                </a:lnTo>
                <a:lnTo>
                  <a:pt x="6981" y="541"/>
                </a:lnTo>
                <a:lnTo>
                  <a:pt x="6444" y="324"/>
                </a:lnTo>
                <a:lnTo>
                  <a:pt x="5907" y="108"/>
                </a:lnTo>
                <a:lnTo>
                  <a:pt x="5370" y="0"/>
                </a:lnTo>
                <a:lnTo>
                  <a:pt x="0" y="0"/>
                </a:lnTo>
                <a:lnTo>
                  <a:pt x="0" y="11583"/>
                </a:lnTo>
                <a:lnTo>
                  <a:pt x="5692" y="11583"/>
                </a:lnTo>
                <a:lnTo>
                  <a:pt x="6336" y="11366"/>
                </a:lnTo>
                <a:lnTo>
                  <a:pt x="5692" y="10175"/>
                </a:lnTo>
                <a:lnTo>
                  <a:pt x="5262" y="10392"/>
                </a:lnTo>
                <a:lnTo>
                  <a:pt x="1503" y="10392"/>
                </a:lnTo>
                <a:lnTo>
                  <a:pt x="1503" y="1407"/>
                </a:lnTo>
                <a:lnTo>
                  <a:pt x="5048" y="1407"/>
                </a:lnTo>
                <a:lnTo>
                  <a:pt x="5370" y="1515"/>
                </a:lnTo>
                <a:lnTo>
                  <a:pt x="5799" y="1623"/>
                </a:lnTo>
                <a:lnTo>
                  <a:pt x="6122" y="1732"/>
                </a:lnTo>
                <a:lnTo>
                  <a:pt x="6444" y="1948"/>
                </a:lnTo>
                <a:lnTo>
                  <a:pt x="6659" y="2165"/>
                </a:lnTo>
                <a:lnTo>
                  <a:pt x="6981" y="2381"/>
                </a:lnTo>
                <a:lnTo>
                  <a:pt x="7196" y="2598"/>
                </a:lnTo>
                <a:lnTo>
                  <a:pt x="7303" y="2922"/>
                </a:lnTo>
                <a:lnTo>
                  <a:pt x="7518" y="3247"/>
                </a:lnTo>
                <a:lnTo>
                  <a:pt x="7625" y="3572"/>
                </a:lnTo>
                <a:lnTo>
                  <a:pt x="7733" y="4005"/>
                </a:lnTo>
                <a:lnTo>
                  <a:pt x="7840" y="4330"/>
                </a:lnTo>
                <a:lnTo>
                  <a:pt x="7948" y="4763"/>
                </a:lnTo>
                <a:lnTo>
                  <a:pt x="7948" y="6170"/>
                </a:lnTo>
                <a:lnTo>
                  <a:pt x="7840" y="6711"/>
                </a:lnTo>
                <a:lnTo>
                  <a:pt x="7733" y="7361"/>
                </a:lnTo>
                <a:lnTo>
                  <a:pt x="7625" y="7902"/>
                </a:lnTo>
                <a:lnTo>
                  <a:pt x="7411" y="8443"/>
                </a:lnTo>
                <a:lnTo>
                  <a:pt x="7411" y="10717"/>
                </a:lnTo>
                <a:lnTo>
                  <a:pt x="7948" y="10284"/>
                </a:lnTo>
                <a:close/>
              </a:path>
            </a:pathLst>
          </a:custGeom>
          <a:solidFill>
            <a:srgbClr val="000000"/>
          </a:solidFill>
        </p:spPr>
        <p:txBody>
          <a:bodyPr wrap="square" lIns="0" tIns="0" rIns="0" bIns="0" rtlCol="0">
            <a:noAutofit/>
          </a:bodyPr>
          <a:lstStyle/>
          <a:p>
            <a:endParaRPr/>
          </a:p>
        </p:txBody>
      </p:sp>
      <p:sp>
        <p:nvSpPr>
          <p:cNvPr id="1036" name="object 1036"/>
          <p:cNvSpPr/>
          <p:nvPr/>
        </p:nvSpPr>
        <p:spPr>
          <a:xfrm>
            <a:off x="3833808" y="2547233"/>
            <a:ext cx="1718" cy="2922"/>
          </a:xfrm>
          <a:custGeom>
            <a:avLst/>
            <a:gdLst/>
            <a:ahLst/>
            <a:cxnLst/>
            <a:rect l="l" t="t" r="r" b="b"/>
            <a:pathLst>
              <a:path w="1718" h="2922">
                <a:moveTo>
                  <a:pt x="1718" y="0"/>
                </a:moveTo>
                <a:lnTo>
                  <a:pt x="1503" y="433"/>
                </a:lnTo>
                <a:lnTo>
                  <a:pt x="1181" y="866"/>
                </a:lnTo>
                <a:lnTo>
                  <a:pt x="859" y="1190"/>
                </a:lnTo>
                <a:lnTo>
                  <a:pt x="429" y="1515"/>
                </a:lnTo>
                <a:lnTo>
                  <a:pt x="0" y="1732"/>
                </a:lnTo>
                <a:lnTo>
                  <a:pt x="644" y="2922"/>
                </a:lnTo>
                <a:lnTo>
                  <a:pt x="1181" y="2706"/>
                </a:lnTo>
                <a:lnTo>
                  <a:pt x="1718" y="2273"/>
                </a:lnTo>
                <a:lnTo>
                  <a:pt x="1718" y="0"/>
                </a:lnTo>
                <a:close/>
              </a:path>
            </a:pathLst>
          </a:custGeom>
          <a:solidFill>
            <a:srgbClr val="000000"/>
          </a:solidFill>
        </p:spPr>
        <p:txBody>
          <a:bodyPr wrap="square" lIns="0" tIns="0" rIns="0" bIns="0" rtlCol="0">
            <a:noAutofit/>
          </a:bodyPr>
          <a:lstStyle/>
          <a:p>
            <a:endParaRPr/>
          </a:p>
        </p:txBody>
      </p:sp>
      <p:sp>
        <p:nvSpPr>
          <p:cNvPr id="1037" name="object 1037"/>
          <p:cNvSpPr/>
          <p:nvPr/>
        </p:nvSpPr>
        <p:spPr>
          <a:xfrm>
            <a:off x="3838642" y="2538790"/>
            <a:ext cx="10203" cy="11583"/>
          </a:xfrm>
          <a:custGeom>
            <a:avLst/>
            <a:gdLst/>
            <a:ahLst/>
            <a:cxnLst/>
            <a:rect l="l" t="t" r="r" b="b"/>
            <a:pathLst>
              <a:path w="10203" h="11583">
                <a:moveTo>
                  <a:pt x="2792" y="8227"/>
                </a:moveTo>
                <a:lnTo>
                  <a:pt x="3222" y="6820"/>
                </a:lnTo>
                <a:lnTo>
                  <a:pt x="5048" y="1732"/>
                </a:lnTo>
                <a:lnTo>
                  <a:pt x="6766" y="6820"/>
                </a:lnTo>
                <a:lnTo>
                  <a:pt x="7411" y="8227"/>
                </a:lnTo>
                <a:lnTo>
                  <a:pt x="8485" y="11583"/>
                </a:lnTo>
                <a:lnTo>
                  <a:pt x="10203" y="11583"/>
                </a:lnTo>
                <a:lnTo>
                  <a:pt x="6014" y="0"/>
                </a:lnTo>
                <a:lnTo>
                  <a:pt x="4296" y="0"/>
                </a:lnTo>
                <a:lnTo>
                  <a:pt x="0" y="11583"/>
                </a:lnTo>
                <a:lnTo>
                  <a:pt x="1611" y="11583"/>
                </a:lnTo>
                <a:lnTo>
                  <a:pt x="2792" y="8227"/>
                </a:lnTo>
                <a:close/>
              </a:path>
            </a:pathLst>
          </a:custGeom>
          <a:solidFill>
            <a:srgbClr val="000000"/>
          </a:solidFill>
        </p:spPr>
        <p:txBody>
          <a:bodyPr wrap="square" lIns="0" tIns="0" rIns="0" bIns="0" rtlCol="0">
            <a:noAutofit/>
          </a:bodyPr>
          <a:lstStyle/>
          <a:p>
            <a:endParaRPr/>
          </a:p>
        </p:txBody>
      </p:sp>
      <p:sp>
        <p:nvSpPr>
          <p:cNvPr id="1038" name="object 1038"/>
          <p:cNvSpPr/>
          <p:nvPr/>
        </p:nvSpPr>
        <p:spPr>
          <a:xfrm>
            <a:off x="3902763" y="2538790"/>
            <a:ext cx="10203" cy="11583"/>
          </a:xfrm>
          <a:custGeom>
            <a:avLst/>
            <a:gdLst/>
            <a:ahLst/>
            <a:cxnLst/>
            <a:rect l="l" t="t" r="r" b="b"/>
            <a:pathLst>
              <a:path w="10203" h="11583">
                <a:moveTo>
                  <a:pt x="2792" y="8227"/>
                </a:moveTo>
                <a:lnTo>
                  <a:pt x="3222" y="6820"/>
                </a:lnTo>
                <a:lnTo>
                  <a:pt x="5048" y="1732"/>
                </a:lnTo>
                <a:lnTo>
                  <a:pt x="6766" y="6820"/>
                </a:lnTo>
                <a:lnTo>
                  <a:pt x="7411" y="8227"/>
                </a:lnTo>
                <a:lnTo>
                  <a:pt x="8485" y="11583"/>
                </a:lnTo>
                <a:lnTo>
                  <a:pt x="10203" y="11583"/>
                </a:lnTo>
                <a:lnTo>
                  <a:pt x="6014" y="0"/>
                </a:lnTo>
                <a:lnTo>
                  <a:pt x="4296" y="0"/>
                </a:lnTo>
                <a:lnTo>
                  <a:pt x="0" y="11583"/>
                </a:lnTo>
                <a:lnTo>
                  <a:pt x="1611" y="11583"/>
                </a:lnTo>
                <a:lnTo>
                  <a:pt x="2792" y="8227"/>
                </a:lnTo>
                <a:close/>
              </a:path>
            </a:pathLst>
          </a:custGeom>
          <a:solidFill>
            <a:srgbClr val="000000"/>
          </a:solidFill>
        </p:spPr>
        <p:txBody>
          <a:bodyPr wrap="square" lIns="0" tIns="0" rIns="0" bIns="0" rtlCol="0">
            <a:noAutofit/>
          </a:bodyPr>
          <a:lstStyle/>
          <a:p>
            <a:endParaRPr/>
          </a:p>
        </p:txBody>
      </p:sp>
      <p:sp>
        <p:nvSpPr>
          <p:cNvPr id="1039" name="object 1039"/>
          <p:cNvSpPr/>
          <p:nvPr/>
        </p:nvSpPr>
        <p:spPr>
          <a:xfrm>
            <a:off x="3905555" y="2545610"/>
            <a:ext cx="4618" cy="1407"/>
          </a:xfrm>
          <a:custGeom>
            <a:avLst/>
            <a:gdLst/>
            <a:ahLst/>
            <a:cxnLst/>
            <a:rect l="l" t="t" r="r" b="b"/>
            <a:pathLst>
              <a:path w="4618" h="1407">
                <a:moveTo>
                  <a:pt x="429" y="0"/>
                </a:moveTo>
                <a:lnTo>
                  <a:pt x="0" y="1407"/>
                </a:lnTo>
                <a:lnTo>
                  <a:pt x="4618" y="1407"/>
                </a:lnTo>
                <a:lnTo>
                  <a:pt x="3974" y="0"/>
                </a:lnTo>
                <a:lnTo>
                  <a:pt x="429" y="0"/>
                </a:lnTo>
                <a:close/>
              </a:path>
            </a:pathLst>
          </a:custGeom>
          <a:solidFill>
            <a:srgbClr val="000000"/>
          </a:solidFill>
        </p:spPr>
        <p:txBody>
          <a:bodyPr wrap="square" lIns="0" tIns="0" rIns="0" bIns="0" rtlCol="0">
            <a:noAutofit/>
          </a:bodyPr>
          <a:lstStyle/>
          <a:p>
            <a:endParaRPr/>
          </a:p>
        </p:txBody>
      </p:sp>
      <p:sp>
        <p:nvSpPr>
          <p:cNvPr id="1040" name="object 1040"/>
          <p:cNvSpPr/>
          <p:nvPr/>
        </p:nvSpPr>
        <p:spPr>
          <a:xfrm>
            <a:off x="3925103" y="2538790"/>
            <a:ext cx="9344" cy="11583"/>
          </a:xfrm>
          <a:custGeom>
            <a:avLst/>
            <a:gdLst/>
            <a:ahLst/>
            <a:cxnLst/>
            <a:rect l="l" t="t" r="r" b="b"/>
            <a:pathLst>
              <a:path w="9344" h="11583">
                <a:moveTo>
                  <a:pt x="3866" y="11583"/>
                </a:moveTo>
                <a:lnTo>
                  <a:pt x="5370" y="11583"/>
                </a:lnTo>
                <a:lnTo>
                  <a:pt x="5370" y="1407"/>
                </a:lnTo>
                <a:lnTo>
                  <a:pt x="9344" y="1407"/>
                </a:lnTo>
                <a:lnTo>
                  <a:pt x="9344" y="0"/>
                </a:lnTo>
                <a:lnTo>
                  <a:pt x="0" y="0"/>
                </a:lnTo>
                <a:lnTo>
                  <a:pt x="0" y="1407"/>
                </a:lnTo>
                <a:lnTo>
                  <a:pt x="3866" y="1407"/>
                </a:lnTo>
                <a:lnTo>
                  <a:pt x="3866" y="11583"/>
                </a:lnTo>
                <a:close/>
              </a:path>
            </a:pathLst>
          </a:custGeom>
          <a:solidFill>
            <a:srgbClr val="000000"/>
          </a:solidFill>
        </p:spPr>
        <p:txBody>
          <a:bodyPr wrap="square" lIns="0" tIns="0" rIns="0" bIns="0" rtlCol="0">
            <a:noAutofit/>
          </a:bodyPr>
          <a:lstStyle/>
          <a:p>
            <a:endParaRPr/>
          </a:p>
        </p:txBody>
      </p:sp>
      <p:sp>
        <p:nvSpPr>
          <p:cNvPr id="1041" name="object 1041"/>
          <p:cNvSpPr/>
          <p:nvPr/>
        </p:nvSpPr>
        <p:spPr>
          <a:xfrm>
            <a:off x="3914470" y="2538789"/>
            <a:ext cx="9129" cy="11908"/>
          </a:xfrm>
          <a:custGeom>
            <a:avLst/>
            <a:gdLst/>
            <a:ahLst/>
            <a:cxnLst/>
            <a:rect l="l" t="t" r="r" b="b"/>
            <a:pathLst>
              <a:path w="9129" h="11908">
                <a:moveTo>
                  <a:pt x="1825" y="9201"/>
                </a:moveTo>
                <a:lnTo>
                  <a:pt x="1718" y="8876"/>
                </a:lnTo>
                <a:lnTo>
                  <a:pt x="1611" y="8443"/>
                </a:lnTo>
                <a:lnTo>
                  <a:pt x="1503" y="8010"/>
                </a:lnTo>
                <a:lnTo>
                  <a:pt x="1503" y="0"/>
                </a:lnTo>
                <a:lnTo>
                  <a:pt x="0" y="0"/>
                </a:lnTo>
                <a:lnTo>
                  <a:pt x="0" y="8552"/>
                </a:lnTo>
                <a:lnTo>
                  <a:pt x="214" y="9093"/>
                </a:lnTo>
                <a:lnTo>
                  <a:pt x="322" y="9634"/>
                </a:lnTo>
                <a:lnTo>
                  <a:pt x="644" y="10067"/>
                </a:lnTo>
                <a:lnTo>
                  <a:pt x="966" y="10500"/>
                </a:lnTo>
                <a:lnTo>
                  <a:pt x="1396" y="10933"/>
                </a:lnTo>
                <a:lnTo>
                  <a:pt x="1825" y="11258"/>
                </a:lnTo>
                <a:lnTo>
                  <a:pt x="2255" y="11583"/>
                </a:lnTo>
                <a:lnTo>
                  <a:pt x="2792" y="11691"/>
                </a:lnTo>
                <a:lnTo>
                  <a:pt x="3329" y="11799"/>
                </a:lnTo>
                <a:lnTo>
                  <a:pt x="3866" y="11908"/>
                </a:lnTo>
                <a:lnTo>
                  <a:pt x="5048" y="11908"/>
                </a:lnTo>
                <a:lnTo>
                  <a:pt x="5692" y="11799"/>
                </a:lnTo>
                <a:lnTo>
                  <a:pt x="6336" y="11583"/>
                </a:lnTo>
                <a:lnTo>
                  <a:pt x="6873" y="11475"/>
                </a:lnTo>
                <a:lnTo>
                  <a:pt x="7303" y="11150"/>
                </a:lnTo>
                <a:lnTo>
                  <a:pt x="7840" y="10825"/>
                </a:lnTo>
                <a:lnTo>
                  <a:pt x="8162" y="10392"/>
                </a:lnTo>
                <a:lnTo>
                  <a:pt x="8485" y="9959"/>
                </a:lnTo>
                <a:lnTo>
                  <a:pt x="8807" y="9526"/>
                </a:lnTo>
                <a:lnTo>
                  <a:pt x="9022" y="8985"/>
                </a:lnTo>
                <a:lnTo>
                  <a:pt x="9129" y="8443"/>
                </a:lnTo>
                <a:lnTo>
                  <a:pt x="9129" y="0"/>
                </a:lnTo>
                <a:lnTo>
                  <a:pt x="7625" y="0"/>
                </a:lnTo>
                <a:lnTo>
                  <a:pt x="7625" y="8119"/>
                </a:lnTo>
                <a:lnTo>
                  <a:pt x="7518" y="8443"/>
                </a:lnTo>
                <a:lnTo>
                  <a:pt x="7303" y="8876"/>
                </a:lnTo>
                <a:lnTo>
                  <a:pt x="7196" y="9201"/>
                </a:lnTo>
                <a:lnTo>
                  <a:pt x="6981" y="9526"/>
                </a:lnTo>
                <a:lnTo>
                  <a:pt x="6766" y="9742"/>
                </a:lnTo>
                <a:lnTo>
                  <a:pt x="6444" y="10067"/>
                </a:lnTo>
                <a:lnTo>
                  <a:pt x="6122" y="10284"/>
                </a:lnTo>
                <a:lnTo>
                  <a:pt x="5799" y="10392"/>
                </a:lnTo>
                <a:lnTo>
                  <a:pt x="5370" y="10500"/>
                </a:lnTo>
                <a:lnTo>
                  <a:pt x="4940" y="10608"/>
                </a:lnTo>
                <a:lnTo>
                  <a:pt x="4081" y="10608"/>
                </a:lnTo>
                <a:lnTo>
                  <a:pt x="3651" y="10500"/>
                </a:lnTo>
                <a:lnTo>
                  <a:pt x="3222" y="10392"/>
                </a:lnTo>
                <a:lnTo>
                  <a:pt x="2899" y="10284"/>
                </a:lnTo>
                <a:lnTo>
                  <a:pt x="2577" y="10067"/>
                </a:lnTo>
                <a:lnTo>
                  <a:pt x="2255" y="9742"/>
                </a:lnTo>
                <a:lnTo>
                  <a:pt x="2040" y="9526"/>
                </a:lnTo>
                <a:lnTo>
                  <a:pt x="1825" y="9201"/>
                </a:lnTo>
                <a:close/>
              </a:path>
            </a:pathLst>
          </a:custGeom>
          <a:solidFill>
            <a:srgbClr val="000000"/>
          </a:solidFill>
        </p:spPr>
        <p:txBody>
          <a:bodyPr wrap="square" lIns="0" tIns="0" rIns="0" bIns="0" rtlCol="0">
            <a:noAutofit/>
          </a:bodyPr>
          <a:lstStyle/>
          <a:p>
            <a:endParaRPr/>
          </a:p>
        </p:txBody>
      </p:sp>
      <p:sp>
        <p:nvSpPr>
          <p:cNvPr id="1042" name="object 1042"/>
          <p:cNvSpPr/>
          <p:nvPr/>
        </p:nvSpPr>
        <p:spPr>
          <a:xfrm>
            <a:off x="3935952" y="2538790"/>
            <a:ext cx="9129" cy="11583"/>
          </a:xfrm>
          <a:custGeom>
            <a:avLst/>
            <a:gdLst/>
            <a:ahLst/>
            <a:cxnLst/>
            <a:rect l="l" t="t" r="r" b="b"/>
            <a:pathLst>
              <a:path w="9129" h="11583">
                <a:moveTo>
                  <a:pt x="9129" y="0"/>
                </a:moveTo>
                <a:lnTo>
                  <a:pt x="7625" y="0"/>
                </a:lnTo>
                <a:lnTo>
                  <a:pt x="7625" y="4763"/>
                </a:lnTo>
                <a:lnTo>
                  <a:pt x="1503" y="4763"/>
                </a:lnTo>
                <a:lnTo>
                  <a:pt x="1503" y="0"/>
                </a:lnTo>
                <a:lnTo>
                  <a:pt x="0" y="0"/>
                </a:lnTo>
                <a:lnTo>
                  <a:pt x="0" y="11583"/>
                </a:lnTo>
                <a:lnTo>
                  <a:pt x="1503" y="11583"/>
                </a:lnTo>
                <a:lnTo>
                  <a:pt x="1503" y="6170"/>
                </a:lnTo>
                <a:lnTo>
                  <a:pt x="7625" y="6170"/>
                </a:lnTo>
                <a:lnTo>
                  <a:pt x="7625" y="11583"/>
                </a:lnTo>
                <a:lnTo>
                  <a:pt x="9129" y="11583"/>
                </a:lnTo>
                <a:lnTo>
                  <a:pt x="9129" y="0"/>
                </a:lnTo>
                <a:close/>
              </a:path>
            </a:pathLst>
          </a:custGeom>
          <a:solidFill>
            <a:srgbClr val="000000"/>
          </a:solidFill>
        </p:spPr>
        <p:txBody>
          <a:bodyPr wrap="square" lIns="0" tIns="0" rIns="0" bIns="0" rtlCol="0">
            <a:noAutofit/>
          </a:bodyPr>
          <a:lstStyle/>
          <a:p>
            <a:endParaRPr/>
          </a:p>
        </p:txBody>
      </p:sp>
      <p:sp>
        <p:nvSpPr>
          <p:cNvPr id="1043" name="object 1043"/>
          <p:cNvSpPr/>
          <p:nvPr/>
        </p:nvSpPr>
        <p:spPr>
          <a:xfrm>
            <a:off x="3948518" y="2545935"/>
            <a:ext cx="859" cy="4005"/>
          </a:xfrm>
          <a:custGeom>
            <a:avLst/>
            <a:gdLst/>
            <a:ahLst/>
            <a:cxnLst/>
            <a:rect l="l" t="t" r="r" b="b"/>
            <a:pathLst>
              <a:path w="859" h="4005">
                <a:moveTo>
                  <a:pt x="429" y="3680"/>
                </a:moveTo>
                <a:lnTo>
                  <a:pt x="859" y="4005"/>
                </a:lnTo>
                <a:lnTo>
                  <a:pt x="429" y="1190"/>
                </a:lnTo>
                <a:lnTo>
                  <a:pt x="214" y="649"/>
                </a:lnTo>
                <a:lnTo>
                  <a:pt x="0" y="0"/>
                </a:lnTo>
                <a:lnTo>
                  <a:pt x="0" y="3247"/>
                </a:lnTo>
                <a:lnTo>
                  <a:pt x="429" y="3680"/>
                </a:lnTo>
                <a:close/>
              </a:path>
            </a:pathLst>
          </a:custGeom>
          <a:solidFill>
            <a:srgbClr val="000000"/>
          </a:solidFill>
        </p:spPr>
        <p:txBody>
          <a:bodyPr wrap="square" lIns="0" tIns="0" rIns="0" bIns="0" rtlCol="0">
            <a:noAutofit/>
          </a:bodyPr>
          <a:lstStyle/>
          <a:p>
            <a:endParaRPr/>
          </a:p>
        </p:txBody>
      </p:sp>
      <p:sp>
        <p:nvSpPr>
          <p:cNvPr id="1044" name="object 1044"/>
          <p:cNvSpPr/>
          <p:nvPr/>
        </p:nvSpPr>
        <p:spPr>
          <a:xfrm>
            <a:off x="3946907" y="2538464"/>
            <a:ext cx="11277" cy="12232"/>
          </a:xfrm>
          <a:custGeom>
            <a:avLst/>
            <a:gdLst/>
            <a:ahLst/>
            <a:cxnLst/>
            <a:rect l="l" t="t" r="r" b="b"/>
            <a:pathLst>
              <a:path w="11277" h="12232">
                <a:moveTo>
                  <a:pt x="1611" y="10717"/>
                </a:moveTo>
                <a:lnTo>
                  <a:pt x="1611" y="7469"/>
                </a:lnTo>
                <a:lnTo>
                  <a:pt x="1503" y="6820"/>
                </a:lnTo>
                <a:lnTo>
                  <a:pt x="1503" y="5520"/>
                </a:lnTo>
                <a:lnTo>
                  <a:pt x="1611" y="4871"/>
                </a:lnTo>
                <a:lnTo>
                  <a:pt x="1825" y="4221"/>
                </a:lnTo>
                <a:lnTo>
                  <a:pt x="2040" y="3680"/>
                </a:lnTo>
                <a:lnTo>
                  <a:pt x="2255" y="3247"/>
                </a:lnTo>
                <a:lnTo>
                  <a:pt x="2577" y="2814"/>
                </a:lnTo>
                <a:lnTo>
                  <a:pt x="3007" y="2381"/>
                </a:lnTo>
                <a:lnTo>
                  <a:pt x="3436" y="2056"/>
                </a:lnTo>
                <a:lnTo>
                  <a:pt x="3974" y="1732"/>
                </a:lnTo>
                <a:lnTo>
                  <a:pt x="4511" y="1515"/>
                </a:lnTo>
                <a:lnTo>
                  <a:pt x="5048" y="1407"/>
                </a:lnTo>
                <a:lnTo>
                  <a:pt x="6229" y="1407"/>
                </a:lnTo>
                <a:lnTo>
                  <a:pt x="6766" y="1515"/>
                </a:lnTo>
                <a:lnTo>
                  <a:pt x="7303" y="1732"/>
                </a:lnTo>
                <a:lnTo>
                  <a:pt x="7840" y="2056"/>
                </a:lnTo>
                <a:lnTo>
                  <a:pt x="8270" y="2381"/>
                </a:lnTo>
                <a:lnTo>
                  <a:pt x="8699" y="2814"/>
                </a:lnTo>
                <a:lnTo>
                  <a:pt x="9022" y="3247"/>
                </a:lnTo>
                <a:lnTo>
                  <a:pt x="9236" y="3680"/>
                </a:lnTo>
                <a:lnTo>
                  <a:pt x="9451" y="4221"/>
                </a:lnTo>
                <a:lnTo>
                  <a:pt x="9666" y="4871"/>
                </a:lnTo>
                <a:lnTo>
                  <a:pt x="9773" y="5520"/>
                </a:lnTo>
                <a:lnTo>
                  <a:pt x="9773" y="6820"/>
                </a:lnTo>
                <a:lnTo>
                  <a:pt x="9666" y="7469"/>
                </a:lnTo>
                <a:lnTo>
                  <a:pt x="9451" y="8119"/>
                </a:lnTo>
                <a:lnTo>
                  <a:pt x="9236" y="8660"/>
                </a:lnTo>
                <a:lnTo>
                  <a:pt x="9022" y="9201"/>
                </a:lnTo>
                <a:lnTo>
                  <a:pt x="8699" y="9634"/>
                </a:lnTo>
                <a:lnTo>
                  <a:pt x="8270" y="10067"/>
                </a:lnTo>
                <a:lnTo>
                  <a:pt x="7840" y="10392"/>
                </a:lnTo>
                <a:lnTo>
                  <a:pt x="7303" y="10608"/>
                </a:lnTo>
                <a:lnTo>
                  <a:pt x="6766" y="10825"/>
                </a:lnTo>
                <a:lnTo>
                  <a:pt x="6229" y="10933"/>
                </a:lnTo>
                <a:lnTo>
                  <a:pt x="5048" y="10933"/>
                </a:lnTo>
                <a:lnTo>
                  <a:pt x="4511" y="10717"/>
                </a:lnTo>
                <a:lnTo>
                  <a:pt x="3974" y="10608"/>
                </a:lnTo>
                <a:lnTo>
                  <a:pt x="3436" y="10284"/>
                </a:lnTo>
                <a:lnTo>
                  <a:pt x="3007" y="9959"/>
                </a:lnTo>
                <a:lnTo>
                  <a:pt x="2577" y="9634"/>
                </a:lnTo>
                <a:lnTo>
                  <a:pt x="2255" y="9201"/>
                </a:lnTo>
                <a:lnTo>
                  <a:pt x="2040" y="8660"/>
                </a:lnTo>
                <a:lnTo>
                  <a:pt x="2470" y="11475"/>
                </a:lnTo>
                <a:lnTo>
                  <a:pt x="3007" y="11799"/>
                </a:lnTo>
                <a:lnTo>
                  <a:pt x="3544" y="11908"/>
                </a:lnTo>
                <a:lnTo>
                  <a:pt x="4188" y="12124"/>
                </a:lnTo>
                <a:lnTo>
                  <a:pt x="4940" y="12232"/>
                </a:lnTo>
                <a:lnTo>
                  <a:pt x="6444" y="12232"/>
                </a:lnTo>
                <a:lnTo>
                  <a:pt x="7088" y="12124"/>
                </a:lnTo>
                <a:lnTo>
                  <a:pt x="7733" y="11908"/>
                </a:lnTo>
                <a:lnTo>
                  <a:pt x="8270" y="11799"/>
                </a:lnTo>
                <a:lnTo>
                  <a:pt x="8807" y="11475"/>
                </a:lnTo>
                <a:lnTo>
                  <a:pt x="9236" y="11150"/>
                </a:lnTo>
                <a:lnTo>
                  <a:pt x="9666" y="10717"/>
                </a:lnTo>
                <a:lnTo>
                  <a:pt x="9988" y="10284"/>
                </a:lnTo>
                <a:lnTo>
                  <a:pt x="10310" y="9742"/>
                </a:lnTo>
                <a:lnTo>
                  <a:pt x="10525" y="9309"/>
                </a:lnTo>
                <a:lnTo>
                  <a:pt x="10740" y="8768"/>
                </a:lnTo>
                <a:lnTo>
                  <a:pt x="10955" y="8227"/>
                </a:lnTo>
                <a:lnTo>
                  <a:pt x="11062" y="7686"/>
                </a:lnTo>
                <a:lnTo>
                  <a:pt x="11170" y="7144"/>
                </a:lnTo>
                <a:lnTo>
                  <a:pt x="11277" y="6711"/>
                </a:lnTo>
                <a:lnTo>
                  <a:pt x="11277" y="5629"/>
                </a:lnTo>
                <a:lnTo>
                  <a:pt x="11170" y="5087"/>
                </a:lnTo>
                <a:lnTo>
                  <a:pt x="11062" y="4654"/>
                </a:lnTo>
                <a:lnTo>
                  <a:pt x="10955" y="4113"/>
                </a:lnTo>
                <a:lnTo>
                  <a:pt x="10740" y="3572"/>
                </a:lnTo>
                <a:lnTo>
                  <a:pt x="10525" y="3031"/>
                </a:lnTo>
                <a:lnTo>
                  <a:pt x="10310" y="2598"/>
                </a:lnTo>
                <a:lnTo>
                  <a:pt x="9988" y="2056"/>
                </a:lnTo>
                <a:lnTo>
                  <a:pt x="9666" y="1623"/>
                </a:lnTo>
                <a:lnTo>
                  <a:pt x="9236" y="1299"/>
                </a:lnTo>
                <a:lnTo>
                  <a:pt x="8807" y="974"/>
                </a:lnTo>
                <a:lnTo>
                  <a:pt x="8270" y="649"/>
                </a:lnTo>
                <a:lnTo>
                  <a:pt x="7733" y="324"/>
                </a:lnTo>
                <a:lnTo>
                  <a:pt x="7088" y="108"/>
                </a:lnTo>
                <a:lnTo>
                  <a:pt x="6444" y="0"/>
                </a:lnTo>
                <a:lnTo>
                  <a:pt x="4940" y="0"/>
                </a:lnTo>
                <a:lnTo>
                  <a:pt x="4188" y="108"/>
                </a:lnTo>
                <a:lnTo>
                  <a:pt x="3544" y="324"/>
                </a:lnTo>
                <a:lnTo>
                  <a:pt x="3007" y="649"/>
                </a:lnTo>
                <a:lnTo>
                  <a:pt x="2470" y="974"/>
                </a:lnTo>
                <a:lnTo>
                  <a:pt x="2040" y="1299"/>
                </a:lnTo>
                <a:lnTo>
                  <a:pt x="1611" y="1623"/>
                </a:lnTo>
                <a:lnTo>
                  <a:pt x="1288" y="2056"/>
                </a:lnTo>
                <a:lnTo>
                  <a:pt x="966" y="2598"/>
                </a:lnTo>
                <a:lnTo>
                  <a:pt x="751" y="3031"/>
                </a:lnTo>
                <a:lnTo>
                  <a:pt x="537" y="3572"/>
                </a:lnTo>
                <a:lnTo>
                  <a:pt x="322" y="4113"/>
                </a:lnTo>
                <a:lnTo>
                  <a:pt x="214" y="4654"/>
                </a:lnTo>
                <a:lnTo>
                  <a:pt x="107" y="5087"/>
                </a:lnTo>
                <a:lnTo>
                  <a:pt x="0" y="5629"/>
                </a:lnTo>
                <a:lnTo>
                  <a:pt x="0" y="6711"/>
                </a:lnTo>
                <a:lnTo>
                  <a:pt x="107" y="7144"/>
                </a:lnTo>
                <a:lnTo>
                  <a:pt x="214" y="7686"/>
                </a:lnTo>
                <a:lnTo>
                  <a:pt x="322" y="8227"/>
                </a:lnTo>
                <a:lnTo>
                  <a:pt x="537" y="8768"/>
                </a:lnTo>
                <a:lnTo>
                  <a:pt x="751" y="9309"/>
                </a:lnTo>
                <a:lnTo>
                  <a:pt x="966" y="9742"/>
                </a:lnTo>
                <a:lnTo>
                  <a:pt x="1288" y="10284"/>
                </a:lnTo>
                <a:lnTo>
                  <a:pt x="1611" y="10717"/>
                </a:lnTo>
                <a:close/>
              </a:path>
            </a:pathLst>
          </a:custGeom>
          <a:solidFill>
            <a:srgbClr val="000000"/>
          </a:solidFill>
        </p:spPr>
        <p:txBody>
          <a:bodyPr wrap="square" lIns="0" tIns="0" rIns="0" bIns="0" rtlCol="0">
            <a:noAutofit/>
          </a:bodyPr>
          <a:lstStyle/>
          <a:p>
            <a:endParaRPr/>
          </a:p>
        </p:txBody>
      </p:sp>
      <p:sp>
        <p:nvSpPr>
          <p:cNvPr id="1045" name="object 1045"/>
          <p:cNvSpPr/>
          <p:nvPr/>
        </p:nvSpPr>
        <p:spPr>
          <a:xfrm>
            <a:off x="3960225" y="2538789"/>
            <a:ext cx="7411" cy="1948"/>
          </a:xfrm>
          <a:custGeom>
            <a:avLst/>
            <a:gdLst/>
            <a:ahLst/>
            <a:cxnLst/>
            <a:rect l="l" t="t" r="r" b="b"/>
            <a:pathLst>
              <a:path w="7411" h="1948">
                <a:moveTo>
                  <a:pt x="6981" y="216"/>
                </a:moveTo>
                <a:lnTo>
                  <a:pt x="6551" y="108"/>
                </a:lnTo>
                <a:lnTo>
                  <a:pt x="6014" y="0"/>
                </a:lnTo>
                <a:lnTo>
                  <a:pt x="0" y="0"/>
                </a:lnTo>
                <a:lnTo>
                  <a:pt x="1503" y="1407"/>
                </a:lnTo>
                <a:lnTo>
                  <a:pt x="6229" y="1407"/>
                </a:lnTo>
                <a:lnTo>
                  <a:pt x="6659" y="1515"/>
                </a:lnTo>
                <a:lnTo>
                  <a:pt x="6981" y="1732"/>
                </a:lnTo>
                <a:lnTo>
                  <a:pt x="7303" y="1948"/>
                </a:lnTo>
                <a:lnTo>
                  <a:pt x="7411" y="324"/>
                </a:lnTo>
                <a:lnTo>
                  <a:pt x="6981" y="216"/>
                </a:lnTo>
                <a:close/>
              </a:path>
            </a:pathLst>
          </a:custGeom>
          <a:solidFill>
            <a:srgbClr val="000000"/>
          </a:solidFill>
        </p:spPr>
        <p:txBody>
          <a:bodyPr wrap="square" lIns="0" tIns="0" rIns="0" bIns="0" rtlCol="0">
            <a:noAutofit/>
          </a:bodyPr>
          <a:lstStyle/>
          <a:p>
            <a:endParaRPr/>
          </a:p>
        </p:txBody>
      </p:sp>
      <p:sp>
        <p:nvSpPr>
          <p:cNvPr id="1046" name="object 1046"/>
          <p:cNvSpPr/>
          <p:nvPr/>
        </p:nvSpPr>
        <p:spPr>
          <a:xfrm>
            <a:off x="3972040" y="2544581"/>
            <a:ext cx="1503" cy="0"/>
          </a:xfrm>
          <a:custGeom>
            <a:avLst/>
            <a:gdLst/>
            <a:ahLst/>
            <a:cxnLst/>
            <a:rect l="l" t="t" r="r" b="b"/>
            <a:pathLst>
              <a:path w="1503">
                <a:moveTo>
                  <a:pt x="0" y="0"/>
                </a:moveTo>
                <a:lnTo>
                  <a:pt x="1503" y="0"/>
                </a:lnTo>
              </a:path>
            </a:pathLst>
          </a:custGeom>
          <a:ln w="12853">
            <a:solidFill>
              <a:srgbClr val="000000"/>
            </a:solidFill>
          </a:ln>
        </p:spPr>
        <p:txBody>
          <a:bodyPr wrap="square" lIns="0" tIns="0" rIns="0" bIns="0" rtlCol="0">
            <a:noAutofit/>
          </a:bodyPr>
          <a:lstStyle/>
          <a:p>
            <a:endParaRPr/>
          </a:p>
        </p:txBody>
      </p:sp>
      <p:sp>
        <p:nvSpPr>
          <p:cNvPr id="1047" name="object 1047"/>
          <p:cNvSpPr/>
          <p:nvPr/>
        </p:nvSpPr>
        <p:spPr>
          <a:xfrm>
            <a:off x="3975369" y="2538790"/>
            <a:ext cx="9022" cy="11583"/>
          </a:xfrm>
          <a:custGeom>
            <a:avLst/>
            <a:gdLst/>
            <a:ahLst/>
            <a:cxnLst/>
            <a:rect l="l" t="t" r="r" b="b"/>
            <a:pathLst>
              <a:path w="9022" h="11583">
                <a:moveTo>
                  <a:pt x="1933" y="10284"/>
                </a:moveTo>
                <a:lnTo>
                  <a:pt x="9022" y="1299"/>
                </a:lnTo>
                <a:lnTo>
                  <a:pt x="9022" y="0"/>
                </a:lnTo>
                <a:lnTo>
                  <a:pt x="537" y="0"/>
                </a:lnTo>
                <a:lnTo>
                  <a:pt x="537" y="1407"/>
                </a:lnTo>
                <a:lnTo>
                  <a:pt x="7088" y="1407"/>
                </a:lnTo>
                <a:lnTo>
                  <a:pt x="0" y="10284"/>
                </a:lnTo>
                <a:lnTo>
                  <a:pt x="0" y="11583"/>
                </a:lnTo>
                <a:lnTo>
                  <a:pt x="9022" y="11583"/>
                </a:lnTo>
                <a:lnTo>
                  <a:pt x="9022" y="10284"/>
                </a:lnTo>
                <a:lnTo>
                  <a:pt x="1933" y="10284"/>
                </a:lnTo>
                <a:close/>
              </a:path>
            </a:pathLst>
          </a:custGeom>
          <a:solidFill>
            <a:srgbClr val="000000"/>
          </a:solidFill>
        </p:spPr>
        <p:txBody>
          <a:bodyPr wrap="square" lIns="0" tIns="0" rIns="0" bIns="0" rtlCol="0">
            <a:noAutofit/>
          </a:bodyPr>
          <a:lstStyle/>
          <a:p>
            <a:endParaRPr/>
          </a:p>
        </p:txBody>
      </p:sp>
      <p:sp>
        <p:nvSpPr>
          <p:cNvPr id="1048" name="object 1048"/>
          <p:cNvSpPr/>
          <p:nvPr/>
        </p:nvSpPr>
        <p:spPr>
          <a:xfrm>
            <a:off x="3986217" y="2538790"/>
            <a:ext cx="8592" cy="11583"/>
          </a:xfrm>
          <a:custGeom>
            <a:avLst/>
            <a:gdLst/>
            <a:ahLst/>
            <a:cxnLst/>
            <a:rect l="l" t="t" r="r" b="b"/>
            <a:pathLst>
              <a:path w="8592" h="11583">
                <a:moveTo>
                  <a:pt x="1503" y="10284"/>
                </a:moveTo>
                <a:lnTo>
                  <a:pt x="1503" y="6278"/>
                </a:lnTo>
                <a:lnTo>
                  <a:pt x="7948" y="6278"/>
                </a:lnTo>
                <a:lnTo>
                  <a:pt x="7948" y="4871"/>
                </a:lnTo>
                <a:lnTo>
                  <a:pt x="1503" y="4871"/>
                </a:lnTo>
                <a:lnTo>
                  <a:pt x="1503" y="1407"/>
                </a:lnTo>
                <a:lnTo>
                  <a:pt x="8485" y="1407"/>
                </a:lnTo>
                <a:lnTo>
                  <a:pt x="8485" y="0"/>
                </a:lnTo>
                <a:lnTo>
                  <a:pt x="0" y="0"/>
                </a:lnTo>
                <a:lnTo>
                  <a:pt x="0" y="11583"/>
                </a:lnTo>
                <a:lnTo>
                  <a:pt x="8592" y="11583"/>
                </a:lnTo>
                <a:lnTo>
                  <a:pt x="8592" y="10284"/>
                </a:lnTo>
                <a:lnTo>
                  <a:pt x="1503" y="10284"/>
                </a:lnTo>
                <a:close/>
              </a:path>
            </a:pathLst>
          </a:custGeom>
          <a:solidFill>
            <a:srgbClr val="000000"/>
          </a:solidFill>
        </p:spPr>
        <p:txBody>
          <a:bodyPr wrap="square" lIns="0" tIns="0" rIns="0" bIns="0" rtlCol="0">
            <a:noAutofit/>
          </a:bodyPr>
          <a:lstStyle/>
          <a:p>
            <a:endParaRPr/>
          </a:p>
        </p:txBody>
      </p:sp>
      <p:sp>
        <p:nvSpPr>
          <p:cNvPr id="1049" name="object 1049"/>
          <p:cNvSpPr/>
          <p:nvPr/>
        </p:nvSpPr>
        <p:spPr>
          <a:xfrm>
            <a:off x="3996958" y="2538790"/>
            <a:ext cx="9451" cy="11583"/>
          </a:xfrm>
          <a:custGeom>
            <a:avLst/>
            <a:gdLst/>
            <a:ahLst/>
            <a:cxnLst/>
            <a:rect l="l" t="t" r="r" b="b"/>
            <a:pathLst>
              <a:path w="9451" h="11583">
                <a:moveTo>
                  <a:pt x="7948" y="10284"/>
                </a:moveTo>
                <a:lnTo>
                  <a:pt x="8377" y="9634"/>
                </a:lnTo>
                <a:lnTo>
                  <a:pt x="8699" y="9093"/>
                </a:lnTo>
                <a:lnTo>
                  <a:pt x="9022" y="8335"/>
                </a:lnTo>
                <a:lnTo>
                  <a:pt x="9236" y="7686"/>
                </a:lnTo>
                <a:lnTo>
                  <a:pt x="9344" y="6928"/>
                </a:lnTo>
                <a:lnTo>
                  <a:pt x="9451" y="6170"/>
                </a:lnTo>
                <a:lnTo>
                  <a:pt x="9451" y="5412"/>
                </a:lnTo>
                <a:lnTo>
                  <a:pt x="9344" y="4546"/>
                </a:lnTo>
                <a:lnTo>
                  <a:pt x="9236" y="3788"/>
                </a:lnTo>
                <a:lnTo>
                  <a:pt x="9022" y="3031"/>
                </a:lnTo>
                <a:lnTo>
                  <a:pt x="8699" y="2381"/>
                </a:lnTo>
                <a:lnTo>
                  <a:pt x="8377" y="1840"/>
                </a:lnTo>
                <a:lnTo>
                  <a:pt x="7948" y="1299"/>
                </a:lnTo>
                <a:lnTo>
                  <a:pt x="7411" y="866"/>
                </a:lnTo>
                <a:lnTo>
                  <a:pt x="6981" y="541"/>
                </a:lnTo>
                <a:lnTo>
                  <a:pt x="6444" y="324"/>
                </a:lnTo>
                <a:lnTo>
                  <a:pt x="5907" y="108"/>
                </a:lnTo>
                <a:lnTo>
                  <a:pt x="5370" y="0"/>
                </a:lnTo>
                <a:lnTo>
                  <a:pt x="0" y="0"/>
                </a:lnTo>
                <a:lnTo>
                  <a:pt x="0" y="11583"/>
                </a:lnTo>
                <a:lnTo>
                  <a:pt x="5692" y="11583"/>
                </a:lnTo>
                <a:lnTo>
                  <a:pt x="6336" y="11366"/>
                </a:lnTo>
                <a:lnTo>
                  <a:pt x="5692" y="10175"/>
                </a:lnTo>
                <a:lnTo>
                  <a:pt x="5262" y="10392"/>
                </a:lnTo>
                <a:lnTo>
                  <a:pt x="1503" y="10392"/>
                </a:lnTo>
                <a:lnTo>
                  <a:pt x="1503" y="1407"/>
                </a:lnTo>
                <a:lnTo>
                  <a:pt x="5048" y="1407"/>
                </a:lnTo>
                <a:lnTo>
                  <a:pt x="5370" y="1515"/>
                </a:lnTo>
                <a:lnTo>
                  <a:pt x="5799" y="1623"/>
                </a:lnTo>
                <a:lnTo>
                  <a:pt x="6122" y="1732"/>
                </a:lnTo>
                <a:lnTo>
                  <a:pt x="6444" y="1948"/>
                </a:lnTo>
                <a:lnTo>
                  <a:pt x="6659" y="2165"/>
                </a:lnTo>
                <a:lnTo>
                  <a:pt x="6981" y="2381"/>
                </a:lnTo>
                <a:lnTo>
                  <a:pt x="7196" y="2598"/>
                </a:lnTo>
                <a:lnTo>
                  <a:pt x="7303" y="2922"/>
                </a:lnTo>
                <a:lnTo>
                  <a:pt x="7518" y="3247"/>
                </a:lnTo>
                <a:lnTo>
                  <a:pt x="7625" y="3572"/>
                </a:lnTo>
                <a:lnTo>
                  <a:pt x="7733" y="4005"/>
                </a:lnTo>
                <a:lnTo>
                  <a:pt x="7840" y="4330"/>
                </a:lnTo>
                <a:lnTo>
                  <a:pt x="7948" y="4763"/>
                </a:lnTo>
                <a:lnTo>
                  <a:pt x="7948" y="6170"/>
                </a:lnTo>
                <a:lnTo>
                  <a:pt x="7840" y="6711"/>
                </a:lnTo>
                <a:lnTo>
                  <a:pt x="7733" y="7361"/>
                </a:lnTo>
                <a:lnTo>
                  <a:pt x="7625" y="7902"/>
                </a:lnTo>
                <a:lnTo>
                  <a:pt x="7411" y="8443"/>
                </a:lnTo>
                <a:lnTo>
                  <a:pt x="7411" y="10717"/>
                </a:lnTo>
                <a:lnTo>
                  <a:pt x="7948" y="10284"/>
                </a:lnTo>
                <a:close/>
              </a:path>
            </a:pathLst>
          </a:custGeom>
          <a:solidFill>
            <a:srgbClr val="000000"/>
          </a:solidFill>
        </p:spPr>
        <p:txBody>
          <a:bodyPr wrap="square" lIns="0" tIns="0" rIns="0" bIns="0" rtlCol="0">
            <a:noAutofit/>
          </a:bodyPr>
          <a:lstStyle/>
          <a:p>
            <a:endParaRPr/>
          </a:p>
        </p:txBody>
      </p:sp>
      <p:sp>
        <p:nvSpPr>
          <p:cNvPr id="1050" name="object 1050"/>
          <p:cNvSpPr/>
          <p:nvPr/>
        </p:nvSpPr>
        <p:spPr>
          <a:xfrm>
            <a:off x="4002650" y="2547233"/>
            <a:ext cx="1718" cy="2922"/>
          </a:xfrm>
          <a:custGeom>
            <a:avLst/>
            <a:gdLst/>
            <a:ahLst/>
            <a:cxnLst/>
            <a:rect l="l" t="t" r="r" b="b"/>
            <a:pathLst>
              <a:path w="1718" h="2922">
                <a:moveTo>
                  <a:pt x="1718" y="0"/>
                </a:moveTo>
                <a:lnTo>
                  <a:pt x="1503" y="433"/>
                </a:lnTo>
                <a:lnTo>
                  <a:pt x="1181" y="866"/>
                </a:lnTo>
                <a:lnTo>
                  <a:pt x="859" y="1190"/>
                </a:lnTo>
                <a:lnTo>
                  <a:pt x="429" y="1515"/>
                </a:lnTo>
                <a:lnTo>
                  <a:pt x="0" y="1732"/>
                </a:lnTo>
                <a:lnTo>
                  <a:pt x="644" y="2922"/>
                </a:lnTo>
                <a:lnTo>
                  <a:pt x="1181" y="2706"/>
                </a:lnTo>
                <a:lnTo>
                  <a:pt x="1718" y="2273"/>
                </a:lnTo>
                <a:lnTo>
                  <a:pt x="1718" y="0"/>
                </a:lnTo>
                <a:close/>
              </a:path>
            </a:pathLst>
          </a:custGeom>
          <a:solidFill>
            <a:srgbClr val="000000"/>
          </a:solidFill>
        </p:spPr>
        <p:txBody>
          <a:bodyPr wrap="square" lIns="0" tIns="0" rIns="0" bIns="0" rtlCol="0">
            <a:noAutofit/>
          </a:bodyPr>
          <a:lstStyle/>
          <a:p>
            <a:endParaRPr/>
          </a:p>
        </p:txBody>
      </p:sp>
      <p:sp>
        <p:nvSpPr>
          <p:cNvPr id="1051" name="object 1051"/>
          <p:cNvSpPr/>
          <p:nvPr/>
        </p:nvSpPr>
        <p:spPr>
          <a:xfrm>
            <a:off x="4026495" y="2538464"/>
            <a:ext cx="9129" cy="12232"/>
          </a:xfrm>
          <a:custGeom>
            <a:avLst/>
            <a:gdLst/>
            <a:ahLst/>
            <a:cxnLst/>
            <a:rect l="l" t="t" r="r" b="b"/>
            <a:pathLst>
              <a:path w="9129" h="12232">
                <a:moveTo>
                  <a:pt x="1933" y="2814"/>
                </a:moveTo>
                <a:lnTo>
                  <a:pt x="2040" y="2381"/>
                </a:lnTo>
                <a:lnTo>
                  <a:pt x="2362" y="2056"/>
                </a:lnTo>
                <a:lnTo>
                  <a:pt x="2685" y="1732"/>
                </a:lnTo>
                <a:lnTo>
                  <a:pt x="3114" y="1515"/>
                </a:lnTo>
                <a:lnTo>
                  <a:pt x="3544" y="1407"/>
                </a:lnTo>
                <a:lnTo>
                  <a:pt x="3974" y="1299"/>
                </a:lnTo>
                <a:lnTo>
                  <a:pt x="4833" y="1299"/>
                </a:lnTo>
                <a:lnTo>
                  <a:pt x="5155" y="1407"/>
                </a:lnTo>
                <a:lnTo>
                  <a:pt x="5477" y="1407"/>
                </a:lnTo>
                <a:lnTo>
                  <a:pt x="5799" y="1515"/>
                </a:lnTo>
                <a:lnTo>
                  <a:pt x="6122" y="1732"/>
                </a:lnTo>
                <a:lnTo>
                  <a:pt x="6444" y="1840"/>
                </a:lnTo>
                <a:lnTo>
                  <a:pt x="6659" y="2056"/>
                </a:lnTo>
                <a:lnTo>
                  <a:pt x="6873" y="2273"/>
                </a:lnTo>
                <a:lnTo>
                  <a:pt x="7088" y="2598"/>
                </a:lnTo>
                <a:lnTo>
                  <a:pt x="7303" y="2922"/>
                </a:lnTo>
                <a:lnTo>
                  <a:pt x="7411" y="3247"/>
                </a:lnTo>
                <a:lnTo>
                  <a:pt x="7411" y="3680"/>
                </a:lnTo>
                <a:lnTo>
                  <a:pt x="8807" y="3680"/>
                </a:lnTo>
                <a:lnTo>
                  <a:pt x="8807" y="3247"/>
                </a:lnTo>
                <a:lnTo>
                  <a:pt x="8699" y="2814"/>
                </a:lnTo>
                <a:lnTo>
                  <a:pt x="8592" y="2489"/>
                </a:lnTo>
                <a:lnTo>
                  <a:pt x="8485" y="2056"/>
                </a:lnTo>
                <a:lnTo>
                  <a:pt x="8270" y="1623"/>
                </a:lnTo>
                <a:lnTo>
                  <a:pt x="8055" y="1299"/>
                </a:lnTo>
                <a:lnTo>
                  <a:pt x="7625" y="974"/>
                </a:lnTo>
                <a:lnTo>
                  <a:pt x="7196" y="649"/>
                </a:lnTo>
                <a:lnTo>
                  <a:pt x="6659" y="324"/>
                </a:lnTo>
                <a:lnTo>
                  <a:pt x="5907" y="108"/>
                </a:lnTo>
                <a:lnTo>
                  <a:pt x="5155" y="0"/>
                </a:lnTo>
                <a:lnTo>
                  <a:pt x="3651" y="0"/>
                </a:lnTo>
                <a:lnTo>
                  <a:pt x="3114" y="108"/>
                </a:lnTo>
                <a:lnTo>
                  <a:pt x="2577" y="324"/>
                </a:lnTo>
                <a:lnTo>
                  <a:pt x="2040" y="541"/>
                </a:lnTo>
                <a:lnTo>
                  <a:pt x="1611" y="757"/>
                </a:lnTo>
                <a:lnTo>
                  <a:pt x="1288" y="1082"/>
                </a:lnTo>
                <a:lnTo>
                  <a:pt x="966" y="1407"/>
                </a:lnTo>
                <a:lnTo>
                  <a:pt x="751" y="1840"/>
                </a:lnTo>
                <a:lnTo>
                  <a:pt x="537" y="2273"/>
                </a:lnTo>
                <a:lnTo>
                  <a:pt x="429" y="2706"/>
                </a:lnTo>
                <a:lnTo>
                  <a:pt x="322" y="3139"/>
                </a:lnTo>
                <a:lnTo>
                  <a:pt x="322" y="4005"/>
                </a:lnTo>
                <a:lnTo>
                  <a:pt x="429" y="4438"/>
                </a:lnTo>
                <a:lnTo>
                  <a:pt x="537" y="4763"/>
                </a:lnTo>
                <a:lnTo>
                  <a:pt x="751" y="5087"/>
                </a:lnTo>
                <a:lnTo>
                  <a:pt x="966" y="5412"/>
                </a:lnTo>
                <a:lnTo>
                  <a:pt x="1288" y="5629"/>
                </a:lnTo>
                <a:lnTo>
                  <a:pt x="1611" y="5845"/>
                </a:lnTo>
                <a:lnTo>
                  <a:pt x="1933" y="6062"/>
                </a:lnTo>
                <a:lnTo>
                  <a:pt x="2255" y="6170"/>
                </a:lnTo>
                <a:lnTo>
                  <a:pt x="2685" y="6278"/>
                </a:lnTo>
                <a:lnTo>
                  <a:pt x="3007" y="6387"/>
                </a:lnTo>
                <a:lnTo>
                  <a:pt x="3436" y="6495"/>
                </a:lnTo>
                <a:lnTo>
                  <a:pt x="3866" y="6603"/>
                </a:lnTo>
                <a:lnTo>
                  <a:pt x="4296" y="6711"/>
                </a:lnTo>
                <a:lnTo>
                  <a:pt x="4725" y="6820"/>
                </a:lnTo>
                <a:lnTo>
                  <a:pt x="5155" y="6928"/>
                </a:lnTo>
                <a:lnTo>
                  <a:pt x="5585" y="7036"/>
                </a:lnTo>
                <a:lnTo>
                  <a:pt x="6014" y="7144"/>
                </a:lnTo>
                <a:lnTo>
                  <a:pt x="6336" y="7253"/>
                </a:lnTo>
                <a:lnTo>
                  <a:pt x="6659" y="7361"/>
                </a:lnTo>
                <a:lnTo>
                  <a:pt x="6873" y="7469"/>
                </a:lnTo>
                <a:lnTo>
                  <a:pt x="7088" y="7686"/>
                </a:lnTo>
                <a:lnTo>
                  <a:pt x="7303" y="7794"/>
                </a:lnTo>
                <a:lnTo>
                  <a:pt x="7411" y="8010"/>
                </a:lnTo>
                <a:lnTo>
                  <a:pt x="7518" y="8227"/>
                </a:lnTo>
                <a:lnTo>
                  <a:pt x="7518" y="8443"/>
                </a:lnTo>
                <a:lnTo>
                  <a:pt x="7625" y="8660"/>
                </a:lnTo>
                <a:lnTo>
                  <a:pt x="7625" y="9309"/>
                </a:lnTo>
                <a:lnTo>
                  <a:pt x="7518" y="9634"/>
                </a:lnTo>
                <a:lnTo>
                  <a:pt x="7411" y="9959"/>
                </a:lnTo>
                <a:lnTo>
                  <a:pt x="7196" y="10175"/>
                </a:lnTo>
                <a:lnTo>
                  <a:pt x="6981" y="10392"/>
                </a:lnTo>
                <a:lnTo>
                  <a:pt x="6659" y="10608"/>
                </a:lnTo>
                <a:lnTo>
                  <a:pt x="6336" y="10717"/>
                </a:lnTo>
                <a:lnTo>
                  <a:pt x="6014" y="10825"/>
                </a:lnTo>
                <a:lnTo>
                  <a:pt x="5585" y="10933"/>
                </a:lnTo>
                <a:lnTo>
                  <a:pt x="4188" y="10933"/>
                </a:lnTo>
                <a:lnTo>
                  <a:pt x="3866" y="10825"/>
                </a:lnTo>
                <a:lnTo>
                  <a:pt x="3436" y="10825"/>
                </a:lnTo>
                <a:lnTo>
                  <a:pt x="3114" y="10717"/>
                </a:lnTo>
                <a:lnTo>
                  <a:pt x="2685" y="10500"/>
                </a:lnTo>
                <a:lnTo>
                  <a:pt x="2362" y="10284"/>
                </a:lnTo>
                <a:lnTo>
                  <a:pt x="2040" y="10067"/>
                </a:lnTo>
                <a:lnTo>
                  <a:pt x="1825" y="9851"/>
                </a:lnTo>
                <a:lnTo>
                  <a:pt x="1718" y="9526"/>
                </a:lnTo>
                <a:lnTo>
                  <a:pt x="1503" y="9093"/>
                </a:lnTo>
                <a:lnTo>
                  <a:pt x="1396" y="8660"/>
                </a:lnTo>
                <a:lnTo>
                  <a:pt x="1396" y="8227"/>
                </a:lnTo>
                <a:lnTo>
                  <a:pt x="0" y="8227"/>
                </a:lnTo>
                <a:lnTo>
                  <a:pt x="107" y="9201"/>
                </a:lnTo>
                <a:lnTo>
                  <a:pt x="322" y="10067"/>
                </a:lnTo>
                <a:lnTo>
                  <a:pt x="644" y="10717"/>
                </a:lnTo>
                <a:lnTo>
                  <a:pt x="1181" y="11366"/>
                </a:lnTo>
                <a:lnTo>
                  <a:pt x="1503" y="11583"/>
                </a:lnTo>
                <a:lnTo>
                  <a:pt x="1825" y="11691"/>
                </a:lnTo>
                <a:lnTo>
                  <a:pt x="2255" y="11908"/>
                </a:lnTo>
                <a:lnTo>
                  <a:pt x="2685" y="12016"/>
                </a:lnTo>
                <a:lnTo>
                  <a:pt x="3114" y="12124"/>
                </a:lnTo>
                <a:lnTo>
                  <a:pt x="3544" y="12124"/>
                </a:lnTo>
                <a:lnTo>
                  <a:pt x="4081" y="12232"/>
                </a:lnTo>
                <a:lnTo>
                  <a:pt x="5155" y="12232"/>
                </a:lnTo>
                <a:lnTo>
                  <a:pt x="5692" y="12124"/>
                </a:lnTo>
                <a:lnTo>
                  <a:pt x="6229" y="12016"/>
                </a:lnTo>
                <a:lnTo>
                  <a:pt x="6766" y="11908"/>
                </a:lnTo>
                <a:lnTo>
                  <a:pt x="7196" y="11799"/>
                </a:lnTo>
                <a:lnTo>
                  <a:pt x="7733" y="11583"/>
                </a:lnTo>
                <a:lnTo>
                  <a:pt x="8162" y="11258"/>
                </a:lnTo>
                <a:lnTo>
                  <a:pt x="8485" y="10933"/>
                </a:lnTo>
                <a:lnTo>
                  <a:pt x="8807" y="10500"/>
                </a:lnTo>
                <a:lnTo>
                  <a:pt x="9022" y="9959"/>
                </a:lnTo>
                <a:lnTo>
                  <a:pt x="9129" y="9418"/>
                </a:lnTo>
                <a:lnTo>
                  <a:pt x="9129" y="8768"/>
                </a:lnTo>
                <a:lnTo>
                  <a:pt x="9022" y="7686"/>
                </a:lnTo>
                <a:lnTo>
                  <a:pt x="8485" y="6711"/>
                </a:lnTo>
                <a:lnTo>
                  <a:pt x="7733" y="6062"/>
                </a:lnTo>
                <a:lnTo>
                  <a:pt x="6551" y="5629"/>
                </a:lnTo>
                <a:lnTo>
                  <a:pt x="6229" y="5520"/>
                </a:lnTo>
                <a:lnTo>
                  <a:pt x="5907" y="5412"/>
                </a:lnTo>
                <a:lnTo>
                  <a:pt x="5585" y="5412"/>
                </a:lnTo>
                <a:lnTo>
                  <a:pt x="5155" y="5304"/>
                </a:lnTo>
                <a:lnTo>
                  <a:pt x="4725" y="5196"/>
                </a:lnTo>
                <a:lnTo>
                  <a:pt x="4296" y="5087"/>
                </a:lnTo>
                <a:lnTo>
                  <a:pt x="3759" y="4979"/>
                </a:lnTo>
                <a:lnTo>
                  <a:pt x="3222" y="4871"/>
                </a:lnTo>
                <a:lnTo>
                  <a:pt x="2577" y="4654"/>
                </a:lnTo>
                <a:lnTo>
                  <a:pt x="2148" y="4330"/>
                </a:lnTo>
                <a:lnTo>
                  <a:pt x="1933" y="3897"/>
                </a:lnTo>
                <a:lnTo>
                  <a:pt x="1825" y="3355"/>
                </a:lnTo>
                <a:lnTo>
                  <a:pt x="1933" y="2814"/>
                </a:lnTo>
                <a:close/>
              </a:path>
            </a:pathLst>
          </a:custGeom>
          <a:solidFill>
            <a:srgbClr val="000000"/>
          </a:solidFill>
        </p:spPr>
        <p:txBody>
          <a:bodyPr wrap="square" lIns="0" tIns="0" rIns="0" bIns="0" rtlCol="0">
            <a:noAutofit/>
          </a:bodyPr>
          <a:lstStyle/>
          <a:p>
            <a:endParaRPr/>
          </a:p>
        </p:txBody>
      </p:sp>
      <p:sp>
        <p:nvSpPr>
          <p:cNvPr id="1052" name="object 1052"/>
          <p:cNvSpPr/>
          <p:nvPr/>
        </p:nvSpPr>
        <p:spPr>
          <a:xfrm>
            <a:off x="4037987" y="2544581"/>
            <a:ext cx="1503" cy="0"/>
          </a:xfrm>
          <a:custGeom>
            <a:avLst/>
            <a:gdLst/>
            <a:ahLst/>
            <a:cxnLst/>
            <a:rect l="l" t="t" r="r" b="b"/>
            <a:pathLst>
              <a:path w="1503">
                <a:moveTo>
                  <a:pt x="0" y="0"/>
                </a:moveTo>
                <a:lnTo>
                  <a:pt x="1503" y="0"/>
                </a:lnTo>
              </a:path>
            </a:pathLst>
          </a:custGeom>
          <a:ln w="12853">
            <a:solidFill>
              <a:srgbClr val="000000"/>
            </a:solidFill>
          </a:ln>
        </p:spPr>
        <p:txBody>
          <a:bodyPr wrap="square" lIns="0" tIns="0" rIns="0" bIns="0" rtlCol="0">
            <a:noAutofit/>
          </a:bodyPr>
          <a:lstStyle/>
          <a:p>
            <a:endParaRPr/>
          </a:p>
        </p:txBody>
      </p:sp>
      <p:sp>
        <p:nvSpPr>
          <p:cNvPr id="1053" name="object 1053"/>
          <p:cNvSpPr/>
          <p:nvPr/>
        </p:nvSpPr>
        <p:spPr>
          <a:xfrm>
            <a:off x="4041745" y="2538464"/>
            <a:ext cx="10418" cy="12232"/>
          </a:xfrm>
          <a:custGeom>
            <a:avLst/>
            <a:gdLst/>
            <a:ahLst/>
            <a:cxnLst/>
            <a:rect l="l" t="t" r="r" b="b"/>
            <a:pathLst>
              <a:path w="10418" h="12232">
                <a:moveTo>
                  <a:pt x="1933" y="11366"/>
                </a:moveTo>
                <a:lnTo>
                  <a:pt x="2362" y="11691"/>
                </a:lnTo>
                <a:lnTo>
                  <a:pt x="2792" y="11908"/>
                </a:lnTo>
                <a:lnTo>
                  <a:pt x="3329" y="12016"/>
                </a:lnTo>
                <a:lnTo>
                  <a:pt x="3974" y="12124"/>
                </a:lnTo>
                <a:lnTo>
                  <a:pt x="4618" y="12232"/>
                </a:lnTo>
                <a:lnTo>
                  <a:pt x="5692" y="12232"/>
                </a:lnTo>
                <a:lnTo>
                  <a:pt x="6014" y="12124"/>
                </a:lnTo>
                <a:lnTo>
                  <a:pt x="6444" y="12124"/>
                </a:lnTo>
                <a:lnTo>
                  <a:pt x="6766" y="12016"/>
                </a:lnTo>
                <a:lnTo>
                  <a:pt x="7196" y="11908"/>
                </a:lnTo>
                <a:lnTo>
                  <a:pt x="7518" y="11799"/>
                </a:lnTo>
                <a:lnTo>
                  <a:pt x="7840" y="11691"/>
                </a:lnTo>
                <a:lnTo>
                  <a:pt x="8162" y="11475"/>
                </a:lnTo>
                <a:lnTo>
                  <a:pt x="8377" y="11258"/>
                </a:lnTo>
                <a:lnTo>
                  <a:pt x="8699" y="10933"/>
                </a:lnTo>
                <a:lnTo>
                  <a:pt x="8914" y="10717"/>
                </a:lnTo>
                <a:lnTo>
                  <a:pt x="9129" y="10500"/>
                </a:lnTo>
                <a:lnTo>
                  <a:pt x="9451" y="11908"/>
                </a:lnTo>
                <a:lnTo>
                  <a:pt x="10418" y="11908"/>
                </a:lnTo>
                <a:lnTo>
                  <a:pt x="10418" y="5737"/>
                </a:lnTo>
                <a:lnTo>
                  <a:pt x="5477" y="5737"/>
                </a:lnTo>
                <a:lnTo>
                  <a:pt x="5477" y="7036"/>
                </a:lnTo>
                <a:lnTo>
                  <a:pt x="9022" y="7036"/>
                </a:lnTo>
                <a:lnTo>
                  <a:pt x="9022" y="7469"/>
                </a:lnTo>
                <a:lnTo>
                  <a:pt x="8914" y="8010"/>
                </a:lnTo>
                <a:lnTo>
                  <a:pt x="8807" y="8443"/>
                </a:lnTo>
                <a:lnTo>
                  <a:pt x="8699" y="8876"/>
                </a:lnTo>
                <a:lnTo>
                  <a:pt x="8592" y="9201"/>
                </a:lnTo>
                <a:lnTo>
                  <a:pt x="8377" y="9526"/>
                </a:lnTo>
                <a:lnTo>
                  <a:pt x="8055" y="9851"/>
                </a:lnTo>
                <a:lnTo>
                  <a:pt x="7733" y="10175"/>
                </a:lnTo>
                <a:lnTo>
                  <a:pt x="7196" y="10500"/>
                </a:lnTo>
                <a:lnTo>
                  <a:pt x="6659" y="10825"/>
                </a:lnTo>
                <a:lnTo>
                  <a:pt x="6014" y="10933"/>
                </a:lnTo>
                <a:lnTo>
                  <a:pt x="5262" y="11041"/>
                </a:lnTo>
                <a:lnTo>
                  <a:pt x="4833" y="11041"/>
                </a:lnTo>
                <a:lnTo>
                  <a:pt x="4511" y="10933"/>
                </a:lnTo>
                <a:lnTo>
                  <a:pt x="4081" y="10825"/>
                </a:lnTo>
                <a:lnTo>
                  <a:pt x="3651" y="10717"/>
                </a:lnTo>
                <a:lnTo>
                  <a:pt x="3222" y="10500"/>
                </a:lnTo>
                <a:lnTo>
                  <a:pt x="2899" y="10175"/>
                </a:lnTo>
                <a:lnTo>
                  <a:pt x="2577" y="9959"/>
                </a:lnTo>
                <a:lnTo>
                  <a:pt x="2362" y="9634"/>
                </a:lnTo>
                <a:lnTo>
                  <a:pt x="2148" y="9309"/>
                </a:lnTo>
                <a:lnTo>
                  <a:pt x="1933" y="8985"/>
                </a:lnTo>
                <a:lnTo>
                  <a:pt x="1825" y="8552"/>
                </a:lnTo>
                <a:lnTo>
                  <a:pt x="1718" y="8119"/>
                </a:lnTo>
                <a:lnTo>
                  <a:pt x="1611" y="7686"/>
                </a:lnTo>
                <a:lnTo>
                  <a:pt x="1503" y="7253"/>
                </a:lnTo>
                <a:lnTo>
                  <a:pt x="1503" y="5629"/>
                </a:lnTo>
                <a:lnTo>
                  <a:pt x="1611" y="5087"/>
                </a:lnTo>
                <a:lnTo>
                  <a:pt x="1611" y="4654"/>
                </a:lnTo>
                <a:lnTo>
                  <a:pt x="1718" y="4113"/>
                </a:lnTo>
                <a:lnTo>
                  <a:pt x="1933" y="3680"/>
                </a:lnTo>
                <a:lnTo>
                  <a:pt x="2148" y="3355"/>
                </a:lnTo>
                <a:lnTo>
                  <a:pt x="2362" y="3031"/>
                </a:lnTo>
                <a:lnTo>
                  <a:pt x="2577" y="2706"/>
                </a:lnTo>
                <a:lnTo>
                  <a:pt x="2792" y="2381"/>
                </a:lnTo>
                <a:lnTo>
                  <a:pt x="3114" y="2165"/>
                </a:lnTo>
                <a:lnTo>
                  <a:pt x="3436" y="1948"/>
                </a:lnTo>
                <a:lnTo>
                  <a:pt x="3759" y="1732"/>
                </a:lnTo>
                <a:lnTo>
                  <a:pt x="4188" y="1623"/>
                </a:lnTo>
                <a:lnTo>
                  <a:pt x="4511" y="1515"/>
                </a:lnTo>
                <a:lnTo>
                  <a:pt x="4833" y="1407"/>
                </a:lnTo>
                <a:lnTo>
                  <a:pt x="5907" y="1407"/>
                </a:lnTo>
                <a:lnTo>
                  <a:pt x="6444" y="1515"/>
                </a:lnTo>
                <a:lnTo>
                  <a:pt x="6873" y="1732"/>
                </a:lnTo>
                <a:lnTo>
                  <a:pt x="7411" y="1948"/>
                </a:lnTo>
                <a:lnTo>
                  <a:pt x="7840" y="2273"/>
                </a:lnTo>
                <a:lnTo>
                  <a:pt x="8270" y="2706"/>
                </a:lnTo>
                <a:lnTo>
                  <a:pt x="8592" y="3247"/>
                </a:lnTo>
                <a:lnTo>
                  <a:pt x="8807" y="3897"/>
                </a:lnTo>
                <a:lnTo>
                  <a:pt x="10310" y="3897"/>
                </a:lnTo>
                <a:lnTo>
                  <a:pt x="10203" y="3247"/>
                </a:lnTo>
                <a:lnTo>
                  <a:pt x="9988" y="2706"/>
                </a:lnTo>
                <a:lnTo>
                  <a:pt x="9666" y="2273"/>
                </a:lnTo>
                <a:lnTo>
                  <a:pt x="9344" y="1732"/>
                </a:lnTo>
                <a:lnTo>
                  <a:pt x="9022" y="1299"/>
                </a:lnTo>
                <a:lnTo>
                  <a:pt x="8592" y="974"/>
                </a:lnTo>
                <a:lnTo>
                  <a:pt x="8055" y="649"/>
                </a:lnTo>
                <a:lnTo>
                  <a:pt x="7625" y="433"/>
                </a:lnTo>
                <a:lnTo>
                  <a:pt x="7088" y="324"/>
                </a:lnTo>
                <a:lnTo>
                  <a:pt x="6551" y="108"/>
                </a:lnTo>
                <a:lnTo>
                  <a:pt x="5907" y="0"/>
                </a:lnTo>
                <a:lnTo>
                  <a:pt x="5370" y="0"/>
                </a:lnTo>
                <a:lnTo>
                  <a:pt x="4511" y="108"/>
                </a:lnTo>
                <a:lnTo>
                  <a:pt x="3759" y="216"/>
                </a:lnTo>
                <a:lnTo>
                  <a:pt x="3007" y="541"/>
                </a:lnTo>
                <a:lnTo>
                  <a:pt x="2362" y="974"/>
                </a:lnTo>
                <a:lnTo>
                  <a:pt x="1825" y="1407"/>
                </a:lnTo>
                <a:lnTo>
                  <a:pt x="1288" y="1948"/>
                </a:lnTo>
                <a:lnTo>
                  <a:pt x="859" y="2598"/>
                </a:lnTo>
                <a:lnTo>
                  <a:pt x="537" y="3247"/>
                </a:lnTo>
                <a:lnTo>
                  <a:pt x="322" y="3897"/>
                </a:lnTo>
                <a:lnTo>
                  <a:pt x="107" y="4654"/>
                </a:lnTo>
                <a:lnTo>
                  <a:pt x="0" y="5304"/>
                </a:lnTo>
                <a:lnTo>
                  <a:pt x="0" y="7361"/>
                </a:lnTo>
                <a:lnTo>
                  <a:pt x="107" y="8010"/>
                </a:lnTo>
                <a:lnTo>
                  <a:pt x="214" y="8552"/>
                </a:lnTo>
                <a:lnTo>
                  <a:pt x="429" y="9093"/>
                </a:lnTo>
                <a:lnTo>
                  <a:pt x="644" y="9634"/>
                </a:lnTo>
                <a:lnTo>
                  <a:pt x="859" y="10067"/>
                </a:lnTo>
                <a:lnTo>
                  <a:pt x="1181" y="10500"/>
                </a:lnTo>
                <a:lnTo>
                  <a:pt x="1503" y="10933"/>
                </a:lnTo>
                <a:lnTo>
                  <a:pt x="1933" y="11366"/>
                </a:lnTo>
                <a:close/>
              </a:path>
            </a:pathLst>
          </a:custGeom>
          <a:solidFill>
            <a:srgbClr val="000000"/>
          </a:solidFill>
        </p:spPr>
        <p:txBody>
          <a:bodyPr wrap="square" lIns="0" tIns="0" rIns="0" bIns="0" rtlCol="0">
            <a:noAutofit/>
          </a:bodyPr>
          <a:lstStyle/>
          <a:p>
            <a:endParaRPr/>
          </a:p>
        </p:txBody>
      </p:sp>
      <p:sp>
        <p:nvSpPr>
          <p:cNvPr id="1054" name="object 1054"/>
          <p:cNvSpPr/>
          <p:nvPr/>
        </p:nvSpPr>
        <p:spPr>
          <a:xfrm>
            <a:off x="4054741" y="2538790"/>
            <a:ext cx="9236" cy="11583"/>
          </a:xfrm>
          <a:custGeom>
            <a:avLst/>
            <a:gdLst/>
            <a:ahLst/>
            <a:cxnLst/>
            <a:rect l="l" t="t" r="r" b="b"/>
            <a:pathLst>
              <a:path w="9236" h="11583">
                <a:moveTo>
                  <a:pt x="0" y="11583"/>
                </a:moveTo>
                <a:lnTo>
                  <a:pt x="1503" y="11583"/>
                </a:lnTo>
                <a:lnTo>
                  <a:pt x="1503" y="2165"/>
                </a:lnTo>
                <a:lnTo>
                  <a:pt x="7411" y="11583"/>
                </a:lnTo>
                <a:lnTo>
                  <a:pt x="9236" y="11583"/>
                </a:lnTo>
                <a:lnTo>
                  <a:pt x="9236" y="0"/>
                </a:lnTo>
                <a:lnTo>
                  <a:pt x="7733" y="0"/>
                </a:lnTo>
                <a:lnTo>
                  <a:pt x="7733" y="9418"/>
                </a:lnTo>
                <a:lnTo>
                  <a:pt x="1825" y="0"/>
                </a:lnTo>
                <a:lnTo>
                  <a:pt x="0" y="0"/>
                </a:lnTo>
                <a:lnTo>
                  <a:pt x="0" y="11583"/>
                </a:lnTo>
                <a:close/>
              </a:path>
            </a:pathLst>
          </a:custGeom>
          <a:solidFill>
            <a:srgbClr val="000000"/>
          </a:solidFill>
        </p:spPr>
        <p:txBody>
          <a:bodyPr wrap="square" lIns="0" tIns="0" rIns="0" bIns="0" rtlCol="0">
            <a:noAutofit/>
          </a:bodyPr>
          <a:lstStyle/>
          <a:p>
            <a:endParaRPr/>
          </a:p>
        </p:txBody>
      </p:sp>
      <p:sp>
        <p:nvSpPr>
          <p:cNvPr id="1055" name="object 1055"/>
          <p:cNvSpPr/>
          <p:nvPr/>
        </p:nvSpPr>
        <p:spPr>
          <a:xfrm>
            <a:off x="4065376" y="2538790"/>
            <a:ext cx="10203" cy="11583"/>
          </a:xfrm>
          <a:custGeom>
            <a:avLst/>
            <a:gdLst/>
            <a:ahLst/>
            <a:cxnLst/>
            <a:rect l="l" t="t" r="r" b="b"/>
            <a:pathLst>
              <a:path w="10203" h="11583">
                <a:moveTo>
                  <a:pt x="2792" y="8227"/>
                </a:moveTo>
                <a:lnTo>
                  <a:pt x="3222" y="6820"/>
                </a:lnTo>
                <a:lnTo>
                  <a:pt x="5048" y="1732"/>
                </a:lnTo>
                <a:lnTo>
                  <a:pt x="6766" y="6820"/>
                </a:lnTo>
                <a:lnTo>
                  <a:pt x="7411" y="8227"/>
                </a:lnTo>
                <a:lnTo>
                  <a:pt x="8485" y="11583"/>
                </a:lnTo>
                <a:lnTo>
                  <a:pt x="10203" y="11583"/>
                </a:lnTo>
                <a:lnTo>
                  <a:pt x="6014" y="0"/>
                </a:lnTo>
                <a:lnTo>
                  <a:pt x="4296" y="0"/>
                </a:lnTo>
                <a:lnTo>
                  <a:pt x="0" y="11583"/>
                </a:lnTo>
                <a:lnTo>
                  <a:pt x="1611" y="11583"/>
                </a:lnTo>
                <a:lnTo>
                  <a:pt x="2792" y="8227"/>
                </a:lnTo>
                <a:close/>
              </a:path>
            </a:pathLst>
          </a:custGeom>
          <a:solidFill>
            <a:srgbClr val="000000"/>
          </a:solidFill>
        </p:spPr>
        <p:txBody>
          <a:bodyPr wrap="square" lIns="0" tIns="0" rIns="0" bIns="0" rtlCol="0">
            <a:noAutofit/>
          </a:bodyPr>
          <a:lstStyle/>
          <a:p>
            <a:endParaRPr/>
          </a:p>
        </p:txBody>
      </p:sp>
      <p:sp>
        <p:nvSpPr>
          <p:cNvPr id="1056" name="object 1056"/>
          <p:cNvSpPr/>
          <p:nvPr/>
        </p:nvSpPr>
        <p:spPr>
          <a:xfrm>
            <a:off x="4068167" y="2545610"/>
            <a:ext cx="4618" cy="1407"/>
          </a:xfrm>
          <a:custGeom>
            <a:avLst/>
            <a:gdLst/>
            <a:ahLst/>
            <a:cxnLst/>
            <a:rect l="l" t="t" r="r" b="b"/>
            <a:pathLst>
              <a:path w="4618" h="1407">
                <a:moveTo>
                  <a:pt x="429" y="0"/>
                </a:moveTo>
                <a:lnTo>
                  <a:pt x="0" y="1407"/>
                </a:lnTo>
                <a:lnTo>
                  <a:pt x="4618" y="1407"/>
                </a:lnTo>
                <a:lnTo>
                  <a:pt x="3974" y="0"/>
                </a:lnTo>
                <a:lnTo>
                  <a:pt x="429" y="0"/>
                </a:lnTo>
                <a:close/>
              </a:path>
            </a:pathLst>
          </a:custGeom>
          <a:solidFill>
            <a:srgbClr val="000000"/>
          </a:solidFill>
        </p:spPr>
        <p:txBody>
          <a:bodyPr wrap="square" lIns="0" tIns="0" rIns="0" bIns="0" rtlCol="0">
            <a:noAutofit/>
          </a:bodyPr>
          <a:lstStyle/>
          <a:p>
            <a:endParaRPr/>
          </a:p>
        </p:txBody>
      </p:sp>
      <p:sp>
        <p:nvSpPr>
          <p:cNvPr id="1057" name="object 1057"/>
          <p:cNvSpPr/>
          <p:nvPr/>
        </p:nvSpPr>
        <p:spPr>
          <a:xfrm>
            <a:off x="4074934" y="2538790"/>
            <a:ext cx="9344" cy="11583"/>
          </a:xfrm>
          <a:custGeom>
            <a:avLst/>
            <a:gdLst/>
            <a:ahLst/>
            <a:cxnLst/>
            <a:rect l="l" t="t" r="r" b="b"/>
            <a:pathLst>
              <a:path w="9344" h="11583">
                <a:moveTo>
                  <a:pt x="3866" y="11583"/>
                </a:moveTo>
                <a:lnTo>
                  <a:pt x="5370" y="11583"/>
                </a:lnTo>
                <a:lnTo>
                  <a:pt x="5370" y="1407"/>
                </a:lnTo>
                <a:lnTo>
                  <a:pt x="9344" y="1407"/>
                </a:lnTo>
                <a:lnTo>
                  <a:pt x="9344" y="0"/>
                </a:lnTo>
                <a:lnTo>
                  <a:pt x="0" y="0"/>
                </a:lnTo>
                <a:lnTo>
                  <a:pt x="0" y="1407"/>
                </a:lnTo>
                <a:lnTo>
                  <a:pt x="3866" y="1407"/>
                </a:lnTo>
                <a:lnTo>
                  <a:pt x="3866" y="11583"/>
                </a:lnTo>
                <a:close/>
              </a:path>
            </a:pathLst>
          </a:custGeom>
          <a:solidFill>
            <a:srgbClr val="000000"/>
          </a:solidFill>
        </p:spPr>
        <p:txBody>
          <a:bodyPr wrap="square" lIns="0" tIns="0" rIns="0" bIns="0" rtlCol="0">
            <a:noAutofit/>
          </a:bodyPr>
          <a:lstStyle/>
          <a:p>
            <a:endParaRPr/>
          </a:p>
        </p:txBody>
      </p:sp>
      <p:sp>
        <p:nvSpPr>
          <p:cNvPr id="1058" name="object 1058"/>
          <p:cNvSpPr/>
          <p:nvPr/>
        </p:nvSpPr>
        <p:spPr>
          <a:xfrm>
            <a:off x="4085783" y="2538789"/>
            <a:ext cx="9129" cy="11908"/>
          </a:xfrm>
          <a:custGeom>
            <a:avLst/>
            <a:gdLst/>
            <a:ahLst/>
            <a:cxnLst/>
            <a:rect l="l" t="t" r="r" b="b"/>
            <a:pathLst>
              <a:path w="9129" h="11908">
                <a:moveTo>
                  <a:pt x="1825" y="9201"/>
                </a:moveTo>
                <a:lnTo>
                  <a:pt x="1718" y="8876"/>
                </a:lnTo>
                <a:lnTo>
                  <a:pt x="1611" y="8443"/>
                </a:lnTo>
                <a:lnTo>
                  <a:pt x="1503" y="8010"/>
                </a:lnTo>
                <a:lnTo>
                  <a:pt x="1503" y="0"/>
                </a:lnTo>
                <a:lnTo>
                  <a:pt x="0" y="0"/>
                </a:lnTo>
                <a:lnTo>
                  <a:pt x="0" y="8552"/>
                </a:lnTo>
                <a:lnTo>
                  <a:pt x="214" y="9093"/>
                </a:lnTo>
                <a:lnTo>
                  <a:pt x="322" y="9634"/>
                </a:lnTo>
                <a:lnTo>
                  <a:pt x="644" y="10067"/>
                </a:lnTo>
                <a:lnTo>
                  <a:pt x="966" y="10500"/>
                </a:lnTo>
                <a:lnTo>
                  <a:pt x="1396" y="10933"/>
                </a:lnTo>
                <a:lnTo>
                  <a:pt x="1825" y="11258"/>
                </a:lnTo>
                <a:lnTo>
                  <a:pt x="2255" y="11583"/>
                </a:lnTo>
                <a:lnTo>
                  <a:pt x="2792" y="11691"/>
                </a:lnTo>
                <a:lnTo>
                  <a:pt x="3329" y="11799"/>
                </a:lnTo>
                <a:lnTo>
                  <a:pt x="3866" y="11908"/>
                </a:lnTo>
                <a:lnTo>
                  <a:pt x="5048" y="11908"/>
                </a:lnTo>
                <a:lnTo>
                  <a:pt x="5692" y="11799"/>
                </a:lnTo>
                <a:lnTo>
                  <a:pt x="6336" y="11583"/>
                </a:lnTo>
                <a:lnTo>
                  <a:pt x="6873" y="11475"/>
                </a:lnTo>
                <a:lnTo>
                  <a:pt x="7303" y="11150"/>
                </a:lnTo>
                <a:lnTo>
                  <a:pt x="7840" y="10825"/>
                </a:lnTo>
                <a:lnTo>
                  <a:pt x="8162" y="10392"/>
                </a:lnTo>
                <a:lnTo>
                  <a:pt x="8485" y="9959"/>
                </a:lnTo>
                <a:lnTo>
                  <a:pt x="8807" y="9526"/>
                </a:lnTo>
                <a:lnTo>
                  <a:pt x="9022" y="8985"/>
                </a:lnTo>
                <a:lnTo>
                  <a:pt x="9129" y="8443"/>
                </a:lnTo>
                <a:lnTo>
                  <a:pt x="9129" y="0"/>
                </a:lnTo>
                <a:lnTo>
                  <a:pt x="7625" y="0"/>
                </a:lnTo>
                <a:lnTo>
                  <a:pt x="7625" y="8119"/>
                </a:lnTo>
                <a:lnTo>
                  <a:pt x="7518" y="8443"/>
                </a:lnTo>
                <a:lnTo>
                  <a:pt x="7303" y="8876"/>
                </a:lnTo>
                <a:lnTo>
                  <a:pt x="7196" y="9201"/>
                </a:lnTo>
                <a:lnTo>
                  <a:pt x="6981" y="9526"/>
                </a:lnTo>
                <a:lnTo>
                  <a:pt x="6766" y="9742"/>
                </a:lnTo>
                <a:lnTo>
                  <a:pt x="6444" y="10067"/>
                </a:lnTo>
                <a:lnTo>
                  <a:pt x="6122" y="10284"/>
                </a:lnTo>
                <a:lnTo>
                  <a:pt x="5799" y="10392"/>
                </a:lnTo>
                <a:lnTo>
                  <a:pt x="5370" y="10500"/>
                </a:lnTo>
                <a:lnTo>
                  <a:pt x="4940" y="10608"/>
                </a:lnTo>
                <a:lnTo>
                  <a:pt x="4081" y="10608"/>
                </a:lnTo>
                <a:lnTo>
                  <a:pt x="3651" y="10500"/>
                </a:lnTo>
                <a:lnTo>
                  <a:pt x="3222" y="10392"/>
                </a:lnTo>
                <a:lnTo>
                  <a:pt x="2899" y="10284"/>
                </a:lnTo>
                <a:lnTo>
                  <a:pt x="2577" y="10067"/>
                </a:lnTo>
                <a:lnTo>
                  <a:pt x="2255" y="9742"/>
                </a:lnTo>
                <a:lnTo>
                  <a:pt x="2040" y="9526"/>
                </a:lnTo>
                <a:lnTo>
                  <a:pt x="1825" y="9201"/>
                </a:lnTo>
                <a:close/>
              </a:path>
            </a:pathLst>
          </a:custGeom>
          <a:solidFill>
            <a:srgbClr val="000000"/>
          </a:solidFill>
        </p:spPr>
        <p:txBody>
          <a:bodyPr wrap="square" lIns="0" tIns="0" rIns="0" bIns="0" rtlCol="0">
            <a:noAutofit/>
          </a:bodyPr>
          <a:lstStyle/>
          <a:p>
            <a:endParaRPr/>
          </a:p>
        </p:txBody>
      </p:sp>
      <p:sp>
        <p:nvSpPr>
          <p:cNvPr id="1059" name="object 1059"/>
          <p:cNvSpPr/>
          <p:nvPr/>
        </p:nvSpPr>
        <p:spPr>
          <a:xfrm>
            <a:off x="4097490" y="2538789"/>
            <a:ext cx="7411" cy="1948"/>
          </a:xfrm>
          <a:custGeom>
            <a:avLst/>
            <a:gdLst/>
            <a:ahLst/>
            <a:cxnLst/>
            <a:rect l="l" t="t" r="r" b="b"/>
            <a:pathLst>
              <a:path w="7411" h="1948">
                <a:moveTo>
                  <a:pt x="6981" y="216"/>
                </a:moveTo>
                <a:lnTo>
                  <a:pt x="6551" y="108"/>
                </a:lnTo>
                <a:lnTo>
                  <a:pt x="6014" y="0"/>
                </a:lnTo>
                <a:lnTo>
                  <a:pt x="0" y="0"/>
                </a:lnTo>
                <a:lnTo>
                  <a:pt x="1503" y="1407"/>
                </a:lnTo>
                <a:lnTo>
                  <a:pt x="6229" y="1407"/>
                </a:lnTo>
                <a:lnTo>
                  <a:pt x="6659" y="1515"/>
                </a:lnTo>
                <a:lnTo>
                  <a:pt x="6981" y="1732"/>
                </a:lnTo>
                <a:lnTo>
                  <a:pt x="7303" y="1948"/>
                </a:lnTo>
                <a:lnTo>
                  <a:pt x="7411" y="324"/>
                </a:lnTo>
                <a:lnTo>
                  <a:pt x="6981" y="216"/>
                </a:lnTo>
                <a:close/>
              </a:path>
            </a:pathLst>
          </a:custGeom>
          <a:solidFill>
            <a:srgbClr val="000000"/>
          </a:solidFill>
        </p:spPr>
        <p:txBody>
          <a:bodyPr wrap="square" lIns="0" tIns="0" rIns="0" bIns="0" rtlCol="0">
            <a:noAutofit/>
          </a:bodyPr>
          <a:lstStyle/>
          <a:p>
            <a:endParaRPr/>
          </a:p>
        </p:txBody>
      </p:sp>
      <p:sp>
        <p:nvSpPr>
          <p:cNvPr id="1060" name="object 1060"/>
          <p:cNvSpPr/>
          <p:nvPr/>
        </p:nvSpPr>
        <p:spPr>
          <a:xfrm>
            <a:off x="4109089" y="2538790"/>
            <a:ext cx="8592" cy="11583"/>
          </a:xfrm>
          <a:custGeom>
            <a:avLst/>
            <a:gdLst/>
            <a:ahLst/>
            <a:cxnLst/>
            <a:rect l="l" t="t" r="r" b="b"/>
            <a:pathLst>
              <a:path w="8592" h="11583">
                <a:moveTo>
                  <a:pt x="1503" y="10284"/>
                </a:moveTo>
                <a:lnTo>
                  <a:pt x="1503" y="6278"/>
                </a:lnTo>
                <a:lnTo>
                  <a:pt x="7948" y="6278"/>
                </a:lnTo>
                <a:lnTo>
                  <a:pt x="7948" y="4871"/>
                </a:lnTo>
                <a:lnTo>
                  <a:pt x="1503" y="4871"/>
                </a:lnTo>
                <a:lnTo>
                  <a:pt x="1503" y="1407"/>
                </a:lnTo>
                <a:lnTo>
                  <a:pt x="8485" y="1407"/>
                </a:lnTo>
                <a:lnTo>
                  <a:pt x="8485" y="0"/>
                </a:lnTo>
                <a:lnTo>
                  <a:pt x="0" y="0"/>
                </a:lnTo>
                <a:lnTo>
                  <a:pt x="0" y="11583"/>
                </a:lnTo>
                <a:lnTo>
                  <a:pt x="8592" y="11583"/>
                </a:lnTo>
                <a:lnTo>
                  <a:pt x="8592" y="10284"/>
                </a:lnTo>
                <a:lnTo>
                  <a:pt x="1503" y="10284"/>
                </a:lnTo>
                <a:close/>
              </a:path>
            </a:pathLst>
          </a:custGeom>
          <a:solidFill>
            <a:srgbClr val="000000"/>
          </a:solidFill>
        </p:spPr>
        <p:txBody>
          <a:bodyPr wrap="square" lIns="0" tIns="0" rIns="0" bIns="0" rtlCol="0">
            <a:noAutofit/>
          </a:bodyPr>
          <a:lstStyle/>
          <a:p>
            <a:endParaRPr/>
          </a:p>
        </p:txBody>
      </p:sp>
      <p:sp>
        <p:nvSpPr>
          <p:cNvPr id="1061" name="object 1061"/>
          <p:cNvSpPr/>
          <p:nvPr/>
        </p:nvSpPr>
        <p:spPr>
          <a:xfrm>
            <a:off x="4097489" y="2538790"/>
            <a:ext cx="9666" cy="11583"/>
          </a:xfrm>
          <a:custGeom>
            <a:avLst/>
            <a:gdLst/>
            <a:ahLst/>
            <a:cxnLst/>
            <a:rect l="l" t="t" r="r" b="b"/>
            <a:pathLst>
              <a:path w="9666" h="11583">
                <a:moveTo>
                  <a:pt x="9022" y="7794"/>
                </a:moveTo>
                <a:lnTo>
                  <a:pt x="8914" y="7469"/>
                </a:lnTo>
                <a:lnTo>
                  <a:pt x="8807" y="7144"/>
                </a:lnTo>
                <a:lnTo>
                  <a:pt x="8699" y="6820"/>
                </a:lnTo>
                <a:lnTo>
                  <a:pt x="8592" y="6603"/>
                </a:lnTo>
                <a:lnTo>
                  <a:pt x="8485" y="6387"/>
                </a:lnTo>
                <a:lnTo>
                  <a:pt x="8270" y="6170"/>
                </a:lnTo>
                <a:lnTo>
                  <a:pt x="8055" y="6062"/>
                </a:lnTo>
                <a:lnTo>
                  <a:pt x="7733" y="5954"/>
                </a:lnTo>
                <a:lnTo>
                  <a:pt x="8377" y="5520"/>
                </a:lnTo>
                <a:lnTo>
                  <a:pt x="8807" y="4871"/>
                </a:lnTo>
                <a:lnTo>
                  <a:pt x="9129" y="4005"/>
                </a:lnTo>
                <a:lnTo>
                  <a:pt x="9236" y="3139"/>
                </a:lnTo>
                <a:lnTo>
                  <a:pt x="9236" y="2706"/>
                </a:lnTo>
                <a:lnTo>
                  <a:pt x="9129" y="2273"/>
                </a:lnTo>
                <a:lnTo>
                  <a:pt x="8914" y="1840"/>
                </a:lnTo>
                <a:lnTo>
                  <a:pt x="8699" y="1407"/>
                </a:lnTo>
                <a:lnTo>
                  <a:pt x="8485" y="1082"/>
                </a:lnTo>
                <a:lnTo>
                  <a:pt x="8162" y="757"/>
                </a:lnTo>
                <a:lnTo>
                  <a:pt x="7840" y="541"/>
                </a:lnTo>
                <a:lnTo>
                  <a:pt x="7411" y="324"/>
                </a:lnTo>
                <a:lnTo>
                  <a:pt x="7303" y="1948"/>
                </a:lnTo>
                <a:lnTo>
                  <a:pt x="7411" y="2273"/>
                </a:lnTo>
                <a:lnTo>
                  <a:pt x="7625" y="2598"/>
                </a:lnTo>
                <a:lnTo>
                  <a:pt x="7733" y="2922"/>
                </a:lnTo>
                <a:lnTo>
                  <a:pt x="7733" y="3572"/>
                </a:lnTo>
                <a:lnTo>
                  <a:pt x="7625" y="3788"/>
                </a:lnTo>
                <a:lnTo>
                  <a:pt x="7518" y="4113"/>
                </a:lnTo>
                <a:lnTo>
                  <a:pt x="7411" y="4330"/>
                </a:lnTo>
                <a:lnTo>
                  <a:pt x="7303" y="4546"/>
                </a:lnTo>
                <a:lnTo>
                  <a:pt x="6981" y="4871"/>
                </a:lnTo>
                <a:lnTo>
                  <a:pt x="6766" y="4979"/>
                </a:lnTo>
                <a:lnTo>
                  <a:pt x="6551" y="5087"/>
                </a:lnTo>
                <a:lnTo>
                  <a:pt x="6229" y="5196"/>
                </a:lnTo>
                <a:lnTo>
                  <a:pt x="5907" y="5304"/>
                </a:lnTo>
                <a:lnTo>
                  <a:pt x="1503" y="5304"/>
                </a:lnTo>
                <a:lnTo>
                  <a:pt x="1503" y="1407"/>
                </a:lnTo>
                <a:lnTo>
                  <a:pt x="0" y="0"/>
                </a:lnTo>
                <a:lnTo>
                  <a:pt x="0" y="11583"/>
                </a:lnTo>
                <a:lnTo>
                  <a:pt x="1503" y="11583"/>
                </a:lnTo>
                <a:lnTo>
                  <a:pt x="1503" y="6711"/>
                </a:lnTo>
                <a:lnTo>
                  <a:pt x="6014" y="6711"/>
                </a:lnTo>
                <a:lnTo>
                  <a:pt x="6444" y="6820"/>
                </a:lnTo>
                <a:lnTo>
                  <a:pt x="6766" y="6928"/>
                </a:lnTo>
                <a:lnTo>
                  <a:pt x="7088" y="7144"/>
                </a:lnTo>
                <a:lnTo>
                  <a:pt x="7196" y="7361"/>
                </a:lnTo>
                <a:lnTo>
                  <a:pt x="7411" y="7577"/>
                </a:lnTo>
                <a:lnTo>
                  <a:pt x="7518" y="7902"/>
                </a:lnTo>
                <a:lnTo>
                  <a:pt x="7518" y="8443"/>
                </a:lnTo>
                <a:lnTo>
                  <a:pt x="7625" y="8768"/>
                </a:lnTo>
                <a:lnTo>
                  <a:pt x="7625" y="10392"/>
                </a:lnTo>
                <a:lnTo>
                  <a:pt x="7733" y="10825"/>
                </a:lnTo>
                <a:lnTo>
                  <a:pt x="7733" y="11258"/>
                </a:lnTo>
                <a:lnTo>
                  <a:pt x="7840" y="11583"/>
                </a:lnTo>
                <a:lnTo>
                  <a:pt x="9666" y="11583"/>
                </a:lnTo>
                <a:lnTo>
                  <a:pt x="9666" y="11366"/>
                </a:lnTo>
                <a:lnTo>
                  <a:pt x="9344" y="11150"/>
                </a:lnTo>
                <a:lnTo>
                  <a:pt x="9236" y="10825"/>
                </a:lnTo>
                <a:lnTo>
                  <a:pt x="9129" y="10608"/>
                </a:lnTo>
                <a:lnTo>
                  <a:pt x="9129" y="8552"/>
                </a:lnTo>
                <a:lnTo>
                  <a:pt x="9022" y="8119"/>
                </a:lnTo>
                <a:lnTo>
                  <a:pt x="9022" y="7794"/>
                </a:lnTo>
                <a:close/>
              </a:path>
            </a:pathLst>
          </a:custGeom>
          <a:solidFill>
            <a:srgbClr val="000000"/>
          </a:solidFill>
        </p:spPr>
        <p:txBody>
          <a:bodyPr wrap="square" lIns="0" tIns="0" rIns="0" bIns="0" rtlCol="0">
            <a:noAutofit/>
          </a:bodyPr>
          <a:lstStyle/>
          <a:p>
            <a:endParaRPr/>
          </a:p>
        </p:txBody>
      </p:sp>
      <p:sp>
        <p:nvSpPr>
          <p:cNvPr id="1062" name="object 1062"/>
          <p:cNvSpPr/>
          <p:nvPr/>
        </p:nvSpPr>
        <p:spPr>
          <a:xfrm>
            <a:off x="3960224" y="2538790"/>
            <a:ext cx="9666" cy="11583"/>
          </a:xfrm>
          <a:custGeom>
            <a:avLst/>
            <a:gdLst/>
            <a:ahLst/>
            <a:cxnLst/>
            <a:rect l="l" t="t" r="r" b="b"/>
            <a:pathLst>
              <a:path w="9666" h="11583">
                <a:moveTo>
                  <a:pt x="9022" y="7794"/>
                </a:moveTo>
                <a:lnTo>
                  <a:pt x="8914" y="7469"/>
                </a:lnTo>
                <a:lnTo>
                  <a:pt x="8807" y="7144"/>
                </a:lnTo>
                <a:lnTo>
                  <a:pt x="8699" y="6820"/>
                </a:lnTo>
                <a:lnTo>
                  <a:pt x="8592" y="6603"/>
                </a:lnTo>
                <a:lnTo>
                  <a:pt x="8485" y="6387"/>
                </a:lnTo>
                <a:lnTo>
                  <a:pt x="8270" y="6170"/>
                </a:lnTo>
                <a:lnTo>
                  <a:pt x="8055" y="6062"/>
                </a:lnTo>
                <a:lnTo>
                  <a:pt x="7733" y="5954"/>
                </a:lnTo>
                <a:lnTo>
                  <a:pt x="8377" y="5520"/>
                </a:lnTo>
                <a:lnTo>
                  <a:pt x="8807" y="4871"/>
                </a:lnTo>
                <a:lnTo>
                  <a:pt x="9129" y="4005"/>
                </a:lnTo>
                <a:lnTo>
                  <a:pt x="9236" y="3139"/>
                </a:lnTo>
                <a:lnTo>
                  <a:pt x="9236" y="2706"/>
                </a:lnTo>
                <a:lnTo>
                  <a:pt x="9129" y="2273"/>
                </a:lnTo>
                <a:lnTo>
                  <a:pt x="8914" y="1840"/>
                </a:lnTo>
                <a:lnTo>
                  <a:pt x="8699" y="1407"/>
                </a:lnTo>
                <a:lnTo>
                  <a:pt x="8485" y="1082"/>
                </a:lnTo>
                <a:lnTo>
                  <a:pt x="8162" y="757"/>
                </a:lnTo>
                <a:lnTo>
                  <a:pt x="7840" y="541"/>
                </a:lnTo>
                <a:lnTo>
                  <a:pt x="7411" y="324"/>
                </a:lnTo>
                <a:lnTo>
                  <a:pt x="7303" y="1948"/>
                </a:lnTo>
                <a:lnTo>
                  <a:pt x="7411" y="2273"/>
                </a:lnTo>
                <a:lnTo>
                  <a:pt x="7625" y="2598"/>
                </a:lnTo>
                <a:lnTo>
                  <a:pt x="7733" y="2922"/>
                </a:lnTo>
                <a:lnTo>
                  <a:pt x="7733" y="3572"/>
                </a:lnTo>
                <a:lnTo>
                  <a:pt x="7625" y="3788"/>
                </a:lnTo>
                <a:lnTo>
                  <a:pt x="7518" y="4113"/>
                </a:lnTo>
                <a:lnTo>
                  <a:pt x="7411" y="4330"/>
                </a:lnTo>
                <a:lnTo>
                  <a:pt x="7303" y="4546"/>
                </a:lnTo>
                <a:lnTo>
                  <a:pt x="6981" y="4871"/>
                </a:lnTo>
                <a:lnTo>
                  <a:pt x="6766" y="4979"/>
                </a:lnTo>
                <a:lnTo>
                  <a:pt x="6551" y="5087"/>
                </a:lnTo>
                <a:lnTo>
                  <a:pt x="6229" y="5196"/>
                </a:lnTo>
                <a:lnTo>
                  <a:pt x="5907" y="5304"/>
                </a:lnTo>
                <a:lnTo>
                  <a:pt x="1503" y="5304"/>
                </a:lnTo>
                <a:lnTo>
                  <a:pt x="1503" y="1407"/>
                </a:lnTo>
                <a:lnTo>
                  <a:pt x="0" y="0"/>
                </a:lnTo>
                <a:lnTo>
                  <a:pt x="0" y="11583"/>
                </a:lnTo>
                <a:lnTo>
                  <a:pt x="1503" y="11583"/>
                </a:lnTo>
                <a:lnTo>
                  <a:pt x="1503" y="6711"/>
                </a:lnTo>
                <a:lnTo>
                  <a:pt x="6014" y="6711"/>
                </a:lnTo>
                <a:lnTo>
                  <a:pt x="6444" y="6820"/>
                </a:lnTo>
                <a:lnTo>
                  <a:pt x="6766" y="6928"/>
                </a:lnTo>
                <a:lnTo>
                  <a:pt x="7088" y="7144"/>
                </a:lnTo>
                <a:lnTo>
                  <a:pt x="7196" y="7361"/>
                </a:lnTo>
                <a:lnTo>
                  <a:pt x="7411" y="7577"/>
                </a:lnTo>
                <a:lnTo>
                  <a:pt x="7518" y="7902"/>
                </a:lnTo>
                <a:lnTo>
                  <a:pt x="7518" y="8443"/>
                </a:lnTo>
                <a:lnTo>
                  <a:pt x="7625" y="8768"/>
                </a:lnTo>
                <a:lnTo>
                  <a:pt x="7625" y="10392"/>
                </a:lnTo>
                <a:lnTo>
                  <a:pt x="7733" y="10825"/>
                </a:lnTo>
                <a:lnTo>
                  <a:pt x="7733" y="11258"/>
                </a:lnTo>
                <a:lnTo>
                  <a:pt x="7840" y="11583"/>
                </a:lnTo>
                <a:lnTo>
                  <a:pt x="9666" y="11583"/>
                </a:lnTo>
                <a:lnTo>
                  <a:pt x="9666" y="11366"/>
                </a:lnTo>
                <a:lnTo>
                  <a:pt x="9344" y="11150"/>
                </a:lnTo>
                <a:lnTo>
                  <a:pt x="9236" y="10825"/>
                </a:lnTo>
                <a:lnTo>
                  <a:pt x="9129" y="10608"/>
                </a:lnTo>
                <a:lnTo>
                  <a:pt x="9129" y="8552"/>
                </a:lnTo>
                <a:lnTo>
                  <a:pt x="9022" y="8119"/>
                </a:lnTo>
                <a:lnTo>
                  <a:pt x="9022" y="7794"/>
                </a:lnTo>
                <a:close/>
              </a:path>
            </a:pathLst>
          </a:custGeom>
          <a:solidFill>
            <a:srgbClr val="000000"/>
          </a:solidFill>
        </p:spPr>
        <p:txBody>
          <a:bodyPr wrap="square" lIns="0" tIns="0" rIns="0" bIns="0" rtlCol="0">
            <a:noAutofit/>
          </a:bodyPr>
          <a:lstStyle/>
          <a:p>
            <a:endParaRPr/>
          </a:p>
        </p:txBody>
      </p:sp>
      <p:sp>
        <p:nvSpPr>
          <p:cNvPr id="1063" name="object 1063"/>
          <p:cNvSpPr/>
          <p:nvPr/>
        </p:nvSpPr>
        <p:spPr>
          <a:xfrm>
            <a:off x="3801802" y="2531428"/>
            <a:ext cx="88287" cy="0"/>
          </a:xfrm>
          <a:custGeom>
            <a:avLst/>
            <a:gdLst/>
            <a:ahLst/>
            <a:cxnLst/>
            <a:rect l="l" t="t" r="r" b="b"/>
            <a:pathLst>
              <a:path w="88287">
                <a:moveTo>
                  <a:pt x="0" y="0"/>
                </a:moveTo>
                <a:lnTo>
                  <a:pt x="88287" y="0"/>
                </a:lnTo>
              </a:path>
            </a:pathLst>
          </a:custGeom>
          <a:ln w="108">
            <a:solidFill>
              <a:srgbClr val="000000"/>
            </a:solidFill>
          </a:ln>
        </p:spPr>
        <p:txBody>
          <a:bodyPr wrap="square" lIns="0" tIns="0" rIns="0" bIns="0" rtlCol="0">
            <a:noAutofit/>
          </a:bodyPr>
          <a:lstStyle/>
          <a:p>
            <a:endParaRPr/>
          </a:p>
        </p:txBody>
      </p:sp>
      <p:sp>
        <p:nvSpPr>
          <p:cNvPr id="1064" name="object 1064"/>
          <p:cNvSpPr/>
          <p:nvPr/>
        </p:nvSpPr>
        <p:spPr>
          <a:xfrm>
            <a:off x="3914793" y="2531428"/>
            <a:ext cx="196015" cy="0"/>
          </a:xfrm>
          <a:custGeom>
            <a:avLst/>
            <a:gdLst/>
            <a:ahLst/>
            <a:cxnLst/>
            <a:rect l="l" t="t" r="r" b="b"/>
            <a:pathLst>
              <a:path w="196015">
                <a:moveTo>
                  <a:pt x="0" y="0"/>
                </a:moveTo>
                <a:lnTo>
                  <a:pt x="196015" y="0"/>
                </a:lnTo>
              </a:path>
            </a:pathLst>
          </a:custGeom>
          <a:ln w="108">
            <a:solidFill>
              <a:srgbClr val="000000"/>
            </a:solidFill>
          </a:ln>
        </p:spPr>
        <p:txBody>
          <a:bodyPr wrap="square" lIns="0" tIns="0" rIns="0" bIns="0" rtlCol="0">
            <a:noAutofit/>
          </a:bodyPr>
          <a:lstStyle/>
          <a:p>
            <a:endParaRPr/>
          </a:p>
        </p:txBody>
      </p:sp>
      <p:sp>
        <p:nvSpPr>
          <p:cNvPr id="1065" name="object 1065"/>
          <p:cNvSpPr/>
          <p:nvPr/>
        </p:nvSpPr>
        <p:spPr>
          <a:xfrm>
            <a:off x="3307626" y="1449422"/>
            <a:ext cx="50802" cy="66793"/>
          </a:xfrm>
          <a:custGeom>
            <a:avLst/>
            <a:gdLst/>
            <a:ahLst/>
            <a:cxnLst/>
            <a:rect l="l" t="t" r="r" b="b"/>
            <a:pathLst>
              <a:path w="50802" h="66793">
                <a:moveTo>
                  <a:pt x="10847" y="19702"/>
                </a:moveTo>
                <a:lnTo>
                  <a:pt x="10633" y="18944"/>
                </a:lnTo>
                <a:lnTo>
                  <a:pt x="10525" y="18186"/>
                </a:lnTo>
                <a:lnTo>
                  <a:pt x="10525" y="17320"/>
                </a:lnTo>
                <a:lnTo>
                  <a:pt x="10633" y="16346"/>
                </a:lnTo>
                <a:lnTo>
                  <a:pt x="10740" y="15372"/>
                </a:lnTo>
                <a:lnTo>
                  <a:pt x="11062" y="14506"/>
                </a:lnTo>
                <a:lnTo>
                  <a:pt x="11385" y="13640"/>
                </a:lnTo>
                <a:lnTo>
                  <a:pt x="11922" y="12774"/>
                </a:lnTo>
                <a:lnTo>
                  <a:pt x="12566" y="11908"/>
                </a:lnTo>
                <a:lnTo>
                  <a:pt x="13210" y="11150"/>
                </a:lnTo>
                <a:lnTo>
                  <a:pt x="14070" y="10392"/>
                </a:lnTo>
                <a:lnTo>
                  <a:pt x="15036" y="9742"/>
                </a:lnTo>
                <a:lnTo>
                  <a:pt x="16003" y="9201"/>
                </a:lnTo>
                <a:lnTo>
                  <a:pt x="17184" y="8660"/>
                </a:lnTo>
                <a:lnTo>
                  <a:pt x="18581" y="8335"/>
                </a:lnTo>
                <a:lnTo>
                  <a:pt x="19977" y="8010"/>
                </a:lnTo>
                <a:lnTo>
                  <a:pt x="21588" y="7794"/>
                </a:lnTo>
                <a:lnTo>
                  <a:pt x="23307" y="7577"/>
                </a:lnTo>
                <a:lnTo>
                  <a:pt x="26851" y="7577"/>
                </a:lnTo>
                <a:lnTo>
                  <a:pt x="28569" y="7794"/>
                </a:lnTo>
                <a:lnTo>
                  <a:pt x="30073" y="8010"/>
                </a:lnTo>
                <a:lnTo>
                  <a:pt x="31577" y="8335"/>
                </a:lnTo>
                <a:lnTo>
                  <a:pt x="32866" y="8768"/>
                </a:lnTo>
                <a:lnTo>
                  <a:pt x="34155" y="9309"/>
                </a:lnTo>
                <a:lnTo>
                  <a:pt x="35229" y="9959"/>
                </a:lnTo>
                <a:lnTo>
                  <a:pt x="36195" y="10717"/>
                </a:lnTo>
                <a:lnTo>
                  <a:pt x="37055" y="11583"/>
                </a:lnTo>
                <a:lnTo>
                  <a:pt x="37914" y="12449"/>
                </a:lnTo>
                <a:lnTo>
                  <a:pt x="38558" y="13423"/>
                </a:lnTo>
                <a:lnTo>
                  <a:pt x="39203" y="14614"/>
                </a:lnTo>
                <a:lnTo>
                  <a:pt x="39740" y="15805"/>
                </a:lnTo>
                <a:lnTo>
                  <a:pt x="40169" y="17104"/>
                </a:lnTo>
                <a:lnTo>
                  <a:pt x="40492" y="18511"/>
                </a:lnTo>
                <a:lnTo>
                  <a:pt x="40706" y="19918"/>
                </a:lnTo>
                <a:lnTo>
                  <a:pt x="48869" y="19269"/>
                </a:lnTo>
                <a:lnTo>
                  <a:pt x="48762" y="17862"/>
                </a:lnTo>
                <a:lnTo>
                  <a:pt x="48547" y="16562"/>
                </a:lnTo>
                <a:lnTo>
                  <a:pt x="48225" y="15263"/>
                </a:lnTo>
                <a:lnTo>
                  <a:pt x="47903" y="13964"/>
                </a:lnTo>
                <a:lnTo>
                  <a:pt x="47473" y="12665"/>
                </a:lnTo>
                <a:lnTo>
                  <a:pt x="46936" y="11475"/>
                </a:lnTo>
                <a:lnTo>
                  <a:pt x="46291" y="10284"/>
                </a:lnTo>
                <a:lnTo>
                  <a:pt x="45647" y="9093"/>
                </a:lnTo>
                <a:lnTo>
                  <a:pt x="44895" y="8010"/>
                </a:lnTo>
                <a:lnTo>
                  <a:pt x="44036" y="7036"/>
                </a:lnTo>
                <a:lnTo>
                  <a:pt x="43069" y="6062"/>
                </a:lnTo>
                <a:lnTo>
                  <a:pt x="42103" y="5196"/>
                </a:lnTo>
                <a:lnTo>
                  <a:pt x="41029" y="4330"/>
                </a:lnTo>
                <a:lnTo>
                  <a:pt x="39847" y="3572"/>
                </a:lnTo>
                <a:lnTo>
                  <a:pt x="38558" y="2922"/>
                </a:lnTo>
                <a:lnTo>
                  <a:pt x="37269" y="2273"/>
                </a:lnTo>
                <a:lnTo>
                  <a:pt x="35873" y="1732"/>
                </a:lnTo>
                <a:lnTo>
                  <a:pt x="34477" y="1299"/>
                </a:lnTo>
                <a:lnTo>
                  <a:pt x="32973" y="866"/>
                </a:lnTo>
                <a:lnTo>
                  <a:pt x="31469" y="541"/>
                </a:lnTo>
                <a:lnTo>
                  <a:pt x="29858" y="324"/>
                </a:lnTo>
                <a:lnTo>
                  <a:pt x="28247" y="108"/>
                </a:lnTo>
                <a:lnTo>
                  <a:pt x="26529" y="0"/>
                </a:lnTo>
                <a:lnTo>
                  <a:pt x="23199" y="0"/>
                </a:lnTo>
                <a:lnTo>
                  <a:pt x="21695" y="108"/>
                </a:lnTo>
                <a:lnTo>
                  <a:pt x="20084" y="324"/>
                </a:lnTo>
                <a:lnTo>
                  <a:pt x="18688" y="541"/>
                </a:lnTo>
                <a:lnTo>
                  <a:pt x="17184" y="866"/>
                </a:lnTo>
                <a:lnTo>
                  <a:pt x="15788" y="1299"/>
                </a:lnTo>
                <a:lnTo>
                  <a:pt x="14392" y="1732"/>
                </a:lnTo>
                <a:lnTo>
                  <a:pt x="13103" y="2273"/>
                </a:lnTo>
                <a:lnTo>
                  <a:pt x="11814" y="2814"/>
                </a:lnTo>
                <a:lnTo>
                  <a:pt x="10633" y="3464"/>
                </a:lnTo>
                <a:lnTo>
                  <a:pt x="9559" y="4221"/>
                </a:lnTo>
                <a:lnTo>
                  <a:pt x="8485" y="4979"/>
                </a:lnTo>
                <a:lnTo>
                  <a:pt x="7518" y="5845"/>
                </a:lnTo>
                <a:lnTo>
                  <a:pt x="6551" y="6711"/>
                </a:lnTo>
                <a:lnTo>
                  <a:pt x="5799" y="7686"/>
                </a:lnTo>
                <a:lnTo>
                  <a:pt x="5048" y="8768"/>
                </a:lnTo>
                <a:lnTo>
                  <a:pt x="4403" y="9851"/>
                </a:lnTo>
                <a:lnTo>
                  <a:pt x="3866" y="10933"/>
                </a:lnTo>
                <a:lnTo>
                  <a:pt x="3436" y="12016"/>
                </a:lnTo>
                <a:lnTo>
                  <a:pt x="3114" y="13098"/>
                </a:lnTo>
                <a:lnTo>
                  <a:pt x="2792" y="14289"/>
                </a:lnTo>
                <a:lnTo>
                  <a:pt x="2577" y="15480"/>
                </a:lnTo>
                <a:lnTo>
                  <a:pt x="2362" y="16671"/>
                </a:lnTo>
                <a:lnTo>
                  <a:pt x="2362" y="18944"/>
                </a:lnTo>
                <a:lnTo>
                  <a:pt x="2470" y="20027"/>
                </a:lnTo>
                <a:lnTo>
                  <a:pt x="2685" y="21109"/>
                </a:lnTo>
                <a:lnTo>
                  <a:pt x="2899" y="22083"/>
                </a:lnTo>
                <a:lnTo>
                  <a:pt x="3222" y="23166"/>
                </a:lnTo>
                <a:lnTo>
                  <a:pt x="3651" y="24140"/>
                </a:lnTo>
                <a:lnTo>
                  <a:pt x="4081" y="25115"/>
                </a:lnTo>
                <a:lnTo>
                  <a:pt x="4618" y="25981"/>
                </a:lnTo>
                <a:lnTo>
                  <a:pt x="5155" y="26847"/>
                </a:lnTo>
                <a:lnTo>
                  <a:pt x="5799" y="27713"/>
                </a:lnTo>
                <a:lnTo>
                  <a:pt x="6551" y="28471"/>
                </a:lnTo>
                <a:lnTo>
                  <a:pt x="7411" y="29228"/>
                </a:lnTo>
                <a:lnTo>
                  <a:pt x="8270" y="29986"/>
                </a:lnTo>
                <a:lnTo>
                  <a:pt x="9236" y="30744"/>
                </a:lnTo>
                <a:lnTo>
                  <a:pt x="10310" y="31393"/>
                </a:lnTo>
                <a:lnTo>
                  <a:pt x="11385" y="31935"/>
                </a:lnTo>
                <a:lnTo>
                  <a:pt x="12351" y="32476"/>
                </a:lnTo>
                <a:lnTo>
                  <a:pt x="13533" y="32909"/>
                </a:lnTo>
                <a:lnTo>
                  <a:pt x="14822" y="33450"/>
                </a:lnTo>
                <a:lnTo>
                  <a:pt x="16325" y="33992"/>
                </a:lnTo>
                <a:lnTo>
                  <a:pt x="17936" y="34425"/>
                </a:lnTo>
                <a:lnTo>
                  <a:pt x="19655" y="34966"/>
                </a:lnTo>
                <a:lnTo>
                  <a:pt x="21588" y="35507"/>
                </a:lnTo>
                <a:lnTo>
                  <a:pt x="23736" y="36048"/>
                </a:lnTo>
                <a:lnTo>
                  <a:pt x="25777" y="36481"/>
                </a:lnTo>
                <a:lnTo>
                  <a:pt x="27710" y="37023"/>
                </a:lnTo>
                <a:lnTo>
                  <a:pt x="29429" y="37456"/>
                </a:lnTo>
                <a:lnTo>
                  <a:pt x="30932" y="37889"/>
                </a:lnTo>
                <a:lnTo>
                  <a:pt x="32221" y="38213"/>
                </a:lnTo>
                <a:lnTo>
                  <a:pt x="33295" y="38646"/>
                </a:lnTo>
                <a:lnTo>
                  <a:pt x="34262" y="38971"/>
                </a:lnTo>
                <a:lnTo>
                  <a:pt x="35014" y="39188"/>
                </a:lnTo>
                <a:lnTo>
                  <a:pt x="35980" y="39621"/>
                </a:lnTo>
                <a:lnTo>
                  <a:pt x="36947" y="39946"/>
                </a:lnTo>
                <a:lnTo>
                  <a:pt x="37699" y="40379"/>
                </a:lnTo>
                <a:lnTo>
                  <a:pt x="38558" y="40920"/>
                </a:lnTo>
                <a:lnTo>
                  <a:pt x="39203" y="41353"/>
                </a:lnTo>
                <a:lnTo>
                  <a:pt x="39847" y="41894"/>
                </a:lnTo>
                <a:lnTo>
                  <a:pt x="40492" y="42435"/>
                </a:lnTo>
                <a:lnTo>
                  <a:pt x="40921" y="42977"/>
                </a:lnTo>
                <a:lnTo>
                  <a:pt x="41351" y="43518"/>
                </a:lnTo>
                <a:lnTo>
                  <a:pt x="41673" y="44167"/>
                </a:lnTo>
                <a:lnTo>
                  <a:pt x="41888" y="44817"/>
                </a:lnTo>
                <a:lnTo>
                  <a:pt x="42210" y="45467"/>
                </a:lnTo>
                <a:lnTo>
                  <a:pt x="42425" y="46116"/>
                </a:lnTo>
                <a:lnTo>
                  <a:pt x="42532" y="46874"/>
                </a:lnTo>
                <a:lnTo>
                  <a:pt x="42640" y="47523"/>
                </a:lnTo>
                <a:lnTo>
                  <a:pt x="42640" y="49039"/>
                </a:lnTo>
                <a:lnTo>
                  <a:pt x="42532" y="49688"/>
                </a:lnTo>
                <a:lnTo>
                  <a:pt x="42425" y="50446"/>
                </a:lnTo>
                <a:lnTo>
                  <a:pt x="42210" y="51204"/>
                </a:lnTo>
                <a:lnTo>
                  <a:pt x="41888" y="51854"/>
                </a:lnTo>
                <a:lnTo>
                  <a:pt x="41566" y="52611"/>
                </a:lnTo>
                <a:lnTo>
                  <a:pt x="41243" y="53261"/>
                </a:lnTo>
                <a:lnTo>
                  <a:pt x="40814" y="53910"/>
                </a:lnTo>
                <a:lnTo>
                  <a:pt x="40384" y="54560"/>
                </a:lnTo>
                <a:lnTo>
                  <a:pt x="39740" y="55101"/>
                </a:lnTo>
                <a:lnTo>
                  <a:pt x="39203" y="55642"/>
                </a:lnTo>
                <a:lnTo>
                  <a:pt x="38558" y="56184"/>
                </a:lnTo>
                <a:lnTo>
                  <a:pt x="37806" y="56617"/>
                </a:lnTo>
                <a:lnTo>
                  <a:pt x="36947" y="57050"/>
                </a:lnTo>
                <a:lnTo>
                  <a:pt x="36088" y="57483"/>
                </a:lnTo>
                <a:lnTo>
                  <a:pt x="35229" y="57808"/>
                </a:lnTo>
                <a:lnTo>
                  <a:pt x="34369" y="58132"/>
                </a:lnTo>
                <a:lnTo>
                  <a:pt x="33403" y="58349"/>
                </a:lnTo>
                <a:lnTo>
                  <a:pt x="32329" y="58674"/>
                </a:lnTo>
                <a:lnTo>
                  <a:pt x="31362" y="58782"/>
                </a:lnTo>
                <a:lnTo>
                  <a:pt x="30181" y="58998"/>
                </a:lnTo>
                <a:lnTo>
                  <a:pt x="29106" y="59107"/>
                </a:lnTo>
                <a:lnTo>
                  <a:pt x="27925" y="59215"/>
                </a:lnTo>
                <a:lnTo>
                  <a:pt x="25347" y="59215"/>
                </a:lnTo>
                <a:lnTo>
                  <a:pt x="24058" y="59107"/>
                </a:lnTo>
                <a:lnTo>
                  <a:pt x="22770" y="58890"/>
                </a:lnTo>
                <a:lnTo>
                  <a:pt x="21481" y="58674"/>
                </a:lnTo>
                <a:lnTo>
                  <a:pt x="20299" y="58457"/>
                </a:lnTo>
                <a:lnTo>
                  <a:pt x="19118" y="58132"/>
                </a:lnTo>
                <a:lnTo>
                  <a:pt x="17936" y="57699"/>
                </a:lnTo>
                <a:lnTo>
                  <a:pt x="16862" y="57266"/>
                </a:lnTo>
                <a:lnTo>
                  <a:pt x="15788" y="56833"/>
                </a:lnTo>
                <a:lnTo>
                  <a:pt x="14929" y="56292"/>
                </a:lnTo>
                <a:lnTo>
                  <a:pt x="13962" y="55751"/>
                </a:lnTo>
                <a:lnTo>
                  <a:pt x="13103" y="55101"/>
                </a:lnTo>
                <a:lnTo>
                  <a:pt x="12351" y="54452"/>
                </a:lnTo>
                <a:lnTo>
                  <a:pt x="11707" y="53802"/>
                </a:lnTo>
                <a:lnTo>
                  <a:pt x="11062" y="53044"/>
                </a:lnTo>
                <a:lnTo>
                  <a:pt x="10525" y="52287"/>
                </a:lnTo>
                <a:lnTo>
                  <a:pt x="10096" y="51529"/>
                </a:lnTo>
                <a:lnTo>
                  <a:pt x="9666" y="50663"/>
                </a:lnTo>
                <a:lnTo>
                  <a:pt x="9236" y="49688"/>
                </a:lnTo>
                <a:lnTo>
                  <a:pt x="8914" y="48714"/>
                </a:lnTo>
                <a:lnTo>
                  <a:pt x="8592" y="47740"/>
                </a:lnTo>
                <a:lnTo>
                  <a:pt x="8270" y="46657"/>
                </a:lnTo>
                <a:lnTo>
                  <a:pt x="8055" y="45467"/>
                </a:lnTo>
                <a:lnTo>
                  <a:pt x="7948" y="44276"/>
                </a:lnTo>
                <a:lnTo>
                  <a:pt x="0" y="45034"/>
                </a:lnTo>
                <a:lnTo>
                  <a:pt x="107" y="46657"/>
                </a:lnTo>
                <a:lnTo>
                  <a:pt x="214" y="48173"/>
                </a:lnTo>
                <a:lnTo>
                  <a:pt x="537" y="49688"/>
                </a:lnTo>
                <a:lnTo>
                  <a:pt x="966" y="51204"/>
                </a:lnTo>
                <a:lnTo>
                  <a:pt x="1396" y="52611"/>
                </a:lnTo>
                <a:lnTo>
                  <a:pt x="2040" y="54019"/>
                </a:lnTo>
                <a:lnTo>
                  <a:pt x="2685" y="55318"/>
                </a:lnTo>
                <a:lnTo>
                  <a:pt x="3436" y="56617"/>
                </a:lnTo>
                <a:lnTo>
                  <a:pt x="4296" y="57808"/>
                </a:lnTo>
                <a:lnTo>
                  <a:pt x="5262" y="58998"/>
                </a:lnTo>
                <a:lnTo>
                  <a:pt x="6336" y="60081"/>
                </a:lnTo>
                <a:lnTo>
                  <a:pt x="7411" y="61055"/>
                </a:lnTo>
                <a:lnTo>
                  <a:pt x="8592" y="62030"/>
                </a:lnTo>
                <a:lnTo>
                  <a:pt x="9881" y="62896"/>
                </a:lnTo>
                <a:lnTo>
                  <a:pt x="11277" y="63653"/>
                </a:lnTo>
                <a:lnTo>
                  <a:pt x="12673" y="64303"/>
                </a:lnTo>
                <a:lnTo>
                  <a:pt x="14177" y="64844"/>
                </a:lnTo>
                <a:lnTo>
                  <a:pt x="15788" y="65385"/>
                </a:lnTo>
                <a:lnTo>
                  <a:pt x="17399" y="65818"/>
                </a:lnTo>
                <a:lnTo>
                  <a:pt x="19225" y="66143"/>
                </a:lnTo>
                <a:lnTo>
                  <a:pt x="21051" y="66468"/>
                </a:lnTo>
                <a:lnTo>
                  <a:pt x="22984" y="66684"/>
                </a:lnTo>
                <a:lnTo>
                  <a:pt x="25025" y="66793"/>
                </a:lnTo>
                <a:lnTo>
                  <a:pt x="28892" y="66793"/>
                </a:lnTo>
                <a:lnTo>
                  <a:pt x="30503" y="66684"/>
                </a:lnTo>
                <a:lnTo>
                  <a:pt x="32114" y="66468"/>
                </a:lnTo>
                <a:lnTo>
                  <a:pt x="33618" y="66143"/>
                </a:lnTo>
                <a:lnTo>
                  <a:pt x="35121" y="65818"/>
                </a:lnTo>
                <a:lnTo>
                  <a:pt x="36625" y="65385"/>
                </a:lnTo>
                <a:lnTo>
                  <a:pt x="38021" y="64844"/>
                </a:lnTo>
                <a:lnTo>
                  <a:pt x="39417" y="64303"/>
                </a:lnTo>
                <a:lnTo>
                  <a:pt x="40706" y="63653"/>
                </a:lnTo>
                <a:lnTo>
                  <a:pt x="41995" y="62896"/>
                </a:lnTo>
                <a:lnTo>
                  <a:pt x="43177" y="62138"/>
                </a:lnTo>
                <a:lnTo>
                  <a:pt x="44358" y="61272"/>
                </a:lnTo>
                <a:lnTo>
                  <a:pt x="45325" y="60406"/>
                </a:lnTo>
                <a:lnTo>
                  <a:pt x="46291" y="59431"/>
                </a:lnTo>
                <a:lnTo>
                  <a:pt x="47151" y="58349"/>
                </a:lnTo>
                <a:lnTo>
                  <a:pt x="47903" y="57266"/>
                </a:lnTo>
                <a:lnTo>
                  <a:pt x="48547" y="56075"/>
                </a:lnTo>
                <a:lnTo>
                  <a:pt x="49191" y="54993"/>
                </a:lnTo>
                <a:lnTo>
                  <a:pt x="49621" y="53802"/>
                </a:lnTo>
                <a:lnTo>
                  <a:pt x="50051" y="52503"/>
                </a:lnTo>
                <a:lnTo>
                  <a:pt x="50373" y="51312"/>
                </a:lnTo>
                <a:lnTo>
                  <a:pt x="50588" y="50121"/>
                </a:lnTo>
                <a:lnTo>
                  <a:pt x="50802" y="48822"/>
                </a:lnTo>
                <a:lnTo>
                  <a:pt x="50802" y="46224"/>
                </a:lnTo>
                <a:lnTo>
                  <a:pt x="50588" y="45034"/>
                </a:lnTo>
                <a:lnTo>
                  <a:pt x="50373" y="43734"/>
                </a:lnTo>
                <a:lnTo>
                  <a:pt x="50158" y="42544"/>
                </a:lnTo>
                <a:lnTo>
                  <a:pt x="49728" y="41461"/>
                </a:lnTo>
                <a:lnTo>
                  <a:pt x="49299" y="40379"/>
                </a:lnTo>
                <a:lnTo>
                  <a:pt x="48762" y="39296"/>
                </a:lnTo>
                <a:lnTo>
                  <a:pt x="48117" y="38322"/>
                </a:lnTo>
                <a:lnTo>
                  <a:pt x="47365" y="37347"/>
                </a:lnTo>
                <a:lnTo>
                  <a:pt x="46614" y="36481"/>
                </a:lnTo>
                <a:lnTo>
                  <a:pt x="45754" y="35615"/>
                </a:lnTo>
                <a:lnTo>
                  <a:pt x="44680" y="34749"/>
                </a:lnTo>
                <a:lnTo>
                  <a:pt x="43606" y="33992"/>
                </a:lnTo>
                <a:lnTo>
                  <a:pt x="42425" y="33234"/>
                </a:lnTo>
                <a:lnTo>
                  <a:pt x="41136" y="32476"/>
                </a:lnTo>
                <a:lnTo>
                  <a:pt x="39847" y="31826"/>
                </a:lnTo>
                <a:lnTo>
                  <a:pt x="38773" y="31393"/>
                </a:lnTo>
                <a:lnTo>
                  <a:pt x="37484" y="30852"/>
                </a:lnTo>
                <a:lnTo>
                  <a:pt x="36088" y="30419"/>
                </a:lnTo>
                <a:lnTo>
                  <a:pt x="34369" y="29878"/>
                </a:lnTo>
                <a:lnTo>
                  <a:pt x="32543" y="29337"/>
                </a:lnTo>
                <a:lnTo>
                  <a:pt x="30395" y="28687"/>
                </a:lnTo>
                <a:lnTo>
                  <a:pt x="28140" y="28146"/>
                </a:lnTo>
                <a:lnTo>
                  <a:pt x="25669" y="27604"/>
                </a:lnTo>
                <a:lnTo>
                  <a:pt x="23199" y="27063"/>
                </a:lnTo>
                <a:lnTo>
                  <a:pt x="21051" y="26414"/>
                </a:lnTo>
                <a:lnTo>
                  <a:pt x="19010" y="25872"/>
                </a:lnTo>
                <a:lnTo>
                  <a:pt x="17292" y="25331"/>
                </a:lnTo>
                <a:lnTo>
                  <a:pt x="15896" y="24790"/>
                </a:lnTo>
                <a:lnTo>
                  <a:pt x="14607" y="24140"/>
                </a:lnTo>
                <a:lnTo>
                  <a:pt x="13640" y="23599"/>
                </a:lnTo>
                <a:lnTo>
                  <a:pt x="12996" y="23058"/>
                </a:lnTo>
                <a:lnTo>
                  <a:pt x="12459" y="22517"/>
                </a:lnTo>
                <a:lnTo>
                  <a:pt x="11922" y="21867"/>
                </a:lnTo>
                <a:lnTo>
                  <a:pt x="11492" y="21217"/>
                </a:lnTo>
                <a:lnTo>
                  <a:pt x="11170" y="20460"/>
                </a:lnTo>
                <a:lnTo>
                  <a:pt x="10847" y="19702"/>
                </a:lnTo>
                <a:close/>
              </a:path>
            </a:pathLst>
          </a:custGeom>
          <a:solidFill>
            <a:srgbClr val="000000"/>
          </a:solidFill>
        </p:spPr>
        <p:txBody>
          <a:bodyPr wrap="square" lIns="0" tIns="0" rIns="0" bIns="0" rtlCol="0">
            <a:noAutofit/>
          </a:bodyPr>
          <a:lstStyle/>
          <a:p>
            <a:endParaRPr/>
          </a:p>
        </p:txBody>
      </p:sp>
      <p:sp>
        <p:nvSpPr>
          <p:cNvPr id="1066" name="object 1066"/>
          <p:cNvSpPr/>
          <p:nvPr/>
        </p:nvSpPr>
        <p:spPr>
          <a:xfrm>
            <a:off x="3363048" y="1450504"/>
            <a:ext cx="59932" cy="64628"/>
          </a:xfrm>
          <a:custGeom>
            <a:avLst/>
            <a:gdLst/>
            <a:ahLst/>
            <a:cxnLst/>
            <a:rect l="l" t="t" r="r" b="b"/>
            <a:pathLst>
              <a:path w="59932" h="64628">
                <a:moveTo>
                  <a:pt x="24595" y="0"/>
                </a:moveTo>
                <a:lnTo>
                  <a:pt x="0" y="64628"/>
                </a:lnTo>
                <a:lnTo>
                  <a:pt x="9129" y="64628"/>
                </a:lnTo>
                <a:lnTo>
                  <a:pt x="16003" y="45034"/>
                </a:lnTo>
                <a:lnTo>
                  <a:pt x="18473" y="38105"/>
                </a:lnTo>
                <a:lnTo>
                  <a:pt x="25455" y="19161"/>
                </a:lnTo>
                <a:lnTo>
                  <a:pt x="24595" y="0"/>
                </a:lnTo>
                <a:close/>
              </a:path>
              <a:path w="59932" h="64628">
                <a:moveTo>
                  <a:pt x="28999" y="6711"/>
                </a:moveTo>
                <a:lnTo>
                  <a:pt x="29429" y="8119"/>
                </a:lnTo>
                <a:lnTo>
                  <a:pt x="29858" y="9526"/>
                </a:lnTo>
                <a:lnTo>
                  <a:pt x="30395" y="11150"/>
                </a:lnTo>
                <a:lnTo>
                  <a:pt x="30932" y="12774"/>
                </a:lnTo>
                <a:lnTo>
                  <a:pt x="31469" y="14506"/>
                </a:lnTo>
                <a:lnTo>
                  <a:pt x="32221" y="16346"/>
                </a:lnTo>
                <a:lnTo>
                  <a:pt x="32866" y="18295"/>
                </a:lnTo>
                <a:lnTo>
                  <a:pt x="33618" y="20243"/>
                </a:lnTo>
                <a:lnTo>
                  <a:pt x="40277" y="38105"/>
                </a:lnTo>
                <a:lnTo>
                  <a:pt x="18473" y="38105"/>
                </a:lnTo>
                <a:lnTo>
                  <a:pt x="16003" y="45034"/>
                </a:lnTo>
                <a:lnTo>
                  <a:pt x="42854" y="45034"/>
                </a:lnTo>
                <a:lnTo>
                  <a:pt x="50373" y="64628"/>
                </a:lnTo>
                <a:lnTo>
                  <a:pt x="59932" y="64628"/>
                </a:lnTo>
                <a:lnTo>
                  <a:pt x="33940" y="0"/>
                </a:lnTo>
                <a:lnTo>
                  <a:pt x="24595" y="0"/>
                </a:lnTo>
                <a:lnTo>
                  <a:pt x="25455" y="19161"/>
                </a:lnTo>
                <a:lnTo>
                  <a:pt x="25992" y="17645"/>
                </a:lnTo>
                <a:lnTo>
                  <a:pt x="26529" y="16129"/>
                </a:lnTo>
                <a:lnTo>
                  <a:pt x="26958" y="14614"/>
                </a:lnTo>
                <a:lnTo>
                  <a:pt x="27495" y="12990"/>
                </a:lnTo>
                <a:lnTo>
                  <a:pt x="27925" y="11475"/>
                </a:lnTo>
                <a:lnTo>
                  <a:pt x="28247" y="9851"/>
                </a:lnTo>
                <a:lnTo>
                  <a:pt x="28677" y="8335"/>
                </a:lnTo>
                <a:lnTo>
                  <a:pt x="28999" y="6711"/>
                </a:lnTo>
                <a:close/>
              </a:path>
            </a:pathLst>
          </a:custGeom>
          <a:solidFill>
            <a:srgbClr val="000000"/>
          </a:solidFill>
        </p:spPr>
        <p:txBody>
          <a:bodyPr wrap="square" lIns="0" tIns="0" rIns="0" bIns="0" rtlCol="0">
            <a:noAutofit/>
          </a:bodyPr>
          <a:lstStyle/>
          <a:p>
            <a:endParaRPr/>
          </a:p>
        </p:txBody>
      </p:sp>
      <p:sp>
        <p:nvSpPr>
          <p:cNvPr id="1067" name="object 1067"/>
          <p:cNvSpPr/>
          <p:nvPr/>
        </p:nvSpPr>
        <p:spPr>
          <a:xfrm>
            <a:off x="3429532" y="1450504"/>
            <a:ext cx="39954" cy="64628"/>
          </a:xfrm>
          <a:custGeom>
            <a:avLst/>
            <a:gdLst/>
            <a:ahLst/>
            <a:cxnLst/>
            <a:rect l="l" t="t" r="r" b="b"/>
            <a:pathLst>
              <a:path w="39954" h="64628">
                <a:moveTo>
                  <a:pt x="0" y="64628"/>
                </a:moveTo>
                <a:lnTo>
                  <a:pt x="39954" y="64628"/>
                </a:lnTo>
                <a:lnTo>
                  <a:pt x="39954" y="57050"/>
                </a:lnTo>
                <a:lnTo>
                  <a:pt x="8485" y="57050"/>
                </a:lnTo>
                <a:lnTo>
                  <a:pt x="8485" y="0"/>
                </a:lnTo>
                <a:lnTo>
                  <a:pt x="0" y="0"/>
                </a:lnTo>
                <a:lnTo>
                  <a:pt x="0" y="64628"/>
                </a:lnTo>
                <a:close/>
              </a:path>
            </a:pathLst>
          </a:custGeom>
          <a:solidFill>
            <a:srgbClr val="000000"/>
          </a:solidFill>
        </p:spPr>
        <p:txBody>
          <a:bodyPr wrap="square" lIns="0" tIns="0" rIns="0" bIns="0" rtlCol="0">
            <a:noAutofit/>
          </a:bodyPr>
          <a:lstStyle/>
          <a:p>
            <a:endParaRPr/>
          </a:p>
        </p:txBody>
      </p:sp>
      <p:sp>
        <p:nvSpPr>
          <p:cNvPr id="1068" name="object 1068"/>
          <p:cNvSpPr/>
          <p:nvPr/>
        </p:nvSpPr>
        <p:spPr>
          <a:xfrm>
            <a:off x="3479905" y="1450504"/>
            <a:ext cx="47688" cy="64628"/>
          </a:xfrm>
          <a:custGeom>
            <a:avLst/>
            <a:gdLst/>
            <a:ahLst/>
            <a:cxnLst/>
            <a:rect l="l" t="t" r="r" b="b"/>
            <a:pathLst>
              <a:path w="47688" h="64628">
                <a:moveTo>
                  <a:pt x="8485" y="57050"/>
                </a:moveTo>
                <a:lnTo>
                  <a:pt x="8485" y="34966"/>
                </a:lnTo>
                <a:lnTo>
                  <a:pt x="43821" y="34966"/>
                </a:lnTo>
                <a:lnTo>
                  <a:pt x="43821" y="27388"/>
                </a:lnTo>
                <a:lnTo>
                  <a:pt x="8485" y="27388"/>
                </a:lnTo>
                <a:lnTo>
                  <a:pt x="8485" y="7577"/>
                </a:lnTo>
                <a:lnTo>
                  <a:pt x="46184" y="7577"/>
                </a:lnTo>
                <a:lnTo>
                  <a:pt x="46184" y="0"/>
                </a:lnTo>
                <a:lnTo>
                  <a:pt x="0" y="0"/>
                </a:lnTo>
                <a:lnTo>
                  <a:pt x="0" y="64628"/>
                </a:lnTo>
                <a:lnTo>
                  <a:pt x="47688" y="64628"/>
                </a:lnTo>
                <a:lnTo>
                  <a:pt x="47688" y="57050"/>
                </a:lnTo>
                <a:lnTo>
                  <a:pt x="8485" y="57050"/>
                </a:lnTo>
                <a:close/>
              </a:path>
            </a:pathLst>
          </a:custGeom>
          <a:solidFill>
            <a:srgbClr val="000000"/>
          </a:solidFill>
        </p:spPr>
        <p:txBody>
          <a:bodyPr wrap="square" lIns="0" tIns="0" rIns="0" bIns="0" rtlCol="0">
            <a:noAutofit/>
          </a:bodyPr>
          <a:lstStyle/>
          <a:p>
            <a:endParaRPr/>
          </a:p>
        </p:txBody>
      </p:sp>
      <p:sp>
        <p:nvSpPr>
          <p:cNvPr id="1069" name="object 1069"/>
          <p:cNvSpPr/>
          <p:nvPr/>
        </p:nvSpPr>
        <p:spPr>
          <a:xfrm>
            <a:off x="3536508" y="1449422"/>
            <a:ext cx="50802" cy="66793"/>
          </a:xfrm>
          <a:custGeom>
            <a:avLst/>
            <a:gdLst/>
            <a:ahLst/>
            <a:cxnLst/>
            <a:rect l="l" t="t" r="r" b="b"/>
            <a:pathLst>
              <a:path w="50802" h="66793">
                <a:moveTo>
                  <a:pt x="10847" y="19702"/>
                </a:moveTo>
                <a:lnTo>
                  <a:pt x="10633" y="18944"/>
                </a:lnTo>
                <a:lnTo>
                  <a:pt x="10525" y="18186"/>
                </a:lnTo>
                <a:lnTo>
                  <a:pt x="10525" y="17320"/>
                </a:lnTo>
                <a:lnTo>
                  <a:pt x="10633" y="16346"/>
                </a:lnTo>
                <a:lnTo>
                  <a:pt x="10740" y="15372"/>
                </a:lnTo>
                <a:lnTo>
                  <a:pt x="11385" y="13640"/>
                </a:lnTo>
                <a:lnTo>
                  <a:pt x="11922" y="12774"/>
                </a:lnTo>
                <a:lnTo>
                  <a:pt x="12566" y="11908"/>
                </a:lnTo>
                <a:lnTo>
                  <a:pt x="14070" y="10392"/>
                </a:lnTo>
                <a:lnTo>
                  <a:pt x="15036" y="9742"/>
                </a:lnTo>
                <a:lnTo>
                  <a:pt x="16003" y="9201"/>
                </a:lnTo>
                <a:lnTo>
                  <a:pt x="17184" y="8660"/>
                </a:lnTo>
                <a:lnTo>
                  <a:pt x="18581" y="8335"/>
                </a:lnTo>
                <a:lnTo>
                  <a:pt x="19977" y="8010"/>
                </a:lnTo>
                <a:lnTo>
                  <a:pt x="21588" y="7794"/>
                </a:lnTo>
                <a:lnTo>
                  <a:pt x="23307" y="7577"/>
                </a:lnTo>
                <a:lnTo>
                  <a:pt x="26851" y="7577"/>
                </a:lnTo>
                <a:lnTo>
                  <a:pt x="28569" y="7794"/>
                </a:lnTo>
                <a:lnTo>
                  <a:pt x="30073" y="8010"/>
                </a:lnTo>
                <a:lnTo>
                  <a:pt x="31577" y="8335"/>
                </a:lnTo>
                <a:lnTo>
                  <a:pt x="32866" y="8768"/>
                </a:lnTo>
                <a:lnTo>
                  <a:pt x="34155" y="9309"/>
                </a:lnTo>
                <a:lnTo>
                  <a:pt x="35229" y="9959"/>
                </a:lnTo>
                <a:lnTo>
                  <a:pt x="36195" y="10717"/>
                </a:lnTo>
                <a:lnTo>
                  <a:pt x="37055" y="11583"/>
                </a:lnTo>
                <a:lnTo>
                  <a:pt x="37914" y="12449"/>
                </a:lnTo>
                <a:lnTo>
                  <a:pt x="38558" y="13423"/>
                </a:lnTo>
                <a:lnTo>
                  <a:pt x="39203" y="14614"/>
                </a:lnTo>
                <a:lnTo>
                  <a:pt x="39740" y="15805"/>
                </a:lnTo>
                <a:lnTo>
                  <a:pt x="40169" y="17104"/>
                </a:lnTo>
                <a:lnTo>
                  <a:pt x="40492" y="18511"/>
                </a:lnTo>
                <a:lnTo>
                  <a:pt x="40706" y="19918"/>
                </a:lnTo>
                <a:lnTo>
                  <a:pt x="48869" y="19269"/>
                </a:lnTo>
                <a:lnTo>
                  <a:pt x="48762" y="17862"/>
                </a:lnTo>
                <a:lnTo>
                  <a:pt x="48547" y="16562"/>
                </a:lnTo>
                <a:lnTo>
                  <a:pt x="48225" y="15263"/>
                </a:lnTo>
                <a:lnTo>
                  <a:pt x="47903" y="13964"/>
                </a:lnTo>
                <a:lnTo>
                  <a:pt x="47473" y="12665"/>
                </a:lnTo>
                <a:lnTo>
                  <a:pt x="46936" y="11475"/>
                </a:lnTo>
                <a:lnTo>
                  <a:pt x="46291" y="10284"/>
                </a:lnTo>
                <a:lnTo>
                  <a:pt x="45647" y="9093"/>
                </a:lnTo>
                <a:lnTo>
                  <a:pt x="44895" y="8010"/>
                </a:lnTo>
                <a:lnTo>
                  <a:pt x="44036" y="7036"/>
                </a:lnTo>
                <a:lnTo>
                  <a:pt x="43069" y="6062"/>
                </a:lnTo>
                <a:lnTo>
                  <a:pt x="42103" y="5196"/>
                </a:lnTo>
                <a:lnTo>
                  <a:pt x="41029" y="4330"/>
                </a:lnTo>
                <a:lnTo>
                  <a:pt x="39847" y="3572"/>
                </a:lnTo>
                <a:lnTo>
                  <a:pt x="38558" y="2922"/>
                </a:lnTo>
                <a:lnTo>
                  <a:pt x="37269" y="2273"/>
                </a:lnTo>
                <a:lnTo>
                  <a:pt x="35873" y="1732"/>
                </a:lnTo>
                <a:lnTo>
                  <a:pt x="34477" y="1299"/>
                </a:lnTo>
                <a:lnTo>
                  <a:pt x="32973" y="866"/>
                </a:lnTo>
                <a:lnTo>
                  <a:pt x="31469" y="541"/>
                </a:lnTo>
                <a:lnTo>
                  <a:pt x="29858" y="324"/>
                </a:lnTo>
                <a:lnTo>
                  <a:pt x="28247" y="108"/>
                </a:lnTo>
                <a:lnTo>
                  <a:pt x="26529" y="0"/>
                </a:lnTo>
                <a:lnTo>
                  <a:pt x="23199" y="0"/>
                </a:lnTo>
                <a:lnTo>
                  <a:pt x="21695" y="108"/>
                </a:lnTo>
                <a:lnTo>
                  <a:pt x="20084" y="324"/>
                </a:lnTo>
                <a:lnTo>
                  <a:pt x="18688" y="541"/>
                </a:lnTo>
                <a:lnTo>
                  <a:pt x="17184" y="866"/>
                </a:lnTo>
                <a:lnTo>
                  <a:pt x="15788" y="1299"/>
                </a:lnTo>
                <a:lnTo>
                  <a:pt x="14392" y="1732"/>
                </a:lnTo>
                <a:lnTo>
                  <a:pt x="13103" y="2273"/>
                </a:lnTo>
                <a:lnTo>
                  <a:pt x="11814" y="2814"/>
                </a:lnTo>
                <a:lnTo>
                  <a:pt x="10633" y="3464"/>
                </a:lnTo>
                <a:lnTo>
                  <a:pt x="9559" y="4221"/>
                </a:lnTo>
                <a:lnTo>
                  <a:pt x="8485" y="4979"/>
                </a:lnTo>
                <a:lnTo>
                  <a:pt x="7518" y="5845"/>
                </a:lnTo>
                <a:lnTo>
                  <a:pt x="6551" y="6711"/>
                </a:lnTo>
                <a:lnTo>
                  <a:pt x="5799" y="7686"/>
                </a:lnTo>
                <a:lnTo>
                  <a:pt x="5048" y="8768"/>
                </a:lnTo>
                <a:lnTo>
                  <a:pt x="4403" y="9851"/>
                </a:lnTo>
                <a:lnTo>
                  <a:pt x="3866" y="10933"/>
                </a:lnTo>
                <a:lnTo>
                  <a:pt x="3436" y="12016"/>
                </a:lnTo>
                <a:lnTo>
                  <a:pt x="3114" y="13098"/>
                </a:lnTo>
                <a:lnTo>
                  <a:pt x="2792" y="14289"/>
                </a:lnTo>
                <a:lnTo>
                  <a:pt x="2577" y="15480"/>
                </a:lnTo>
                <a:lnTo>
                  <a:pt x="2362" y="16671"/>
                </a:lnTo>
                <a:lnTo>
                  <a:pt x="2362" y="18944"/>
                </a:lnTo>
                <a:lnTo>
                  <a:pt x="2470" y="20027"/>
                </a:lnTo>
                <a:lnTo>
                  <a:pt x="2685" y="21109"/>
                </a:lnTo>
                <a:lnTo>
                  <a:pt x="2899" y="22083"/>
                </a:lnTo>
                <a:lnTo>
                  <a:pt x="3222" y="23166"/>
                </a:lnTo>
                <a:lnTo>
                  <a:pt x="3651" y="24140"/>
                </a:lnTo>
                <a:lnTo>
                  <a:pt x="4081" y="25115"/>
                </a:lnTo>
                <a:lnTo>
                  <a:pt x="4618" y="25981"/>
                </a:lnTo>
                <a:lnTo>
                  <a:pt x="5155" y="26847"/>
                </a:lnTo>
                <a:lnTo>
                  <a:pt x="5799" y="27713"/>
                </a:lnTo>
                <a:lnTo>
                  <a:pt x="6551" y="28471"/>
                </a:lnTo>
                <a:lnTo>
                  <a:pt x="7411" y="29228"/>
                </a:lnTo>
                <a:lnTo>
                  <a:pt x="8270" y="29986"/>
                </a:lnTo>
                <a:lnTo>
                  <a:pt x="9236" y="30744"/>
                </a:lnTo>
                <a:lnTo>
                  <a:pt x="10310" y="31393"/>
                </a:lnTo>
                <a:lnTo>
                  <a:pt x="11385" y="31935"/>
                </a:lnTo>
                <a:lnTo>
                  <a:pt x="12351" y="32476"/>
                </a:lnTo>
                <a:lnTo>
                  <a:pt x="13533" y="32909"/>
                </a:lnTo>
                <a:lnTo>
                  <a:pt x="14822" y="33450"/>
                </a:lnTo>
                <a:lnTo>
                  <a:pt x="16325" y="33992"/>
                </a:lnTo>
                <a:lnTo>
                  <a:pt x="17936" y="34425"/>
                </a:lnTo>
                <a:lnTo>
                  <a:pt x="19655" y="34966"/>
                </a:lnTo>
                <a:lnTo>
                  <a:pt x="21588" y="35507"/>
                </a:lnTo>
                <a:lnTo>
                  <a:pt x="23736" y="36048"/>
                </a:lnTo>
                <a:lnTo>
                  <a:pt x="25777" y="36481"/>
                </a:lnTo>
                <a:lnTo>
                  <a:pt x="27710" y="37023"/>
                </a:lnTo>
                <a:lnTo>
                  <a:pt x="29429" y="37456"/>
                </a:lnTo>
                <a:lnTo>
                  <a:pt x="30932" y="37889"/>
                </a:lnTo>
                <a:lnTo>
                  <a:pt x="32221" y="38213"/>
                </a:lnTo>
                <a:lnTo>
                  <a:pt x="33295" y="38646"/>
                </a:lnTo>
                <a:lnTo>
                  <a:pt x="34262" y="38971"/>
                </a:lnTo>
                <a:lnTo>
                  <a:pt x="35014" y="39188"/>
                </a:lnTo>
                <a:lnTo>
                  <a:pt x="35980" y="39621"/>
                </a:lnTo>
                <a:lnTo>
                  <a:pt x="36947" y="39946"/>
                </a:lnTo>
                <a:lnTo>
                  <a:pt x="37699" y="40379"/>
                </a:lnTo>
                <a:lnTo>
                  <a:pt x="38558" y="40920"/>
                </a:lnTo>
                <a:lnTo>
                  <a:pt x="39203" y="41353"/>
                </a:lnTo>
                <a:lnTo>
                  <a:pt x="39847" y="41894"/>
                </a:lnTo>
                <a:lnTo>
                  <a:pt x="40492" y="42435"/>
                </a:lnTo>
                <a:lnTo>
                  <a:pt x="40921" y="42977"/>
                </a:lnTo>
                <a:lnTo>
                  <a:pt x="41351" y="43518"/>
                </a:lnTo>
                <a:lnTo>
                  <a:pt x="41673" y="44167"/>
                </a:lnTo>
                <a:lnTo>
                  <a:pt x="41888" y="44817"/>
                </a:lnTo>
                <a:lnTo>
                  <a:pt x="42210" y="45467"/>
                </a:lnTo>
                <a:lnTo>
                  <a:pt x="42425" y="46116"/>
                </a:lnTo>
                <a:lnTo>
                  <a:pt x="42532" y="46874"/>
                </a:lnTo>
                <a:lnTo>
                  <a:pt x="42640" y="47523"/>
                </a:lnTo>
                <a:lnTo>
                  <a:pt x="42640" y="49039"/>
                </a:lnTo>
                <a:lnTo>
                  <a:pt x="42532" y="49688"/>
                </a:lnTo>
                <a:lnTo>
                  <a:pt x="42425" y="50446"/>
                </a:lnTo>
                <a:lnTo>
                  <a:pt x="42210" y="51204"/>
                </a:lnTo>
                <a:lnTo>
                  <a:pt x="41888" y="51854"/>
                </a:lnTo>
                <a:lnTo>
                  <a:pt x="41566" y="52611"/>
                </a:lnTo>
                <a:lnTo>
                  <a:pt x="41243" y="53261"/>
                </a:lnTo>
                <a:lnTo>
                  <a:pt x="40814" y="53910"/>
                </a:lnTo>
                <a:lnTo>
                  <a:pt x="40384" y="54560"/>
                </a:lnTo>
                <a:lnTo>
                  <a:pt x="39740" y="55101"/>
                </a:lnTo>
                <a:lnTo>
                  <a:pt x="39203" y="55642"/>
                </a:lnTo>
                <a:lnTo>
                  <a:pt x="38558" y="56184"/>
                </a:lnTo>
                <a:lnTo>
                  <a:pt x="37806" y="56617"/>
                </a:lnTo>
                <a:lnTo>
                  <a:pt x="36947" y="57050"/>
                </a:lnTo>
                <a:lnTo>
                  <a:pt x="36088" y="57483"/>
                </a:lnTo>
                <a:lnTo>
                  <a:pt x="35229" y="57808"/>
                </a:lnTo>
                <a:lnTo>
                  <a:pt x="34369" y="58132"/>
                </a:lnTo>
                <a:lnTo>
                  <a:pt x="33403" y="58349"/>
                </a:lnTo>
                <a:lnTo>
                  <a:pt x="32329" y="58674"/>
                </a:lnTo>
                <a:lnTo>
                  <a:pt x="31362" y="58782"/>
                </a:lnTo>
                <a:lnTo>
                  <a:pt x="30181" y="58998"/>
                </a:lnTo>
                <a:lnTo>
                  <a:pt x="29106" y="59107"/>
                </a:lnTo>
                <a:lnTo>
                  <a:pt x="27925" y="59215"/>
                </a:lnTo>
                <a:lnTo>
                  <a:pt x="25347" y="59215"/>
                </a:lnTo>
                <a:lnTo>
                  <a:pt x="24058" y="59107"/>
                </a:lnTo>
                <a:lnTo>
                  <a:pt x="22770" y="58890"/>
                </a:lnTo>
                <a:lnTo>
                  <a:pt x="21481" y="58674"/>
                </a:lnTo>
                <a:lnTo>
                  <a:pt x="20299" y="58457"/>
                </a:lnTo>
                <a:lnTo>
                  <a:pt x="19118" y="58132"/>
                </a:lnTo>
                <a:lnTo>
                  <a:pt x="17936" y="57699"/>
                </a:lnTo>
                <a:lnTo>
                  <a:pt x="16862" y="57266"/>
                </a:lnTo>
                <a:lnTo>
                  <a:pt x="15788" y="56833"/>
                </a:lnTo>
                <a:lnTo>
                  <a:pt x="14929" y="56292"/>
                </a:lnTo>
                <a:lnTo>
                  <a:pt x="13962" y="55751"/>
                </a:lnTo>
                <a:lnTo>
                  <a:pt x="13103" y="55101"/>
                </a:lnTo>
                <a:lnTo>
                  <a:pt x="12351" y="54452"/>
                </a:lnTo>
                <a:lnTo>
                  <a:pt x="11707" y="53802"/>
                </a:lnTo>
                <a:lnTo>
                  <a:pt x="11062" y="53044"/>
                </a:lnTo>
                <a:lnTo>
                  <a:pt x="10525" y="52287"/>
                </a:lnTo>
                <a:lnTo>
                  <a:pt x="10096" y="51529"/>
                </a:lnTo>
                <a:lnTo>
                  <a:pt x="9666" y="50663"/>
                </a:lnTo>
                <a:lnTo>
                  <a:pt x="9236" y="49688"/>
                </a:lnTo>
                <a:lnTo>
                  <a:pt x="8914" y="48714"/>
                </a:lnTo>
                <a:lnTo>
                  <a:pt x="8592" y="47740"/>
                </a:lnTo>
                <a:lnTo>
                  <a:pt x="8270" y="46657"/>
                </a:lnTo>
                <a:lnTo>
                  <a:pt x="8055" y="45467"/>
                </a:lnTo>
                <a:lnTo>
                  <a:pt x="7948" y="44276"/>
                </a:lnTo>
                <a:lnTo>
                  <a:pt x="0" y="45034"/>
                </a:lnTo>
                <a:lnTo>
                  <a:pt x="107" y="46657"/>
                </a:lnTo>
                <a:lnTo>
                  <a:pt x="214" y="48173"/>
                </a:lnTo>
                <a:lnTo>
                  <a:pt x="537" y="49688"/>
                </a:lnTo>
                <a:lnTo>
                  <a:pt x="966" y="51204"/>
                </a:lnTo>
                <a:lnTo>
                  <a:pt x="1396" y="52611"/>
                </a:lnTo>
                <a:lnTo>
                  <a:pt x="2040" y="54019"/>
                </a:lnTo>
                <a:lnTo>
                  <a:pt x="2685" y="55318"/>
                </a:lnTo>
                <a:lnTo>
                  <a:pt x="3436" y="56617"/>
                </a:lnTo>
                <a:lnTo>
                  <a:pt x="4296" y="57808"/>
                </a:lnTo>
                <a:lnTo>
                  <a:pt x="5262" y="58998"/>
                </a:lnTo>
                <a:lnTo>
                  <a:pt x="6336" y="60081"/>
                </a:lnTo>
                <a:lnTo>
                  <a:pt x="7411" y="61055"/>
                </a:lnTo>
                <a:lnTo>
                  <a:pt x="8592" y="62030"/>
                </a:lnTo>
                <a:lnTo>
                  <a:pt x="9881" y="62896"/>
                </a:lnTo>
                <a:lnTo>
                  <a:pt x="11277" y="63653"/>
                </a:lnTo>
                <a:lnTo>
                  <a:pt x="12673" y="64303"/>
                </a:lnTo>
                <a:lnTo>
                  <a:pt x="14177" y="64844"/>
                </a:lnTo>
                <a:lnTo>
                  <a:pt x="15788" y="65385"/>
                </a:lnTo>
                <a:lnTo>
                  <a:pt x="17399" y="65818"/>
                </a:lnTo>
                <a:lnTo>
                  <a:pt x="19225" y="66143"/>
                </a:lnTo>
                <a:lnTo>
                  <a:pt x="21051" y="66468"/>
                </a:lnTo>
                <a:lnTo>
                  <a:pt x="22984" y="66684"/>
                </a:lnTo>
                <a:lnTo>
                  <a:pt x="25025" y="66793"/>
                </a:lnTo>
                <a:lnTo>
                  <a:pt x="28892" y="66793"/>
                </a:lnTo>
                <a:lnTo>
                  <a:pt x="30503" y="66684"/>
                </a:lnTo>
                <a:lnTo>
                  <a:pt x="32114" y="66468"/>
                </a:lnTo>
                <a:lnTo>
                  <a:pt x="33618" y="66143"/>
                </a:lnTo>
                <a:lnTo>
                  <a:pt x="35121" y="65818"/>
                </a:lnTo>
                <a:lnTo>
                  <a:pt x="36625" y="65385"/>
                </a:lnTo>
                <a:lnTo>
                  <a:pt x="38021" y="64844"/>
                </a:lnTo>
                <a:lnTo>
                  <a:pt x="39417" y="64303"/>
                </a:lnTo>
                <a:lnTo>
                  <a:pt x="40706" y="63653"/>
                </a:lnTo>
                <a:lnTo>
                  <a:pt x="41995" y="62896"/>
                </a:lnTo>
                <a:lnTo>
                  <a:pt x="43177" y="62138"/>
                </a:lnTo>
                <a:lnTo>
                  <a:pt x="44358" y="61272"/>
                </a:lnTo>
                <a:lnTo>
                  <a:pt x="45325" y="60406"/>
                </a:lnTo>
                <a:lnTo>
                  <a:pt x="46291" y="59431"/>
                </a:lnTo>
                <a:lnTo>
                  <a:pt x="47151" y="58349"/>
                </a:lnTo>
                <a:lnTo>
                  <a:pt x="47903" y="57266"/>
                </a:lnTo>
                <a:lnTo>
                  <a:pt x="48547" y="56075"/>
                </a:lnTo>
                <a:lnTo>
                  <a:pt x="49191" y="54993"/>
                </a:lnTo>
                <a:lnTo>
                  <a:pt x="49621" y="53802"/>
                </a:lnTo>
                <a:lnTo>
                  <a:pt x="50051" y="52503"/>
                </a:lnTo>
                <a:lnTo>
                  <a:pt x="50373" y="51312"/>
                </a:lnTo>
                <a:lnTo>
                  <a:pt x="50588" y="50121"/>
                </a:lnTo>
                <a:lnTo>
                  <a:pt x="50802" y="48822"/>
                </a:lnTo>
                <a:lnTo>
                  <a:pt x="50802" y="46224"/>
                </a:lnTo>
                <a:lnTo>
                  <a:pt x="50588" y="45034"/>
                </a:lnTo>
                <a:lnTo>
                  <a:pt x="50373" y="43734"/>
                </a:lnTo>
                <a:lnTo>
                  <a:pt x="50158" y="42544"/>
                </a:lnTo>
                <a:lnTo>
                  <a:pt x="49728" y="41461"/>
                </a:lnTo>
                <a:lnTo>
                  <a:pt x="49299" y="40379"/>
                </a:lnTo>
                <a:lnTo>
                  <a:pt x="48762" y="39296"/>
                </a:lnTo>
                <a:lnTo>
                  <a:pt x="48117" y="38322"/>
                </a:lnTo>
                <a:lnTo>
                  <a:pt x="47365" y="37347"/>
                </a:lnTo>
                <a:lnTo>
                  <a:pt x="46614" y="36481"/>
                </a:lnTo>
                <a:lnTo>
                  <a:pt x="45754" y="35615"/>
                </a:lnTo>
                <a:lnTo>
                  <a:pt x="44680" y="34749"/>
                </a:lnTo>
                <a:lnTo>
                  <a:pt x="43606" y="33992"/>
                </a:lnTo>
                <a:lnTo>
                  <a:pt x="42425" y="33234"/>
                </a:lnTo>
                <a:lnTo>
                  <a:pt x="41136" y="32476"/>
                </a:lnTo>
                <a:lnTo>
                  <a:pt x="39847" y="31826"/>
                </a:lnTo>
                <a:lnTo>
                  <a:pt x="38773" y="31393"/>
                </a:lnTo>
                <a:lnTo>
                  <a:pt x="37484" y="30852"/>
                </a:lnTo>
                <a:lnTo>
                  <a:pt x="36088" y="30419"/>
                </a:lnTo>
                <a:lnTo>
                  <a:pt x="34369" y="29878"/>
                </a:lnTo>
                <a:lnTo>
                  <a:pt x="32543" y="29337"/>
                </a:lnTo>
                <a:lnTo>
                  <a:pt x="30395" y="28687"/>
                </a:lnTo>
                <a:lnTo>
                  <a:pt x="28140" y="28146"/>
                </a:lnTo>
                <a:lnTo>
                  <a:pt x="25669" y="27604"/>
                </a:lnTo>
                <a:lnTo>
                  <a:pt x="23199" y="27063"/>
                </a:lnTo>
                <a:lnTo>
                  <a:pt x="21051" y="26414"/>
                </a:lnTo>
                <a:lnTo>
                  <a:pt x="19010" y="25872"/>
                </a:lnTo>
                <a:lnTo>
                  <a:pt x="17292" y="25331"/>
                </a:lnTo>
                <a:lnTo>
                  <a:pt x="15896" y="24790"/>
                </a:lnTo>
                <a:lnTo>
                  <a:pt x="14607" y="24140"/>
                </a:lnTo>
                <a:lnTo>
                  <a:pt x="13640" y="23599"/>
                </a:lnTo>
                <a:lnTo>
                  <a:pt x="12996" y="23058"/>
                </a:lnTo>
                <a:lnTo>
                  <a:pt x="12459" y="22517"/>
                </a:lnTo>
                <a:lnTo>
                  <a:pt x="11922" y="21867"/>
                </a:lnTo>
                <a:lnTo>
                  <a:pt x="11492" y="21217"/>
                </a:lnTo>
                <a:lnTo>
                  <a:pt x="11170" y="20460"/>
                </a:lnTo>
                <a:lnTo>
                  <a:pt x="10847" y="19702"/>
                </a:lnTo>
                <a:close/>
              </a:path>
            </a:pathLst>
          </a:custGeom>
          <a:solidFill>
            <a:srgbClr val="000000"/>
          </a:solidFill>
        </p:spPr>
        <p:txBody>
          <a:bodyPr wrap="square" lIns="0" tIns="0" rIns="0" bIns="0" rtlCol="0">
            <a:noAutofit/>
          </a:bodyPr>
          <a:lstStyle/>
          <a:p>
            <a:endParaRPr/>
          </a:p>
        </p:txBody>
      </p:sp>
      <p:sp>
        <p:nvSpPr>
          <p:cNvPr id="1070" name="object 1070"/>
          <p:cNvSpPr/>
          <p:nvPr/>
        </p:nvSpPr>
        <p:spPr>
          <a:xfrm>
            <a:off x="3629415" y="1485146"/>
            <a:ext cx="3007" cy="24357"/>
          </a:xfrm>
          <a:custGeom>
            <a:avLst/>
            <a:gdLst/>
            <a:ahLst/>
            <a:cxnLst/>
            <a:rect l="l" t="t" r="r" b="b"/>
            <a:pathLst>
              <a:path w="3007" h="24357">
                <a:moveTo>
                  <a:pt x="2577" y="10175"/>
                </a:moveTo>
                <a:lnTo>
                  <a:pt x="2148" y="9093"/>
                </a:lnTo>
                <a:lnTo>
                  <a:pt x="1718" y="7902"/>
                </a:lnTo>
                <a:lnTo>
                  <a:pt x="1396" y="6711"/>
                </a:lnTo>
                <a:lnTo>
                  <a:pt x="1181" y="5412"/>
                </a:lnTo>
                <a:lnTo>
                  <a:pt x="966" y="4113"/>
                </a:lnTo>
                <a:lnTo>
                  <a:pt x="751" y="2814"/>
                </a:lnTo>
                <a:lnTo>
                  <a:pt x="644" y="1407"/>
                </a:lnTo>
                <a:lnTo>
                  <a:pt x="537" y="0"/>
                </a:lnTo>
                <a:lnTo>
                  <a:pt x="0" y="21542"/>
                </a:lnTo>
                <a:lnTo>
                  <a:pt x="1503" y="22950"/>
                </a:lnTo>
                <a:lnTo>
                  <a:pt x="3007" y="24357"/>
                </a:lnTo>
                <a:lnTo>
                  <a:pt x="2577" y="10175"/>
                </a:lnTo>
                <a:close/>
              </a:path>
            </a:pathLst>
          </a:custGeom>
          <a:solidFill>
            <a:srgbClr val="000000"/>
          </a:solidFill>
        </p:spPr>
        <p:txBody>
          <a:bodyPr wrap="square" lIns="0" tIns="0" rIns="0" bIns="0" rtlCol="0">
            <a:noAutofit/>
          </a:bodyPr>
          <a:lstStyle/>
          <a:p>
            <a:endParaRPr/>
          </a:p>
        </p:txBody>
      </p:sp>
      <p:sp>
        <p:nvSpPr>
          <p:cNvPr id="1071" name="object 1071"/>
          <p:cNvSpPr/>
          <p:nvPr/>
        </p:nvSpPr>
        <p:spPr>
          <a:xfrm>
            <a:off x="3621251" y="1449422"/>
            <a:ext cx="61328" cy="66793"/>
          </a:xfrm>
          <a:custGeom>
            <a:avLst/>
            <a:gdLst/>
            <a:ahLst/>
            <a:cxnLst/>
            <a:rect l="l" t="t" r="r" b="b"/>
            <a:pathLst>
              <a:path w="61328" h="66793">
                <a:moveTo>
                  <a:pt x="0" y="32259"/>
                </a:moveTo>
                <a:lnTo>
                  <a:pt x="0" y="34316"/>
                </a:lnTo>
                <a:lnTo>
                  <a:pt x="107" y="36373"/>
                </a:lnTo>
                <a:lnTo>
                  <a:pt x="214" y="38538"/>
                </a:lnTo>
                <a:lnTo>
                  <a:pt x="537" y="40595"/>
                </a:lnTo>
                <a:lnTo>
                  <a:pt x="966" y="42544"/>
                </a:lnTo>
                <a:lnTo>
                  <a:pt x="1503" y="44600"/>
                </a:lnTo>
                <a:lnTo>
                  <a:pt x="2040" y="46549"/>
                </a:lnTo>
                <a:lnTo>
                  <a:pt x="2792" y="48498"/>
                </a:lnTo>
                <a:lnTo>
                  <a:pt x="3651" y="50446"/>
                </a:lnTo>
                <a:lnTo>
                  <a:pt x="4618" y="52287"/>
                </a:lnTo>
                <a:lnTo>
                  <a:pt x="5692" y="54019"/>
                </a:lnTo>
                <a:lnTo>
                  <a:pt x="6873" y="55642"/>
                </a:lnTo>
                <a:lnTo>
                  <a:pt x="8162" y="57266"/>
                </a:lnTo>
                <a:lnTo>
                  <a:pt x="8699" y="35724"/>
                </a:lnTo>
                <a:lnTo>
                  <a:pt x="8699" y="32584"/>
                </a:lnTo>
                <a:lnTo>
                  <a:pt x="8807" y="30852"/>
                </a:lnTo>
                <a:lnTo>
                  <a:pt x="8914" y="29228"/>
                </a:lnTo>
                <a:lnTo>
                  <a:pt x="9129" y="27604"/>
                </a:lnTo>
                <a:lnTo>
                  <a:pt x="9344" y="26089"/>
                </a:lnTo>
                <a:lnTo>
                  <a:pt x="9666" y="24573"/>
                </a:lnTo>
                <a:lnTo>
                  <a:pt x="9988" y="23166"/>
                </a:lnTo>
                <a:lnTo>
                  <a:pt x="10418" y="21867"/>
                </a:lnTo>
                <a:lnTo>
                  <a:pt x="10847" y="20568"/>
                </a:lnTo>
                <a:lnTo>
                  <a:pt x="11277" y="19377"/>
                </a:lnTo>
                <a:lnTo>
                  <a:pt x="11814" y="18186"/>
                </a:lnTo>
                <a:lnTo>
                  <a:pt x="12459" y="17212"/>
                </a:lnTo>
                <a:lnTo>
                  <a:pt x="13103" y="16129"/>
                </a:lnTo>
                <a:lnTo>
                  <a:pt x="14499" y="14289"/>
                </a:lnTo>
                <a:lnTo>
                  <a:pt x="16862" y="12124"/>
                </a:lnTo>
                <a:lnTo>
                  <a:pt x="18688" y="10825"/>
                </a:lnTo>
                <a:lnTo>
                  <a:pt x="20407" y="9742"/>
                </a:lnTo>
                <a:lnTo>
                  <a:pt x="22340" y="8876"/>
                </a:lnTo>
                <a:lnTo>
                  <a:pt x="24273" y="8227"/>
                </a:lnTo>
                <a:lnTo>
                  <a:pt x="26421" y="7794"/>
                </a:lnTo>
                <a:lnTo>
                  <a:pt x="28462" y="7469"/>
                </a:lnTo>
                <a:lnTo>
                  <a:pt x="30718" y="7361"/>
                </a:lnTo>
                <a:lnTo>
                  <a:pt x="32221" y="7361"/>
                </a:lnTo>
                <a:lnTo>
                  <a:pt x="33832" y="7577"/>
                </a:lnTo>
                <a:lnTo>
                  <a:pt x="35336" y="7794"/>
                </a:lnTo>
                <a:lnTo>
                  <a:pt x="36732" y="8119"/>
                </a:lnTo>
                <a:lnTo>
                  <a:pt x="38129" y="8660"/>
                </a:lnTo>
                <a:lnTo>
                  <a:pt x="39525" y="9201"/>
                </a:lnTo>
                <a:lnTo>
                  <a:pt x="40921" y="9851"/>
                </a:lnTo>
                <a:lnTo>
                  <a:pt x="42210" y="10608"/>
                </a:lnTo>
                <a:lnTo>
                  <a:pt x="43391" y="11475"/>
                </a:lnTo>
                <a:lnTo>
                  <a:pt x="44573" y="12449"/>
                </a:lnTo>
                <a:lnTo>
                  <a:pt x="45647" y="13423"/>
                </a:lnTo>
                <a:lnTo>
                  <a:pt x="46721" y="14506"/>
                </a:lnTo>
                <a:lnTo>
                  <a:pt x="47580" y="15805"/>
                </a:lnTo>
                <a:lnTo>
                  <a:pt x="48440" y="16996"/>
                </a:lnTo>
                <a:lnTo>
                  <a:pt x="49299" y="18403"/>
                </a:lnTo>
                <a:lnTo>
                  <a:pt x="49943" y="19810"/>
                </a:lnTo>
                <a:lnTo>
                  <a:pt x="50588" y="21326"/>
                </a:lnTo>
                <a:lnTo>
                  <a:pt x="51125" y="22841"/>
                </a:lnTo>
                <a:lnTo>
                  <a:pt x="51554" y="24465"/>
                </a:lnTo>
                <a:lnTo>
                  <a:pt x="51984" y="26089"/>
                </a:lnTo>
                <a:lnTo>
                  <a:pt x="52199" y="27929"/>
                </a:lnTo>
                <a:lnTo>
                  <a:pt x="52414" y="29661"/>
                </a:lnTo>
                <a:lnTo>
                  <a:pt x="52628" y="31502"/>
                </a:lnTo>
                <a:lnTo>
                  <a:pt x="52628" y="34966"/>
                </a:lnTo>
                <a:lnTo>
                  <a:pt x="52521" y="36481"/>
                </a:lnTo>
                <a:lnTo>
                  <a:pt x="52414" y="37889"/>
                </a:lnTo>
                <a:lnTo>
                  <a:pt x="52199" y="39296"/>
                </a:lnTo>
                <a:lnTo>
                  <a:pt x="51984" y="40703"/>
                </a:lnTo>
                <a:lnTo>
                  <a:pt x="51769" y="42002"/>
                </a:lnTo>
                <a:lnTo>
                  <a:pt x="51447" y="43193"/>
                </a:lnTo>
                <a:lnTo>
                  <a:pt x="51017" y="44492"/>
                </a:lnTo>
                <a:lnTo>
                  <a:pt x="50588" y="45683"/>
                </a:lnTo>
                <a:lnTo>
                  <a:pt x="50158" y="46766"/>
                </a:lnTo>
                <a:lnTo>
                  <a:pt x="49621" y="47848"/>
                </a:lnTo>
                <a:lnTo>
                  <a:pt x="49084" y="48931"/>
                </a:lnTo>
                <a:lnTo>
                  <a:pt x="48440" y="49905"/>
                </a:lnTo>
                <a:lnTo>
                  <a:pt x="47795" y="50879"/>
                </a:lnTo>
                <a:lnTo>
                  <a:pt x="47151" y="51854"/>
                </a:lnTo>
                <a:lnTo>
                  <a:pt x="46399" y="52720"/>
                </a:lnTo>
                <a:lnTo>
                  <a:pt x="44788" y="54235"/>
                </a:lnTo>
                <a:lnTo>
                  <a:pt x="43069" y="55642"/>
                </a:lnTo>
                <a:lnTo>
                  <a:pt x="41243" y="56833"/>
                </a:lnTo>
                <a:lnTo>
                  <a:pt x="39310" y="57699"/>
                </a:lnTo>
                <a:lnTo>
                  <a:pt x="37269" y="58457"/>
                </a:lnTo>
                <a:lnTo>
                  <a:pt x="35229" y="58998"/>
                </a:lnTo>
                <a:lnTo>
                  <a:pt x="32973" y="59323"/>
                </a:lnTo>
                <a:lnTo>
                  <a:pt x="30610" y="59431"/>
                </a:lnTo>
                <a:lnTo>
                  <a:pt x="28355" y="59323"/>
                </a:lnTo>
                <a:lnTo>
                  <a:pt x="26099" y="58998"/>
                </a:lnTo>
                <a:lnTo>
                  <a:pt x="23951" y="58457"/>
                </a:lnTo>
                <a:lnTo>
                  <a:pt x="22018" y="57699"/>
                </a:lnTo>
                <a:lnTo>
                  <a:pt x="20084" y="56833"/>
                </a:lnTo>
                <a:lnTo>
                  <a:pt x="18258" y="55642"/>
                </a:lnTo>
                <a:lnTo>
                  <a:pt x="16540" y="54235"/>
                </a:lnTo>
                <a:lnTo>
                  <a:pt x="14929" y="52720"/>
                </a:lnTo>
                <a:lnTo>
                  <a:pt x="14177" y="51854"/>
                </a:lnTo>
                <a:lnTo>
                  <a:pt x="13533" y="50988"/>
                </a:lnTo>
                <a:lnTo>
                  <a:pt x="12888" y="50121"/>
                </a:lnTo>
                <a:lnTo>
                  <a:pt x="12244" y="49147"/>
                </a:lnTo>
                <a:lnTo>
                  <a:pt x="11707" y="48065"/>
                </a:lnTo>
                <a:lnTo>
                  <a:pt x="11170" y="47090"/>
                </a:lnTo>
                <a:lnTo>
                  <a:pt x="10740" y="45900"/>
                </a:lnTo>
                <a:lnTo>
                  <a:pt x="11170" y="60081"/>
                </a:lnTo>
                <a:lnTo>
                  <a:pt x="12781" y="61272"/>
                </a:lnTo>
                <a:lnTo>
                  <a:pt x="14499" y="62463"/>
                </a:lnTo>
                <a:lnTo>
                  <a:pt x="16325" y="63437"/>
                </a:lnTo>
                <a:lnTo>
                  <a:pt x="18151" y="64303"/>
                </a:lnTo>
                <a:lnTo>
                  <a:pt x="20084" y="65061"/>
                </a:lnTo>
                <a:lnTo>
                  <a:pt x="22125" y="65710"/>
                </a:lnTo>
                <a:lnTo>
                  <a:pt x="24166" y="66143"/>
                </a:lnTo>
                <a:lnTo>
                  <a:pt x="26207" y="66468"/>
                </a:lnTo>
                <a:lnTo>
                  <a:pt x="28355" y="66684"/>
                </a:lnTo>
                <a:lnTo>
                  <a:pt x="30610" y="66793"/>
                </a:lnTo>
                <a:lnTo>
                  <a:pt x="32651" y="66684"/>
                </a:lnTo>
                <a:lnTo>
                  <a:pt x="34692" y="66576"/>
                </a:lnTo>
                <a:lnTo>
                  <a:pt x="36732" y="66251"/>
                </a:lnTo>
                <a:lnTo>
                  <a:pt x="38773" y="65710"/>
                </a:lnTo>
                <a:lnTo>
                  <a:pt x="40599" y="65169"/>
                </a:lnTo>
                <a:lnTo>
                  <a:pt x="42532" y="64519"/>
                </a:lnTo>
                <a:lnTo>
                  <a:pt x="44358" y="63653"/>
                </a:lnTo>
                <a:lnTo>
                  <a:pt x="46184" y="62787"/>
                </a:lnTo>
                <a:lnTo>
                  <a:pt x="47903" y="61705"/>
                </a:lnTo>
                <a:lnTo>
                  <a:pt x="49514" y="60622"/>
                </a:lnTo>
                <a:lnTo>
                  <a:pt x="51125" y="59323"/>
                </a:lnTo>
                <a:lnTo>
                  <a:pt x="52628" y="57916"/>
                </a:lnTo>
                <a:lnTo>
                  <a:pt x="53917" y="56400"/>
                </a:lnTo>
                <a:lnTo>
                  <a:pt x="55206" y="54776"/>
                </a:lnTo>
                <a:lnTo>
                  <a:pt x="56280" y="52936"/>
                </a:lnTo>
                <a:lnTo>
                  <a:pt x="57354" y="51096"/>
                </a:lnTo>
                <a:lnTo>
                  <a:pt x="57784" y="50121"/>
                </a:lnTo>
                <a:lnTo>
                  <a:pt x="58213" y="49147"/>
                </a:lnTo>
                <a:lnTo>
                  <a:pt x="58643" y="48173"/>
                </a:lnTo>
                <a:lnTo>
                  <a:pt x="59073" y="47090"/>
                </a:lnTo>
                <a:lnTo>
                  <a:pt x="59395" y="46116"/>
                </a:lnTo>
                <a:lnTo>
                  <a:pt x="59717" y="45034"/>
                </a:lnTo>
                <a:lnTo>
                  <a:pt x="60039" y="43951"/>
                </a:lnTo>
                <a:lnTo>
                  <a:pt x="60362" y="42868"/>
                </a:lnTo>
                <a:lnTo>
                  <a:pt x="60576" y="41786"/>
                </a:lnTo>
                <a:lnTo>
                  <a:pt x="60791" y="40595"/>
                </a:lnTo>
                <a:lnTo>
                  <a:pt x="60899" y="39513"/>
                </a:lnTo>
                <a:lnTo>
                  <a:pt x="61113" y="38322"/>
                </a:lnTo>
                <a:lnTo>
                  <a:pt x="61221" y="37131"/>
                </a:lnTo>
                <a:lnTo>
                  <a:pt x="61221" y="35940"/>
                </a:lnTo>
                <a:lnTo>
                  <a:pt x="61328" y="34749"/>
                </a:lnTo>
                <a:lnTo>
                  <a:pt x="61328" y="32368"/>
                </a:lnTo>
                <a:lnTo>
                  <a:pt x="61221" y="31177"/>
                </a:lnTo>
                <a:lnTo>
                  <a:pt x="61221" y="29986"/>
                </a:lnTo>
                <a:lnTo>
                  <a:pt x="61113" y="28904"/>
                </a:lnTo>
                <a:lnTo>
                  <a:pt x="61006" y="27713"/>
                </a:lnTo>
                <a:lnTo>
                  <a:pt x="60791" y="26630"/>
                </a:lnTo>
                <a:lnTo>
                  <a:pt x="60576" y="25548"/>
                </a:lnTo>
                <a:lnTo>
                  <a:pt x="60362" y="24357"/>
                </a:lnTo>
                <a:lnTo>
                  <a:pt x="60147" y="23383"/>
                </a:lnTo>
                <a:lnTo>
                  <a:pt x="59825" y="22300"/>
                </a:lnTo>
                <a:lnTo>
                  <a:pt x="59502" y="21217"/>
                </a:lnTo>
                <a:lnTo>
                  <a:pt x="59180" y="20243"/>
                </a:lnTo>
                <a:lnTo>
                  <a:pt x="58858" y="19161"/>
                </a:lnTo>
                <a:lnTo>
                  <a:pt x="58428" y="18186"/>
                </a:lnTo>
                <a:lnTo>
                  <a:pt x="57999" y="17212"/>
                </a:lnTo>
                <a:lnTo>
                  <a:pt x="57569" y="16238"/>
                </a:lnTo>
                <a:lnTo>
                  <a:pt x="56602" y="14397"/>
                </a:lnTo>
                <a:lnTo>
                  <a:pt x="55528" y="12557"/>
                </a:lnTo>
                <a:lnTo>
                  <a:pt x="54239" y="10933"/>
                </a:lnTo>
                <a:lnTo>
                  <a:pt x="52951" y="9418"/>
                </a:lnTo>
                <a:lnTo>
                  <a:pt x="51554" y="7902"/>
                </a:lnTo>
                <a:lnTo>
                  <a:pt x="49943" y="6603"/>
                </a:lnTo>
                <a:lnTo>
                  <a:pt x="48332" y="5304"/>
                </a:lnTo>
                <a:lnTo>
                  <a:pt x="46614" y="4221"/>
                </a:lnTo>
                <a:lnTo>
                  <a:pt x="44788" y="3247"/>
                </a:lnTo>
                <a:lnTo>
                  <a:pt x="42962" y="2381"/>
                </a:lnTo>
                <a:lnTo>
                  <a:pt x="41029" y="1623"/>
                </a:lnTo>
                <a:lnTo>
                  <a:pt x="39095" y="1082"/>
                </a:lnTo>
                <a:lnTo>
                  <a:pt x="37055" y="541"/>
                </a:lnTo>
                <a:lnTo>
                  <a:pt x="34906" y="216"/>
                </a:lnTo>
                <a:lnTo>
                  <a:pt x="32758" y="108"/>
                </a:lnTo>
                <a:lnTo>
                  <a:pt x="30610" y="0"/>
                </a:lnTo>
                <a:lnTo>
                  <a:pt x="28892" y="0"/>
                </a:lnTo>
                <a:lnTo>
                  <a:pt x="27281" y="108"/>
                </a:lnTo>
                <a:lnTo>
                  <a:pt x="25669" y="324"/>
                </a:lnTo>
                <a:lnTo>
                  <a:pt x="24166" y="541"/>
                </a:lnTo>
                <a:lnTo>
                  <a:pt x="22662" y="866"/>
                </a:lnTo>
                <a:lnTo>
                  <a:pt x="21158" y="1299"/>
                </a:lnTo>
                <a:lnTo>
                  <a:pt x="19655" y="1732"/>
                </a:lnTo>
                <a:lnTo>
                  <a:pt x="18258" y="2273"/>
                </a:lnTo>
                <a:lnTo>
                  <a:pt x="16970" y="2922"/>
                </a:lnTo>
                <a:lnTo>
                  <a:pt x="15573" y="3572"/>
                </a:lnTo>
                <a:lnTo>
                  <a:pt x="14284" y="4330"/>
                </a:lnTo>
                <a:lnTo>
                  <a:pt x="13103" y="5087"/>
                </a:lnTo>
                <a:lnTo>
                  <a:pt x="11814" y="5954"/>
                </a:lnTo>
                <a:lnTo>
                  <a:pt x="10740" y="6928"/>
                </a:lnTo>
                <a:lnTo>
                  <a:pt x="9559" y="8010"/>
                </a:lnTo>
                <a:lnTo>
                  <a:pt x="8485" y="9093"/>
                </a:lnTo>
                <a:lnTo>
                  <a:pt x="7518" y="10284"/>
                </a:lnTo>
                <a:lnTo>
                  <a:pt x="6551" y="11475"/>
                </a:lnTo>
                <a:lnTo>
                  <a:pt x="5585" y="12774"/>
                </a:lnTo>
                <a:lnTo>
                  <a:pt x="4833" y="14073"/>
                </a:lnTo>
                <a:lnTo>
                  <a:pt x="4081" y="15480"/>
                </a:lnTo>
                <a:lnTo>
                  <a:pt x="3329" y="16887"/>
                </a:lnTo>
                <a:lnTo>
                  <a:pt x="2685" y="18403"/>
                </a:lnTo>
                <a:lnTo>
                  <a:pt x="2148" y="19918"/>
                </a:lnTo>
                <a:lnTo>
                  <a:pt x="1611" y="21542"/>
                </a:lnTo>
                <a:lnTo>
                  <a:pt x="1181" y="23166"/>
                </a:lnTo>
                <a:lnTo>
                  <a:pt x="859" y="24898"/>
                </a:lnTo>
                <a:lnTo>
                  <a:pt x="537" y="26630"/>
                </a:lnTo>
                <a:lnTo>
                  <a:pt x="322" y="28471"/>
                </a:lnTo>
                <a:lnTo>
                  <a:pt x="107" y="30311"/>
                </a:lnTo>
                <a:lnTo>
                  <a:pt x="0" y="32259"/>
                </a:lnTo>
                <a:close/>
              </a:path>
            </a:pathLst>
          </a:custGeom>
          <a:solidFill>
            <a:srgbClr val="000000"/>
          </a:solidFill>
        </p:spPr>
        <p:txBody>
          <a:bodyPr wrap="square" lIns="0" tIns="0" rIns="0" bIns="0" rtlCol="0">
            <a:noAutofit/>
          </a:bodyPr>
          <a:lstStyle/>
          <a:p>
            <a:endParaRPr/>
          </a:p>
        </p:txBody>
      </p:sp>
      <p:sp>
        <p:nvSpPr>
          <p:cNvPr id="1072" name="object 1072"/>
          <p:cNvSpPr/>
          <p:nvPr/>
        </p:nvSpPr>
        <p:spPr>
          <a:xfrm>
            <a:off x="3719528" y="1479084"/>
            <a:ext cx="2148" cy="9851"/>
          </a:xfrm>
          <a:custGeom>
            <a:avLst/>
            <a:gdLst/>
            <a:ahLst/>
            <a:cxnLst/>
            <a:rect l="l" t="t" r="r" b="b"/>
            <a:pathLst>
              <a:path w="2148" h="9851">
                <a:moveTo>
                  <a:pt x="0" y="8876"/>
                </a:moveTo>
                <a:lnTo>
                  <a:pt x="429" y="9201"/>
                </a:lnTo>
                <a:lnTo>
                  <a:pt x="966" y="9526"/>
                </a:lnTo>
                <a:lnTo>
                  <a:pt x="1396" y="9851"/>
                </a:lnTo>
                <a:lnTo>
                  <a:pt x="2148" y="0"/>
                </a:lnTo>
                <a:lnTo>
                  <a:pt x="751" y="0"/>
                </a:lnTo>
                <a:lnTo>
                  <a:pt x="0" y="8876"/>
                </a:lnTo>
                <a:close/>
              </a:path>
            </a:pathLst>
          </a:custGeom>
          <a:solidFill>
            <a:srgbClr val="000000"/>
          </a:solidFill>
        </p:spPr>
        <p:txBody>
          <a:bodyPr wrap="square" lIns="0" tIns="0" rIns="0" bIns="0" rtlCol="0">
            <a:noAutofit/>
          </a:bodyPr>
          <a:lstStyle/>
          <a:p>
            <a:endParaRPr/>
          </a:p>
        </p:txBody>
      </p:sp>
      <p:sp>
        <p:nvSpPr>
          <p:cNvPr id="1073" name="object 1073"/>
          <p:cNvSpPr/>
          <p:nvPr/>
        </p:nvSpPr>
        <p:spPr>
          <a:xfrm>
            <a:off x="3693537" y="1450504"/>
            <a:ext cx="56495" cy="64628"/>
          </a:xfrm>
          <a:custGeom>
            <a:avLst/>
            <a:gdLst/>
            <a:ahLst/>
            <a:cxnLst/>
            <a:rect l="l" t="t" r="r" b="b"/>
            <a:pathLst>
              <a:path w="56495" h="64628">
                <a:moveTo>
                  <a:pt x="33940" y="35724"/>
                </a:moveTo>
                <a:lnTo>
                  <a:pt x="33188" y="35291"/>
                </a:lnTo>
                <a:lnTo>
                  <a:pt x="35443" y="34966"/>
                </a:lnTo>
                <a:lnTo>
                  <a:pt x="37484" y="34533"/>
                </a:lnTo>
                <a:lnTo>
                  <a:pt x="39417" y="33883"/>
                </a:lnTo>
                <a:lnTo>
                  <a:pt x="41243" y="33234"/>
                </a:lnTo>
                <a:lnTo>
                  <a:pt x="42854" y="32368"/>
                </a:lnTo>
                <a:lnTo>
                  <a:pt x="44358" y="31502"/>
                </a:lnTo>
                <a:lnTo>
                  <a:pt x="45754" y="30419"/>
                </a:lnTo>
                <a:lnTo>
                  <a:pt x="46936" y="29337"/>
                </a:lnTo>
                <a:lnTo>
                  <a:pt x="48010" y="28146"/>
                </a:lnTo>
                <a:lnTo>
                  <a:pt x="48869" y="26847"/>
                </a:lnTo>
                <a:lnTo>
                  <a:pt x="49621" y="25439"/>
                </a:lnTo>
                <a:lnTo>
                  <a:pt x="50265" y="24032"/>
                </a:lnTo>
                <a:lnTo>
                  <a:pt x="50695" y="22625"/>
                </a:lnTo>
                <a:lnTo>
                  <a:pt x="51017" y="21001"/>
                </a:lnTo>
                <a:lnTo>
                  <a:pt x="51232" y="19377"/>
                </a:lnTo>
                <a:lnTo>
                  <a:pt x="51339" y="17753"/>
                </a:lnTo>
                <a:lnTo>
                  <a:pt x="51339" y="16454"/>
                </a:lnTo>
                <a:lnTo>
                  <a:pt x="51125" y="15155"/>
                </a:lnTo>
                <a:lnTo>
                  <a:pt x="50910" y="13856"/>
                </a:lnTo>
                <a:lnTo>
                  <a:pt x="50695" y="12557"/>
                </a:lnTo>
                <a:lnTo>
                  <a:pt x="50265" y="11366"/>
                </a:lnTo>
                <a:lnTo>
                  <a:pt x="49836" y="10175"/>
                </a:lnTo>
                <a:lnTo>
                  <a:pt x="49299" y="8985"/>
                </a:lnTo>
                <a:lnTo>
                  <a:pt x="48654" y="7902"/>
                </a:lnTo>
                <a:lnTo>
                  <a:pt x="48010" y="6928"/>
                </a:lnTo>
                <a:lnTo>
                  <a:pt x="47258" y="5954"/>
                </a:lnTo>
                <a:lnTo>
                  <a:pt x="46399" y="4979"/>
                </a:lnTo>
                <a:lnTo>
                  <a:pt x="45540" y="4221"/>
                </a:lnTo>
                <a:lnTo>
                  <a:pt x="44573" y="3464"/>
                </a:lnTo>
                <a:lnTo>
                  <a:pt x="43606" y="2814"/>
                </a:lnTo>
                <a:lnTo>
                  <a:pt x="42532" y="2273"/>
                </a:lnTo>
                <a:lnTo>
                  <a:pt x="41458" y="1732"/>
                </a:lnTo>
                <a:lnTo>
                  <a:pt x="40277" y="1299"/>
                </a:lnTo>
                <a:lnTo>
                  <a:pt x="38988" y="974"/>
                </a:lnTo>
                <a:lnTo>
                  <a:pt x="37592" y="757"/>
                </a:lnTo>
                <a:lnTo>
                  <a:pt x="35980" y="433"/>
                </a:lnTo>
                <a:lnTo>
                  <a:pt x="34262" y="216"/>
                </a:lnTo>
                <a:lnTo>
                  <a:pt x="32436" y="108"/>
                </a:lnTo>
                <a:lnTo>
                  <a:pt x="30503" y="0"/>
                </a:lnTo>
                <a:lnTo>
                  <a:pt x="0" y="0"/>
                </a:lnTo>
                <a:lnTo>
                  <a:pt x="0" y="64628"/>
                </a:lnTo>
                <a:lnTo>
                  <a:pt x="8485" y="64628"/>
                </a:lnTo>
                <a:lnTo>
                  <a:pt x="8485" y="35940"/>
                </a:lnTo>
                <a:lnTo>
                  <a:pt x="20514" y="35940"/>
                </a:lnTo>
                <a:lnTo>
                  <a:pt x="21158" y="36048"/>
                </a:lnTo>
                <a:lnTo>
                  <a:pt x="21695" y="36048"/>
                </a:lnTo>
                <a:lnTo>
                  <a:pt x="22233" y="36157"/>
                </a:lnTo>
                <a:lnTo>
                  <a:pt x="22662" y="36157"/>
                </a:lnTo>
                <a:lnTo>
                  <a:pt x="22984" y="36265"/>
                </a:lnTo>
                <a:lnTo>
                  <a:pt x="23521" y="36373"/>
                </a:lnTo>
                <a:lnTo>
                  <a:pt x="23951" y="36590"/>
                </a:lnTo>
                <a:lnTo>
                  <a:pt x="24488" y="36806"/>
                </a:lnTo>
                <a:lnTo>
                  <a:pt x="25025" y="37023"/>
                </a:lnTo>
                <a:lnTo>
                  <a:pt x="25455" y="37239"/>
                </a:lnTo>
                <a:lnTo>
                  <a:pt x="25992" y="37456"/>
                </a:lnTo>
                <a:lnTo>
                  <a:pt x="26744" y="28579"/>
                </a:lnTo>
                <a:lnTo>
                  <a:pt x="8485" y="28579"/>
                </a:lnTo>
                <a:lnTo>
                  <a:pt x="8485" y="7144"/>
                </a:lnTo>
                <a:lnTo>
                  <a:pt x="30503" y="7144"/>
                </a:lnTo>
                <a:lnTo>
                  <a:pt x="32114" y="7361"/>
                </a:lnTo>
                <a:lnTo>
                  <a:pt x="33618" y="7577"/>
                </a:lnTo>
                <a:lnTo>
                  <a:pt x="35014" y="7902"/>
                </a:lnTo>
                <a:lnTo>
                  <a:pt x="36303" y="8335"/>
                </a:lnTo>
                <a:lnTo>
                  <a:pt x="37377" y="8876"/>
                </a:lnTo>
                <a:lnTo>
                  <a:pt x="38451" y="9526"/>
                </a:lnTo>
                <a:lnTo>
                  <a:pt x="40062" y="10933"/>
                </a:lnTo>
                <a:lnTo>
                  <a:pt x="41351" y="12665"/>
                </a:lnTo>
                <a:lnTo>
                  <a:pt x="42103" y="14506"/>
                </a:lnTo>
                <a:lnTo>
                  <a:pt x="42532" y="16671"/>
                </a:lnTo>
                <a:lnTo>
                  <a:pt x="42640" y="17753"/>
                </a:lnTo>
                <a:lnTo>
                  <a:pt x="42640" y="18511"/>
                </a:lnTo>
                <a:lnTo>
                  <a:pt x="42532" y="19269"/>
                </a:lnTo>
                <a:lnTo>
                  <a:pt x="42425" y="20027"/>
                </a:lnTo>
                <a:lnTo>
                  <a:pt x="42210" y="20784"/>
                </a:lnTo>
                <a:lnTo>
                  <a:pt x="41888" y="21542"/>
                </a:lnTo>
                <a:lnTo>
                  <a:pt x="41566" y="22192"/>
                </a:lnTo>
                <a:lnTo>
                  <a:pt x="41243" y="22950"/>
                </a:lnTo>
                <a:lnTo>
                  <a:pt x="40814" y="23599"/>
                </a:lnTo>
                <a:lnTo>
                  <a:pt x="40384" y="24249"/>
                </a:lnTo>
                <a:lnTo>
                  <a:pt x="39847" y="24790"/>
                </a:lnTo>
                <a:lnTo>
                  <a:pt x="39310" y="25331"/>
                </a:lnTo>
                <a:lnTo>
                  <a:pt x="38666" y="25872"/>
                </a:lnTo>
                <a:lnTo>
                  <a:pt x="38021" y="26305"/>
                </a:lnTo>
                <a:lnTo>
                  <a:pt x="37269" y="26738"/>
                </a:lnTo>
                <a:lnTo>
                  <a:pt x="36517" y="27063"/>
                </a:lnTo>
                <a:lnTo>
                  <a:pt x="35766" y="27388"/>
                </a:lnTo>
                <a:lnTo>
                  <a:pt x="34906" y="27604"/>
                </a:lnTo>
                <a:lnTo>
                  <a:pt x="34047" y="27929"/>
                </a:lnTo>
                <a:lnTo>
                  <a:pt x="32973" y="28146"/>
                </a:lnTo>
                <a:lnTo>
                  <a:pt x="31899" y="28254"/>
                </a:lnTo>
                <a:lnTo>
                  <a:pt x="30718" y="28362"/>
                </a:lnTo>
                <a:lnTo>
                  <a:pt x="29536" y="28471"/>
                </a:lnTo>
                <a:lnTo>
                  <a:pt x="28140" y="28579"/>
                </a:lnTo>
                <a:lnTo>
                  <a:pt x="27388" y="38430"/>
                </a:lnTo>
                <a:lnTo>
                  <a:pt x="27925" y="38863"/>
                </a:lnTo>
                <a:lnTo>
                  <a:pt x="28462" y="39296"/>
                </a:lnTo>
                <a:lnTo>
                  <a:pt x="28999" y="39729"/>
                </a:lnTo>
                <a:lnTo>
                  <a:pt x="29536" y="40379"/>
                </a:lnTo>
                <a:lnTo>
                  <a:pt x="30073" y="41028"/>
                </a:lnTo>
                <a:lnTo>
                  <a:pt x="30610" y="41678"/>
                </a:lnTo>
                <a:lnTo>
                  <a:pt x="31255" y="42435"/>
                </a:lnTo>
                <a:lnTo>
                  <a:pt x="31899" y="43193"/>
                </a:lnTo>
                <a:lnTo>
                  <a:pt x="32543" y="44059"/>
                </a:lnTo>
                <a:lnTo>
                  <a:pt x="33188" y="45034"/>
                </a:lnTo>
                <a:lnTo>
                  <a:pt x="33940" y="46116"/>
                </a:lnTo>
                <a:lnTo>
                  <a:pt x="34799" y="47307"/>
                </a:lnTo>
                <a:lnTo>
                  <a:pt x="35551" y="48606"/>
                </a:lnTo>
                <a:lnTo>
                  <a:pt x="36517" y="49905"/>
                </a:lnTo>
                <a:lnTo>
                  <a:pt x="37377" y="51312"/>
                </a:lnTo>
                <a:lnTo>
                  <a:pt x="45862" y="64628"/>
                </a:lnTo>
                <a:lnTo>
                  <a:pt x="56495" y="64628"/>
                </a:lnTo>
                <a:lnTo>
                  <a:pt x="45325" y="47090"/>
                </a:lnTo>
                <a:lnTo>
                  <a:pt x="44466" y="45900"/>
                </a:lnTo>
                <a:lnTo>
                  <a:pt x="43714" y="44709"/>
                </a:lnTo>
                <a:lnTo>
                  <a:pt x="42747" y="43518"/>
                </a:lnTo>
                <a:lnTo>
                  <a:pt x="41888" y="42435"/>
                </a:lnTo>
                <a:lnTo>
                  <a:pt x="41029" y="41353"/>
                </a:lnTo>
                <a:lnTo>
                  <a:pt x="40169" y="40379"/>
                </a:lnTo>
                <a:lnTo>
                  <a:pt x="39203" y="39404"/>
                </a:lnTo>
                <a:lnTo>
                  <a:pt x="38343" y="38538"/>
                </a:lnTo>
                <a:lnTo>
                  <a:pt x="37914" y="38213"/>
                </a:lnTo>
                <a:lnTo>
                  <a:pt x="37377" y="37780"/>
                </a:lnTo>
                <a:lnTo>
                  <a:pt x="36732" y="37347"/>
                </a:lnTo>
                <a:lnTo>
                  <a:pt x="36088" y="36914"/>
                </a:lnTo>
                <a:lnTo>
                  <a:pt x="35443" y="36590"/>
                </a:lnTo>
                <a:lnTo>
                  <a:pt x="34692" y="36157"/>
                </a:lnTo>
                <a:lnTo>
                  <a:pt x="33940" y="35724"/>
                </a:lnTo>
                <a:close/>
              </a:path>
            </a:pathLst>
          </a:custGeom>
          <a:solidFill>
            <a:srgbClr val="000000"/>
          </a:solidFill>
        </p:spPr>
        <p:txBody>
          <a:bodyPr wrap="square" lIns="0" tIns="0" rIns="0" bIns="0" rtlCol="0">
            <a:noAutofit/>
          </a:bodyPr>
          <a:lstStyle/>
          <a:p>
            <a:endParaRPr/>
          </a:p>
        </p:txBody>
      </p:sp>
      <p:sp>
        <p:nvSpPr>
          <p:cNvPr id="1074" name="object 1074"/>
          <p:cNvSpPr/>
          <p:nvPr/>
        </p:nvSpPr>
        <p:spPr>
          <a:xfrm>
            <a:off x="3758087" y="1450504"/>
            <a:ext cx="32221" cy="64628"/>
          </a:xfrm>
          <a:custGeom>
            <a:avLst/>
            <a:gdLst/>
            <a:ahLst/>
            <a:cxnLst/>
            <a:rect l="l" t="t" r="r" b="b"/>
            <a:pathLst>
              <a:path w="32221" h="64628">
                <a:moveTo>
                  <a:pt x="8485" y="57050"/>
                </a:moveTo>
                <a:lnTo>
                  <a:pt x="8485" y="7577"/>
                </a:lnTo>
                <a:lnTo>
                  <a:pt x="22018" y="0"/>
                </a:lnTo>
                <a:lnTo>
                  <a:pt x="0" y="0"/>
                </a:lnTo>
                <a:lnTo>
                  <a:pt x="0" y="64628"/>
                </a:lnTo>
                <a:lnTo>
                  <a:pt x="24488" y="64628"/>
                </a:lnTo>
                <a:lnTo>
                  <a:pt x="25884" y="64519"/>
                </a:lnTo>
                <a:lnTo>
                  <a:pt x="27281" y="64411"/>
                </a:lnTo>
                <a:lnTo>
                  <a:pt x="28569" y="64303"/>
                </a:lnTo>
                <a:lnTo>
                  <a:pt x="29858" y="64195"/>
                </a:lnTo>
                <a:lnTo>
                  <a:pt x="31040" y="63978"/>
                </a:lnTo>
                <a:lnTo>
                  <a:pt x="32221" y="63762"/>
                </a:lnTo>
                <a:lnTo>
                  <a:pt x="31147" y="56075"/>
                </a:lnTo>
                <a:lnTo>
                  <a:pt x="30181" y="56400"/>
                </a:lnTo>
                <a:lnTo>
                  <a:pt x="28999" y="56617"/>
                </a:lnTo>
                <a:lnTo>
                  <a:pt x="27818" y="56725"/>
                </a:lnTo>
                <a:lnTo>
                  <a:pt x="26529" y="56833"/>
                </a:lnTo>
                <a:lnTo>
                  <a:pt x="25132" y="56942"/>
                </a:lnTo>
                <a:lnTo>
                  <a:pt x="23736" y="57050"/>
                </a:lnTo>
                <a:lnTo>
                  <a:pt x="8485" y="57050"/>
                </a:lnTo>
                <a:close/>
              </a:path>
            </a:pathLst>
          </a:custGeom>
          <a:solidFill>
            <a:srgbClr val="000000"/>
          </a:solidFill>
        </p:spPr>
        <p:txBody>
          <a:bodyPr wrap="square" lIns="0" tIns="0" rIns="0" bIns="0" rtlCol="0">
            <a:noAutofit/>
          </a:bodyPr>
          <a:lstStyle/>
          <a:p>
            <a:endParaRPr/>
          </a:p>
        </p:txBody>
      </p:sp>
      <p:sp>
        <p:nvSpPr>
          <p:cNvPr id="1075" name="object 1075"/>
          <p:cNvSpPr/>
          <p:nvPr/>
        </p:nvSpPr>
        <p:spPr>
          <a:xfrm>
            <a:off x="3766573" y="1450504"/>
            <a:ext cx="44573" cy="63762"/>
          </a:xfrm>
          <a:custGeom>
            <a:avLst/>
            <a:gdLst/>
            <a:ahLst/>
            <a:cxnLst/>
            <a:rect l="l" t="t" r="r" b="b"/>
            <a:pathLst>
              <a:path w="44573" h="63762">
                <a:moveTo>
                  <a:pt x="27066" y="63004"/>
                </a:moveTo>
                <a:lnTo>
                  <a:pt x="28140" y="62571"/>
                </a:lnTo>
                <a:lnTo>
                  <a:pt x="29106" y="62246"/>
                </a:lnTo>
                <a:lnTo>
                  <a:pt x="30073" y="61813"/>
                </a:lnTo>
                <a:lnTo>
                  <a:pt x="30932" y="61272"/>
                </a:lnTo>
                <a:lnTo>
                  <a:pt x="31792" y="60839"/>
                </a:lnTo>
                <a:lnTo>
                  <a:pt x="32651" y="60297"/>
                </a:lnTo>
                <a:lnTo>
                  <a:pt x="33403" y="59756"/>
                </a:lnTo>
                <a:lnTo>
                  <a:pt x="34155" y="59215"/>
                </a:lnTo>
                <a:lnTo>
                  <a:pt x="34906" y="58565"/>
                </a:lnTo>
                <a:lnTo>
                  <a:pt x="35658" y="57808"/>
                </a:lnTo>
                <a:lnTo>
                  <a:pt x="36410" y="57050"/>
                </a:lnTo>
                <a:lnTo>
                  <a:pt x="37055" y="56184"/>
                </a:lnTo>
                <a:lnTo>
                  <a:pt x="37806" y="55318"/>
                </a:lnTo>
                <a:lnTo>
                  <a:pt x="38451" y="54452"/>
                </a:lnTo>
                <a:lnTo>
                  <a:pt x="39095" y="53477"/>
                </a:lnTo>
                <a:lnTo>
                  <a:pt x="39740" y="52503"/>
                </a:lnTo>
                <a:lnTo>
                  <a:pt x="40277" y="51421"/>
                </a:lnTo>
                <a:lnTo>
                  <a:pt x="40921" y="50230"/>
                </a:lnTo>
                <a:lnTo>
                  <a:pt x="41458" y="49039"/>
                </a:lnTo>
                <a:lnTo>
                  <a:pt x="41995" y="47740"/>
                </a:lnTo>
                <a:lnTo>
                  <a:pt x="42425" y="46441"/>
                </a:lnTo>
                <a:lnTo>
                  <a:pt x="42854" y="45034"/>
                </a:lnTo>
                <a:lnTo>
                  <a:pt x="43284" y="43626"/>
                </a:lnTo>
                <a:lnTo>
                  <a:pt x="43606" y="42111"/>
                </a:lnTo>
                <a:lnTo>
                  <a:pt x="43821" y="40595"/>
                </a:lnTo>
                <a:lnTo>
                  <a:pt x="44143" y="38971"/>
                </a:lnTo>
                <a:lnTo>
                  <a:pt x="44358" y="37347"/>
                </a:lnTo>
                <a:lnTo>
                  <a:pt x="44466" y="35615"/>
                </a:lnTo>
                <a:lnTo>
                  <a:pt x="44573" y="33883"/>
                </a:lnTo>
                <a:lnTo>
                  <a:pt x="44573" y="29878"/>
                </a:lnTo>
                <a:lnTo>
                  <a:pt x="44466" y="27821"/>
                </a:lnTo>
                <a:lnTo>
                  <a:pt x="44251" y="25872"/>
                </a:lnTo>
                <a:lnTo>
                  <a:pt x="43928" y="23816"/>
                </a:lnTo>
                <a:lnTo>
                  <a:pt x="43606" y="21975"/>
                </a:lnTo>
                <a:lnTo>
                  <a:pt x="43177" y="20135"/>
                </a:lnTo>
                <a:lnTo>
                  <a:pt x="42640" y="18403"/>
                </a:lnTo>
                <a:lnTo>
                  <a:pt x="41995" y="16671"/>
                </a:lnTo>
                <a:lnTo>
                  <a:pt x="41351" y="15047"/>
                </a:lnTo>
                <a:lnTo>
                  <a:pt x="40599" y="13423"/>
                </a:lnTo>
                <a:lnTo>
                  <a:pt x="39740" y="12016"/>
                </a:lnTo>
                <a:lnTo>
                  <a:pt x="38880" y="10500"/>
                </a:lnTo>
                <a:lnTo>
                  <a:pt x="37914" y="9201"/>
                </a:lnTo>
                <a:lnTo>
                  <a:pt x="36732" y="7902"/>
                </a:lnTo>
                <a:lnTo>
                  <a:pt x="35658" y="6711"/>
                </a:lnTo>
                <a:lnTo>
                  <a:pt x="34369" y="5629"/>
                </a:lnTo>
                <a:lnTo>
                  <a:pt x="33403" y="4871"/>
                </a:lnTo>
                <a:lnTo>
                  <a:pt x="32329" y="4113"/>
                </a:lnTo>
                <a:lnTo>
                  <a:pt x="31255" y="3464"/>
                </a:lnTo>
                <a:lnTo>
                  <a:pt x="30073" y="2814"/>
                </a:lnTo>
                <a:lnTo>
                  <a:pt x="28892" y="2273"/>
                </a:lnTo>
                <a:lnTo>
                  <a:pt x="27710" y="1732"/>
                </a:lnTo>
                <a:lnTo>
                  <a:pt x="26421" y="1299"/>
                </a:lnTo>
                <a:lnTo>
                  <a:pt x="25025" y="974"/>
                </a:lnTo>
                <a:lnTo>
                  <a:pt x="23951" y="757"/>
                </a:lnTo>
                <a:lnTo>
                  <a:pt x="22877" y="541"/>
                </a:lnTo>
                <a:lnTo>
                  <a:pt x="21588" y="433"/>
                </a:lnTo>
                <a:lnTo>
                  <a:pt x="20192" y="216"/>
                </a:lnTo>
                <a:lnTo>
                  <a:pt x="18688" y="108"/>
                </a:lnTo>
                <a:lnTo>
                  <a:pt x="17077" y="108"/>
                </a:lnTo>
                <a:lnTo>
                  <a:pt x="15359" y="0"/>
                </a:lnTo>
                <a:lnTo>
                  <a:pt x="13533" y="0"/>
                </a:lnTo>
                <a:lnTo>
                  <a:pt x="0" y="7577"/>
                </a:lnTo>
                <a:lnTo>
                  <a:pt x="15251" y="7577"/>
                </a:lnTo>
                <a:lnTo>
                  <a:pt x="16970" y="7686"/>
                </a:lnTo>
                <a:lnTo>
                  <a:pt x="18581" y="7794"/>
                </a:lnTo>
                <a:lnTo>
                  <a:pt x="19977" y="7902"/>
                </a:lnTo>
                <a:lnTo>
                  <a:pt x="21373" y="8119"/>
                </a:lnTo>
                <a:lnTo>
                  <a:pt x="22555" y="8443"/>
                </a:lnTo>
                <a:lnTo>
                  <a:pt x="23521" y="8660"/>
                </a:lnTo>
                <a:lnTo>
                  <a:pt x="25669" y="9526"/>
                </a:lnTo>
                <a:lnTo>
                  <a:pt x="26744" y="10067"/>
                </a:lnTo>
                <a:lnTo>
                  <a:pt x="27818" y="10825"/>
                </a:lnTo>
                <a:lnTo>
                  <a:pt x="28892" y="11691"/>
                </a:lnTo>
                <a:lnTo>
                  <a:pt x="29858" y="12665"/>
                </a:lnTo>
                <a:lnTo>
                  <a:pt x="30825" y="13856"/>
                </a:lnTo>
                <a:lnTo>
                  <a:pt x="31684" y="15047"/>
                </a:lnTo>
                <a:lnTo>
                  <a:pt x="32543" y="16346"/>
                </a:lnTo>
                <a:lnTo>
                  <a:pt x="33295" y="17753"/>
                </a:lnTo>
                <a:lnTo>
                  <a:pt x="33940" y="19377"/>
                </a:lnTo>
                <a:lnTo>
                  <a:pt x="34584" y="21109"/>
                </a:lnTo>
                <a:lnTo>
                  <a:pt x="35014" y="22950"/>
                </a:lnTo>
                <a:lnTo>
                  <a:pt x="35336" y="25006"/>
                </a:lnTo>
                <a:lnTo>
                  <a:pt x="35658" y="27171"/>
                </a:lnTo>
                <a:lnTo>
                  <a:pt x="35766" y="29445"/>
                </a:lnTo>
                <a:lnTo>
                  <a:pt x="35873" y="31935"/>
                </a:lnTo>
                <a:lnTo>
                  <a:pt x="35873" y="33667"/>
                </a:lnTo>
                <a:lnTo>
                  <a:pt x="35766" y="35399"/>
                </a:lnTo>
                <a:lnTo>
                  <a:pt x="35658" y="37023"/>
                </a:lnTo>
                <a:lnTo>
                  <a:pt x="35443" y="38646"/>
                </a:lnTo>
                <a:lnTo>
                  <a:pt x="35121" y="40162"/>
                </a:lnTo>
                <a:lnTo>
                  <a:pt x="34906" y="41678"/>
                </a:lnTo>
                <a:lnTo>
                  <a:pt x="34584" y="43085"/>
                </a:lnTo>
                <a:lnTo>
                  <a:pt x="34155" y="44384"/>
                </a:lnTo>
                <a:lnTo>
                  <a:pt x="33725" y="45575"/>
                </a:lnTo>
                <a:lnTo>
                  <a:pt x="33188" y="46766"/>
                </a:lnTo>
                <a:lnTo>
                  <a:pt x="32651" y="47956"/>
                </a:lnTo>
                <a:lnTo>
                  <a:pt x="32114" y="48931"/>
                </a:lnTo>
                <a:lnTo>
                  <a:pt x="31469" y="50013"/>
                </a:lnTo>
                <a:lnTo>
                  <a:pt x="30825" y="50879"/>
                </a:lnTo>
                <a:lnTo>
                  <a:pt x="30181" y="51745"/>
                </a:lnTo>
                <a:lnTo>
                  <a:pt x="29429" y="52503"/>
                </a:lnTo>
                <a:lnTo>
                  <a:pt x="28892" y="53044"/>
                </a:lnTo>
                <a:lnTo>
                  <a:pt x="28247" y="53477"/>
                </a:lnTo>
                <a:lnTo>
                  <a:pt x="27603" y="54019"/>
                </a:lnTo>
                <a:lnTo>
                  <a:pt x="26851" y="54452"/>
                </a:lnTo>
                <a:lnTo>
                  <a:pt x="26099" y="54885"/>
                </a:lnTo>
                <a:lnTo>
                  <a:pt x="25347" y="55209"/>
                </a:lnTo>
                <a:lnTo>
                  <a:pt x="24488" y="55534"/>
                </a:lnTo>
                <a:lnTo>
                  <a:pt x="23629" y="55859"/>
                </a:lnTo>
                <a:lnTo>
                  <a:pt x="22662" y="56075"/>
                </a:lnTo>
                <a:lnTo>
                  <a:pt x="23736" y="63762"/>
                </a:lnTo>
                <a:lnTo>
                  <a:pt x="24918" y="63545"/>
                </a:lnTo>
                <a:lnTo>
                  <a:pt x="25992" y="63329"/>
                </a:lnTo>
                <a:lnTo>
                  <a:pt x="27066" y="63004"/>
                </a:lnTo>
                <a:close/>
              </a:path>
            </a:pathLst>
          </a:custGeom>
          <a:solidFill>
            <a:srgbClr val="000000"/>
          </a:solidFill>
        </p:spPr>
        <p:txBody>
          <a:bodyPr wrap="square" lIns="0" tIns="0" rIns="0" bIns="0" rtlCol="0">
            <a:noAutofit/>
          </a:bodyPr>
          <a:lstStyle/>
          <a:p>
            <a:endParaRPr/>
          </a:p>
        </p:txBody>
      </p:sp>
      <p:sp>
        <p:nvSpPr>
          <p:cNvPr id="1076" name="object 1076"/>
          <p:cNvSpPr/>
          <p:nvPr/>
        </p:nvSpPr>
        <p:spPr>
          <a:xfrm>
            <a:off x="3823067" y="1450504"/>
            <a:ext cx="47688" cy="64628"/>
          </a:xfrm>
          <a:custGeom>
            <a:avLst/>
            <a:gdLst/>
            <a:ahLst/>
            <a:cxnLst/>
            <a:rect l="l" t="t" r="r" b="b"/>
            <a:pathLst>
              <a:path w="47688" h="64628">
                <a:moveTo>
                  <a:pt x="8485" y="57050"/>
                </a:moveTo>
                <a:lnTo>
                  <a:pt x="8485" y="34966"/>
                </a:lnTo>
                <a:lnTo>
                  <a:pt x="43821" y="34966"/>
                </a:lnTo>
                <a:lnTo>
                  <a:pt x="43821" y="27388"/>
                </a:lnTo>
                <a:lnTo>
                  <a:pt x="8485" y="27388"/>
                </a:lnTo>
                <a:lnTo>
                  <a:pt x="8485" y="7577"/>
                </a:lnTo>
                <a:lnTo>
                  <a:pt x="46184" y="7577"/>
                </a:lnTo>
                <a:lnTo>
                  <a:pt x="46184" y="0"/>
                </a:lnTo>
                <a:lnTo>
                  <a:pt x="0" y="0"/>
                </a:lnTo>
                <a:lnTo>
                  <a:pt x="0" y="64628"/>
                </a:lnTo>
                <a:lnTo>
                  <a:pt x="47688" y="64628"/>
                </a:lnTo>
                <a:lnTo>
                  <a:pt x="47688" y="57050"/>
                </a:lnTo>
                <a:lnTo>
                  <a:pt x="8485" y="57050"/>
                </a:lnTo>
                <a:close/>
              </a:path>
            </a:pathLst>
          </a:custGeom>
          <a:solidFill>
            <a:srgbClr val="000000"/>
          </a:solidFill>
        </p:spPr>
        <p:txBody>
          <a:bodyPr wrap="square" lIns="0" tIns="0" rIns="0" bIns="0" rtlCol="0">
            <a:noAutofit/>
          </a:bodyPr>
          <a:lstStyle/>
          <a:p>
            <a:endParaRPr/>
          </a:p>
        </p:txBody>
      </p:sp>
      <p:sp>
        <p:nvSpPr>
          <p:cNvPr id="1077" name="object 1077"/>
          <p:cNvSpPr/>
          <p:nvPr/>
        </p:nvSpPr>
        <p:spPr>
          <a:xfrm>
            <a:off x="3908562" y="1479084"/>
            <a:ext cx="2148" cy="9851"/>
          </a:xfrm>
          <a:custGeom>
            <a:avLst/>
            <a:gdLst/>
            <a:ahLst/>
            <a:cxnLst/>
            <a:rect l="l" t="t" r="r" b="b"/>
            <a:pathLst>
              <a:path w="2148" h="9851">
                <a:moveTo>
                  <a:pt x="0" y="8876"/>
                </a:moveTo>
                <a:lnTo>
                  <a:pt x="429" y="9201"/>
                </a:lnTo>
                <a:lnTo>
                  <a:pt x="966" y="9526"/>
                </a:lnTo>
                <a:lnTo>
                  <a:pt x="1396" y="9851"/>
                </a:lnTo>
                <a:lnTo>
                  <a:pt x="2148" y="0"/>
                </a:lnTo>
                <a:lnTo>
                  <a:pt x="751" y="0"/>
                </a:lnTo>
                <a:lnTo>
                  <a:pt x="0" y="8876"/>
                </a:lnTo>
                <a:close/>
              </a:path>
            </a:pathLst>
          </a:custGeom>
          <a:solidFill>
            <a:srgbClr val="000000"/>
          </a:solidFill>
        </p:spPr>
        <p:txBody>
          <a:bodyPr wrap="square" lIns="0" tIns="0" rIns="0" bIns="0" rtlCol="0">
            <a:noAutofit/>
          </a:bodyPr>
          <a:lstStyle/>
          <a:p>
            <a:endParaRPr/>
          </a:p>
        </p:txBody>
      </p:sp>
      <p:sp>
        <p:nvSpPr>
          <p:cNvPr id="1078" name="object 1078"/>
          <p:cNvSpPr/>
          <p:nvPr/>
        </p:nvSpPr>
        <p:spPr>
          <a:xfrm>
            <a:off x="3882571" y="1450504"/>
            <a:ext cx="56495" cy="64628"/>
          </a:xfrm>
          <a:custGeom>
            <a:avLst/>
            <a:gdLst/>
            <a:ahLst/>
            <a:cxnLst/>
            <a:rect l="l" t="t" r="r" b="b"/>
            <a:pathLst>
              <a:path w="56495" h="64628">
                <a:moveTo>
                  <a:pt x="33940" y="35724"/>
                </a:moveTo>
                <a:lnTo>
                  <a:pt x="33188" y="35291"/>
                </a:lnTo>
                <a:lnTo>
                  <a:pt x="35443" y="34966"/>
                </a:lnTo>
                <a:lnTo>
                  <a:pt x="37484" y="34533"/>
                </a:lnTo>
                <a:lnTo>
                  <a:pt x="39417" y="33883"/>
                </a:lnTo>
                <a:lnTo>
                  <a:pt x="41243" y="33234"/>
                </a:lnTo>
                <a:lnTo>
                  <a:pt x="42854" y="32368"/>
                </a:lnTo>
                <a:lnTo>
                  <a:pt x="44358" y="31502"/>
                </a:lnTo>
                <a:lnTo>
                  <a:pt x="45754" y="30419"/>
                </a:lnTo>
                <a:lnTo>
                  <a:pt x="46936" y="29337"/>
                </a:lnTo>
                <a:lnTo>
                  <a:pt x="48010" y="28146"/>
                </a:lnTo>
                <a:lnTo>
                  <a:pt x="48869" y="26847"/>
                </a:lnTo>
                <a:lnTo>
                  <a:pt x="49621" y="25439"/>
                </a:lnTo>
                <a:lnTo>
                  <a:pt x="50265" y="24032"/>
                </a:lnTo>
                <a:lnTo>
                  <a:pt x="50695" y="22625"/>
                </a:lnTo>
                <a:lnTo>
                  <a:pt x="51017" y="21001"/>
                </a:lnTo>
                <a:lnTo>
                  <a:pt x="51232" y="19377"/>
                </a:lnTo>
                <a:lnTo>
                  <a:pt x="51339" y="17753"/>
                </a:lnTo>
                <a:lnTo>
                  <a:pt x="51339" y="16454"/>
                </a:lnTo>
                <a:lnTo>
                  <a:pt x="51125" y="15155"/>
                </a:lnTo>
                <a:lnTo>
                  <a:pt x="50910" y="13856"/>
                </a:lnTo>
                <a:lnTo>
                  <a:pt x="50695" y="12557"/>
                </a:lnTo>
                <a:lnTo>
                  <a:pt x="50265" y="11366"/>
                </a:lnTo>
                <a:lnTo>
                  <a:pt x="49836" y="10175"/>
                </a:lnTo>
                <a:lnTo>
                  <a:pt x="49299" y="8985"/>
                </a:lnTo>
                <a:lnTo>
                  <a:pt x="48654" y="7902"/>
                </a:lnTo>
                <a:lnTo>
                  <a:pt x="48010" y="6928"/>
                </a:lnTo>
                <a:lnTo>
                  <a:pt x="47258" y="5954"/>
                </a:lnTo>
                <a:lnTo>
                  <a:pt x="46399" y="4979"/>
                </a:lnTo>
                <a:lnTo>
                  <a:pt x="45540" y="4221"/>
                </a:lnTo>
                <a:lnTo>
                  <a:pt x="44573" y="3464"/>
                </a:lnTo>
                <a:lnTo>
                  <a:pt x="43606" y="2814"/>
                </a:lnTo>
                <a:lnTo>
                  <a:pt x="42532" y="2273"/>
                </a:lnTo>
                <a:lnTo>
                  <a:pt x="41458" y="1732"/>
                </a:lnTo>
                <a:lnTo>
                  <a:pt x="40277" y="1299"/>
                </a:lnTo>
                <a:lnTo>
                  <a:pt x="38988" y="974"/>
                </a:lnTo>
                <a:lnTo>
                  <a:pt x="37592" y="757"/>
                </a:lnTo>
                <a:lnTo>
                  <a:pt x="35980" y="433"/>
                </a:lnTo>
                <a:lnTo>
                  <a:pt x="34262" y="216"/>
                </a:lnTo>
                <a:lnTo>
                  <a:pt x="32436" y="108"/>
                </a:lnTo>
                <a:lnTo>
                  <a:pt x="30503" y="0"/>
                </a:lnTo>
                <a:lnTo>
                  <a:pt x="0" y="0"/>
                </a:lnTo>
                <a:lnTo>
                  <a:pt x="0" y="64628"/>
                </a:lnTo>
                <a:lnTo>
                  <a:pt x="8485" y="64628"/>
                </a:lnTo>
                <a:lnTo>
                  <a:pt x="8485" y="35940"/>
                </a:lnTo>
                <a:lnTo>
                  <a:pt x="20514" y="35940"/>
                </a:lnTo>
                <a:lnTo>
                  <a:pt x="21158" y="36048"/>
                </a:lnTo>
                <a:lnTo>
                  <a:pt x="21695" y="36048"/>
                </a:lnTo>
                <a:lnTo>
                  <a:pt x="22233" y="36157"/>
                </a:lnTo>
                <a:lnTo>
                  <a:pt x="22662" y="36157"/>
                </a:lnTo>
                <a:lnTo>
                  <a:pt x="22984" y="36265"/>
                </a:lnTo>
                <a:lnTo>
                  <a:pt x="23521" y="36373"/>
                </a:lnTo>
                <a:lnTo>
                  <a:pt x="23951" y="36590"/>
                </a:lnTo>
                <a:lnTo>
                  <a:pt x="24488" y="36806"/>
                </a:lnTo>
                <a:lnTo>
                  <a:pt x="25025" y="37023"/>
                </a:lnTo>
                <a:lnTo>
                  <a:pt x="25455" y="37239"/>
                </a:lnTo>
                <a:lnTo>
                  <a:pt x="25992" y="37456"/>
                </a:lnTo>
                <a:lnTo>
                  <a:pt x="26744" y="28579"/>
                </a:lnTo>
                <a:lnTo>
                  <a:pt x="8485" y="28579"/>
                </a:lnTo>
                <a:lnTo>
                  <a:pt x="8485" y="7144"/>
                </a:lnTo>
                <a:lnTo>
                  <a:pt x="30503" y="7144"/>
                </a:lnTo>
                <a:lnTo>
                  <a:pt x="32114" y="7361"/>
                </a:lnTo>
                <a:lnTo>
                  <a:pt x="33618" y="7577"/>
                </a:lnTo>
                <a:lnTo>
                  <a:pt x="35014" y="7902"/>
                </a:lnTo>
                <a:lnTo>
                  <a:pt x="36303" y="8335"/>
                </a:lnTo>
                <a:lnTo>
                  <a:pt x="37377" y="8876"/>
                </a:lnTo>
                <a:lnTo>
                  <a:pt x="38451" y="9526"/>
                </a:lnTo>
                <a:lnTo>
                  <a:pt x="39310" y="10175"/>
                </a:lnTo>
                <a:lnTo>
                  <a:pt x="40706" y="11799"/>
                </a:lnTo>
                <a:lnTo>
                  <a:pt x="41351" y="12665"/>
                </a:lnTo>
                <a:lnTo>
                  <a:pt x="41780" y="13531"/>
                </a:lnTo>
                <a:lnTo>
                  <a:pt x="42103" y="14506"/>
                </a:lnTo>
                <a:lnTo>
                  <a:pt x="42425" y="15588"/>
                </a:lnTo>
                <a:lnTo>
                  <a:pt x="42532" y="16671"/>
                </a:lnTo>
                <a:lnTo>
                  <a:pt x="42640" y="17753"/>
                </a:lnTo>
                <a:lnTo>
                  <a:pt x="42640" y="18511"/>
                </a:lnTo>
                <a:lnTo>
                  <a:pt x="42532" y="19269"/>
                </a:lnTo>
                <a:lnTo>
                  <a:pt x="42425" y="20027"/>
                </a:lnTo>
                <a:lnTo>
                  <a:pt x="42210" y="20784"/>
                </a:lnTo>
                <a:lnTo>
                  <a:pt x="41888" y="21542"/>
                </a:lnTo>
                <a:lnTo>
                  <a:pt x="41566" y="22192"/>
                </a:lnTo>
                <a:lnTo>
                  <a:pt x="41243" y="22950"/>
                </a:lnTo>
                <a:lnTo>
                  <a:pt x="40814" y="23599"/>
                </a:lnTo>
                <a:lnTo>
                  <a:pt x="40384" y="24249"/>
                </a:lnTo>
                <a:lnTo>
                  <a:pt x="39847" y="24790"/>
                </a:lnTo>
                <a:lnTo>
                  <a:pt x="39310" y="25331"/>
                </a:lnTo>
                <a:lnTo>
                  <a:pt x="38666" y="25872"/>
                </a:lnTo>
                <a:lnTo>
                  <a:pt x="38021" y="26305"/>
                </a:lnTo>
                <a:lnTo>
                  <a:pt x="37269" y="26738"/>
                </a:lnTo>
                <a:lnTo>
                  <a:pt x="36517" y="27063"/>
                </a:lnTo>
                <a:lnTo>
                  <a:pt x="35766" y="27388"/>
                </a:lnTo>
                <a:lnTo>
                  <a:pt x="34906" y="27604"/>
                </a:lnTo>
                <a:lnTo>
                  <a:pt x="34047" y="27929"/>
                </a:lnTo>
                <a:lnTo>
                  <a:pt x="32973" y="28146"/>
                </a:lnTo>
                <a:lnTo>
                  <a:pt x="31899" y="28254"/>
                </a:lnTo>
                <a:lnTo>
                  <a:pt x="30718" y="28362"/>
                </a:lnTo>
                <a:lnTo>
                  <a:pt x="29536" y="28471"/>
                </a:lnTo>
                <a:lnTo>
                  <a:pt x="28140" y="28579"/>
                </a:lnTo>
                <a:lnTo>
                  <a:pt x="27388" y="38430"/>
                </a:lnTo>
                <a:lnTo>
                  <a:pt x="27925" y="38863"/>
                </a:lnTo>
                <a:lnTo>
                  <a:pt x="28462" y="39296"/>
                </a:lnTo>
                <a:lnTo>
                  <a:pt x="28999" y="39729"/>
                </a:lnTo>
                <a:lnTo>
                  <a:pt x="29536" y="40379"/>
                </a:lnTo>
                <a:lnTo>
                  <a:pt x="30073" y="41028"/>
                </a:lnTo>
                <a:lnTo>
                  <a:pt x="30610" y="41678"/>
                </a:lnTo>
                <a:lnTo>
                  <a:pt x="31255" y="42435"/>
                </a:lnTo>
                <a:lnTo>
                  <a:pt x="31899" y="43193"/>
                </a:lnTo>
                <a:lnTo>
                  <a:pt x="32543" y="44059"/>
                </a:lnTo>
                <a:lnTo>
                  <a:pt x="33188" y="45034"/>
                </a:lnTo>
                <a:lnTo>
                  <a:pt x="33940" y="46116"/>
                </a:lnTo>
                <a:lnTo>
                  <a:pt x="34799" y="47307"/>
                </a:lnTo>
                <a:lnTo>
                  <a:pt x="35551" y="48606"/>
                </a:lnTo>
                <a:lnTo>
                  <a:pt x="36517" y="49905"/>
                </a:lnTo>
                <a:lnTo>
                  <a:pt x="37377" y="51312"/>
                </a:lnTo>
                <a:lnTo>
                  <a:pt x="45862" y="64628"/>
                </a:lnTo>
                <a:lnTo>
                  <a:pt x="56495" y="64628"/>
                </a:lnTo>
                <a:lnTo>
                  <a:pt x="45325" y="47090"/>
                </a:lnTo>
                <a:lnTo>
                  <a:pt x="44466" y="45900"/>
                </a:lnTo>
                <a:lnTo>
                  <a:pt x="43714" y="44709"/>
                </a:lnTo>
                <a:lnTo>
                  <a:pt x="42747" y="43518"/>
                </a:lnTo>
                <a:lnTo>
                  <a:pt x="41888" y="42435"/>
                </a:lnTo>
                <a:lnTo>
                  <a:pt x="41029" y="41353"/>
                </a:lnTo>
                <a:lnTo>
                  <a:pt x="40169" y="40379"/>
                </a:lnTo>
                <a:lnTo>
                  <a:pt x="39203" y="39404"/>
                </a:lnTo>
                <a:lnTo>
                  <a:pt x="38343" y="38538"/>
                </a:lnTo>
                <a:lnTo>
                  <a:pt x="37914" y="38213"/>
                </a:lnTo>
                <a:lnTo>
                  <a:pt x="37377" y="37780"/>
                </a:lnTo>
                <a:lnTo>
                  <a:pt x="36732" y="37347"/>
                </a:lnTo>
                <a:lnTo>
                  <a:pt x="36088" y="36914"/>
                </a:lnTo>
                <a:lnTo>
                  <a:pt x="35443" y="36590"/>
                </a:lnTo>
                <a:lnTo>
                  <a:pt x="34692" y="36157"/>
                </a:lnTo>
                <a:lnTo>
                  <a:pt x="33940" y="35724"/>
                </a:lnTo>
                <a:close/>
              </a:path>
            </a:pathLst>
          </a:custGeom>
          <a:solidFill>
            <a:srgbClr val="000000"/>
          </a:solidFill>
        </p:spPr>
        <p:txBody>
          <a:bodyPr wrap="square" lIns="0" tIns="0" rIns="0" bIns="0" rtlCol="0">
            <a:noAutofit/>
          </a:bodyPr>
          <a:lstStyle/>
          <a:p>
            <a:endParaRPr/>
          </a:p>
        </p:txBody>
      </p:sp>
      <p:sp>
        <p:nvSpPr>
          <p:cNvPr id="1079" name="object 1079"/>
          <p:cNvSpPr/>
          <p:nvPr/>
        </p:nvSpPr>
        <p:spPr>
          <a:xfrm>
            <a:off x="3307626" y="1449422"/>
            <a:ext cx="50802" cy="66793"/>
          </a:xfrm>
          <a:custGeom>
            <a:avLst/>
            <a:gdLst/>
            <a:ahLst/>
            <a:cxnLst/>
            <a:rect l="l" t="t" r="r" b="b"/>
            <a:pathLst>
              <a:path w="50802" h="66793">
                <a:moveTo>
                  <a:pt x="0" y="45034"/>
                </a:moveTo>
                <a:lnTo>
                  <a:pt x="7948" y="44276"/>
                </a:lnTo>
                <a:lnTo>
                  <a:pt x="8055" y="45467"/>
                </a:lnTo>
                <a:lnTo>
                  <a:pt x="8270" y="46657"/>
                </a:lnTo>
                <a:lnTo>
                  <a:pt x="8592" y="47740"/>
                </a:lnTo>
                <a:lnTo>
                  <a:pt x="8914" y="48714"/>
                </a:lnTo>
                <a:lnTo>
                  <a:pt x="9236" y="49688"/>
                </a:lnTo>
                <a:lnTo>
                  <a:pt x="9666" y="50663"/>
                </a:lnTo>
                <a:lnTo>
                  <a:pt x="10096" y="51529"/>
                </a:lnTo>
                <a:lnTo>
                  <a:pt x="10525" y="52287"/>
                </a:lnTo>
                <a:lnTo>
                  <a:pt x="11062" y="53044"/>
                </a:lnTo>
                <a:lnTo>
                  <a:pt x="11707" y="53802"/>
                </a:lnTo>
                <a:lnTo>
                  <a:pt x="12351" y="54452"/>
                </a:lnTo>
                <a:lnTo>
                  <a:pt x="13103" y="55101"/>
                </a:lnTo>
                <a:lnTo>
                  <a:pt x="13962" y="55751"/>
                </a:lnTo>
                <a:lnTo>
                  <a:pt x="14929" y="56292"/>
                </a:lnTo>
                <a:lnTo>
                  <a:pt x="15788" y="56833"/>
                </a:lnTo>
                <a:lnTo>
                  <a:pt x="16862" y="57266"/>
                </a:lnTo>
                <a:lnTo>
                  <a:pt x="17936" y="57699"/>
                </a:lnTo>
                <a:lnTo>
                  <a:pt x="19118" y="58132"/>
                </a:lnTo>
                <a:lnTo>
                  <a:pt x="20299" y="58457"/>
                </a:lnTo>
                <a:lnTo>
                  <a:pt x="21481" y="58674"/>
                </a:lnTo>
                <a:lnTo>
                  <a:pt x="22770" y="58890"/>
                </a:lnTo>
                <a:lnTo>
                  <a:pt x="24058" y="59107"/>
                </a:lnTo>
                <a:lnTo>
                  <a:pt x="25347" y="59215"/>
                </a:lnTo>
                <a:lnTo>
                  <a:pt x="26744" y="59215"/>
                </a:lnTo>
                <a:lnTo>
                  <a:pt x="27925" y="59215"/>
                </a:lnTo>
                <a:lnTo>
                  <a:pt x="29106" y="59107"/>
                </a:lnTo>
                <a:lnTo>
                  <a:pt x="30181" y="58998"/>
                </a:lnTo>
                <a:lnTo>
                  <a:pt x="31362" y="58782"/>
                </a:lnTo>
                <a:lnTo>
                  <a:pt x="32329" y="58674"/>
                </a:lnTo>
                <a:lnTo>
                  <a:pt x="33403" y="58349"/>
                </a:lnTo>
                <a:lnTo>
                  <a:pt x="34369" y="58132"/>
                </a:lnTo>
                <a:lnTo>
                  <a:pt x="35229" y="57808"/>
                </a:lnTo>
                <a:lnTo>
                  <a:pt x="36088" y="57483"/>
                </a:lnTo>
                <a:lnTo>
                  <a:pt x="36947" y="57050"/>
                </a:lnTo>
                <a:lnTo>
                  <a:pt x="37806" y="56617"/>
                </a:lnTo>
                <a:lnTo>
                  <a:pt x="38558" y="56184"/>
                </a:lnTo>
                <a:lnTo>
                  <a:pt x="39203" y="55642"/>
                </a:lnTo>
                <a:lnTo>
                  <a:pt x="39740" y="55101"/>
                </a:lnTo>
                <a:lnTo>
                  <a:pt x="40384" y="54560"/>
                </a:lnTo>
                <a:lnTo>
                  <a:pt x="40814" y="53910"/>
                </a:lnTo>
                <a:lnTo>
                  <a:pt x="41243" y="53261"/>
                </a:lnTo>
                <a:lnTo>
                  <a:pt x="41566" y="52611"/>
                </a:lnTo>
                <a:lnTo>
                  <a:pt x="41888" y="51854"/>
                </a:lnTo>
                <a:lnTo>
                  <a:pt x="42210" y="51204"/>
                </a:lnTo>
                <a:lnTo>
                  <a:pt x="42425" y="50446"/>
                </a:lnTo>
                <a:lnTo>
                  <a:pt x="42532" y="49688"/>
                </a:lnTo>
                <a:lnTo>
                  <a:pt x="42640" y="49039"/>
                </a:lnTo>
                <a:lnTo>
                  <a:pt x="42640" y="48281"/>
                </a:lnTo>
                <a:lnTo>
                  <a:pt x="42640" y="47523"/>
                </a:lnTo>
                <a:lnTo>
                  <a:pt x="42532" y="46874"/>
                </a:lnTo>
                <a:lnTo>
                  <a:pt x="42425" y="46116"/>
                </a:lnTo>
                <a:lnTo>
                  <a:pt x="42210" y="45467"/>
                </a:lnTo>
                <a:lnTo>
                  <a:pt x="41888" y="44817"/>
                </a:lnTo>
                <a:lnTo>
                  <a:pt x="41673" y="44167"/>
                </a:lnTo>
                <a:lnTo>
                  <a:pt x="41351" y="43518"/>
                </a:lnTo>
                <a:lnTo>
                  <a:pt x="40921" y="42977"/>
                </a:lnTo>
                <a:lnTo>
                  <a:pt x="40492" y="42435"/>
                </a:lnTo>
                <a:lnTo>
                  <a:pt x="39847" y="41894"/>
                </a:lnTo>
                <a:lnTo>
                  <a:pt x="39203" y="41353"/>
                </a:lnTo>
                <a:lnTo>
                  <a:pt x="38558" y="40920"/>
                </a:lnTo>
                <a:lnTo>
                  <a:pt x="37699" y="40379"/>
                </a:lnTo>
                <a:lnTo>
                  <a:pt x="36947" y="39946"/>
                </a:lnTo>
                <a:lnTo>
                  <a:pt x="35980" y="39621"/>
                </a:lnTo>
                <a:lnTo>
                  <a:pt x="35014" y="39188"/>
                </a:lnTo>
                <a:lnTo>
                  <a:pt x="34262" y="38971"/>
                </a:lnTo>
                <a:lnTo>
                  <a:pt x="33295" y="38646"/>
                </a:lnTo>
                <a:lnTo>
                  <a:pt x="32221" y="38213"/>
                </a:lnTo>
                <a:lnTo>
                  <a:pt x="30932" y="37889"/>
                </a:lnTo>
                <a:lnTo>
                  <a:pt x="29429" y="37456"/>
                </a:lnTo>
                <a:lnTo>
                  <a:pt x="27710" y="37023"/>
                </a:lnTo>
                <a:lnTo>
                  <a:pt x="25777" y="36481"/>
                </a:lnTo>
                <a:lnTo>
                  <a:pt x="23736" y="36048"/>
                </a:lnTo>
                <a:lnTo>
                  <a:pt x="21588" y="35507"/>
                </a:lnTo>
                <a:lnTo>
                  <a:pt x="19655" y="34966"/>
                </a:lnTo>
                <a:lnTo>
                  <a:pt x="17936" y="34425"/>
                </a:lnTo>
                <a:lnTo>
                  <a:pt x="16325" y="33992"/>
                </a:lnTo>
                <a:lnTo>
                  <a:pt x="14822" y="33450"/>
                </a:lnTo>
                <a:lnTo>
                  <a:pt x="13533" y="32909"/>
                </a:lnTo>
                <a:lnTo>
                  <a:pt x="12351" y="32476"/>
                </a:lnTo>
                <a:lnTo>
                  <a:pt x="11385" y="31935"/>
                </a:lnTo>
                <a:lnTo>
                  <a:pt x="10310" y="31393"/>
                </a:lnTo>
                <a:lnTo>
                  <a:pt x="9236" y="30744"/>
                </a:lnTo>
                <a:lnTo>
                  <a:pt x="8270" y="29986"/>
                </a:lnTo>
                <a:lnTo>
                  <a:pt x="7411" y="29228"/>
                </a:lnTo>
                <a:lnTo>
                  <a:pt x="6551" y="28471"/>
                </a:lnTo>
                <a:lnTo>
                  <a:pt x="5799" y="27713"/>
                </a:lnTo>
                <a:lnTo>
                  <a:pt x="5155" y="26847"/>
                </a:lnTo>
                <a:lnTo>
                  <a:pt x="4618" y="25981"/>
                </a:lnTo>
                <a:lnTo>
                  <a:pt x="4081" y="25115"/>
                </a:lnTo>
                <a:lnTo>
                  <a:pt x="3651" y="24140"/>
                </a:lnTo>
                <a:lnTo>
                  <a:pt x="3222" y="23166"/>
                </a:lnTo>
                <a:lnTo>
                  <a:pt x="2899" y="22083"/>
                </a:lnTo>
                <a:lnTo>
                  <a:pt x="2685" y="21109"/>
                </a:lnTo>
                <a:lnTo>
                  <a:pt x="2470" y="20027"/>
                </a:lnTo>
                <a:lnTo>
                  <a:pt x="2362" y="18944"/>
                </a:lnTo>
                <a:lnTo>
                  <a:pt x="2362" y="17862"/>
                </a:lnTo>
                <a:lnTo>
                  <a:pt x="2362" y="16671"/>
                </a:lnTo>
                <a:lnTo>
                  <a:pt x="2577" y="15480"/>
                </a:lnTo>
                <a:lnTo>
                  <a:pt x="2792" y="14289"/>
                </a:lnTo>
                <a:lnTo>
                  <a:pt x="3114" y="13098"/>
                </a:lnTo>
                <a:lnTo>
                  <a:pt x="3436" y="12016"/>
                </a:lnTo>
                <a:lnTo>
                  <a:pt x="3866" y="10933"/>
                </a:lnTo>
                <a:lnTo>
                  <a:pt x="4403" y="9851"/>
                </a:lnTo>
                <a:lnTo>
                  <a:pt x="5048" y="8768"/>
                </a:lnTo>
                <a:lnTo>
                  <a:pt x="5799" y="7686"/>
                </a:lnTo>
                <a:lnTo>
                  <a:pt x="6551" y="6711"/>
                </a:lnTo>
                <a:lnTo>
                  <a:pt x="7518" y="5845"/>
                </a:lnTo>
                <a:lnTo>
                  <a:pt x="8485" y="4979"/>
                </a:lnTo>
                <a:lnTo>
                  <a:pt x="9559" y="4221"/>
                </a:lnTo>
                <a:lnTo>
                  <a:pt x="10633" y="3464"/>
                </a:lnTo>
                <a:lnTo>
                  <a:pt x="11814" y="2814"/>
                </a:lnTo>
                <a:lnTo>
                  <a:pt x="13103" y="2273"/>
                </a:lnTo>
                <a:lnTo>
                  <a:pt x="14392" y="1732"/>
                </a:lnTo>
                <a:lnTo>
                  <a:pt x="15788" y="1299"/>
                </a:lnTo>
                <a:lnTo>
                  <a:pt x="17184" y="866"/>
                </a:lnTo>
                <a:lnTo>
                  <a:pt x="18688" y="541"/>
                </a:lnTo>
                <a:lnTo>
                  <a:pt x="20084" y="324"/>
                </a:lnTo>
                <a:lnTo>
                  <a:pt x="21695" y="108"/>
                </a:lnTo>
                <a:lnTo>
                  <a:pt x="23199" y="0"/>
                </a:lnTo>
                <a:lnTo>
                  <a:pt x="24810" y="0"/>
                </a:lnTo>
                <a:lnTo>
                  <a:pt x="26529" y="0"/>
                </a:lnTo>
                <a:lnTo>
                  <a:pt x="28247" y="108"/>
                </a:lnTo>
                <a:lnTo>
                  <a:pt x="29858" y="324"/>
                </a:lnTo>
                <a:lnTo>
                  <a:pt x="31469" y="541"/>
                </a:lnTo>
                <a:lnTo>
                  <a:pt x="32973" y="866"/>
                </a:lnTo>
                <a:lnTo>
                  <a:pt x="34477" y="1299"/>
                </a:lnTo>
                <a:lnTo>
                  <a:pt x="35873" y="1732"/>
                </a:lnTo>
                <a:lnTo>
                  <a:pt x="37269" y="2273"/>
                </a:lnTo>
                <a:lnTo>
                  <a:pt x="38558" y="2922"/>
                </a:lnTo>
                <a:lnTo>
                  <a:pt x="39847" y="3572"/>
                </a:lnTo>
                <a:lnTo>
                  <a:pt x="41029" y="4330"/>
                </a:lnTo>
                <a:lnTo>
                  <a:pt x="42103" y="5196"/>
                </a:lnTo>
                <a:lnTo>
                  <a:pt x="43069" y="6062"/>
                </a:lnTo>
                <a:lnTo>
                  <a:pt x="44036" y="7036"/>
                </a:lnTo>
                <a:lnTo>
                  <a:pt x="44895" y="8010"/>
                </a:lnTo>
                <a:lnTo>
                  <a:pt x="45647" y="9093"/>
                </a:lnTo>
                <a:lnTo>
                  <a:pt x="46291" y="10284"/>
                </a:lnTo>
                <a:lnTo>
                  <a:pt x="46936" y="11475"/>
                </a:lnTo>
                <a:lnTo>
                  <a:pt x="47473" y="12665"/>
                </a:lnTo>
                <a:lnTo>
                  <a:pt x="47903" y="13964"/>
                </a:lnTo>
                <a:lnTo>
                  <a:pt x="48225" y="15263"/>
                </a:lnTo>
                <a:lnTo>
                  <a:pt x="48547" y="16562"/>
                </a:lnTo>
                <a:lnTo>
                  <a:pt x="48762" y="17862"/>
                </a:lnTo>
                <a:lnTo>
                  <a:pt x="48869" y="19269"/>
                </a:lnTo>
                <a:lnTo>
                  <a:pt x="40706" y="19918"/>
                </a:lnTo>
                <a:lnTo>
                  <a:pt x="40492" y="18511"/>
                </a:lnTo>
                <a:lnTo>
                  <a:pt x="40169" y="17104"/>
                </a:lnTo>
                <a:lnTo>
                  <a:pt x="39740" y="15805"/>
                </a:lnTo>
                <a:lnTo>
                  <a:pt x="39203" y="14614"/>
                </a:lnTo>
                <a:lnTo>
                  <a:pt x="38558" y="13423"/>
                </a:lnTo>
                <a:lnTo>
                  <a:pt x="37914" y="12449"/>
                </a:lnTo>
                <a:lnTo>
                  <a:pt x="37055" y="11583"/>
                </a:lnTo>
                <a:lnTo>
                  <a:pt x="36195" y="10717"/>
                </a:lnTo>
                <a:lnTo>
                  <a:pt x="35229" y="9959"/>
                </a:lnTo>
                <a:lnTo>
                  <a:pt x="34155" y="9309"/>
                </a:lnTo>
                <a:lnTo>
                  <a:pt x="32866" y="8768"/>
                </a:lnTo>
                <a:lnTo>
                  <a:pt x="31577" y="8335"/>
                </a:lnTo>
                <a:lnTo>
                  <a:pt x="30073" y="8010"/>
                </a:lnTo>
                <a:lnTo>
                  <a:pt x="28569" y="7794"/>
                </a:lnTo>
                <a:lnTo>
                  <a:pt x="26851" y="7577"/>
                </a:lnTo>
                <a:lnTo>
                  <a:pt x="25132" y="7577"/>
                </a:lnTo>
                <a:lnTo>
                  <a:pt x="23307" y="7577"/>
                </a:lnTo>
                <a:lnTo>
                  <a:pt x="21588" y="7794"/>
                </a:lnTo>
                <a:lnTo>
                  <a:pt x="19977" y="8010"/>
                </a:lnTo>
                <a:lnTo>
                  <a:pt x="18581" y="8335"/>
                </a:lnTo>
                <a:lnTo>
                  <a:pt x="17184" y="8660"/>
                </a:lnTo>
                <a:lnTo>
                  <a:pt x="16003" y="9201"/>
                </a:lnTo>
                <a:lnTo>
                  <a:pt x="15036" y="9742"/>
                </a:lnTo>
                <a:lnTo>
                  <a:pt x="14070" y="10392"/>
                </a:lnTo>
                <a:lnTo>
                  <a:pt x="13210" y="11150"/>
                </a:lnTo>
                <a:lnTo>
                  <a:pt x="12566" y="11908"/>
                </a:lnTo>
                <a:lnTo>
                  <a:pt x="11922" y="12774"/>
                </a:lnTo>
                <a:lnTo>
                  <a:pt x="11385" y="13640"/>
                </a:lnTo>
                <a:lnTo>
                  <a:pt x="11062" y="14506"/>
                </a:lnTo>
                <a:lnTo>
                  <a:pt x="10740" y="15372"/>
                </a:lnTo>
                <a:lnTo>
                  <a:pt x="10633" y="16346"/>
                </a:lnTo>
                <a:lnTo>
                  <a:pt x="10525" y="17320"/>
                </a:lnTo>
                <a:lnTo>
                  <a:pt x="10525" y="18186"/>
                </a:lnTo>
                <a:lnTo>
                  <a:pt x="10633" y="18944"/>
                </a:lnTo>
                <a:lnTo>
                  <a:pt x="10847" y="19702"/>
                </a:lnTo>
                <a:lnTo>
                  <a:pt x="11170" y="20460"/>
                </a:lnTo>
                <a:lnTo>
                  <a:pt x="11492" y="21217"/>
                </a:lnTo>
                <a:lnTo>
                  <a:pt x="11922" y="21867"/>
                </a:lnTo>
                <a:lnTo>
                  <a:pt x="12459" y="22517"/>
                </a:lnTo>
                <a:lnTo>
                  <a:pt x="12996" y="23058"/>
                </a:lnTo>
                <a:lnTo>
                  <a:pt x="13640" y="23599"/>
                </a:lnTo>
                <a:lnTo>
                  <a:pt x="14607" y="24140"/>
                </a:lnTo>
                <a:lnTo>
                  <a:pt x="15896" y="24790"/>
                </a:lnTo>
                <a:lnTo>
                  <a:pt x="17292" y="25331"/>
                </a:lnTo>
                <a:lnTo>
                  <a:pt x="19010" y="25872"/>
                </a:lnTo>
                <a:lnTo>
                  <a:pt x="21051" y="26414"/>
                </a:lnTo>
                <a:lnTo>
                  <a:pt x="23199" y="27063"/>
                </a:lnTo>
                <a:lnTo>
                  <a:pt x="25669" y="27604"/>
                </a:lnTo>
                <a:lnTo>
                  <a:pt x="28140" y="28146"/>
                </a:lnTo>
                <a:lnTo>
                  <a:pt x="30395" y="28687"/>
                </a:lnTo>
                <a:lnTo>
                  <a:pt x="32543" y="29337"/>
                </a:lnTo>
                <a:lnTo>
                  <a:pt x="34369" y="29878"/>
                </a:lnTo>
                <a:lnTo>
                  <a:pt x="36088" y="30419"/>
                </a:lnTo>
                <a:lnTo>
                  <a:pt x="37484" y="30852"/>
                </a:lnTo>
                <a:lnTo>
                  <a:pt x="38773" y="31393"/>
                </a:lnTo>
                <a:lnTo>
                  <a:pt x="39847" y="31826"/>
                </a:lnTo>
                <a:lnTo>
                  <a:pt x="41136" y="32476"/>
                </a:lnTo>
                <a:lnTo>
                  <a:pt x="42425" y="33234"/>
                </a:lnTo>
                <a:lnTo>
                  <a:pt x="43606" y="33992"/>
                </a:lnTo>
                <a:lnTo>
                  <a:pt x="44680" y="34749"/>
                </a:lnTo>
                <a:lnTo>
                  <a:pt x="45754" y="35615"/>
                </a:lnTo>
                <a:lnTo>
                  <a:pt x="46614" y="36481"/>
                </a:lnTo>
                <a:lnTo>
                  <a:pt x="47365" y="37347"/>
                </a:lnTo>
                <a:lnTo>
                  <a:pt x="48117" y="38322"/>
                </a:lnTo>
                <a:lnTo>
                  <a:pt x="48762" y="39296"/>
                </a:lnTo>
                <a:lnTo>
                  <a:pt x="49299" y="40379"/>
                </a:lnTo>
                <a:lnTo>
                  <a:pt x="49728" y="41461"/>
                </a:lnTo>
                <a:lnTo>
                  <a:pt x="50158" y="42544"/>
                </a:lnTo>
                <a:lnTo>
                  <a:pt x="50373" y="43734"/>
                </a:lnTo>
                <a:lnTo>
                  <a:pt x="50588" y="45034"/>
                </a:lnTo>
                <a:lnTo>
                  <a:pt x="50802" y="46224"/>
                </a:lnTo>
                <a:lnTo>
                  <a:pt x="50802" y="47523"/>
                </a:lnTo>
                <a:lnTo>
                  <a:pt x="50802" y="48822"/>
                </a:lnTo>
                <a:lnTo>
                  <a:pt x="50588" y="50121"/>
                </a:lnTo>
                <a:lnTo>
                  <a:pt x="50373" y="51312"/>
                </a:lnTo>
                <a:lnTo>
                  <a:pt x="50051" y="52503"/>
                </a:lnTo>
                <a:lnTo>
                  <a:pt x="49621" y="53802"/>
                </a:lnTo>
                <a:lnTo>
                  <a:pt x="49191" y="54993"/>
                </a:lnTo>
                <a:lnTo>
                  <a:pt x="48547" y="56075"/>
                </a:lnTo>
                <a:lnTo>
                  <a:pt x="47903" y="57266"/>
                </a:lnTo>
                <a:lnTo>
                  <a:pt x="47151" y="58349"/>
                </a:lnTo>
                <a:lnTo>
                  <a:pt x="46291" y="59431"/>
                </a:lnTo>
                <a:lnTo>
                  <a:pt x="45325" y="60406"/>
                </a:lnTo>
                <a:lnTo>
                  <a:pt x="44358" y="61272"/>
                </a:lnTo>
                <a:lnTo>
                  <a:pt x="43177" y="62138"/>
                </a:lnTo>
                <a:lnTo>
                  <a:pt x="41995" y="62896"/>
                </a:lnTo>
                <a:lnTo>
                  <a:pt x="40706" y="63653"/>
                </a:lnTo>
                <a:lnTo>
                  <a:pt x="39417" y="64303"/>
                </a:lnTo>
                <a:lnTo>
                  <a:pt x="38021" y="64844"/>
                </a:lnTo>
                <a:lnTo>
                  <a:pt x="36625" y="65385"/>
                </a:lnTo>
                <a:lnTo>
                  <a:pt x="35121" y="65818"/>
                </a:lnTo>
                <a:lnTo>
                  <a:pt x="33618" y="66143"/>
                </a:lnTo>
                <a:lnTo>
                  <a:pt x="32114" y="66468"/>
                </a:lnTo>
                <a:lnTo>
                  <a:pt x="30503" y="66684"/>
                </a:lnTo>
                <a:lnTo>
                  <a:pt x="28892" y="66793"/>
                </a:lnTo>
                <a:lnTo>
                  <a:pt x="27173" y="66793"/>
                </a:lnTo>
                <a:lnTo>
                  <a:pt x="25025" y="66793"/>
                </a:lnTo>
                <a:lnTo>
                  <a:pt x="22984" y="66684"/>
                </a:lnTo>
                <a:lnTo>
                  <a:pt x="21051" y="66468"/>
                </a:lnTo>
                <a:lnTo>
                  <a:pt x="19225" y="66143"/>
                </a:lnTo>
                <a:lnTo>
                  <a:pt x="17399" y="65818"/>
                </a:lnTo>
                <a:lnTo>
                  <a:pt x="15788" y="65385"/>
                </a:lnTo>
                <a:lnTo>
                  <a:pt x="14177" y="64844"/>
                </a:lnTo>
                <a:lnTo>
                  <a:pt x="12673" y="64303"/>
                </a:lnTo>
                <a:lnTo>
                  <a:pt x="11277" y="63653"/>
                </a:lnTo>
                <a:lnTo>
                  <a:pt x="9881" y="62896"/>
                </a:lnTo>
                <a:lnTo>
                  <a:pt x="8592" y="62030"/>
                </a:lnTo>
                <a:lnTo>
                  <a:pt x="7411" y="61055"/>
                </a:lnTo>
                <a:lnTo>
                  <a:pt x="6336" y="60081"/>
                </a:lnTo>
                <a:lnTo>
                  <a:pt x="5262" y="58998"/>
                </a:lnTo>
                <a:lnTo>
                  <a:pt x="4296" y="57808"/>
                </a:lnTo>
                <a:lnTo>
                  <a:pt x="3436" y="56617"/>
                </a:lnTo>
                <a:lnTo>
                  <a:pt x="2685" y="55318"/>
                </a:lnTo>
                <a:lnTo>
                  <a:pt x="2040" y="54019"/>
                </a:lnTo>
                <a:lnTo>
                  <a:pt x="1396" y="52611"/>
                </a:lnTo>
                <a:lnTo>
                  <a:pt x="966" y="51204"/>
                </a:lnTo>
                <a:lnTo>
                  <a:pt x="537" y="49688"/>
                </a:lnTo>
                <a:lnTo>
                  <a:pt x="214" y="48173"/>
                </a:lnTo>
                <a:lnTo>
                  <a:pt x="107" y="46657"/>
                </a:lnTo>
                <a:lnTo>
                  <a:pt x="0" y="45034"/>
                </a:lnTo>
              </a:path>
            </a:pathLst>
          </a:custGeom>
          <a:ln w="107">
            <a:solidFill>
              <a:srgbClr val="000000"/>
            </a:solidFill>
          </a:ln>
        </p:spPr>
        <p:txBody>
          <a:bodyPr wrap="square" lIns="0" tIns="0" rIns="0" bIns="0" rtlCol="0">
            <a:noAutofit/>
          </a:bodyPr>
          <a:lstStyle/>
          <a:p>
            <a:endParaRPr/>
          </a:p>
        </p:txBody>
      </p:sp>
      <p:sp>
        <p:nvSpPr>
          <p:cNvPr id="1080" name="object 1080"/>
          <p:cNvSpPr/>
          <p:nvPr/>
        </p:nvSpPr>
        <p:spPr>
          <a:xfrm>
            <a:off x="3363048" y="1450504"/>
            <a:ext cx="59932" cy="64628"/>
          </a:xfrm>
          <a:custGeom>
            <a:avLst/>
            <a:gdLst/>
            <a:ahLst/>
            <a:cxnLst/>
            <a:rect l="l" t="t" r="r" b="b"/>
            <a:pathLst>
              <a:path w="59932" h="64628">
                <a:moveTo>
                  <a:pt x="0" y="64628"/>
                </a:moveTo>
                <a:lnTo>
                  <a:pt x="24595" y="0"/>
                </a:lnTo>
                <a:lnTo>
                  <a:pt x="33940" y="0"/>
                </a:lnTo>
                <a:lnTo>
                  <a:pt x="59932" y="64628"/>
                </a:lnTo>
                <a:lnTo>
                  <a:pt x="50373" y="64628"/>
                </a:lnTo>
                <a:lnTo>
                  <a:pt x="42854" y="45034"/>
                </a:lnTo>
                <a:lnTo>
                  <a:pt x="16003" y="45034"/>
                </a:lnTo>
                <a:lnTo>
                  <a:pt x="9129" y="64628"/>
                </a:lnTo>
                <a:lnTo>
                  <a:pt x="0" y="64628"/>
                </a:lnTo>
              </a:path>
            </a:pathLst>
          </a:custGeom>
          <a:ln w="107">
            <a:solidFill>
              <a:srgbClr val="000000"/>
            </a:solidFill>
          </a:ln>
        </p:spPr>
        <p:txBody>
          <a:bodyPr wrap="square" lIns="0" tIns="0" rIns="0" bIns="0" rtlCol="0">
            <a:noAutofit/>
          </a:bodyPr>
          <a:lstStyle/>
          <a:p>
            <a:endParaRPr/>
          </a:p>
        </p:txBody>
      </p:sp>
      <p:sp>
        <p:nvSpPr>
          <p:cNvPr id="1081" name="object 1081"/>
          <p:cNvSpPr/>
          <p:nvPr/>
        </p:nvSpPr>
        <p:spPr>
          <a:xfrm>
            <a:off x="3381523" y="1457216"/>
            <a:ext cx="21803" cy="31393"/>
          </a:xfrm>
          <a:custGeom>
            <a:avLst/>
            <a:gdLst/>
            <a:ahLst/>
            <a:cxnLst/>
            <a:rect l="l" t="t" r="r" b="b"/>
            <a:pathLst>
              <a:path w="21803" h="31393">
                <a:moveTo>
                  <a:pt x="0" y="31393"/>
                </a:moveTo>
                <a:lnTo>
                  <a:pt x="21803" y="31393"/>
                </a:lnTo>
                <a:lnTo>
                  <a:pt x="15144" y="13531"/>
                </a:lnTo>
                <a:lnTo>
                  <a:pt x="14392" y="11583"/>
                </a:lnTo>
                <a:lnTo>
                  <a:pt x="13747" y="9634"/>
                </a:lnTo>
                <a:lnTo>
                  <a:pt x="12996" y="7794"/>
                </a:lnTo>
                <a:lnTo>
                  <a:pt x="12459" y="6062"/>
                </a:lnTo>
                <a:lnTo>
                  <a:pt x="11922" y="4438"/>
                </a:lnTo>
                <a:lnTo>
                  <a:pt x="11385" y="2814"/>
                </a:lnTo>
                <a:lnTo>
                  <a:pt x="10955" y="1407"/>
                </a:lnTo>
                <a:lnTo>
                  <a:pt x="10525" y="0"/>
                </a:lnTo>
                <a:lnTo>
                  <a:pt x="10203" y="1623"/>
                </a:lnTo>
                <a:lnTo>
                  <a:pt x="9773" y="3139"/>
                </a:lnTo>
                <a:lnTo>
                  <a:pt x="9451" y="4763"/>
                </a:lnTo>
                <a:lnTo>
                  <a:pt x="9022" y="6278"/>
                </a:lnTo>
                <a:lnTo>
                  <a:pt x="8485" y="7902"/>
                </a:lnTo>
                <a:lnTo>
                  <a:pt x="8055" y="9418"/>
                </a:lnTo>
                <a:lnTo>
                  <a:pt x="7518" y="10933"/>
                </a:lnTo>
                <a:lnTo>
                  <a:pt x="6981" y="12449"/>
                </a:lnTo>
                <a:lnTo>
                  <a:pt x="0" y="31393"/>
                </a:lnTo>
              </a:path>
            </a:pathLst>
          </a:custGeom>
          <a:ln w="107">
            <a:solidFill>
              <a:srgbClr val="000000"/>
            </a:solidFill>
          </a:ln>
        </p:spPr>
        <p:txBody>
          <a:bodyPr wrap="square" lIns="0" tIns="0" rIns="0" bIns="0" rtlCol="0">
            <a:noAutofit/>
          </a:bodyPr>
          <a:lstStyle/>
          <a:p>
            <a:endParaRPr/>
          </a:p>
        </p:txBody>
      </p:sp>
      <p:sp>
        <p:nvSpPr>
          <p:cNvPr id="1082" name="object 1082"/>
          <p:cNvSpPr/>
          <p:nvPr/>
        </p:nvSpPr>
        <p:spPr>
          <a:xfrm>
            <a:off x="3429532" y="1450504"/>
            <a:ext cx="39954" cy="64628"/>
          </a:xfrm>
          <a:custGeom>
            <a:avLst/>
            <a:gdLst/>
            <a:ahLst/>
            <a:cxnLst/>
            <a:rect l="l" t="t" r="r" b="b"/>
            <a:pathLst>
              <a:path w="39954" h="64628">
                <a:moveTo>
                  <a:pt x="0" y="64628"/>
                </a:moveTo>
                <a:lnTo>
                  <a:pt x="0" y="0"/>
                </a:lnTo>
                <a:lnTo>
                  <a:pt x="8485" y="0"/>
                </a:lnTo>
                <a:lnTo>
                  <a:pt x="8485" y="57050"/>
                </a:lnTo>
                <a:lnTo>
                  <a:pt x="39954" y="57050"/>
                </a:lnTo>
                <a:lnTo>
                  <a:pt x="39954" y="64628"/>
                </a:lnTo>
                <a:lnTo>
                  <a:pt x="0" y="64628"/>
                </a:lnTo>
              </a:path>
            </a:pathLst>
          </a:custGeom>
          <a:ln w="107">
            <a:solidFill>
              <a:srgbClr val="000000"/>
            </a:solidFill>
          </a:ln>
        </p:spPr>
        <p:txBody>
          <a:bodyPr wrap="square" lIns="0" tIns="0" rIns="0" bIns="0" rtlCol="0">
            <a:noAutofit/>
          </a:bodyPr>
          <a:lstStyle/>
          <a:p>
            <a:endParaRPr/>
          </a:p>
        </p:txBody>
      </p:sp>
      <p:sp>
        <p:nvSpPr>
          <p:cNvPr id="1083" name="object 1083"/>
          <p:cNvSpPr/>
          <p:nvPr/>
        </p:nvSpPr>
        <p:spPr>
          <a:xfrm>
            <a:off x="3479905" y="1450504"/>
            <a:ext cx="47688" cy="64628"/>
          </a:xfrm>
          <a:custGeom>
            <a:avLst/>
            <a:gdLst/>
            <a:ahLst/>
            <a:cxnLst/>
            <a:rect l="l" t="t" r="r" b="b"/>
            <a:pathLst>
              <a:path w="47688" h="64628">
                <a:moveTo>
                  <a:pt x="0" y="64628"/>
                </a:moveTo>
                <a:lnTo>
                  <a:pt x="0" y="0"/>
                </a:lnTo>
                <a:lnTo>
                  <a:pt x="46184" y="0"/>
                </a:lnTo>
                <a:lnTo>
                  <a:pt x="46184" y="7577"/>
                </a:lnTo>
                <a:lnTo>
                  <a:pt x="8485" y="7577"/>
                </a:lnTo>
                <a:lnTo>
                  <a:pt x="8485" y="27388"/>
                </a:lnTo>
                <a:lnTo>
                  <a:pt x="43821" y="27388"/>
                </a:lnTo>
                <a:lnTo>
                  <a:pt x="43821" y="34966"/>
                </a:lnTo>
                <a:lnTo>
                  <a:pt x="8485" y="34966"/>
                </a:lnTo>
                <a:lnTo>
                  <a:pt x="8485" y="57050"/>
                </a:lnTo>
                <a:lnTo>
                  <a:pt x="47688" y="57050"/>
                </a:lnTo>
                <a:lnTo>
                  <a:pt x="47688" y="64628"/>
                </a:lnTo>
                <a:lnTo>
                  <a:pt x="0" y="64628"/>
                </a:lnTo>
              </a:path>
            </a:pathLst>
          </a:custGeom>
          <a:ln w="107">
            <a:solidFill>
              <a:srgbClr val="000000"/>
            </a:solidFill>
          </a:ln>
        </p:spPr>
        <p:txBody>
          <a:bodyPr wrap="square" lIns="0" tIns="0" rIns="0" bIns="0" rtlCol="0">
            <a:noAutofit/>
          </a:bodyPr>
          <a:lstStyle/>
          <a:p>
            <a:endParaRPr/>
          </a:p>
        </p:txBody>
      </p:sp>
      <p:sp>
        <p:nvSpPr>
          <p:cNvPr id="1084" name="object 1084"/>
          <p:cNvSpPr/>
          <p:nvPr/>
        </p:nvSpPr>
        <p:spPr>
          <a:xfrm>
            <a:off x="3536508" y="1449422"/>
            <a:ext cx="50802" cy="66793"/>
          </a:xfrm>
          <a:custGeom>
            <a:avLst/>
            <a:gdLst/>
            <a:ahLst/>
            <a:cxnLst/>
            <a:rect l="l" t="t" r="r" b="b"/>
            <a:pathLst>
              <a:path w="50802" h="66793">
                <a:moveTo>
                  <a:pt x="0" y="45034"/>
                </a:moveTo>
                <a:lnTo>
                  <a:pt x="7948" y="44276"/>
                </a:lnTo>
                <a:lnTo>
                  <a:pt x="8055" y="45467"/>
                </a:lnTo>
                <a:lnTo>
                  <a:pt x="8270" y="46657"/>
                </a:lnTo>
                <a:lnTo>
                  <a:pt x="8592" y="47740"/>
                </a:lnTo>
                <a:lnTo>
                  <a:pt x="8914" y="48714"/>
                </a:lnTo>
                <a:lnTo>
                  <a:pt x="9236" y="49688"/>
                </a:lnTo>
                <a:lnTo>
                  <a:pt x="9666" y="50663"/>
                </a:lnTo>
                <a:lnTo>
                  <a:pt x="10096" y="51529"/>
                </a:lnTo>
                <a:lnTo>
                  <a:pt x="10525" y="52287"/>
                </a:lnTo>
                <a:lnTo>
                  <a:pt x="11062" y="53044"/>
                </a:lnTo>
                <a:lnTo>
                  <a:pt x="11707" y="53802"/>
                </a:lnTo>
                <a:lnTo>
                  <a:pt x="12351" y="54452"/>
                </a:lnTo>
                <a:lnTo>
                  <a:pt x="13103" y="55101"/>
                </a:lnTo>
                <a:lnTo>
                  <a:pt x="13962" y="55751"/>
                </a:lnTo>
                <a:lnTo>
                  <a:pt x="14929" y="56292"/>
                </a:lnTo>
                <a:lnTo>
                  <a:pt x="15788" y="56833"/>
                </a:lnTo>
                <a:lnTo>
                  <a:pt x="16862" y="57266"/>
                </a:lnTo>
                <a:lnTo>
                  <a:pt x="17936" y="57699"/>
                </a:lnTo>
                <a:lnTo>
                  <a:pt x="19118" y="58132"/>
                </a:lnTo>
                <a:lnTo>
                  <a:pt x="20299" y="58457"/>
                </a:lnTo>
                <a:lnTo>
                  <a:pt x="21481" y="58674"/>
                </a:lnTo>
                <a:lnTo>
                  <a:pt x="22770" y="58890"/>
                </a:lnTo>
                <a:lnTo>
                  <a:pt x="24058" y="59107"/>
                </a:lnTo>
                <a:lnTo>
                  <a:pt x="25347" y="59215"/>
                </a:lnTo>
                <a:lnTo>
                  <a:pt x="26744" y="59215"/>
                </a:lnTo>
                <a:lnTo>
                  <a:pt x="27925" y="59215"/>
                </a:lnTo>
                <a:lnTo>
                  <a:pt x="29106" y="59107"/>
                </a:lnTo>
                <a:lnTo>
                  <a:pt x="30181" y="58998"/>
                </a:lnTo>
                <a:lnTo>
                  <a:pt x="31362" y="58782"/>
                </a:lnTo>
                <a:lnTo>
                  <a:pt x="32329" y="58674"/>
                </a:lnTo>
                <a:lnTo>
                  <a:pt x="33403" y="58349"/>
                </a:lnTo>
                <a:lnTo>
                  <a:pt x="34369" y="58132"/>
                </a:lnTo>
                <a:lnTo>
                  <a:pt x="35229" y="57808"/>
                </a:lnTo>
                <a:lnTo>
                  <a:pt x="36088" y="57483"/>
                </a:lnTo>
                <a:lnTo>
                  <a:pt x="36947" y="57050"/>
                </a:lnTo>
                <a:lnTo>
                  <a:pt x="37806" y="56617"/>
                </a:lnTo>
                <a:lnTo>
                  <a:pt x="38558" y="56184"/>
                </a:lnTo>
                <a:lnTo>
                  <a:pt x="39203" y="55642"/>
                </a:lnTo>
                <a:lnTo>
                  <a:pt x="39740" y="55101"/>
                </a:lnTo>
                <a:lnTo>
                  <a:pt x="40384" y="54560"/>
                </a:lnTo>
                <a:lnTo>
                  <a:pt x="40814" y="53910"/>
                </a:lnTo>
                <a:lnTo>
                  <a:pt x="41243" y="53261"/>
                </a:lnTo>
                <a:lnTo>
                  <a:pt x="41566" y="52611"/>
                </a:lnTo>
                <a:lnTo>
                  <a:pt x="41888" y="51854"/>
                </a:lnTo>
                <a:lnTo>
                  <a:pt x="42210" y="51204"/>
                </a:lnTo>
                <a:lnTo>
                  <a:pt x="42425" y="50446"/>
                </a:lnTo>
                <a:lnTo>
                  <a:pt x="42532" y="49688"/>
                </a:lnTo>
                <a:lnTo>
                  <a:pt x="42640" y="49039"/>
                </a:lnTo>
                <a:lnTo>
                  <a:pt x="42640" y="48281"/>
                </a:lnTo>
                <a:lnTo>
                  <a:pt x="42640" y="47523"/>
                </a:lnTo>
                <a:lnTo>
                  <a:pt x="42532" y="46874"/>
                </a:lnTo>
                <a:lnTo>
                  <a:pt x="42425" y="46116"/>
                </a:lnTo>
                <a:lnTo>
                  <a:pt x="42210" y="45467"/>
                </a:lnTo>
                <a:lnTo>
                  <a:pt x="41888" y="44817"/>
                </a:lnTo>
                <a:lnTo>
                  <a:pt x="41673" y="44167"/>
                </a:lnTo>
                <a:lnTo>
                  <a:pt x="41351" y="43518"/>
                </a:lnTo>
                <a:lnTo>
                  <a:pt x="40921" y="42977"/>
                </a:lnTo>
                <a:lnTo>
                  <a:pt x="40492" y="42435"/>
                </a:lnTo>
                <a:lnTo>
                  <a:pt x="39847" y="41894"/>
                </a:lnTo>
                <a:lnTo>
                  <a:pt x="39203" y="41353"/>
                </a:lnTo>
                <a:lnTo>
                  <a:pt x="38558" y="40920"/>
                </a:lnTo>
                <a:lnTo>
                  <a:pt x="37699" y="40379"/>
                </a:lnTo>
                <a:lnTo>
                  <a:pt x="36947" y="39946"/>
                </a:lnTo>
                <a:lnTo>
                  <a:pt x="35980" y="39621"/>
                </a:lnTo>
                <a:lnTo>
                  <a:pt x="35014" y="39188"/>
                </a:lnTo>
                <a:lnTo>
                  <a:pt x="34262" y="38971"/>
                </a:lnTo>
                <a:lnTo>
                  <a:pt x="33295" y="38646"/>
                </a:lnTo>
                <a:lnTo>
                  <a:pt x="32221" y="38213"/>
                </a:lnTo>
                <a:lnTo>
                  <a:pt x="30932" y="37889"/>
                </a:lnTo>
                <a:lnTo>
                  <a:pt x="29429" y="37456"/>
                </a:lnTo>
                <a:lnTo>
                  <a:pt x="27710" y="37023"/>
                </a:lnTo>
                <a:lnTo>
                  <a:pt x="25777" y="36481"/>
                </a:lnTo>
                <a:lnTo>
                  <a:pt x="23736" y="36048"/>
                </a:lnTo>
                <a:lnTo>
                  <a:pt x="21588" y="35507"/>
                </a:lnTo>
                <a:lnTo>
                  <a:pt x="19655" y="34966"/>
                </a:lnTo>
                <a:lnTo>
                  <a:pt x="17936" y="34425"/>
                </a:lnTo>
                <a:lnTo>
                  <a:pt x="16325" y="33992"/>
                </a:lnTo>
                <a:lnTo>
                  <a:pt x="14822" y="33450"/>
                </a:lnTo>
                <a:lnTo>
                  <a:pt x="13533" y="32909"/>
                </a:lnTo>
                <a:lnTo>
                  <a:pt x="12351" y="32476"/>
                </a:lnTo>
                <a:lnTo>
                  <a:pt x="11385" y="31935"/>
                </a:lnTo>
                <a:lnTo>
                  <a:pt x="10310" y="31393"/>
                </a:lnTo>
                <a:lnTo>
                  <a:pt x="9236" y="30744"/>
                </a:lnTo>
                <a:lnTo>
                  <a:pt x="8270" y="29986"/>
                </a:lnTo>
                <a:lnTo>
                  <a:pt x="7411" y="29228"/>
                </a:lnTo>
                <a:lnTo>
                  <a:pt x="6551" y="28471"/>
                </a:lnTo>
                <a:lnTo>
                  <a:pt x="5799" y="27713"/>
                </a:lnTo>
                <a:lnTo>
                  <a:pt x="5155" y="26847"/>
                </a:lnTo>
                <a:lnTo>
                  <a:pt x="4618" y="25981"/>
                </a:lnTo>
                <a:lnTo>
                  <a:pt x="4081" y="25115"/>
                </a:lnTo>
                <a:lnTo>
                  <a:pt x="3651" y="24140"/>
                </a:lnTo>
                <a:lnTo>
                  <a:pt x="3222" y="23166"/>
                </a:lnTo>
                <a:lnTo>
                  <a:pt x="2899" y="22083"/>
                </a:lnTo>
                <a:lnTo>
                  <a:pt x="2685" y="21109"/>
                </a:lnTo>
                <a:lnTo>
                  <a:pt x="2470" y="20027"/>
                </a:lnTo>
                <a:lnTo>
                  <a:pt x="2362" y="18944"/>
                </a:lnTo>
                <a:lnTo>
                  <a:pt x="2362" y="17862"/>
                </a:lnTo>
                <a:lnTo>
                  <a:pt x="2362" y="16671"/>
                </a:lnTo>
                <a:lnTo>
                  <a:pt x="2577" y="15480"/>
                </a:lnTo>
                <a:lnTo>
                  <a:pt x="2792" y="14289"/>
                </a:lnTo>
                <a:lnTo>
                  <a:pt x="3114" y="13098"/>
                </a:lnTo>
                <a:lnTo>
                  <a:pt x="3436" y="12016"/>
                </a:lnTo>
                <a:lnTo>
                  <a:pt x="3866" y="10933"/>
                </a:lnTo>
                <a:lnTo>
                  <a:pt x="4403" y="9851"/>
                </a:lnTo>
                <a:lnTo>
                  <a:pt x="5048" y="8768"/>
                </a:lnTo>
                <a:lnTo>
                  <a:pt x="5799" y="7686"/>
                </a:lnTo>
                <a:lnTo>
                  <a:pt x="6551" y="6711"/>
                </a:lnTo>
                <a:lnTo>
                  <a:pt x="7518" y="5845"/>
                </a:lnTo>
                <a:lnTo>
                  <a:pt x="8485" y="4979"/>
                </a:lnTo>
                <a:lnTo>
                  <a:pt x="9559" y="4221"/>
                </a:lnTo>
                <a:lnTo>
                  <a:pt x="10633" y="3464"/>
                </a:lnTo>
                <a:lnTo>
                  <a:pt x="11814" y="2814"/>
                </a:lnTo>
                <a:lnTo>
                  <a:pt x="13103" y="2273"/>
                </a:lnTo>
                <a:lnTo>
                  <a:pt x="14392" y="1732"/>
                </a:lnTo>
                <a:lnTo>
                  <a:pt x="15788" y="1299"/>
                </a:lnTo>
                <a:lnTo>
                  <a:pt x="17184" y="866"/>
                </a:lnTo>
                <a:lnTo>
                  <a:pt x="18688" y="541"/>
                </a:lnTo>
                <a:lnTo>
                  <a:pt x="20084" y="324"/>
                </a:lnTo>
                <a:lnTo>
                  <a:pt x="21695" y="108"/>
                </a:lnTo>
                <a:lnTo>
                  <a:pt x="23199" y="0"/>
                </a:lnTo>
                <a:lnTo>
                  <a:pt x="24810" y="0"/>
                </a:lnTo>
                <a:lnTo>
                  <a:pt x="26529" y="0"/>
                </a:lnTo>
                <a:lnTo>
                  <a:pt x="28247" y="108"/>
                </a:lnTo>
                <a:lnTo>
                  <a:pt x="29858" y="324"/>
                </a:lnTo>
                <a:lnTo>
                  <a:pt x="31469" y="541"/>
                </a:lnTo>
                <a:lnTo>
                  <a:pt x="32973" y="866"/>
                </a:lnTo>
                <a:lnTo>
                  <a:pt x="34477" y="1299"/>
                </a:lnTo>
                <a:lnTo>
                  <a:pt x="35873" y="1732"/>
                </a:lnTo>
                <a:lnTo>
                  <a:pt x="37269" y="2273"/>
                </a:lnTo>
                <a:lnTo>
                  <a:pt x="38558" y="2922"/>
                </a:lnTo>
                <a:lnTo>
                  <a:pt x="39847" y="3572"/>
                </a:lnTo>
                <a:lnTo>
                  <a:pt x="41029" y="4330"/>
                </a:lnTo>
                <a:lnTo>
                  <a:pt x="42103" y="5196"/>
                </a:lnTo>
                <a:lnTo>
                  <a:pt x="43069" y="6062"/>
                </a:lnTo>
                <a:lnTo>
                  <a:pt x="44036" y="7036"/>
                </a:lnTo>
                <a:lnTo>
                  <a:pt x="44895" y="8010"/>
                </a:lnTo>
                <a:lnTo>
                  <a:pt x="45647" y="9093"/>
                </a:lnTo>
                <a:lnTo>
                  <a:pt x="46291" y="10284"/>
                </a:lnTo>
                <a:lnTo>
                  <a:pt x="46936" y="11475"/>
                </a:lnTo>
                <a:lnTo>
                  <a:pt x="47473" y="12665"/>
                </a:lnTo>
                <a:lnTo>
                  <a:pt x="47903" y="13964"/>
                </a:lnTo>
                <a:lnTo>
                  <a:pt x="48225" y="15263"/>
                </a:lnTo>
                <a:lnTo>
                  <a:pt x="48547" y="16562"/>
                </a:lnTo>
                <a:lnTo>
                  <a:pt x="48762" y="17862"/>
                </a:lnTo>
                <a:lnTo>
                  <a:pt x="48869" y="19269"/>
                </a:lnTo>
                <a:lnTo>
                  <a:pt x="40706" y="19918"/>
                </a:lnTo>
                <a:lnTo>
                  <a:pt x="40492" y="18511"/>
                </a:lnTo>
                <a:lnTo>
                  <a:pt x="40169" y="17104"/>
                </a:lnTo>
                <a:lnTo>
                  <a:pt x="39740" y="15805"/>
                </a:lnTo>
                <a:lnTo>
                  <a:pt x="39203" y="14614"/>
                </a:lnTo>
                <a:lnTo>
                  <a:pt x="38558" y="13423"/>
                </a:lnTo>
                <a:lnTo>
                  <a:pt x="37914" y="12449"/>
                </a:lnTo>
                <a:lnTo>
                  <a:pt x="37055" y="11583"/>
                </a:lnTo>
                <a:lnTo>
                  <a:pt x="36195" y="10717"/>
                </a:lnTo>
                <a:lnTo>
                  <a:pt x="35229" y="9959"/>
                </a:lnTo>
                <a:lnTo>
                  <a:pt x="34155" y="9309"/>
                </a:lnTo>
                <a:lnTo>
                  <a:pt x="32866" y="8768"/>
                </a:lnTo>
                <a:lnTo>
                  <a:pt x="31577" y="8335"/>
                </a:lnTo>
                <a:lnTo>
                  <a:pt x="30073" y="8010"/>
                </a:lnTo>
                <a:lnTo>
                  <a:pt x="28569" y="7794"/>
                </a:lnTo>
                <a:lnTo>
                  <a:pt x="26851" y="7577"/>
                </a:lnTo>
                <a:lnTo>
                  <a:pt x="25132" y="7577"/>
                </a:lnTo>
                <a:lnTo>
                  <a:pt x="23307" y="7577"/>
                </a:lnTo>
                <a:lnTo>
                  <a:pt x="21588" y="7794"/>
                </a:lnTo>
                <a:lnTo>
                  <a:pt x="19977" y="8010"/>
                </a:lnTo>
                <a:lnTo>
                  <a:pt x="18581" y="8335"/>
                </a:lnTo>
                <a:lnTo>
                  <a:pt x="17184" y="8660"/>
                </a:lnTo>
                <a:lnTo>
                  <a:pt x="16003" y="9201"/>
                </a:lnTo>
                <a:lnTo>
                  <a:pt x="15036" y="9742"/>
                </a:lnTo>
                <a:lnTo>
                  <a:pt x="14070" y="10392"/>
                </a:lnTo>
                <a:lnTo>
                  <a:pt x="13210" y="11150"/>
                </a:lnTo>
                <a:lnTo>
                  <a:pt x="12566" y="11908"/>
                </a:lnTo>
                <a:lnTo>
                  <a:pt x="11922" y="12774"/>
                </a:lnTo>
                <a:lnTo>
                  <a:pt x="11385" y="13640"/>
                </a:lnTo>
                <a:lnTo>
                  <a:pt x="11062" y="14506"/>
                </a:lnTo>
                <a:lnTo>
                  <a:pt x="10740" y="15372"/>
                </a:lnTo>
                <a:lnTo>
                  <a:pt x="10633" y="16346"/>
                </a:lnTo>
                <a:lnTo>
                  <a:pt x="10525" y="17320"/>
                </a:lnTo>
                <a:lnTo>
                  <a:pt x="10525" y="18186"/>
                </a:lnTo>
                <a:lnTo>
                  <a:pt x="10633" y="18944"/>
                </a:lnTo>
                <a:lnTo>
                  <a:pt x="10847" y="19702"/>
                </a:lnTo>
                <a:lnTo>
                  <a:pt x="11170" y="20460"/>
                </a:lnTo>
                <a:lnTo>
                  <a:pt x="11492" y="21217"/>
                </a:lnTo>
                <a:lnTo>
                  <a:pt x="11922" y="21867"/>
                </a:lnTo>
                <a:lnTo>
                  <a:pt x="12459" y="22517"/>
                </a:lnTo>
                <a:lnTo>
                  <a:pt x="12996" y="23058"/>
                </a:lnTo>
                <a:lnTo>
                  <a:pt x="13640" y="23599"/>
                </a:lnTo>
                <a:lnTo>
                  <a:pt x="14607" y="24140"/>
                </a:lnTo>
                <a:lnTo>
                  <a:pt x="15896" y="24790"/>
                </a:lnTo>
                <a:lnTo>
                  <a:pt x="17292" y="25331"/>
                </a:lnTo>
                <a:lnTo>
                  <a:pt x="19010" y="25872"/>
                </a:lnTo>
                <a:lnTo>
                  <a:pt x="21051" y="26414"/>
                </a:lnTo>
                <a:lnTo>
                  <a:pt x="23199" y="27063"/>
                </a:lnTo>
                <a:lnTo>
                  <a:pt x="25669" y="27604"/>
                </a:lnTo>
                <a:lnTo>
                  <a:pt x="28140" y="28146"/>
                </a:lnTo>
                <a:lnTo>
                  <a:pt x="30395" y="28687"/>
                </a:lnTo>
                <a:lnTo>
                  <a:pt x="32543" y="29337"/>
                </a:lnTo>
                <a:lnTo>
                  <a:pt x="34369" y="29878"/>
                </a:lnTo>
                <a:lnTo>
                  <a:pt x="36088" y="30419"/>
                </a:lnTo>
                <a:lnTo>
                  <a:pt x="37484" y="30852"/>
                </a:lnTo>
                <a:lnTo>
                  <a:pt x="38773" y="31393"/>
                </a:lnTo>
                <a:lnTo>
                  <a:pt x="39847" y="31826"/>
                </a:lnTo>
                <a:lnTo>
                  <a:pt x="41136" y="32476"/>
                </a:lnTo>
                <a:lnTo>
                  <a:pt x="42425" y="33234"/>
                </a:lnTo>
                <a:lnTo>
                  <a:pt x="43606" y="33992"/>
                </a:lnTo>
                <a:lnTo>
                  <a:pt x="44680" y="34749"/>
                </a:lnTo>
                <a:lnTo>
                  <a:pt x="45754" y="35615"/>
                </a:lnTo>
                <a:lnTo>
                  <a:pt x="46614" y="36481"/>
                </a:lnTo>
                <a:lnTo>
                  <a:pt x="47365" y="37347"/>
                </a:lnTo>
                <a:lnTo>
                  <a:pt x="48117" y="38322"/>
                </a:lnTo>
                <a:lnTo>
                  <a:pt x="48762" y="39296"/>
                </a:lnTo>
                <a:lnTo>
                  <a:pt x="49299" y="40379"/>
                </a:lnTo>
                <a:lnTo>
                  <a:pt x="49728" y="41461"/>
                </a:lnTo>
                <a:lnTo>
                  <a:pt x="50158" y="42544"/>
                </a:lnTo>
                <a:lnTo>
                  <a:pt x="50373" y="43734"/>
                </a:lnTo>
                <a:lnTo>
                  <a:pt x="50588" y="45034"/>
                </a:lnTo>
                <a:lnTo>
                  <a:pt x="50802" y="46224"/>
                </a:lnTo>
                <a:lnTo>
                  <a:pt x="50802" y="47523"/>
                </a:lnTo>
                <a:lnTo>
                  <a:pt x="50802" y="48822"/>
                </a:lnTo>
                <a:lnTo>
                  <a:pt x="50588" y="50121"/>
                </a:lnTo>
                <a:lnTo>
                  <a:pt x="50373" y="51312"/>
                </a:lnTo>
                <a:lnTo>
                  <a:pt x="50051" y="52503"/>
                </a:lnTo>
                <a:lnTo>
                  <a:pt x="49621" y="53802"/>
                </a:lnTo>
                <a:lnTo>
                  <a:pt x="49191" y="54993"/>
                </a:lnTo>
                <a:lnTo>
                  <a:pt x="48547" y="56075"/>
                </a:lnTo>
                <a:lnTo>
                  <a:pt x="47903" y="57266"/>
                </a:lnTo>
                <a:lnTo>
                  <a:pt x="47151" y="58349"/>
                </a:lnTo>
                <a:lnTo>
                  <a:pt x="46291" y="59431"/>
                </a:lnTo>
                <a:lnTo>
                  <a:pt x="45325" y="60406"/>
                </a:lnTo>
                <a:lnTo>
                  <a:pt x="44358" y="61272"/>
                </a:lnTo>
                <a:lnTo>
                  <a:pt x="43177" y="62138"/>
                </a:lnTo>
                <a:lnTo>
                  <a:pt x="41995" y="62896"/>
                </a:lnTo>
                <a:lnTo>
                  <a:pt x="40706" y="63653"/>
                </a:lnTo>
                <a:lnTo>
                  <a:pt x="39417" y="64303"/>
                </a:lnTo>
                <a:lnTo>
                  <a:pt x="38021" y="64844"/>
                </a:lnTo>
                <a:lnTo>
                  <a:pt x="36625" y="65385"/>
                </a:lnTo>
                <a:lnTo>
                  <a:pt x="35121" y="65818"/>
                </a:lnTo>
                <a:lnTo>
                  <a:pt x="33618" y="66143"/>
                </a:lnTo>
                <a:lnTo>
                  <a:pt x="32114" y="66468"/>
                </a:lnTo>
                <a:lnTo>
                  <a:pt x="30503" y="66684"/>
                </a:lnTo>
                <a:lnTo>
                  <a:pt x="28892" y="66793"/>
                </a:lnTo>
                <a:lnTo>
                  <a:pt x="27173" y="66793"/>
                </a:lnTo>
                <a:lnTo>
                  <a:pt x="25025" y="66793"/>
                </a:lnTo>
                <a:lnTo>
                  <a:pt x="22984" y="66684"/>
                </a:lnTo>
                <a:lnTo>
                  <a:pt x="21051" y="66468"/>
                </a:lnTo>
                <a:lnTo>
                  <a:pt x="19225" y="66143"/>
                </a:lnTo>
                <a:lnTo>
                  <a:pt x="17399" y="65818"/>
                </a:lnTo>
                <a:lnTo>
                  <a:pt x="15788" y="65385"/>
                </a:lnTo>
                <a:lnTo>
                  <a:pt x="14177" y="64844"/>
                </a:lnTo>
                <a:lnTo>
                  <a:pt x="12673" y="64303"/>
                </a:lnTo>
                <a:lnTo>
                  <a:pt x="11277" y="63653"/>
                </a:lnTo>
                <a:lnTo>
                  <a:pt x="9881" y="62896"/>
                </a:lnTo>
                <a:lnTo>
                  <a:pt x="8592" y="62030"/>
                </a:lnTo>
                <a:lnTo>
                  <a:pt x="7411" y="61055"/>
                </a:lnTo>
                <a:lnTo>
                  <a:pt x="6336" y="60081"/>
                </a:lnTo>
                <a:lnTo>
                  <a:pt x="5262" y="58998"/>
                </a:lnTo>
                <a:lnTo>
                  <a:pt x="4296" y="57808"/>
                </a:lnTo>
                <a:lnTo>
                  <a:pt x="3436" y="56617"/>
                </a:lnTo>
                <a:lnTo>
                  <a:pt x="2685" y="55318"/>
                </a:lnTo>
                <a:lnTo>
                  <a:pt x="2040" y="54019"/>
                </a:lnTo>
                <a:lnTo>
                  <a:pt x="1396" y="52611"/>
                </a:lnTo>
                <a:lnTo>
                  <a:pt x="966" y="51204"/>
                </a:lnTo>
                <a:lnTo>
                  <a:pt x="537" y="49688"/>
                </a:lnTo>
                <a:lnTo>
                  <a:pt x="214" y="48173"/>
                </a:lnTo>
                <a:lnTo>
                  <a:pt x="107" y="46657"/>
                </a:lnTo>
                <a:lnTo>
                  <a:pt x="0" y="45034"/>
                </a:lnTo>
              </a:path>
            </a:pathLst>
          </a:custGeom>
          <a:ln w="107">
            <a:solidFill>
              <a:srgbClr val="000000"/>
            </a:solidFill>
          </a:ln>
        </p:spPr>
        <p:txBody>
          <a:bodyPr wrap="square" lIns="0" tIns="0" rIns="0" bIns="0" rtlCol="0">
            <a:noAutofit/>
          </a:bodyPr>
          <a:lstStyle/>
          <a:p>
            <a:endParaRPr/>
          </a:p>
        </p:txBody>
      </p:sp>
      <p:sp>
        <p:nvSpPr>
          <p:cNvPr id="1085" name="object 1085"/>
          <p:cNvSpPr/>
          <p:nvPr/>
        </p:nvSpPr>
        <p:spPr>
          <a:xfrm>
            <a:off x="3621251" y="1449422"/>
            <a:ext cx="61328" cy="66793"/>
          </a:xfrm>
          <a:custGeom>
            <a:avLst/>
            <a:gdLst/>
            <a:ahLst/>
            <a:cxnLst/>
            <a:rect l="l" t="t" r="r" b="b"/>
            <a:pathLst>
              <a:path w="61328" h="66793">
                <a:moveTo>
                  <a:pt x="0" y="34208"/>
                </a:moveTo>
                <a:lnTo>
                  <a:pt x="0" y="32259"/>
                </a:lnTo>
                <a:lnTo>
                  <a:pt x="107" y="30311"/>
                </a:lnTo>
                <a:lnTo>
                  <a:pt x="322" y="28471"/>
                </a:lnTo>
                <a:lnTo>
                  <a:pt x="537" y="26630"/>
                </a:lnTo>
                <a:lnTo>
                  <a:pt x="859" y="24898"/>
                </a:lnTo>
                <a:lnTo>
                  <a:pt x="1181" y="23166"/>
                </a:lnTo>
                <a:lnTo>
                  <a:pt x="1611" y="21542"/>
                </a:lnTo>
                <a:lnTo>
                  <a:pt x="2148" y="19918"/>
                </a:lnTo>
                <a:lnTo>
                  <a:pt x="2685" y="18403"/>
                </a:lnTo>
                <a:lnTo>
                  <a:pt x="3329" y="16887"/>
                </a:lnTo>
                <a:lnTo>
                  <a:pt x="4081" y="15480"/>
                </a:lnTo>
                <a:lnTo>
                  <a:pt x="4833" y="14073"/>
                </a:lnTo>
                <a:lnTo>
                  <a:pt x="5585" y="12774"/>
                </a:lnTo>
                <a:lnTo>
                  <a:pt x="6551" y="11475"/>
                </a:lnTo>
                <a:lnTo>
                  <a:pt x="7518" y="10284"/>
                </a:lnTo>
                <a:lnTo>
                  <a:pt x="8485" y="9093"/>
                </a:lnTo>
                <a:lnTo>
                  <a:pt x="9559" y="8010"/>
                </a:lnTo>
                <a:lnTo>
                  <a:pt x="10740" y="6928"/>
                </a:lnTo>
                <a:lnTo>
                  <a:pt x="11814" y="5954"/>
                </a:lnTo>
                <a:lnTo>
                  <a:pt x="13103" y="5087"/>
                </a:lnTo>
                <a:lnTo>
                  <a:pt x="14284" y="4330"/>
                </a:lnTo>
                <a:lnTo>
                  <a:pt x="15573" y="3572"/>
                </a:lnTo>
                <a:lnTo>
                  <a:pt x="16970" y="2922"/>
                </a:lnTo>
                <a:lnTo>
                  <a:pt x="18258" y="2273"/>
                </a:lnTo>
                <a:lnTo>
                  <a:pt x="19655" y="1732"/>
                </a:lnTo>
                <a:lnTo>
                  <a:pt x="21158" y="1299"/>
                </a:lnTo>
                <a:lnTo>
                  <a:pt x="22662" y="866"/>
                </a:lnTo>
                <a:lnTo>
                  <a:pt x="24166" y="541"/>
                </a:lnTo>
                <a:lnTo>
                  <a:pt x="25669" y="324"/>
                </a:lnTo>
                <a:lnTo>
                  <a:pt x="27281" y="108"/>
                </a:lnTo>
                <a:lnTo>
                  <a:pt x="28892" y="0"/>
                </a:lnTo>
                <a:lnTo>
                  <a:pt x="30610" y="0"/>
                </a:lnTo>
                <a:lnTo>
                  <a:pt x="32758" y="108"/>
                </a:lnTo>
                <a:lnTo>
                  <a:pt x="34906" y="216"/>
                </a:lnTo>
                <a:lnTo>
                  <a:pt x="37055" y="541"/>
                </a:lnTo>
                <a:lnTo>
                  <a:pt x="39095" y="1082"/>
                </a:lnTo>
                <a:lnTo>
                  <a:pt x="41029" y="1623"/>
                </a:lnTo>
                <a:lnTo>
                  <a:pt x="42962" y="2381"/>
                </a:lnTo>
                <a:lnTo>
                  <a:pt x="44788" y="3247"/>
                </a:lnTo>
                <a:lnTo>
                  <a:pt x="46614" y="4221"/>
                </a:lnTo>
                <a:lnTo>
                  <a:pt x="48332" y="5304"/>
                </a:lnTo>
                <a:lnTo>
                  <a:pt x="49943" y="6603"/>
                </a:lnTo>
                <a:lnTo>
                  <a:pt x="51554" y="7902"/>
                </a:lnTo>
                <a:lnTo>
                  <a:pt x="52951" y="9418"/>
                </a:lnTo>
                <a:lnTo>
                  <a:pt x="54239" y="10933"/>
                </a:lnTo>
                <a:lnTo>
                  <a:pt x="55528" y="12557"/>
                </a:lnTo>
                <a:lnTo>
                  <a:pt x="56602" y="14397"/>
                </a:lnTo>
                <a:lnTo>
                  <a:pt x="57569" y="16238"/>
                </a:lnTo>
                <a:lnTo>
                  <a:pt x="57999" y="17212"/>
                </a:lnTo>
                <a:lnTo>
                  <a:pt x="58428" y="18186"/>
                </a:lnTo>
                <a:lnTo>
                  <a:pt x="58858" y="19161"/>
                </a:lnTo>
                <a:lnTo>
                  <a:pt x="59180" y="20243"/>
                </a:lnTo>
                <a:lnTo>
                  <a:pt x="59502" y="21217"/>
                </a:lnTo>
                <a:lnTo>
                  <a:pt x="59825" y="22300"/>
                </a:lnTo>
                <a:lnTo>
                  <a:pt x="60147" y="23383"/>
                </a:lnTo>
                <a:lnTo>
                  <a:pt x="60362" y="24357"/>
                </a:lnTo>
                <a:lnTo>
                  <a:pt x="60576" y="25548"/>
                </a:lnTo>
                <a:lnTo>
                  <a:pt x="60791" y="26630"/>
                </a:lnTo>
                <a:lnTo>
                  <a:pt x="61006" y="27713"/>
                </a:lnTo>
                <a:lnTo>
                  <a:pt x="61113" y="28904"/>
                </a:lnTo>
                <a:lnTo>
                  <a:pt x="61221" y="29986"/>
                </a:lnTo>
                <a:lnTo>
                  <a:pt x="61221" y="31177"/>
                </a:lnTo>
                <a:lnTo>
                  <a:pt x="61328" y="32368"/>
                </a:lnTo>
                <a:lnTo>
                  <a:pt x="61328" y="33558"/>
                </a:lnTo>
                <a:lnTo>
                  <a:pt x="61328" y="34749"/>
                </a:lnTo>
                <a:lnTo>
                  <a:pt x="61221" y="35940"/>
                </a:lnTo>
                <a:lnTo>
                  <a:pt x="61221" y="37131"/>
                </a:lnTo>
                <a:lnTo>
                  <a:pt x="61113" y="38322"/>
                </a:lnTo>
                <a:lnTo>
                  <a:pt x="60899" y="39513"/>
                </a:lnTo>
                <a:lnTo>
                  <a:pt x="60791" y="40595"/>
                </a:lnTo>
                <a:lnTo>
                  <a:pt x="60576" y="41786"/>
                </a:lnTo>
                <a:lnTo>
                  <a:pt x="60362" y="42868"/>
                </a:lnTo>
                <a:lnTo>
                  <a:pt x="60039" y="43951"/>
                </a:lnTo>
                <a:lnTo>
                  <a:pt x="59717" y="45034"/>
                </a:lnTo>
                <a:lnTo>
                  <a:pt x="59395" y="46116"/>
                </a:lnTo>
                <a:lnTo>
                  <a:pt x="59073" y="47090"/>
                </a:lnTo>
                <a:lnTo>
                  <a:pt x="58643" y="48173"/>
                </a:lnTo>
                <a:lnTo>
                  <a:pt x="58213" y="49147"/>
                </a:lnTo>
                <a:lnTo>
                  <a:pt x="57784" y="50121"/>
                </a:lnTo>
                <a:lnTo>
                  <a:pt x="57354" y="51096"/>
                </a:lnTo>
                <a:lnTo>
                  <a:pt x="56280" y="52936"/>
                </a:lnTo>
                <a:lnTo>
                  <a:pt x="55206" y="54776"/>
                </a:lnTo>
                <a:lnTo>
                  <a:pt x="53917" y="56400"/>
                </a:lnTo>
                <a:lnTo>
                  <a:pt x="52628" y="57916"/>
                </a:lnTo>
                <a:lnTo>
                  <a:pt x="51125" y="59323"/>
                </a:lnTo>
                <a:lnTo>
                  <a:pt x="49514" y="60622"/>
                </a:lnTo>
                <a:lnTo>
                  <a:pt x="47903" y="61705"/>
                </a:lnTo>
                <a:lnTo>
                  <a:pt x="46184" y="62787"/>
                </a:lnTo>
                <a:lnTo>
                  <a:pt x="44358" y="63653"/>
                </a:lnTo>
                <a:lnTo>
                  <a:pt x="42532" y="64519"/>
                </a:lnTo>
                <a:lnTo>
                  <a:pt x="40599" y="65169"/>
                </a:lnTo>
                <a:lnTo>
                  <a:pt x="38773" y="65710"/>
                </a:lnTo>
                <a:lnTo>
                  <a:pt x="36732" y="66251"/>
                </a:lnTo>
                <a:lnTo>
                  <a:pt x="34692" y="66576"/>
                </a:lnTo>
                <a:lnTo>
                  <a:pt x="32651" y="66684"/>
                </a:lnTo>
                <a:lnTo>
                  <a:pt x="30610" y="66793"/>
                </a:lnTo>
                <a:lnTo>
                  <a:pt x="28355" y="66684"/>
                </a:lnTo>
                <a:lnTo>
                  <a:pt x="26207" y="66468"/>
                </a:lnTo>
                <a:lnTo>
                  <a:pt x="24166" y="66143"/>
                </a:lnTo>
                <a:lnTo>
                  <a:pt x="22125" y="65710"/>
                </a:lnTo>
                <a:lnTo>
                  <a:pt x="20084" y="65061"/>
                </a:lnTo>
                <a:lnTo>
                  <a:pt x="18151" y="64303"/>
                </a:lnTo>
                <a:lnTo>
                  <a:pt x="16325" y="63437"/>
                </a:lnTo>
                <a:lnTo>
                  <a:pt x="14499" y="62463"/>
                </a:lnTo>
                <a:lnTo>
                  <a:pt x="12781" y="61272"/>
                </a:lnTo>
                <a:lnTo>
                  <a:pt x="11170" y="60081"/>
                </a:lnTo>
                <a:lnTo>
                  <a:pt x="9666" y="58674"/>
                </a:lnTo>
                <a:lnTo>
                  <a:pt x="8162" y="57266"/>
                </a:lnTo>
                <a:lnTo>
                  <a:pt x="6873" y="55642"/>
                </a:lnTo>
                <a:lnTo>
                  <a:pt x="5692" y="54019"/>
                </a:lnTo>
                <a:lnTo>
                  <a:pt x="4618" y="52287"/>
                </a:lnTo>
                <a:lnTo>
                  <a:pt x="3651" y="50446"/>
                </a:lnTo>
                <a:lnTo>
                  <a:pt x="2792" y="48498"/>
                </a:lnTo>
                <a:lnTo>
                  <a:pt x="2040" y="46549"/>
                </a:lnTo>
                <a:lnTo>
                  <a:pt x="1503" y="44600"/>
                </a:lnTo>
                <a:lnTo>
                  <a:pt x="966" y="42544"/>
                </a:lnTo>
                <a:lnTo>
                  <a:pt x="537" y="40595"/>
                </a:lnTo>
                <a:lnTo>
                  <a:pt x="214" y="38538"/>
                </a:lnTo>
                <a:lnTo>
                  <a:pt x="107" y="36373"/>
                </a:lnTo>
                <a:lnTo>
                  <a:pt x="0" y="34316"/>
                </a:lnTo>
              </a:path>
            </a:pathLst>
          </a:custGeom>
          <a:ln w="107">
            <a:solidFill>
              <a:srgbClr val="000000"/>
            </a:solidFill>
          </a:ln>
        </p:spPr>
        <p:txBody>
          <a:bodyPr wrap="square" lIns="0" tIns="0" rIns="0" bIns="0" rtlCol="0">
            <a:noAutofit/>
          </a:bodyPr>
          <a:lstStyle/>
          <a:p>
            <a:endParaRPr/>
          </a:p>
        </p:txBody>
      </p:sp>
      <p:sp>
        <p:nvSpPr>
          <p:cNvPr id="1086" name="object 1086"/>
          <p:cNvSpPr/>
          <p:nvPr/>
        </p:nvSpPr>
        <p:spPr>
          <a:xfrm>
            <a:off x="3629951" y="1456782"/>
            <a:ext cx="43928" cy="52070"/>
          </a:xfrm>
          <a:custGeom>
            <a:avLst/>
            <a:gdLst/>
            <a:ahLst/>
            <a:cxnLst/>
            <a:rect l="l" t="t" r="r" b="b"/>
            <a:pathLst>
              <a:path w="43928" h="52070">
                <a:moveTo>
                  <a:pt x="0" y="26955"/>
                </a:moveTo>
                <a:lnTo>
                  <a:pt x="0" y="28362"/>
                </a:lnTo>
                <a:lnTo>
                  <a:pt x="107" y="29770"/>
                </a:lnTo>
                <a:lnTo>
                  <a:pt x="214" y="31177"/>
                </a:lnTo>
                <a:lnTo>
                  <a:pt x="429" y="32476"/>
                </a:lnTo>
                <a:lnTo>
                  <a:pt x="644" y="33775"/>
                </a:lnTo>
                <a:lnTo>
                  <a:pt x="859" y="35074"/>
                </a:lnTo>
                <a:lnTo>
                  <a:pt x="1181" y="36265"/>
                </a:lnTo>
                <a:lnTo>
                  <a:pt x="1611" y="37456"/>
                </a:lnTo>
                <a:lnTo>
                  <a:pt x="2040" y="38538"/>
                </a:lnTo>
                <a:lnTo>
                  <a:pt x="2470" y="39729"/>
                </a:lnTo>
                <a:lnTo>
                  <a:pt x="3007" y="40703"/>
                </a:lnTo>
                <a:lnTo>
                  <a:pt x="3544" y="41786"/>
                </a:lnTo>
                <a:lnTo>
                  <a:pt x="4188" y="42760"/>
                </a:lnTo>
                <a:lnTo>
                  <a:pt x="4833" y="43626"/>
                </a:lnTo>
                <a:lnTo>
                  <a:pt x="5477" y="44492"/>
                </a:lnTo>
                <a:lnTo>
                  <a:pt x="6229" y="45358"/>
                </a:lnTo>
                <a:lnTo>
                  <a:pt x="7840" y="46874"/>
                </a:lnTo>
                <a:lnTo>
                  <a:pt x="9559" y="48281"/>
                </a:lnTo>
                <a:lnTo>
                  <a:pt x="11385" y="49472"/>
                </a:lnTo>
                <a:lnTo>
                  <a:pt x="13318" y="50338"/>
                </a:lnTo>
                <a:lnTo>
                  <a:pt x="15251" y="51096"/>
                </a:lnTo>
                <a:lnTo>
                  <a:pt x="17399" y="51637"/>
                </a:lnTo>
                <a:lnTo>
                  <a:pt x="19655" y="51962"/>
                </a:lnTo>
                <a:lnTo>
                  <a:pt x="21910" y="52070"/>
                </a:lnTo>
                <a:lnTo>
                  <a:pt x="24273" y="51962"/>
                </a:lnTo>
                <a:lnTo>
                  <a:pt x="26529" y="51637"/>
                </a:lnTo>
                <a:lnTo>
                  <a:pt x="28569" y="51096"/>
                </a:lnTo>
                <a:lnTo>
                  <a:pt x="30610" y="50338"/>
                </a:lnTo>
                <a:lnTo>
                  <a:pt x="32543" y="49472"/>
                </a:lnTo>
                <a:lnTo>
                  <a:pt x="34369" y="48281"/>
                </a:lnTo>
                <a:lnTo>
                  <a:pt x="36088" y="46874"/>
                </a:lnTo>
                <a:lnTo>
                  <a:pt x="37699" y="45358"/>
                </a:lnTo>
                <a:lnTo>
                  <a:pt x="38451" y="44492"/>
                </a:lnTo>
                <a:lnTo>
                  <a:pt x="39095" y="43518"/>
                </a:lnTo>
                <a:lnTo>
                  <a:pt x="39740" y="42544"/>
                </a:lnTo>
                <a:lnTo>
                  <a:pt x="40384" y="41569"/>
                </a:lnTo>
                <a:lnTo>
                  <a:pt x="40921" y="40487"/>
                </a:lnTo>
                <a:lnTo>
                  <a:pt x="41458" y="39404"/>
                </a:lnTo>
                <a:lnTo>
                  <a:pt x="41888" y="38322"/>
                </a:lnTo>
                <a:lnTo>
                  <a:pt x="42317" y="37131"/>
                </a:lnTo>
                <a:lnTo>
                  <a:pt x="42747" y="35832"/>
                </a:lnTo>
                <a:lnTo>
                  <a:pt x="43069" y="34641"/>
                </a:lnTo>
                <a:lnTo>
                  <a:pt x="43284" y="33342"/>
                </a:lnTo>
                <a:lnTo>
                  <a:pt x="43499" y="31935"/>
                </a:lnTo>
                <a:lnTo>
                  <a:pt x="43714" y="30527"/>
                </a:lnTo>
                <a:lnTo>
                  <a:pt x="43821" y="29120"/>
                </a:lnTo>
                <a:lnTo>
                  <a:pt x="43928" y="27604"/>
                </a:lnTo>
                <a:lnTo>
                  <a:pt x="43928" y="26089"/>
                </a:lnTo>
                <a:lnTo>
                  <a:pt x="43928" y="24140"/>
                </a:lnTo>
                <a:lnTo>
                  <a:pt x="43714" y="22300"/>
                </a:lnTo>
                <a:lnTo>
                  <a:pt x="43499" y="20568"/>
                </a:lnTo>
                <a:lnTo>
                  <a:pt x="43284" y="18728"/>
                </a:lnTo>
                <a:lnTo>
                  <a:pt x="42854" y="17104"/>
                </a:lnTo>
                <a:lnTo>
                  <a:pt x="42425" y="15480"/>
                </a:lnTo>
                <a:lnTo>
                  <a:pt x="41888" y="13964"/>
                </a:lnTo>
                <a:lnTo>
                  <a:pt x="41243" y="12449"/>
                </a:lnTo>
                <a:lnTo>
                  <a:pt x="40599" y="11041"/>
                </a:lnTo>
                <a:lnTo>
                  <a:pt x="39740" y="9634"/>
                </a:lnTo>
                <a:lnTo>
                  <a:pt x="38880" y="8443"/>
                </a:lnTo>
                <a:lnTo>
                  <a:pt x="38021" y="7144"/>
                </a:lnTo>
                <a:lnTo>
                  <a:pt x="36947" y="6062"/>
                </a:lnTo>
                <a:lnTo>
                  <a:pt x="35873" y="5087"/>
                </a:lnTo>
                <a:lnTo>
                  <a:pt x="34692" y="4113"/>
                </a:lnTo>
                <a:lnTo>
                  <a:pt x="33510" y="3247"/>
                </a:lnTo>
                <a:lnTo>
                  <a:pt x="32221" y="2489"/>
                </a:lnTo>
                <a:lnTo>
                  <a:pt x="30825" y="1840"/>
                </a:lnTo>
                <a:lnTo>
                  <a:pt x="29429" y="1299"/>
                </a:lnTo>
                <a:lnTo>
                  <a:pt x="28032" y="757"/>
                </a:lnTo>
                <a:lnTo>
                  <a:pt x="26636" y="433"/>
                </a:lnTo>
                <a:lnTo>
                  <a:pt x="25132" y="216"/>
                </a:lnTo>
                <a:lnTo>
                  <a:pt x="23521" y="0"/>
                </a:lnTo>
                <a:lnTo>
                  <a:pt x="22018" y="0"/>
                </a:lnTo>
                <a:lnTo>
                  <a:pt x="19762" y="108"/>
                </a:lnTo>
                <a:lnTo>
                  <a:pt x="17721" y="433"/>
                </a:lnTo>
                <a:lnTo>
                  <a:pt x="15573" y="866"/>
                </a:lnTo>
                <a:lnTo>
                  <a:pt x="13640" y="1515"/>
                </a:lnTo>
                <a:lnTo>
                  <a:pt x="11707" y="2381"/>
                </a:lnTo>
                <a:lnTo>
                  <a:pt x="9988" y="3464"/>
                </a:lnTo>
                <a:lnTo>
                  <a:pt x="8162" y="4763"/>
                </a:lnTo>
                <a:lnTo>
                  <a:pt x="6551" y="6170"/>
                </a:lnTo>
                <a:lnTo>
                  <a:pt x="5799" y="6928"/>
                </a:lnTo>
                <a:lnTo>
                  <a:pt x="5048" y="7902"/>
                </a:lnTo>
                <a:lnTo>
                  <a:pt x="4403" y="8768"/>
                </a:lnTo>
                <a:lnTo>
                  <a:pt x="3759" y="9851"/>
                </a:lnTo>
                <a:lnTo>
                  <a:pt x="3114" y="10825"/>
                </a:lnTo>
                <a:lnTo>
                  <a:pt x="2577" y="12016"/>
                </a:lnTo>
                <a:lnTo>
                  <a:pt x="2148" y="13207"/>
                </a:lnTo>
                <a:lnTo>
                  <a:pt x="1718" y="14506"/>
                </a:lnTo>
                <a:lnTo>
                  <a:pt x="1288" y="15805"/>
                </a:lnTo>
                <a:lnTo>
                  <a:pt x="966" y="17212"/>
                </a:lnTo>
                <a:lnTo>
                  <a:pt x="644" y="18728"/>
                </a:lnTo>
                <a:lnTo>
                  <a:pt x="429" y="20243"/>
                </a:lnTo>
                <a:lnTo>
                  <a:pt x="214" y="21867"/>
                </a:lnTo>
                <a:lnTo>
                  <a:pt x="107" y="23491"/>
                </a:lnTo>
                <a:lnTo>
                  <a:pt x="0" y="25223"/>
                </a:lnTo>
                <a:lnTo>
                  <a:pt x="0" y="27063"/>
                </a:lnTo>
              </a:path>
            </a:pathLst>
          </a:custGeom>
          <a:ln w="107">
            <a:solidFill>
              <a:srgbClr val="000000"/>
            </a:solidFill>
          </a:ln>
        </p:spPr>
        <p:txBody>
          <a:bodyPr wrap="square" lIns="0" tIns="0" rIns="0" bIns="0" rtlCol="0">
            <a:noAutofit/>
          </a:bodyPr>
          <a:lstStyle/>
          <a:p>
            <a:endParaRPr/>
          </a:p>
        </p:txBody>
      </p:sp>
      <p:sp>
        <p:nvSpPr>
          <p:cNvPr id="1087" name="object 1087"/>
          <p:cNvSpPr/>
          <p:nvPr/>
        </p:nvSpPr>
        <p:spPr>
          <a:xfrm>
            <a:off x="3693537" y="1450504"/>
            <a:ext cx="56495" cy="64628"/>
          </a:xfrm>
          <a:custGeom>
            <a:avLst/>
            <a:gdLst/>
            <a:ahLst/>
            <a:cxnLst/>
            <a:rect l="l" t="t" r="r" b="b"/>
            <a:pathLst>
              <a:path w="56495" h="64628">
                <a:moveTo>
                  <a:pt x="0" y="64628"/>
                </a:moveTo>
                <a:lnTo>
                  <a:pt x="0" y="0"/>
                </a:lnTo>
                <a:lnTo>
                  <a:pt x="28462" y="0"/>
                </a:lnTo>
                <a:lnTo>
                  <a:pt x="30503" y="0"/>
                </a:lnTo>
                <a:lnTo>
                  <a:pt x="32436" y="108"/>
                </a:lnTo>
                <a:lnTo>
                  <a:pt x="34262" y="216"/>
                </a:lnTo>
                <a:lnTo>
                  <a:pt x="35980" y="433"/>
                </a:lnTo>
                <a:lnTo>
                  <a:pt x="37592" y="757"/>
                </a:lnTo>
                <a:lnTo>
                  <a:pt x="38988" y="974"/>
                </a:lnTo>
                <a:lnTo>
                  <a:pt x="40277" y="1299"/>
                </a:lnTo>
                <a:lnTo>
                  <a:pt x="41458" y="1732"/>
                </a:lnTo>
                <a:lnTo>
                  <a:pt x="42532" y="2273"/>
                </a:lnTo>
                <a:lnTo>
                  <a:pt x="43606" y="2814"/>
                </a:lnTo>
                <a:lnTo>
                  <a:pt x="44573" y="3464"/>
                </a:lnTo>
                <a:lnTo>
                  <a:pt x="45540" y="4221"/>
                </a:lnTo>
                <a:lnTo>
                  <a:pt x="46399" y="4979"/>
                </a:lnTo>
                <a:lnTo>
                  <a:pt x="47258" y="5954"/>
                </a:lnTo>
                <a:lnTo>
                  <a:pt x="48010" y="6928"/>
                </a:lnTo>
                <a:lnTo>
                  <a:pt x="48654" y="7902"/>
                </a:lnTo>
                <a:lnTo>
                  <a:pt x="49299" y="8985"/>
                </a:lnTo>
                <a:lnTo>
                  <a:pt x="49836" y="10175"/>
                </a:lnTo>
                <a:lnTo>
                  <a:pt x="50265" y="11366"/>
                </a:lnTo>
                <a:lnTo>
                  <a:pt x="50695" y="12557"/>
                </a:lnTo>
                <a:lnTo>
                  <a:pt x="50910" y="13856"/>
                </a:lnTo>
                <a:lnTo>
                  <a:pt x="51125" y="15155"/>
                </a:lnTo>
                <a:lnTo>
                  <a:pt x="51339" y="16454"/>
                </a:lnTo>
                <a:lnTo>
                  <a:pt x="51339" y="17753"/>
                </a:lnTo>
                <a:lnTo>
                  <a:pt x="51232" y="19377"/>
                </a:lnTo>
                <a:lnTo>
                  <a:pt x="51017" y="21001"/>
                </a:lnTo>
                <a:lnTo>
                  <a:pt x="50695" y="22625"/>
                </a:lnTo>
                <a:lnTo>
                  <a:pt x="50265" y="24032"/>
                </a:lnTo>
                <a:lnTo>
                  <a:pt x="49621" y="25439"/>
                </a:lnTo>
                <a:lnTo>
                  <a:pt x="48869" y="26847"/>
                </a:lnTo>
                <a:lnTo>
                  <a:pt x="48010" y="28146"/>
                </a:lnTo>
                <a:lnTo>
                  <a:pt x="46936" y="29337"/>
                </a:lnTo>
                <a:lnTo>
                  <a:pt x="45754" y="30419"/>
                </a:lnTo>
                <a:lnTo>
                  <a:pt x="44358" y="31502"/>
                </a:lnTo>
                <a:lnTo>
                  <a:pt x="42854" y="32368"/>
                </a:lnTo>
                <a:lnTo>
                  <a:pt x="41243" y="33234"/>
                </a:lnTo>
                <a:lnTo>
                  <a:pt x="39417" y="33883"/>
                </a:lnTo>
                <a:lnTo>
                  <a:pt x="37484" y="34533"/>
                </a:lnTo>
                <a:lnTo>
                  <a:pt x="35443" y="34966"/>
                </a:lnTo>
                <a:lnTo>
                  <a:pt x="33188" y="35291"/>
                </a:lnTo>
                <a:lnTo>
                  <a:pt x="33940" y="35724"/>
                </a:lnTo>
                <a:lnTo>
                  <a:pt x="34692" y="36157"/>
                </a:lnTo>
                <a:lnTo>
                  <a:pt x="35443" y="36590"/>
                </a:lnTo>
                <a:lnTo>
                  <a:pt x="36088" y="36914"/>
                </a:lnTo>
                <a:lnTo>
                  <a:pt x="36732" y="37347"/>
                </a:lnTo>
                <a:lnTo>
                  <a:pt x="37377" y="37780"/>
                </a:lnTo>
                <a:lnTo>
                  <a:pt x="37914" y="38213"/>
                </a:lnTo>
                <a:lnTo>
                  <a:pt x="38343" y="38538"/>
                </a:lnTo>
                <a:lnTo>
                  <a:pt x="39203" y="39404"/>
                </a:lnTo>
                <a:lnTo>
                  <a:pt x="40169" y="40379"/>
                </a:lnTo>
                <a:lnTo>
                  <a:pt x="41029" y="41353"/>
                </a:lnTo>
                <a:lnTo>
                  <a:pt x="41888" y="42435"/>
                </a:lnTo>
                <a:lnTo>
                  <a:pt x="42747" y="43518"/>
                </a:lnTo>
                <a:lnTo>
                  <a:pt x="43714" y="44709"/>
                </a:lnTo>
                <a:lnTo>
                  <a:pt x="44466" y="45900"/>
                </a:lnTo>
                <a:lnTo>
                  <a:pt x="45325" y="47090"/>
                </a:lnTo>
                <a:lnTo>
                  <a:pt x="56495" y="64628"/>
                </a:lnTo>
                <a:lnTo>
                  <a:pt x="45862" y="64628"/>
                </a:lnTo>
                <a:lnTo>
                  <a:pt x="37377" y="51312"/>
                </a:lnTo>
                <a:lnTo>
                  <a:pt x="36517" y="49905"/>
                </a:lnTo>
                <a:lnTo>
                  <a:pt x="35551" y="48606"/>
                </a:lnTo>
                <a:lnTo>
                  <a:pt x="34799" y="47307"/>
                </a:lnTo>
                <a:lnTo>
                  <a:pt x="33940" y="46116"/>
                </a:lnTo>
                <a:lnTo>
                  <a:pt x="33188" y="45034"/>
                </a:lnTo>
                <a:lnTo>
                  <a:pt x="32543" y="44059"/>
                </a:lnTo>
                <a:lnTo>
                  <a:pt x="31899" y="43193"/>
                </a:lnTo>
                <a:lnTo>
                  <a:pt x="31255" y="42435"/>
                </a:lnTo>
                <a:lnTo>
                  <a:pt x="30610" y="41678"/>
                </a:lnTo>
                <a:lnTo>
                  <a:pt x="30073" y="41028"/>
                </a:lnTo>
                <a:lnTo>
                  <a:pt x="29536" y="40379"/>
                </a:lnTo>
                <a:lnTo>
                  <a:pt x="28999" y="39729"/>
                </a:lnTo>
                <a:lnTo>
                  <a:pt x="28462" y="39296"/>
                </a:lnTo>
                <a:lnTo>
                  <a:pt x="27925" y="38863"/>
                </a:lnTo>
                <a:lnTo>
                  <a:pt x="27388" y="38430"/>
                </a:lnTo>
                <a:lnTo>
                  <a:pt x="26958" y="38105"/>
                </a:lnTo>
                <a:lnTo>
                  <a:pt x="26421" y="37780"/>
                </a:lnTo>
                <a:lnTo>
                  <a:pt x="25992" y="37456"/>
                </a:lnTo>
                <a:lnTo>
                  <a:pt x="25455" y="37239"/>
                </a:lnTo>
                <a:lnTo>
                  <a:pt x="25025" y="37023"/>
                </a:lnTo>
                <a:lnTo>
                  <a:pt x="24488" y="36806"/>
                </a:lnTo>
                <a:lnTo>
                  <a:pt x="23951" y="36590"/>
                </a:lnTo>
                <a:lnTo>
                  <a:pt x="23521" y="36373"/>
                </a:lnTo>
                <a:lnTo>
                  <a:pt x="22984" y="36265"/>
                </a:lnTo>
                <a:lnTo>
                  <a:pt x="22662" y="36157"/>
                </a:lnTo>
                <a:lnTo>
                  <a:pt x="22233" y="36157"/>
                </a:lnTo>
                <a:lnTo>
                  <a:pt x="21695" y="36048"/>
                </a:lnTo>
                <a:lnTo>
                  <a:pt x="21158" y="36048"/>
                </a:lnTo>
                <a:lnTo>
                  <a:pt x="20514" y="35940"/>
                </a:lnTo>
                <a:lnTo>
                  <a:pt x="19762" y="35940"/>
                </a:lnTo>
                <a:lnTo>
                  <a:pt x="19010" y="35940"/>
                </a:lnTo>
                <a:lnTo>
                  <a:pt x="18258" y="35940"/>
                </a:lnTo>
                <a:lnTo>
                  <a:pt x="8485" y="35940"/>
                </a:lnTo>
                <a:lnTo>
                  <a:pt x="8485" y="64628"/>
                </a:lnTo>
                <a:lnTo>
                  <a:pt x="0" y="64628"/>
                </a:lnTo>
              </a:path>
            </a:pathLst>
          </a:custGeom>
          <a:ln w="107">
            <a:solidFill>
              <a:srgbClr val="000000"/>
            </a:solidFill>
          </a:ln>
        </p:spPr>
        <p:txBody>
          <a:bodyPr wrap="square" lIns="0" tIns="0" rIns="0" bIns="0" rtlCol="0">
            <a:noAutofit/>
          </a:bodyPr>
          <a:lstStyle/>
          <a:p>
            <a:endParaRPr/>
          </a:p>
        </p:txBody>
      </p:sp>
      <p:sp>
        <p:nvSpPr>
          <p:cNvPr id="1088" name="object 1088"/>
          <p:cNvSpPr/>
          <p:nvPr/>
        </p:nvSpPr>
        <p:spPr>
          <a:xfrm>
            <a:off x="3702022" y="1457648"/>
            <a:ext cx="34155" cy="21434"/>
          </a:xfrm>
          <a:custGeom>
            <a:avLst/>
            <a:gdLst/>
            <a:ahLst/>
            <a:cxnLst/>
            <a:rect l="l" t="t" r="r" b="b"/>
            <a:pathLst>
              <a:path w="34155" h="21434">
                <a:moveTo>
                  <a:pt x="0" y="21434"/>
                </a:moveTo>
                <a:lnTo>
                  <a:pt x="18258" y="21434"/>
                </a:lnTo>
                <a:lnTo>
                  <a:pt x="19655" y="21434"/>
                </a:lnTo>
                <a:lnTo>
                  <a:pt x="21051" y="21326"/>
                </a:lnTo>
                <a:lnTo>
                  <a:pt x="22233" y="21217"/>
                </a:lnTo>
                <a:lnTo>
                  <a:pt x="23414" y="21109"/>
                </a:lnTo>
                <a:lnTo>
                  <a:pt x="24488" y="21001"/>
                </a:lnTo>
                <a:lnTo>
                  <a:pt x="25562" y="20784"/>
                </a:lnTo>
                <a:lnTo>
                  <a:pt x="26421" y="20460"/>
                </a:lnTo>
                <a:lnTo>
                  <a:pt x="27281" y="20243"/>
                </a:lnTo>
                <a:lnTo>
                  <a:pt x="28032" y="19918"/>
                </a:lnTo>
                <a:lnTo>
                  <a:pt x="28784" y="19594"/>
                </a:lnTo>
                <a:lnTo>
                  <a:pt x="29536" y="19161"/>
                </a:lnTo>
                <a:lnTo>
                  <a:pt x="30181" y="18728"/>
                </a:lnTo>
                <a:lnTo>
                  <a:pt x="30825" y="18186"/>
                </a:lnTo>
                <a:lnTo>
                  <a:pt x="31362" y="17645"/>
                </a:lnTo>
                <a:lnTo>
                  <a:pt x="31899" y="17104"/>
                </a:lnTo>
                <a:lnTo>
                  <a:pt x="32329" y="16454"/>
                </a:lnTo>
                <a:lnTo>
                  <a:pt x="32758" y="15805"/>
                </a:lnTo>
                <a:lnTo>
                  <a:pt x="33080" y="15047"/>
                </a:lnTo>
                <a:lnTo>
                  <a:pt x="33403" y="14397"/>
                </a:lnTo>
                <a:lnTo>
                  <a:pt x="33725" y="13640"/>
                </a:lnTo>
                <a:lnTo>
                  <a:pt x="33940" y="12882"/>
                </a:lnTo>
                <a:lnTo>
                  <a:pt x="34047" y="12124"/>
                </a:lnTo>
                <a:lnTo>
                  <a:pt x="34155" y="11366"/>
                </a:lnTo>
                <a:lnTo>
                  <a:pt x="34155" y="10608"/>
                </a:lnTo>
                <a:lnTo>
                  <a:pt x="34047" y="9526"/>
                </a:lnTo>
                <a:lnTo>
                  <a:pt x="33940" y="8443"/>
                </a:lnTo>
                <a:lnTo>
                  <a:pt x="33618" y="7361"/>
                </a:lnTo>
                <a:lnTo>
                  <a:pt x="33295" y="6387"/>
                </a:lnTo>
                <a:lnTo>
                  <a:pt x="32866" y="5520"/>
                </a:lnTo>
                <a:lnTo>
                  <a:pt x="32221" y="4654"/>
                </a:lnTo>
                <a:lnTo>
                  <a:pt x="31577" y="3788"/>
                </a:lnTo>
                <a:lnTo>
                  <a:pt x="30825" y="3031"/>
                </a:lnTo>
                <a:lnTo>
                  <a:pt x="29966" y="2381"/>
                </a:lnTo>
                <a:lnTo>
                  <a:pt x="28892" y="1732"/>
                </a:lnTo>
                <a:lnTo>
                  <a:pt x="27818" y="1190"/>
                </a:lnTo>
                <a:lnTo>
                  <a:pt x="26529" y="757"/>
                </a:lnTo>
                <a:lnTo>
                  <a:pt x="25132" y="433"/>
                </a:lnTo>
                <a:lnTo>
                  <a:pt x="23629" y="216"/>
                </a:lnTo>
                <a:lnTo>
                  <a:pt x="22018" y="0"/>
                </a:lnTo>
                <a:lnTo>
                  <a:pt x="20299" y="0"/>
                </a:lnTo>
                <a:lnTo>
                  <a:pt x="0" y="0"/>
                </a:lnTo>
                <a:lnTo>
                  <a:pt x="0" y="21434"/>
                </a:lnTo>
              </a:path>
            </a:pathLst>
          </a:custGeom>
          <a:ln w="108">
            <a:solidFill>
              <a:srgbClr val="000000"/>
            </a:solidFill>
          </a:ln>
        </p:spPr>
        <p:txBody>
          <a:bodyPr wrap="square" lIns="0" tIns="0" rIns="0" bIns="0" rtlCol="0">
            <a:noAutofit/>
          </a:bodyPr>
          <a:lstStyle/>
          <a:p>
            <a:endParaRPr/>
          </a:p>
        </p:txBody>
      </p:sp>
      <p:sp>
        <p:nvSpPr>
          <p:cNvPr id="1089" name="object 1089"/>
          <p:cNvSpPr/>
          <p:nvPr/>
        </p:nvSpPr>
        <p:spPr>
          <a:xfrm>
            <a:off x="3758086" y="1450504"/>
            <a:ext cx="53058" cy="64628"/>
          </a:xfrm>
          <a:custGeom>
            <a:avLst/>
            <a:gdLst/>
            <a:ahLst/>
            <a:cxnLst/>
            <a:rect l="l" t="t" r="r" b="b"/>
            <a:pathLst>
              <a:path w="53058" h="64628">
                <a:moveTo>
                  <a:pt x="0" y="64628"/>
                </a:moveTo>
                <a:lnTo>
                  <a:pt x="0" y="0"/>
                </a:lnTo>
                <a:lnTo>
                  <a:pt x="22018" y="0"/>
                </a:lnTo>
                <a:lnTo>
                  <a:pt x="23844" y="0"/>
                </a:lnTo>
                <a:lnTo>
                  <a:pt x="25562" y="108"/>
                </a:lnTo>
                <a:lnTo>
                  <a:pt x="27173" y="108"/>
                </a:lnTo>
                <a:lnTo>
                  <a:pt x="28677" y="216"/>
                </a:lnTo>
                <a:lnTo>
                  <a:pt x="30073" y="433"/>
                </a:lnTo>
                <a:lnTo>
                  <a:pt x="31362" y="541"/>
                </a:lnTo>
                <a:lnTo>
                  <a:pt x="32436" y="757"/>
                </a:lnTo>
                <a:lnTo>
                  <a:pt x="33510" y="974"/>
                </a:lnTo>
                <a:lnTo>
                  <a:pt x="34906" y="1299"/>
                </a:lnTo>
                <a:lnTo>
                  <a:pt x="36195" y="1732"/>
                </a:lnTo>
                <a:lnTo>
                  <a:pt x="37377" y="2273"/>
                </a:lnTo>
                <a:lnTo>
                  <a:pt x="38558" y="2814"/>
                </a:lnTo>
                <a:lnTo>
                  <a:pt x="39740" y="3464"/>
                </a:lnTo>
                <a:lnTo>
                  <a:pt x="40814" y="4113"/>
                </a:lnTo>
                <a:lnTo>
                  <a:pt x="41888" y="4871"/>
                </a:lnTo>
                <a:lnTo>
                  <a:pt x="42854" y="5629"/>
                </a:lnTo>
                <a:lnTo>
                  <a:pt x="44143" y="6711"/>
                </a:lnTo>
                <a:lnTo>
                  <a:pt x="45217" y="7902"/>
                </a:lnTo>
                <a:lnTo>
                  <a:pt x="46399" y="9201"/>
                </a:lnTo>
                <a:lnTo>
                  <a:pt x="47365" y="10500"/>
                </a:lnTo>
                <a:lnTo>
                  <a:pt x="48225" y="12016"/>
                </a:lnTo>
                <a:lnTo>
                  <a:pt x="49084" y="13423"/>
                </a:lnTo>
                <a:lnTo>
                  <a:pt x="49836" y="15047"/>
                </a:lnTo>
                <a:lnTo>
                  <a:pt x="50480" y="16671"/>
                </a:lnTo>
                <a:lnTo>
                  <a:pt x="51125" y="18403"/>
                </a:lnTo>
                <a:lnTo>
                  <a:pt x="51662" y="20135"/>
                </a:lnTo>
                <a:lnTo>
                  <a:pt x="52091" y="21975"/>
                </a:lnTo>
                <a:lnTo>
                  <a:pt x="52414" y="23816"/>
                </a:lnTo>
                <a:lnTo>
                  <a:pt x="52736" y="25872"/>
                </a:lnTo>
                <a:lnTo>
                  <a:pt x="52951" y="27821"/>
                </a:lnTo>
                <a:lnTo>
                  <a:pt x="53058" y="29878"/>
                </a:lnTo>
                <a:lnTo>
                  <a:pt x="53058" y="32043"/>
                </a:lnTo>
                <a:lnTo>
                  <a:pt x="53058" y="33883"/>
                </a:lnTo>
                <a:lnTo>
                  <a:pt x="52951" y="35615"/>
                </a:lnTo>
                <a:lnTo>
                  <a:pt x="52843" y="37347"/>
                </a:lnTo>
                <a:lnTo>
                  <a:pt x="52628" y="38971"/>
                </a:lnTo>
                <a:lnTo>
                  <a:pt x="52306" y="40595"/>
                </a:lnTo>
                <a:lnTo>
                  <a:pt x="52091" y="42111"/>
                </a:lnTo>
                <a:lnTo>
                  <a:pt x="51769" y="43626"/>
                </a:lnTo>
                <a:lnTo>
                  <a:pt x="51339" y="45034"/>
                </a:lnTo>
                <a:lnTo>
                  <a:pt x="50910" y="46441"/>
                </a:lnTo>
                <a:lnTo>
                  <a:pt x="50480" y="47740"/>
                </a:lnTo>
                <a:lnTo>
                  <a:pt x="49943" y="49039"/>
                </a:lnTo>
                <a:lnTo>
                  <a:pt x="49406" y="50230"/>
                </a:lnTo>
                <a:lnTo>
                  <a:pt x="48762" y="51421"/>
                </a:lnTo>
                <a:lnTo>
                  <a:pt x="48225" y="52503"/>
                </a:lnTo>
                <a:lnTo>
                  <a:pt x="47580" y="53477"/>
                </a:lnTo>
                <a:lnTo>
                  <a:pt x="46936" y="54452"/>
                </a:lnTo>
                <a:lnTo>
                  <a:pt x="46291" y="55318"/>
                </a:lnTo>
                <a:lnTo>
                  <a:pt x="45540" y="56184"/>
                </a:lnTo>
                <a:lnTo>
                  <a:pt x="44895" y="57050"/>
                </a:lnTo>
                <a:lnTo>
                  <a:pt x="44143" y="57808"/>
                </a:lnTo>
                <a:lnTo>
                  <a:pt x="43391" y="58565"/>
                </a:lnTo>
                <a:lnTo>
                  <a:pt x="42640" y="59215"/>
                </a:lnTo>
                <a:lnTo>
                  <a:pt x="41888" y="59756"/>
                </a:lnTo>
                <a:lnTo>
                  <a:pt x="41136" y="60297"/>
                </a:lnTo>
                <a:lnTo>
                  <a:pt x="40277" y="60839"/>
                </a:lnTo>
                <a:lnTo>
                  <a:pt x="39417" y="61272"/>
                </a:lnTo>
                <a:lnTo>
                  <a:pt x="38558" y="61813"/>
                </a:lnTo>
                <a:lnTo>
                  <a:pt x="37592" y="62246"/>
                </a:lnTo>
                <a:lnTo>
                  <a:pt x="36625" y="62571"/>
                </a:lnTo>
                <a:lnTo>
                  <a:pt x="35551" y="63004"/>
                </a:lnTo>
                <a:lnTo>
                  <a:pt x="34477" y="63329"/>
                </a:lnTo>
                <a:lnTo>
                  <a:pt x="33403" y="63545"/>
                </a:lnTo>
                <a:lnTo>
                  <a:pt x="32221" y="63762"/>
                </a:lnTo>
                <a:lnTo>
                  <a:pt x="31040" y="63978"/>
                </a:lnTo>
                <a:lnTo>
                  <a:pt x="29858" y="64195"/>
                </a:lnTo>
                <a:lnTo>
                  <a:pt x="28569" y="64303"/>
                </a:lnTo>
                <a:lnTo>
                  <a:pt x="27281" y="64411"/>
                </a:lnTo>
                <a:lnTo>
                  <a:pt x="25884" y="64519"/>
                </a:lnTo>
                <a:lnTo>
                  <a:pt x="24488" y="64628"/>
                </a:lnTo>
                <a:lnTo>
                  <a:pt x="23092" y="64628"/>
                </a:lnTo>
                <a:lnTo>
                  <a:pt x="0" y="64628"/>
                </a:lnTo>
              </a:path>
            </a:pathLst>
          </a:custGeom>
          <a:ln w="107">
            <a:solidFill>
              <a:srgbClr val="000000"/>
            </a:solidFill>
          </a:ln>
        </p:spPr>
        <p:txBody>
          <a:bodyPr wrap="square" lIns="0" tIns="0" rIns="0" bIns="0" rtlCol="0">
            <a:noAutofit/>
          </a:bodyPr>
          <a:lstStyle/>
          <a:p>
            <a:endParaRPr/>
          </a:p>
        </p:txBody>
      </p:sp>
      <p:sp>
        <p:nvSpPr>
          <p:cNvPr id="1090" name="object 1090"/>
          <p:cNvSpPr/>
          <p:nvPr/>
        </p:nvSpPr>
        <p:spPr>
          <a:xfrm>
            <a:off x="3766573" y="1458081"/>
            <a:ext cx="35873" cy="49472"/>
          </a:xfrm>
          <a:custGeom>
            <a:avLst/>
            <a:gdLst/>
            <a:ahLst/>
            <a:cxnLst/>
            <a:rect l="l" t="t" r="r" b="b"/>
            <a:pathLst>
              <a:path w="35873" h="49472">
                <a:moveTo>
                  <a:pt x="0" y="49472"/>
                </a:moveTo>
                <a:lnTo>
                  <a:pt x="13640" y="49472"/>
                </a:lnTo>
                <a:lnTo>
                  <a:pt x="15251" y="49472"/>
                </a:lnTo>
                <a:lnTo>
                  <a:pt x="16647" y="49364"/>
                </a:lnTo>
                <a:lnTo>
                  <a:pt x="18044" y="49255"/>
                </a:lnTo>
                <a:lnTo>
                  <a:pt x="19333" y="49147"/>
                </a:lnTo>
                <a:lnTo>
                  <a:pt x="20514" y="49039"/>
                </a:lnTo>
                <a:lnTo>
                  <a:pt x="21695" y="48822"/>
                </a:lnTo>
                <a:lnTo>
                  <a:pt x="22662" y="48498"/>
                </a:lnTo>
                <a:lnTo>
                  <a:pt x="23629" y="48281"/>
                </a:lnTo>
                <a:lnTo>
                  <a:pt x="24488" y="47956"/>
                </a:lnTo>
                <a:lnTo>
                  <a:pt x="25347" y="47632"/>
                </a:lnTo>
                <a:lnTo>
                  <a:pt x="26099" y="47307"/>
                </a:lnTo>
                <a:lnTo>
                  <a:pt x="26851" y="46874"/>
                </a:lnTo>
                <a:lnTo>
                  <a:pt x="27603" y="46441"/>
                </a:lnTo>
                <a:lnTo>
                  <a:pt x="28247" y="45900"/>
                </a:lnTo>
                <a:lnTo>
                  <a:pt x="28892" y="45467"/>
                </a:lnTo>
                <a:lnTo>
                  <a:pt x="29429" y="44925"/>
                </a:lnTo>
                <a:lnTo>
                  <a:pt x="30181" y="44167"/>
                </a:lnTo>
                <a:lnTo>
                  <a:pt x="30825" y="43301"/>
                </a:lnTo>
                <a:lnTo>
                  <a:pt x="31469" y="42435"/>
                </a:lnTo>
                <a:lnTo>
                  <a:pt x="32114" y="41353"/>
                </a:lnTo>
                <a:lnTo>
                  <a:pt x="32651" y="40379"/>
                </a:lnTo>
                <a:lnTo>
                  <a:pt x="33188" y="39188"/>
                </a:lnTo>
                <a:lnTo>
                  <a:pt x="33725" y="37997"/>
                </a:lnTo>
                <a:lnTo>
                  <a:pt x="34155" y="36806"/>
                </a:lnTo>
                <a:lnTo>
                  <a:pt x="34584" y="35507"/>
                </a:lnTo>
                <a:lnTo>
                  <a:pt x="34906" y="34100"/>
                </a:lnTo>
                <a:lnTo>
                  <a:pt x="35121" y="32584"/>
                </a:lnTo>
                <a:lnTo>
                  <a:pt x="35443" y="31069"/>
                </a:lnTo>
                <a:lnTo>
                  <a:pt x="35658" y="29445"/>
                </a:lnTo>
                <a:lnTo>
                  <a:pt x="35766" y="27821"/>
                </a:lnTo>
                <a:lnTo>
                  <a:pt x="35873" y="26089"/>
                </a:lnTo>
                <a:lnTo>
                  <a:pt x="35873" y="24357"/>
                </a:lnTo>
                <a:lnTo>
                  <a:pt x="35766" y="21867"/>
                </a:lnTo>
                <a:lnTo>
                  <a:pt x="35658" y="19594"/>
                </a:lnTo>
                <a:lnTo>
                  <a:pt x="35336" y="17429"/>
                </a:lnTo>
                <a:lnTo>
                  <a:pt x="35014" y="15372"/>
                </a:lnTo>
                <a:lnTo>
                  <a:pt x="34584" y="13531"/>
                </a:lnTo>
                <a:lnTo>
                  <a:pt x="33940" y="11799"/>
                </a:lnTo>
                <a:lnTo>
                  <a:pt x="33295" y="10175"/>
                </a:lnTo>
                <a:lnTo>
                  <a:pt x="32543" y="8768"/>
                </a:lnTo>
                <a:lnTo>
                  <a:pt x="31684" y="7469"/>
                </a:lnTo>
                <a:lnTo>
                  <a:pt x="30825" y="6278"/>
                </a:lnTo>
                <a:lnTo>
                  <a:pt x="29858" y="5087"/>
                </a:lnTo>
                <a:lnTo>
                  <a:pt x="28892" y="4113"/>
                </a:lnTo>
                <a:lnTo>
                  <a:pt x="27818" y="3247"/>
                </a:lnTo>
                <a:lnTo>
                  <a:pt x="26744" y="2489"/>
                </a:lnTo>
                <a:lnTo>
                  <a:pt x="25669" y="1948"/>
                </a:lnTo>
                <a:lnTo>
                  <a:pt x="24488" y="1407"/>
                </a:lnTo>
                <a:lnTo>
                  <a:pt x="23521" y="1082"/>
                </a:lnTo>
                <a:lnTo>
                  <a:pt x="22555" y="866"/>
                </a:lnTo>
                <a:lnTo>
                  <a:pt x="21373" y="541"/>
                </a:lnTo>
                <a:lnTo>
                  <a:pt x="19977" y="324"/>
                </a:lnTo>
                <a:lnTo>
                  <a:pt x="18581" y="216"/>
                </a:lnTo>
                <a:lnTo>
                  <a:pt x="16970" y="108"/>
                </a:lnTo>
                <a:lnTo>
                  <a:pt x="15251" y="0"/>
                </a:lnTo>
                <a:lnTo>
                  <a:pt x="13425" y="0"/>
                </a:lnTo>
                <a:lnTo>
                  <a:pt x="0" y="0"/>
                </a:lnTo>
                <a:lnTo>
                  <a:pt x="0" y="49472"/>
                </a:lnTo>
              </a:path>
            </a:pathLst>
          </a:custGeom>
          <a:ln w="107">
            <a:solidFill>
              <a:srgbClr val="000000"/>
            </a:solidFill>
          </a:ln>
        </p:spPr>
        <p:txBody>
          <a:bodyPr wrap="square" lIns="0" tIns="0" rIns="0" bIns="0" rtlCol="0">
            <a:noAutofit/>
          </a:bodyPr>
          <a:lstStyle/>
          <a:p>
            <a:endParaRPr/>
          </a:p>
        </p:txBody>
      </p:sp>
      <p:sp>
        <p:nvSpPr>
          <p:cNvPr id="1091" name="object 1091"/>
          <p:cNvSpPr/>
          <p:nvPr/>
        </p:nvSpPr>
        <p:spPr>
          <a:xfrm>
            <a:off x="3823067" y="1450504"/>
            <a:ext cx="47688" cy="64628"/>
          </a:xfrm>
          <a:custGeom>
            <a:avLst/>
            <a:gdLst/>
            <a:ahLst/>
            <a:cxnLst/>
            <a:rect l="l" t="t" r="r" b="b"/>
            <a:pathLst>
              <a:path w="47688" h="64628">
                <a:moveTo>
                  <a:pt x="0" y="64628"/>
                </a:moveTo>
                <a:lnTo>
                  <a:pt x="0" y="0"/>
                </a:lnTo>
                <a:lnTo>
                  <a:pt x="46184" y="0"/>
                </a:lnTo>
                <a:lnTo>
                  <a:pt x="46184" y="7577"/>
                </a:lnTo>
                <a:lnTo>
                  <a:pt x="8485" y="7577"/>
                </a:lnTo>
                <a:lnTo>
                  <a:pt x="8485" y="27388"/>
                </a:lnTo>
                <a:lnTo>
                  <a:pt x="43821" y="27388"/>
                </a:lnTo>
                <a:lnTo>
                  <a:pt x="43821" y="34966"/>
                </a:lnTo>
                <a:lnTo>
                  <a:pt x="8485" y="34966"/>
                </a:lnTo>
                <a:lnTo>
                  <a:pt x="8485" y="57050"/>
                </a:lnTo>
                <a:lnTo>
                  <a:pt x="47688" y="57050"/>
                </a:lnTo>
                <a:lnTo>
                  <a:pt x="47688" y="64628"/>
                </a:lnTo>
                <a:lnTo>
                  <a:pt x="0" y="64628"/>
                </a:lnTo>
              </a:path>
            </a:pathLst>
          </a:custGeom>
          <a:ln w="107">
            <a:solidFill>
              <a:srgbClr val="000000"/>
            </a:solidFill>
          </a:ln>
        </p:spPr>
        <p:txBody>
          <a:bodyPr wrap="square" lIns="0" tIns="0" rIns="0" bIns="0" rtlCol="0">
            <a:noAutofit/>
          </a:bodyPr>
          <a:lstStyle/>
          <a:p>
            <a:endParaRPr/>
          </a:p>
        </p:txBody>
      </p:sp>
      <p:sp>
        <p:nvSpPr>
          <p:cNvPr id="1092" name="object 1092"/>
          <p:cNvSpPr/>
          <p:nvPr/>
        </p:nvSpPr>
        <p:spPr>
          <a:xfrm>
            <a:off x="3882571" y="1450504"/>
            <a:ext cx="56495" cy="64628"/>
          </a:xfrm>
          <a:custGeom>
            <a:avLst/>
            <a:gdLst/>
            <a:ahLst/>
            <a:cxnLst/>
            <a:rect l="l" t="t" r="r" b="b"/>
            <a:pathLst>
              <a:path w="56495" h="64628">
                <a:moveTo>
                  <a:pt x="0" y="64628"/>
                </a:moveTo>
                <a:lnTo>
                  <a:pt x="0" y="0"/>
                </a:lnTo>
                <a:lnTo>
                  <a:pt x="28462" y="0"/>
                </a:lnTo>
                <a:lnTo>
                  <a:pt x="30503" y="0"/>
                </a:lnTo>
                <a:lnTo>
                  <a:pt x="32436" y="108"/>
                </a:lnTo>
                <a:lnTo>
                  <a:pt x="34262" y="216"/>
                </a:lnTo>
                <a:lnTo>
                  <a:pt x="35980" y="433"/>
                </a:lnTo>
                <a:lnTo>
                  <a:pt x="37592" y="757"/>
                </a:lnTo>
                <a:lnTo>
                  <a:pt x="38988" y="974"/>
                </a:lnTo>
                <a:lnTo>
                  <a:pt x="40277" y="1299"/>
                </a:lnTo>
                <a:lnTo>
                  <a:pt x="41458" y="1732"/>
                </a:lnTo>
                <a:lnTo>
                  <a:pt x="42532" y="2273"/>
                </a:lnTo>
                <a:lnTo>
                  <a:pt x="43606" y="2814"/>
                </a:lnTo>
                <a:lnTo>
                  <a:pt x="44573" y="3464"/>
                </a:lnTo>
                <a:lnTo>
                  <a:pt x="45540" y="4221"/>
                </a:lnTo>
                <a:lnTo>
                  <a:pt x="46399" y="4979"/>
                </a:lnTo>
                <a:lnTo>
                  <a:pt x="47258" y="5954"/>
                </a:lnTo>
                <a:lnTo>
                  <a:pt x="48010" y="6928"/>
                </a:lnTo>
                <a:lnTo>
                  <a:pt x="48654" y="7902"/>
                </a:lnTo>
                <a:lnTo>
                  <a:pt x="49299" y="8985"/>
                </a:lnTo>
                <a:lnTo>
                  <a:pt x="49836" y="10175"/>
                </a:lnTo>
                <a:lnTo>
                  <a:pt x="50265" y="11366"/>
                </a:lnTo>
                <a:lnTo>
                  <a:pt x="50695" y="12557"/>
                </a:lnTo>
                <a:lnTo>
                  <a:pt x="50910" y="13856"/>
                </a:lnTo>
                <a:lnTo>
                  <a:pt x="51125" y="15155"/>
                </a:lnTo>
                <a:lnTo>
                  <a:pt x="51339" y="16454"/>
                </a:lnTo>
                <a:lnTo>
                  <a:pt x="51339" y="17753"/>
                </a:lnTo>
                <a:lnTo>
                  <a:pt x="51232" y="19377"/>
                </a:lnTo>
                <a:lnTo>
                  <a:pt x="51017" y="21001"/>
                </a:lnTo>
                <a:lnTo>
                  <a:pt x="50695" y="22625"/>
                </a:lnTo>
                <a:lnTo>
                  <a:pt x="50265" y="24032"/>
                </a:lnTo>
                <a:lnTo>
                  <a:pt x="49621" y="25439"/>
                </a:lnTo>
                <a:lnTo>
                  <a:pt x="48869" y="26847"/>
                </a:lnTo>
                <a:lnTo>
                  <a:pt x="48010" y="28146"/>
                </a:lnTo>
                <a:lnTo>
                  <a:pt x="46936" y="29337"/>
                </a:lnTo>
                <a:lnTo>
                  <a:pt x="45754" y="30419"/>
                </a:lnTo>
                <a:lnTo>
                  <a:pt x="44358" y="31502"/>
                </a:lnTo>
                <a:lnTo>
                  <a:pt x="42854" y="32368"/>
                </a:lnTo>
                <a:lnTo>
                  <a:pt x="41243" y="33234"/>
                </a:lnTo>
                <a:lnTo>
                  <a:pt x="39417" y="33883"/>
                </a:lnTo>
                <a:lnTo>
                  <a:pt x="37484" y="34533"/>
                </a:lnTo>
                <a:lnTo>
                  <a:pt x="35443" y="34966"/>
                </a:lnTo>
                <a:lnTo>
                  <a:pt x="33188" y="35291"/>
                </a:lnTo>
                <a:lnTo>
                  <a:pt x="33940" y="35724"/>
                </a:lnTo>
                <a:lnTo>
                  <a:pt x="34692" y="36157"/>
                </a:lnTo>
                <a:lnTo>
                  <a:pt x="35443" y="36590"/>
                </a:lnTo>
                <a:lnTo>
                  <a:pt x="36088" y="36914"/>
                </a:lnTo>
                <a:lnTo>
                  <a:pt x="36732" y="37347"/>
                </a:lnTo>
                <a:lnTo>
                  <a:pt x="37377" y="37780"/>
                </a:lnTo>
                <a:lnTo>
                  <a:pt x="37914" y="38213"/>
                </a:lnTo>
                <a:lnTo>
                  <a:pt x="38343" y="38538"/>
                </a:lnTo>
                <a:lnTo>
                  <a:pt x="39203" y="39404"/>
                </a:lnTo>
                <a:lnTo>
                  <a:pt x="40169" y="40379"/>
                </a:lnTo>
                <a:lnTo>
                  <a:pt x="41029" y="41353"/>
                </a:lnTo>
                <a:lnTo>
                  <a:pt x="41888" y="42435"/>
                </a:lnTo>
                <a:lnTo>
                  <a:pt x="42747" y="43518"/>
                </a:lnTo>
                <a:lnTo>
                  <a:pt x="43714" y="44709"/>
                </a:lnTo>
                <a:lnTo>
                  <a:pt x="44466" y="45900"/>
                </a:lnTo>
                <a:lnTo>
                  <a:pt x="45325" y="47090"/>
                </a:lnTo>
                <a:lnTo>
                  <a:pt x="56495" y="64628"/>
                </a:lnTo>
                <a:lnTo>
                  <a:pt x="45862" y="64628"/>
                </a:lnTo>
                <a:lnTo>
                  <a:pt x="37377" y="51312"/>
                </a:lnTo>
                <a:lnTo>
                  <a:pt x="36517" y="49905"/>
                </a:lnTo>
                <a:lnTo>
                  <a:pt x="35551" y="48606"/>
                </a:lnTo>
                <a:lnTo>
                  <a:pt x="34799" y="47307"/>
                </a:lnTo>
                <a:lnTo>
                  <a:pt x="33940" y="46116"/>
                </a:lnTo>
                <a:lnTo>
                  <a:pt x="33188" y="45034"/>
                </a:lnTo>
                <a:lnTo>
                  <a:pt x="32543" y="44059"/>
                </a:lnTo>
                <a:lnTo>
                  <a:pt x="31899" y="43193"/>
                </a:lnTo>
                <a:lnTo>
                  <a:pt x="31255" y="42435"/>
                </a:lnTo>
                <a:lnTo>
                  <a:pt x="30610" y="41678"/>
                </a:lnTo>
                <a:lnTo>
                  <a:pt x="30073" y="41028"/>
                </a:lnTo>
                <a:lnTo>
                  <a:pt x="29536" y="40379"/>
                </a:lnTo>
                <a:lnTo>
                  <a:pt x="28999" y="39729"/>
                </a:lnTo>
                <a:lnTo>
                  <a:pt x="28462" y="39296"/>
                </a:lnTo>
                <a:lnTo>
                  <a:pt x="27925" y="38863"/>
                </a:lnTo>
                <a:lnTo>
                  <a:pt x="27388" y="38430"/>
                </a:lnTo>
                <a:lnTo>
                  <a:pt x="26958" y="38105"/>
                </a:lnTo>
                <a:lnTo>
                  <a:pt x="26421" y="37780"/>
                </a:lnTo>
                <a:lnTo>
                  <a:pt x="25992" y="37456"/>
                </a:lnTo>
                <a:lnTo>
                  <a:pt x="25455" y="37239"/>
                </a:lnTo>
                <a:lnTo>
                  <a:pt x="25025" y="37023"/>
                </a:lnTo>
                <a:lnTo>
                  <a:pt x="24488" y="36806"/>
                </a:lnTo>
                <a:lnTo>
                  <a:pt x="23951" y="36590"/>
                </a:lnTo>
                <a:lnTo>
                  <a:pt x="23521" y="36373"/>
                </a:lnTo>
                <a:lnTo>
                  <a:pt x="22984" y="36265"/>
                </a:lnTo>
                <a:lnTo>
                  <a:pt x="22662" y="36157"/>
                </a:lnTo>
                <a:lnTo>
                  <a:pt x="22233" y="36157"/>
                </a:lnTo>
                <a:lnTo>
                  <a:pt x="21695" y="36048"/>
                </a:lnTo>
                <a:lnTo>
                  <a:pt x="21158" y="36048"/>
                </a:lnTo>
                <a:lnTo>
                  <a:pt x="20514" y="35940"/>
                </a:lnTo>
                <a:lnTo>
                  <a:pt x="19762" y="35940"/>
                </a:lnTo>
                <a:lnTo>
                  <a:pt x="19010" y="35940"/>
                </a:lnTo>
                <a:lnTo>
                  <a:pt x="18258" y="35940"/>
                </a:lnTo>
                <a:lnTo>
                  <a:pt x="8485" y="35940"/>
                </a:lnTo>
                <a:lnTo>
                  <a:pt x="8485" y="64628"/>
                </a:lnTo>
                <a:lnTo>
                  <a:pt x="0" y="64628"/>
                </a:lnTo>
              </a:path>
            </a:pathLst>
          </a:custGeom>
          <a:ln w="107">
            <a:solidFill>
              <a:srgbClr val="000000"/>
            </a:solidFill>
          </a:ln>
        </p:spPr>
        <p:txBody>
          <a:bodyPr wrap="square" lIns="0" tIns="0" rIns="0" bIns="0" rtlCol="0">
            <a:noAutofit/>
          </a:bodyPr>
          <a:lstStyle/>
          <a:p>
            <a:endParaRPr/>
          </a:p>
        </p:txBody>
      </p:sp>
      <p:sp>
        <p:nvSpPr>
          <p:cNvPr id="1093" name="object 1093"/>
          <p:cNvSpPr/>
          <p:nvPr/>
        </p:nvSpPr>
        <p:spPr>
          <a:xfrm>
            <a:off x="3891056" y="1457648"/>
            <a:ext cx="34155" cy="21434"/>
          </a:xfrm>
          <a:custGeom>
            <a:avLst/>
            <a:gdLst/>
            <a:ahLst/>
            <a:cxnLst/>
            <a:rect l="l" t="t" r="r" b="b"/>
            <a:pathLst>
              <a:path w="34155" h="21434">
                <a:moveTo>
                  <a:pt x="0" y="21434"/>
                </a:moveTo>
                <a:lnTo>
                  <a:pt x="18258" y="21434"/>
                </a:lnTo>
                <a:lnTo>
                  <a:pt x="19655" y="21434"/>
                </a:lnTo>
                <a:lnTo>
                  <a:pt x="21051" y="21326"/>
                </a:lnTo>
                <a:lnTo>
                  <a:pt x="22233" y="21217"/>
                </a:lnTo>
                <a:lnTo>
                  <a:pt x="23414" y="21109"/>
                </a:lnTo>
                <a:lnTo>
                  <a:pt x="24488" y="21001"/>
                </a:lnTo>
                <a:lnTo>
                  <a:pt x="25562" y="20784"/>
                </a:lnTo>
                <a:lnTo>
                  <a:pt x="26421" y="20460"/>
                </a:lnTo>
                <a:lnTo>
                  <a:pt x="27281" y="20243"/>
                </a:lnTo>
                <a:lnTo>
                  <a:pt x="28032" y="19918"/>
                </a:lnTo>
                <a:lnTo>
                  <a:pt x="28784" y="19594"/>
                </a:lnTo>
                <a:lnTo>
                  <a:pt x="29536" y="19161"/>
                </a:lnTo>
                <a:lnTo>
                  <a:pt x="30181" y="18728"/>
                </a:lnTo>
                <a:lnTo>
                  <a:pt x="30825" y="18186"/>
                </a:lnTo>
                <a:lnTo>
                  <a:pt x="31362" y="17645"/>
                </a:lnTo>
                <a:lnTo>
                  <a:pt x="31899" y="17104"/>
                </a:lnTo>
                <a:lnTo>
                  <a:pt x="32329" y="16454"/>
                </a:lnTo>
                <a:lnTo>
                  <a:pt x="32758" y="15805"/>
                </a:lnTo>
                <a:lnTo>
                  <a:pt x="33080" y="15047"/>
                </a:lnTo>
                <a:lnTo>
                  <a:pt x="33403" y="14397"/>
                </a:lnTo>
                <a:lnTo>
                  <a:pt x="33725" y="13640"/>
                </a:lnTo>
                <a:lnTo>
                  <a:pt x="33940" y="12882"/>
                </a:lnTo>
                <a:lnTo>
                  <a:pt x="34047" y="12124"/>
                </a:lnTo>
                <a:lnTo>
                  <a:pt x="34155" y="11366"/>
                </a:lnTo>
                <a:lnTo>
                  <a:pt x="34155" y="10608"/>
                </a:lnTo>
                <a:lnTo>
                  <a:pt x="34047" y="9526"/>
                </a:lnTo>
                <a:lnTo>
                  <a:pt x="33940" y="8443"/>
                </a:lnTo>
                <a:lnTo>
                  <a:pt x="33618" y="7361"/>
                </a:lnTo>
                <a:lnTo>
                  <a:pt x="33295" y="6387"/>
                </a:lnTo>
                <a:lnTo>
                  <a:pt x="32866" y="5520"/>
                </a:lnTo>
                <a:lnTo>
                  <a:pt x="32221" y="4654"/>
                </a:lnTo>
                <a:lnTo>
                  <a:pt x="31577" y="3788"/>
                </a:lnTo>
                <a:lnTo>
                  <a:pt x="30825" y="3031"/>
                </a:lnTo>
                <a:lnTo>
                  <a:pt x="29966" y="2381"/>
                </a:lnTo>
                <a:lnTo>
                  <a:pt x="28892" y="1732"/>
                </a:lnTo>
                <a:lnTo>
                  <a:pt x="27818" y="1190"/>
                </a:lnTo>
                <a:lnTo>
                  <a:pt x="26529" y="757"/>
                </a:lnTo>
                <a:lnTo>
                  <a:pt x="25132" y="433"/>
                </a:lnTo>
                <a:lnTo>
                  <a:pt x="23629" y="216"/>
                </a:lnTo>
                <a:lnTo>
                  <a:pt x="22018" y="0"/>
                </a:lnTo>
                <a:lnTo>
                  <a:pt x="20299" y="0"/>
                </a:lnTo>
                <a:lnTo>
                  <a:pt x="0" y="0"/>
                </a:lnTo>
                <a:lnTo>
                  <a:pt x="0" y="21434"/>
                </a:lnTo>
              </a:path>
            </a:pathLst>
          </a:custGeom>
          <a:ln w="108">
            <a:solidFill>
              <a:srgbClr val="000000"/>
            </a:solidFill>
          </a:ln>
        </p:spPr>
        <p:txBody>
          <a:bodyPr wrap="square" lIns="0" tIns="0" rIns="0" bIns="0" rtlCol="0">
            <a:noAutofit/>
          </a:bodyPr>
          <a:lstStyle/>
          <a:p>
            <a:endParaRPr/>
          </a:p>
        </p:txBody>
      </p:sp>
      <p:sp>
        <p:nvSpPr>
          <p:cNvPr id="1094" name="object 1094"/>
          <p:cNvSpPr/>
          <p:nvPr/>
        </p:nvSpPr>
        <p:spPr>
          <a:xfrm>
            <a:off x="3252851" y="2605151"/>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095" name="object 1095"/>
          <p:cNvSpPr/>
          <p:nvPr/>
        </p:nvSpPr>
        <p:spPr>
          <a:xfrm>
            <a:off x="3252852" y="1411351"/>
            <a:ext cx="915987" cy="1193800"/>
          </a:xfrm>
          <a:custGeom>
            <a:avLst/>
            <a:gdLst/>
            <a:ahLst/>
            <a:cxnLst/>
            <a:rect l="l" t="t" r="r" b="b"/>
            <a:pathLst>
              <a:path w="915987" h="1193800">
                <a:moveTo>
                  <a:pt x="0" y="1193800"/>
                </a:moveTo>
                <a:lnTo>
                  <a:pt x="915987" y="1193800"/>
                </a:lnTo>
                <a:lnTo>
                  <a:pt x="915987" y="0"/>
                </a:lnTo>
                <a:lnTo>
                  <a:pt x="0" y="0"/>
                </a:lnTo>
                <a:lnTo>
                  <a:pt x="0" y="1193800"/>
                </a:lnTo>
                <a:close/>
              </a:path>
            </a:pathLst>
          </a:custGeom>
          <a:ln w="25400">
            <a:solidFill>
              <a:srgbClr val="000000"/>
            </a:solidFill>
          </a:ln>
        </p:spPr>
        <p:txBody>
          <a:bodyPr wrap="square" lIns="0" tIns="0" rIns="0" bIns="0" rtlCol="0">
            <a:noAutofit/>
          </a:bodyPr>
          <a:lstStyle/>
          <a:p>
            <a:endParaRPr/>
          </a:p>
        </p:txBody>
      </p:sp>
      <p:sp>
        <p:nvSpPr>
          <p:cNvPr id="1096" name="object 1096"/>
          <p:cNvSpPr/>
          <p:nvPr/>
        </p:nvSpPr>
        <p:spPr>
          <a:xfrm>
            <a:off x="8676132" y="2584705"/>
            <a:ext cx="1117092" cy="911351"/>
          </a:xfrm>
          <a:prstGeom prst="rect">
            <a:avLst/>
          </a:prstGeom>
          <a:blipFill>
            <a:blip r:embed="rId9" cstate="print"/>
            <a:stretch>
              <a:fillRect/>
            </a:stretch>
          </a:blipFill>
        </p:spPr>
        <p:txBody>
          <a:bodyPr wrap="square" lIns="0" tIns="0" rIns="0" bIns="0" rtlCol="0">
            <a:noAutofit/>
          </a:bodyPr>
          <a:lstStyle/>
          <a:p>
            <a:endParaRPr/>
          </a:p>
        </p:txBody>
      </p:sp>
      <p:sp>
        <p:nvSpPr>
          <p:cNvPr id="1097" name="object 1097"/>
          <p:cNvSpPr/>
          <p:nvPr/>
        </p:nvSpPr>
        <p:spPr>
          <a:xfrm>
            <a:off x="8658226" y="2567051"/>
            <a:ext cx="1101725" cy="895350"/>
          </a:xfrm>
          <a:custGeom>
            <a:avLst/>
            <a:gdLst/>
            <a:ahLst/>
            <a:cxnLst/>
            <a:rect l="l" t="t" r="r" b="b"/>
            <a:pathLst>
              <a:path w="1101725" h="895350">
                <a:moveTo>
                  <a:pt x="0" y="895350"/>
                </a:moveTo>
                <a:lnTo>
                  <a:pt x="1101725" y="895350"/>
                </a:lnTo>
                <a:lnTo>
                  <a:pt x="1101725" y="0"/>
                </a:lnTo>
                <a:lnTo>
                  <a:pt x="0" y="0"/>
                </a:lnTo>
                <a:lnTo>
                  <a:pt x="0" y="895350"/>
                </a:lnTo>
                <a:close/>
              </a:path>
            </a:pathLst>
          </a:custGeom>
          <a:solidFill>
            <a:srgbClr val="00B7A4"/>
          </a:solidFill>
        </p:spPr>
        <p:txBody>
          <a:bodyPr wrap="square" lIns="0" tIns="0" rIns="0" bIns="0" rtlCol="0">
            <a:noAutofit/>
          </a:bodyPr>
          <a:lstStyle/>
          <a:p>
            <a:endParaRPr/>
          </a:p>
        </p:txBody>
      </p:sp>
      <p:sp>
        <p:nvSpPr>
          <p:cNvPr id="1098" name="object 1098"/>
          <p:cNvSpPr/>
          <p:nvPr/>
        </p:nvSpPr>
        <p:spPr>
          <a:xfrm>
            <a:off x="8658226" y="2567051"/>
            <a:ext cx="1101725" cy="895350"/>
          </a:xfrm>
          <a:custGeom>
            <a:avLst/>
            <a:gdLst/>
            <a:ahLst/>
            <a:cxnLst/>
            <a:rect l="l" t="t" r="r" b="b"/>
            <a:pathLst>
              <a:path w="1101725" h="895350">
                <a:moveTo>
                  <a:pt x="0" y="895350"/>
                </a:moveTo>
                <a:lnTo>
                  <a:pt x="1101725" y="895350"/>
                </a:lnTo>
                <a:lnTo>
                  <a:pt x="1101725" y="0"/>
                </a:lnTo>
                <a:lnTo>
                  <a:pt x="0" y="0"/>
                </a:lnTo>
                <a:lnTo>
                  <a:pt x="0" y="895350"/>
                </a:lnTo>
                <a:close/>
              </a:path>
            </a:pathLst>
          </a:custGeom>
          <a:ln w="12700">
            <a:solidFill>
              <a:srgbClr val="FFFFFF"/>
            </a:solidFill>
          </a:ln>
        </p:spPr>
        <p:txBody>
          <a:bodyPr wrap="square" lIns="0" tIns="0" rIns="0" bIns="0" rtlCol="0">
            <a:noAutofit/>
          </a:bodyPr>
          <a:lstStyle/>
          <a:p>
            <a:endParaRPr/>
          </a:p>
        </p:txBody>
      </p:sp>
      <p:sp>
        <p:nvSpPr>
          <p:cNvPr id="1099" name="object 1099"/>
          <p:cNvSpPr/>
          <p:nvPr/>
        </p:nvSpPr>
        <p:spPr>
          <a:xfrm>
            <a:off x="9407526" y="2835275"/>
            <a:ext cx="60325" cy="69850"/>
          </a:xfrm>
          <a:custGeom>
            <a:avLst/>
            <a:gdLst/>
            <a:ahLst/>
            <a:cxnLst/>
            <a:rect l="l" t="t" r="r" b="b"/>
            <a:pathLst>
              <a:path w="60325" h="69850">
                <a:moveTo>
                  <a:pt x="44450" y="22225"/>
                </a:moveTo>
                <a:lnTo>
                  <a:pt x="39750" y="14350"/>
                </a:lnTo>
                <a:lnTo>
                  <a:pt x="28575" y="8000"/>
                </a:lnTo>
                <a:lnTo>
                  <a:pt x="20574" y="1650"/>
                </a:lnTo>
                <a:lnTo>
                  <a:pt x="16966" y="712"/>
                </a:lnTo>
                <a:lnTo>
                  <a:pt x="14224" y="1650"/>
                </a:lnTo>
                <a:lnTo>
                  <a:pt x="12700" y="6350"/>
                </a:lnTo>
                <a:lnTo>
                  <a:pt x="14224" y="8000"/>
                </a:lnTo>
                <a:lnTo>
                  <a:pt x="22225" y="17525"/>
                </a:lnTo>
                <a:lnTo>
                  <a:pt x="26924" y="23875"/>
                </a:lnTo>
                <a:lnTo>
                  <a:pt x="17399" y="17525"/>
                </a:lnTo>
                <a:lnTo>
                  <a:pt x="9525" y="14350"/>
                </a:lnTo>
                <a:lnTo>
                  <a:pt x="1524" y="12700"/>
                </a:lnTo>
                <a:lnTo>
                  <a:pt x="0" y="15875"/>
                </a:lnTo>
                <a:lnTo>
                  <a:pt x="1524" y="22225"/>
                </a:lnTo>
                <a:lnTo>
                  <a:pt x="14224" y="28575"/>
                </a:lnTo>
                <a:lnTo>
                  <a:pt x="19050" y="33400"/>
                </a:lnTo>
                <a:lnTo>
                  <a:pt x="19050" y="36575"/>
                </a:lnTo>
                <a:lnTo>
                  <a:pt x="12700" y="38100"/>
                </a:lnTo>
                <a:lnTo>
                  <a:pt x="11049" y="39750"/>
                </a:lnTo>
                <a:lnTo>
                  <a:pt x="6350" y="38100"/>
                </a:lnTo>
                <a:lnTo>
                  <a:pt x="3175" y="38100"/>
                </a:lnTo>
                <a:lnTo>
                  <a:pt x="1524" y="41275"/>
                </a:lnTo>
                <a:lnTo>
                  <a:pt x="1524" y="46100"/>
                </a:lnTo>
                <a:lnTo>
                  <a:pt x="4699" y="47625"/>
                </a:lnTo>
                <a:lnTo>
                  <a:pt x="12700" y="52450"/>
                </a:lnTo>
                <a:lnTo>
                  <a:pt x="19050" y="52450"/>
                </a:lnTo>
                <a:lnTo>
                  <a:pt x="26924" y="50800"/>
                </a:lnTo>
                <a:lnTo>
                  <a:pt x="30099" y="50800"/>
                </a:lnTo>
                <a:lnTo>
                  <a:pt x="36575" y="55625"/>
                </a:lnTo>
                <a:lnTo>
                  <a:pt x="42925" y="60325"/>
                </a:lnTo>
                <a:lnTo>
                  <a:pt x="53975" y="69850"/>
                </a:lnTo>
                <a:lnTo>
                  <a:pt x="60325" y="58800"/>
                </a:lnTo>
                <a:lnTo>
                  <a:pt x="49275" y="49275"/>
                </a:lnTo>
                <a:lnTo>
                  <a:pt x="44450" y="41275"/>
                </a:lnTo>
                <a:lnTo>
                  <a:pt x="44450" y="36575"/>
                </a:lnTo>
                <a:lnTo>
                  <a:pt x="46100" y="30225"/>
                </a:lnTo>
                <a:lnTo>
                  <a:pt x="44450" y="22225"/>
                </a:lnTo>
                <a:close/>
              </a:path>
              <a:path w="60325" h="69850">
                <a:moveTo>
                  <a:pt x="19050" y="0"/>
                </a:moveTo>
                <a:lnTo>
                  <a:pt x="14224" y="0"/>
                </a:lnTo>
                <a:lnTo>
                  <a:pt x="16966" y="712"/>
                </a:lnTo>
                <a:lnTo>
                  <a:pt x="19050" y="0"/>
                </a:lnTo>
                <a:close/>
              </a:path>
            </a:pathLst>
          </a:custGeom>
          <a:solidFill>
            <a:srgbClr val="FFDFC0"/>
          </a:solidFill>
        </p:spPr>
        <p:txBody>
          <a:bodyPr wrap="square" lIns="0" tIns="0" rIns="0" bIns="0" rtlCol="0">
            <a:noAutofit/>
          </a:bodyPr>
          <a:lstStyle/>
          <a:p>
            <a:endParaRPr/>
          </a:p>
        </p:txBody>
      </p:sp>
      <p:sp>
        <p:nvSpPr>
          <p:cNvPr id="1100" name="object 1100"/>
          <p:cNvSpPr/>
          <p:nvPr/>
        </p:nvSpPr>
        <p:spPr>
          <a:xfrm>
            <a:off x="9407526" y="2835275"/>
            <a:ext cx="60325" cy="69850"/>
          </a:xfrm>
          <a:custGeom>
            <a:avLst/>
            <a:gdLst/>
            <a:ahLst/>
            <a:cxnLst/>
            <a:rect l="l" t="t" r="r" b="b"/>
            <a:pathLst>
              <a:path w="60325" h="69850">
                <a:moveTo>
                  <a:pt x="49275" y="49275"/>
                </a:moveTo>
                <a:lnTo>
                  <a:pt x="44450" y="41275"/>
                </a:lnTo>
                <a:lnTo>
                  <a:pt x="44450" y="36575"/>
                </a:lnTo>
                <a:lnTo>
                  <a:pt x="46100" y="30225"/>
                </a:lnTo>
                <a:lnTo>
                  <a:pt x="44450" y="22225"/>
                </a:lnTo>
                <a:lnTo>
                  <a:pt x="39750" y="14350"/>
                </a:lnTo>
                <a:lnTo>
                  <a:pt x="28575" y="8000"/>
                </a:lnTo>
                <a:lnTo>
                  <a:pt x="20574" y="1650"/>
                </a:lnTo>
                <a:lnTo>
                  <a:pt x="14224" y="0"/>
                </a:lnTo>
                <a:lnTo>
                  <a:pt x="19050" y="0"/>
                </a:lnTo>
                <a:lnTo>
                  <a:pt x="14224" y="1650"/>
                </a:lnTo>
                <a:lnTo>
                  <a:pt x="12700" y="6350"/>
                </a:lnTo>
                <a:lnTo>
                  <a:pt x="14224" y="8000"/>
                </a:lnTo>
                <a:lnTo>
                  <a:pt x="22225" y="17525"/>
                </a:lnTo>
                <a:lnTo>
                  <a:pt x="26924" y="23875"/>
                </a:lnTo>
                <a:lnTo>
                  <a:pt x="17399" y="17525"/>
                </a:lnTo>
                <a:lnTo>
                  <a:pt x="9525" y="14350"/>
                </a:lnTo>
                <a:lnTo>
                  <a:pt x="1524" y="12700"/>
                </a:lnTo>
                <a:lnTo>
                  <a:pt x="0" y="15875"/>
                </a:lnTo>
                <a:lnTo>
                  <a:pt x="1524" y="22225"/>
                </a:lnTo>
                <a:lnTo>
                  <a:pt x="14224" y="28575"/>
                </a:lnTo>
                <a:lnTo>
                  <a:pt x="19050" y="33400"/>
                </a:lnTo>
                <a:lnTo>
                  <a:pt x="19050" y="36575"/>
                </a:lnTo>
                <a:lnTo>
                  <a:pt x="12700" y="38100"/>
                </a:lnTo>
                <a:lnTo>
                  <a:pt x="11049" y="39750"/>
                </a:lnTo>
                <a:lnTo>
                  <a:pt x="6350" y="38100"/>
                </a:lnTo>
                <a:lnTo>
                  <a:pt x="3175" y="38100"/>
                </a:lnTo>
                <a:lnTo>
                  <a:pt x="1524" y="41275"/>
                </a:lnTo>
                <a:lnTo>
                  <a:pt x="1524" y="46100"/>
                </a:lnTo>
                <a:lnTo>
                  <a:pt x="4699" y="47625"/>
                </a:lnTo>
                <a:lnTo>
                  <a:pt x="12700" y="52450"/>
                </a:lnTo>
                <a:lnTo>
                  <a:pt x="19050" y="52450"/>
                </a:lnTo>
                <a:lnTo>
                  <a:pt x="26924" y="50800"/>
                </a:lnTo>
                <a:lnTo>
                  <a:pt x="28575" y="49275"/>
                </a:lnTo>
                <a:lnTo>
                  <a:pt x="30099" y="50800"/>
                </a:lnTo>
                <a:lnTo>
                  <a:pt x="36575" y="55625"/>
                </a:lnTo>
                <a:lnTo>
                  <a:pt x="42925" y="60325"/>
                </a:lnTo>
                <a:lnTo>
                  <a:pt x="53975" y="69850"/>
                </a:lnTo>
                <a:lnTo>
                  <a:pt x="60325" y="58800"/>
                </a:lnTo>
                <a:lnTo>
                  <a:pt x="49275" y="49275"/>
                </a:lnTo>
              </a:path>
            </a:pathLst>
          </a:custGeom>
          <a:ln w="12700">
            <a:solidFill>
              <a:srgbClr val="000000"/>
            </a:solidFill>
          </a:ln>
        </p:spPr>
        <p:txBody>
          <a:bodyPr wrap="square" lIns="0" tIns="0" rIns="0" bIns="0" rtlCol="0">
            <a:noAutofit/>
          </a:bodyPr>
          <a:lstStyle/>
          <a:p>
            <a:endParaRPr/>
          </a:p>
        </p:txBody>
      </p:sp>
      <p:sp>
        <p:nvSpPr>
          <p:cNvPr id="1101" name="object 1101"/>
          <p:cNvSpPr/>
          <p:nvPr/>
        </p:nvSpPr>
        <p:spPr>
          <a:xfrm>
            <a:off x="9444101" y="2881377"/>
            <a:ext cx="90424" cy="93599"/>
          </a:xfrm>
          <a:custGeom>
            <a:avLst/>
            <a:gdLst/>
            <a:ahLst/>
            <a:cxnLst/>
            <a:rect l="l" t="t" r="r" b="b"/>
            <a:pathLst>
              <a:path w="90424" h="93599">
                <a:moveTo>
                  <a:pt x="17399" y="39624"/>
                </a:moveTo>
                <a:lnTo>
                  <a:pt x="36449" y="57150"/>
                </a:lnTo>
                <a:lnTo>
                  <a:pt x="53975" y="73025"/>
                </a:lnTo>
                <a:lnTo>
                  <a:pt x="74549" y="93599"/>
                </a:lnTo>
                <a:lnTo>
                  <a:pt x="85725" y="85725"/>
                </a:lnTo>
                <a:lnTo>
                  <a:pt x="90424" y="76200"/>
                </a:lnTo>
                <a:lnTo>
                  <a:pt x="76200" y="68199"/>
                </a:lnTo>
                <a:lnTo>
                  <a:pt x="60325" y="52324"/>
                </a:lnTo>
                <a:lnTo>
                  <a:pt x="36449" y="30099"/>
                </a:lnTo>
                <a:lnTo>
                  <a:pt x="14224" y="0"/>
                </a:lnTo>
                <a:lnTo>
                  <a:pt x="4699" y="15875"/>
                </a:lnTo>
                <a:lnTo>
                  <a:pt x="0" y="22225"/>
                </a:lnTo>
                <a:lnTo>
                  <a:pt x="3175" y="26924"/>
                </a:lnTo>
                <a:lnTo>
                  <a:pt x="17399" y="39624"/>
                </a:lnTo>
                <a:close/>
              </a:path>
            </a:pathLst>
          </a:custGeom>
          <a:solidFill>
            <a:srgbClr val="4040FF"/>
          </a:solidFill>
        </p:spPr>
        <p:txBody>
          <a:bodyPr wrap="square" lIns="0" tIns="0" rIns="0" bIns="0" rtlCol="0">
            <a:noAutofit/>
          </a:bodyPr>
          <a:lstStyle/>
          <a:p>
            <a:endParaRPr/>
          </a:p>
        </p:txBody>
      </p:sp>
      <p:sp>
        <p:nvSpPr>
          <p:cNvPr id="1102" name="object 1102"/>
          <p:cNvSpPr/>
          <p:nvPr/>
        </p:nvSpPr>
        <p:spPr>
          <a:xfrm>
            <a:off x="9444101" y="2881377"/>
            <a:ext cx="90424" cy="93599"/>
          </a:xfrm>
          <a:custGeom>
            <a:avLst/>
            <a:gdLst/>
            <a:ahLst/>
            <a:cxnLst/>
            <a:rect l="l" t="t" r="r" b="b"/>
            <a:pathLst>
              <a:path w="90424" h="93599">
                <a:moveTo>
                  <a:pt x="14224" y="0"/>
                </a:moveTo>
                <a:lnTo>
                  <a:pt x="36449" y="30099"/>
                </a:lnTo>
                <a:lnTo>
                  <a:pt x="60325" y="52324"/>
                </a:lnTo>
                <a:lnTo>
                  <a:pt x="76200" y="68199"/>
                </a:lnTo>
                <a:lnTo>
                  <a:pt x="90424" y="76200"/>
                </a:lnTo>
                <a:lnTo>
                  <a:pt x="85725" y="85725"/>
                </a:lnTo>
                <a:lnTo>
                  <a:pt x="74549" y="93599"/>
                </a:lnTo>
                <a:lnTo>
                  <a:pt x="53975" y="73025"/>
                </a:lnTo>
                <a:lnTo>
                  <a:pt x="36449" y="57150"/>
                </a:lnTo>
                <a:lnTo>
                  <a:pt x="17399" y="39624"/>
                </a:lnTo>
                <a:lnTo>
                  <a:pt x="3175" y="26924"/>
                </a:lnTo>
                <a:lnTo>
                  <a:pt x="0" y="22225"/>
                </a:lnTo>
                <a:lnTo>
                  <a:pt x="4699" y="15875"/>
                </a:lnTo>
                <a:lnTo>
                  <a:pt x="14224" y="0"/>
                </a:lnTo>
              </a:path>
            </a:pathLst>
          </a:custGeom>
          <a:ln w="12700">
            <a:solidFill>
              <a:srgbClr val="000000"/>
            </a:solidFill>
          </a:ln>
        </p:spPr>
        <p:txBody>
          <a:bodyPr wrap="square" lIns="0" tIns="0" rIns="0" bIns="0" rtlCol="0">
            <a:noAutofit/>
          </a:bodyPr>
          <a:lstStyle/>
          <a:p>
            <a:endParaRPr/>
          </a:p>
        </p:txBody>
      </p:sp>
      <p:sp>
        <p:nvSpPr>
          <p:cNvPr id="1103" name="object 1103"/>
          <p:cNvSpPr/>
          <p:nvPr/>
        </p:nvSpPr>
        <p:spPr>
          <a:xfrm>
            <a:off x="9050402" y="2855976"/>
            <a:ext cx="180975" cy="395224"/>
          </a:xfrm>
          <a:custGeom>
            <a:avLst/>
            <a:gdLst/>
            <a:ahLst/>
            <a:cxnLst/>
            <a:rect l="l" t="t" r="r" b="b"/>
            <a:pathLst>
              <a:path w="180975" h="395224">
                <a:moveTo>
                  <a:pt x="0" y="0"/>
                </a:moveTo>
                <a:lnTo>
                  <a:pt x="0" y="395224"/>
                </a:lnTo>
                <a:lnTo>
                  <a:pt x="180975" y="395224"/>
                </a:lnTo>
                <a:lnTo>
                  <a:pt x="180975" y="0"/>
                </a:lnTo>
                <a:lnTo>
                  <a:pt x="0" y="0"/>
                </a:lnTo>
                <a:close/>
              </a:path>
            </a:pathLst>
          </a:custGeom>
          <a:solidFill>
            <a:srgbClr val="FFC080"/>
          </a:solidFill>
        </p:spPr>
        <p:txBody>
          <a:bodyPr wrap="square" lIns="0" tIns="0" rIns="0" bIns="0" rtlCol="0">
            <a:noAutofit/>
          </a:bodyPr>
          <a:lstStyle/>
          <a:p>
            <a:endParaRPr/>
          </a:p>
        </p:txBody>
      </p:sp>
      <p:sp>
        <p:nvSpPr>
          <p:cNvPr id="1104" name="object 1104"/>
          <p:cNvSpPr/>
          <p:nvPr/>
        </p:nvSpPr>
        <p:spPr>
          <a:xfrm>
            <a:off x="9050402" y="2855976"/>
            <a:ext cx="180975" cy="395224"/>
          </a:xfrm>
          <a:custGeom>
            <a:avLst/>
            <a:gdLst/>
            <a:ahLst/>
            <a:cxnLst/>
            <a:rect l="l" t="t" r="r" b="b"/>
            <a:pathLst>
              <a:path w="180975" h="395224">
                <a:moveTo>
                  <a:pt x="0" y="0"/>
                </a:moveTo>
                <a:lnTo>
                  <a:pt x="180975" y="0"/>
                </a:lnTo>
                <a:lnTo>
                  <a:pt x="180975" y="395224"/>
                </a:lnTo>
                <a:lnTo>
                  <a:pt x="0" y="395224"/>
                </a:lnTo>
                <a:lnTo>
                  <a:pt x="0" y="0"/>
                </a:lnTo>
              </a:path>
            </a:pathLst>
          </a:custGeom>
          <a:ln w="12700">
            <a:solidFill>
              <a:srgbClr val="000000"/>
            </a:solidFill>
          </a:ln>
        </p:spPr>
        <p:txBody>
          <a:bodyPr wrap="square" lIns="0" tIns="0" rIns="0" bIns="0" rtlCol="0">
            <a:noAutofit/>
          </a:bodyPr>
          <a:lstStyle/>
          <a:p>
            <a:endParaRPr/>
          </a:p>
        </p:txBody>
      </p:sp>
      <p:sp>
        <p:nvSpPr>
          <p:cNvPr id="1105" name="object 1105"/>
          <p:cNvSpPr/>
          <p:nvPr/>
        </p:nvSpPr>
        <p:spPr>
          <a:xfrm>
            <a:off x="8997950" y="2855976"/>
            <a:ext cx="52324" cy="393700"/>
          </a:xfrm>
          <a:custGeom>
            <a:avLst/>
            <a:gdLst/>
            <a:ahLst/>
            <a:cxnLst/>
            <a:rect l="l" t="t" r="r" b="b"/>
            <a:pathLst>
              <a:path w="52324" h="393700">
                <a:moveTo>
                  <a:pt x="52324" y="393700"/>
                </a:moveTo>
                <a:lnTo>
                  <a:pt x="52324" y="0"/>
                </a:lnTo>
                <a:lnTo>
                  <a:pt x="0" y="22225"/>
                </a:lnTo>
                <a:lnTo>
                  <a:pt x="0" y="347599"/>
                </a:lnTo>
                <a:lnTo>
                  <a:pt x="52324" y="393700"/>
                </a:lnTo>
                <a:close/>
              </a:path>
            </a:pathLst>
          </a:custGeom>
          <a:solidFill>
            <a:srgbClr val="FF9F40"/>
          </a:solidFill>
        </p:spPr>
        <p:txBody>
          <a:bodyPr wrap="square" lIns="0" tIns="0" rIns="0" bIns="0" rtlCol="0">
            <a:noAutofit/>
          </a:bodyPr>
          <a:lstStyle/>
          <a:p>
            <a:endParaRPr/>
          </a:p>
        </p:txBody>
      </p:sp>
      <p:sp>
        <p:nvSpPr>
          <p:cNvPr id="1106" name="object 1106"/>
          <p:cNvSpPr/>
          <p:nvPr/>
        </p:nvSpPr>
        <p:spPr>
          <a:xfrm>
            <a:off x="8997950" y="2855976"/>
            <a:ext cx="52324" cy="393700"/>
          </a:xfrm>
          <a:custGeom>
            <a:avLst/>
            <a:gdLst/>
            <a:ahLst/>
            <a:cxnLst/>
            <a:rect l="l" t="t" r="r" b="b"/>
            <a:pathLst>
              <a:path w="52324" h="393700">
                <a:moveTo>
                  <a:pt x="52324" y="393700"/>
                </a:moveTo>
                <a:lnTo>
                  <a:pt x="0" y="347599"/>
                </a:lnTo>
                <a:lnTo>
                  <a:pt x="0" y="22225"/>
                </a:lnTo>
                <a:lnTo>
                  <a:pt x="52324" y="0"/>
                </a:lnTo>
                <a:lnTo>
                  <a:pt x="52324" y="393700"/>
                </a:lnTo>
              </a:path>
            </a:pathLst>
          </a:custGeom>
          <a:ln w="12700">
            <a:solidFill>
              <a:srgbClr val="000000"/>
            </a:solidFill>
          </a:ln>
        </p:spPr>
        <p:txBody>
          <a:bodyPr wrap="square" lIns="0" tIns="0" rIns="0" bIns="0" rtlCol="0">
            <a:noAutofit/>
          </a:bodyPr>
          <a:lstStyle/>
          <a:p>
            <a:endParaRPr/>
          </a:p>
        </p:txBody>
      </p:sp>
      <p:sp>
        <p:nvSpPr>
          <p:cNvPr id="1107" name="object 1107"/>
          <p:cNvSpPr/>
          <p:nvPr/>
        </p:nvSpPr>
        <p:spPr>
          <a:xfrm>
            <a:off x="8909050" y="2671826"/>
            <a:ext cx="196850" cy="520700"/>
          </a:xfrm>
          <a:custGeom>
            <a:avLst/>
            <a:gdLst/>
            <a:ahLst/>
            <a:cxnLst/>
            <a:rect l="l" t="t" r="r" b="b"/>
            <a:pathLst>
              <a:path w="196850" h="520700">
                <a:moveTo>
                  <a:pt x="0" y="0"/>
                </a:moveTo>
                <a:lnTo>
                  <a:pt x="0" y="520700"/>
                </a:lnTo>
                <a:lnTo>
                  <a:pt x="196850" y="520700"/>
                </a:lnTo>
                <a:lnTo>
                  <a:pt x="196850" y="0"/>
                </a:lnTo>
                <a:lnTo>
                  <a:pt x="0" y="0"/>
                </a:lnTo>
                <a:close/>
              </a:path>
            </a:pathLst>
          </a:custGeom>
          <a:solidFill>
            <a:srgbClr val="FFC080"/>
          </a:solidFill>
        </p:spPr>
        <p:txBody>
          <a:bodyPr wrap="square" lIns="0" tIns="0" rIns="0" bIns="0" rtlCol="0">
            <a:noAutofit/>
          </a:bodyPr>
          <a:lstStyle/>
          <a:p>
            <a:endParaRPr/>
          </a:p>
        </p:txBody>
      </p:sp>
      <p:sp>
        <p:nvSpPr>
          <p:cNvPr id="1108" name="object 1108"/>
          <p:cNvSpPr/>
          <p:nvPr/>
        </p:nvSpPr>
        <p:spPr>
          <a:xfrm>
            <a:off x="8909050" y="2671826"/>
            <a:ext cx="196850" cy="520700"/>
          </a:xfrm>
          <a:custGeom>
            <a:avLst/>
            <a:gdLst/>
            <a:ahLst/>
            <a:cxnLst/>
            <a:rect l="l" t="t" r="r" b="b"/>
            <a:pathLst>
              <a:path w="196850" h="520700">
                <a:moveTo>
                  <a:pt x="0" y="0"/>
                </a:moveTo>
                <a:lnTo>
                  <a:pt x="196850" y="0"/>
                </a:lnTo>
                <a:lnTo>
                  <a:pt x="196850" y="520700"/>
                </a:lnTo>
                <a:lnTo>
                  <a:pt x="0" y="520700"/>
                </a:lnTo>
                <a:lnTo>
                  <a:pt x="0" y="0"/>
                </a:lnTo>
              </a:path>
            </a:pathLst>
          </a:custGeom>
          <a:ln w="12700">
            <a:solidFill>
              <a:srgbClr val="000000"/>
            </a:solidFill>
          </a:ln>
        </p:spPr>
        <p:txBody>
          <a:bodyPr wrap="square" lIns="0" tIns="0" rIns="0" bIns="0" rtlCol="0">
            <a:noAutofit/>
          </a:bodyPr>
          <a:lstStyle/>
          <a:p>
            <a:endParaRPr/>
          </a:p>
        </p:txBody>
      </p:sp>
      <p:sp>
        <p:nvSpPr>
          <p:cNvPr id="1109" name="object 1109"/>
          <p:cNvSpPr/>
          <p:nvPr/>
        </p:nvSpPr>
        <p:spPr>
          <a:xfrm>
            <a:off x="8856726" y="2671826"/>
            <a:ext cx="52324" cy="520700"/>
          </a:xfrm>
          <a:custGeom>
            <a:avLst/>
            <a:gdLst/>
            <a:ahLst/>
            <a:cxnLst/>
            <a:rect l="l" t="t" r="r" b="b"/>
            <a:pathLst>
              <a:path w="52324" h="520700">
                <a:moveTo>
                  <a:pt x="52324" y="0"/>
                </a:moveTo>
                <a:lnTo>
                  <a:pt x="0" y="39624"/>
                </a:lnTo>
                <a:lnTo>
                  <a:pt x="0" y="508000"/>
                </a:lnTo>
                <a:lnTo>
                  <a:pt x="52324" y="520700"/>
                </a:lnTo>
                <a:lnTo>
                  <a:pt x="52324" y="0"/>
                </a:lnTo>
                <a:close/>
              </a:path>
            </a:pathLst>
          </a:custGeom>
          <a:solidFill>
            <a:srgbClr val="FF9F40"/>
          </a:solidFill>
        </p:spPr>
        <p:txBody>
          <a:bodyPr wrap="square" lIns="0" tIns="0" rIns="0" bIns="0" rtlCol="0">
            <a:noAutofit/>
          </a:bodyPr>
          <a:lstStyle/>
          <a:p>
            <a:endParaRPr/>
          </a:p>
        </p:txBody>
      </p:sp>
      <p:sp>
        <p:nvSpPr>
          <p:cNvPr id="1110" name="object 1110"/>
          <p:cNvSpPr/>
          <p:nvPr/>
        </p:nvSpPr>
        <p:spPr>
          <a:xfrm>
            <a:off x="8856726" y="2671826"/>
            <a:ext cx="52324" cy="520700"/>
          </a:xfrm>
          <a:custGeom>
            <a:avLst/>
            <a:gdLst/>
            <a:ahLst/>
            <a:cxnLst/>
            <a:rect l="l" t="t" r="r" b="b"/>
            <a:pathLst>
              <a:path w="52324" h="520700">
                <a:moveTo>
                  <a:pt x="52324" y="0"/>
                </a:moveTo>
                <a:lnTo>
                  <a:pt x="0" y="39624"/>
                </a:lnTo>
                <a:lnTo>
                  <a:pt x="0" y="508000"/>
                </a:lnTo>
                <a:lnTo>
                  <a:pt x="52324" y="520700"/>
                </a:lnTo>
                <a:lnTo>
                  <a:pt x="52324" y="0"/>
                </a:lnTo>
              </a:path>
            </a:pathLst>
          </a:custGeom>
          <a:ln w="12700">
            <a:solidFill>
              <a:srgbClr val="000000"/>
            </a:solidFill>
          </a:ln>
        </p:spPr>
        <p:txBody>
          <a:bodyPr wrap="square" lIns="0" tIns="0" rIns="0" bIns="0" rtlCol="0">
            <a:noAutofit/>
          </a:bodyPr>
          <a:lstStyle/>
          <a:p>
            <a:endParaRPr/>
          </a:p>
        </p:txBody>
      </p:sp>
      <p:sp>
        <p:nvSpPr>
          <p:cNvPr id="1111" name="object 1111"/>
          <p:cNvSpPr/>
          <p:nvPr/>
        </p:nvSpPr>
        <p:spPr>
          <a:xfrm>
            <a:off x="8815452" y="2855976"/>
            <a:ext cx="182499" cy="395224"/>
          </a:xfrm>
          <a:custGeom>
            <a:avLst/>
            <a:gdLst/>
            <a:ahLst/>
            <a:cxnLst/>
            <a:rect l="l" t="t" r="r" b="b"/>
            <a:pathLst>
              <a:path w="182499" h="395224">
                <a:moveTo>
                  <a:pt x="0" y="0"/>
                </a:moveTo>
                <a:lnTo>
                  <a:pt x="0" y="395224"/>
                </a:lnTo>
                <a:lnTo>
                  <a:pt x="182499" y="395224"/>
                </a:lnTo>
                <a:lnTo>
                  <a:pt x="182499" y="0"/>
                </a:lnTo>
                <a:lnTo>
                  <a:pt x="0" y="0"/>
                </a:lnTo>
                <a:close/>
              </a:path>
            </a:pathLst>
          </a:custGeom>
          <a:solidFill>
            <a:srgbClr val="FFC080"/>
          </a:solidFill>
        </p:spPr>
        <p:txBody>
          <a:bodyPr wrap="square" lIns="0" tIns="0" rIns="0" bIns="0" rtlCol="0">
            <a:noAutofit/>
          </a:bodyPr>
          <a:lstStyle/>
          <a:p>
            <a:endParaRPr/>
          </a:p>
        </p:txBody>
      </p:sp>
      <p:sp>
        <p:nvSpPr>
          <p:cNvPr id="1112" name="object 1112"/>
          <p:cNvSpPr/>
          <p:nvPr/>
        </p:nvSpPr>
        <p:spPr>
          <a:xfrm>
            <a:off x="8815452" y="2855976"/>
            <a:ext cx="182499" cy="395224"/>
          </a:xfrm>
          <a:custGeom>
            <a:avLst/>
            <a:gdLst/>
            <a:ahLst/>
            <a:cxnLst/>
            <a:rect l="l" t="t" r="r" b="b"/>
            <a:pathLst>
              <a:path w="182499" h="395224">
                <a:moveTo>
                  <a:pt x="0" y="0"/>
                </a:moveTo>
                <a:lnTo>
                  <a:pt x="182499" y="0"/>
                </a:lnTo>
                <a:lnTo>
                  <a:pt x="182499" y="395224"/>
                </a:lnTo>
                <a:lnTo>
                  <a:pt x="0" y="395224"/>
                </a:lnTo>
                <a:lnTo>
                  <a:pt x="0" y="0"/>
                </a:lnTo>
              </a:path>
            </a:pathLst>
          </a:custGeom>
          <a:ln w="12700">
            <a:solidFill>
              <a:srgbClr val="000000"/>
            </a:solidFill>
          </a:ln>
        </p:spPr>
        <p:txBody>
          <a:bodyPr wrap="square" lIns="0" tIns="0" rIns="0" bIns="0" rtlCol="0">
            <a:noAutofit/>
          </a:bodyPr>
          <a:lstStyle/>
          <a:p>
            <a:endParaRPr/>
          </a:p>
        </p:txBody>
      </p:sp>
      <p:sp>
        <p:nvSpPr>
          <p:cNvPr id="1113" name="object 1113"/>
          <p:cNvSpPr/>
          <p:nvPr/>
        </p:nvSpPr>
        <p:spPr>
          <a:xfrm>
            <a:off x="8763000" y="2855976"/>
            <a:ext cx="52324" cy="393700"/>
          </a:xfrm>
          <a:custGeom>
            <a:avLst/>
            <a:gdLst/>
            <a:ahLst/>
            <a:cxnLst/>
            <a:rect l="l" t="t" r="r" b="b"/>
            <a:pathLst>
              <a:path w="52324" h="393700">
                <a:moveTo>
                  <a:pt x="52324" y="393700"/>
                </a:moveTo>
                <a:lnTo>
                  <a:pt x="52324" y="0"/>
                </a:lnTo>
                <a:lnTo>
                  <a:pt x="0" y="22225"/>
                </a:lnTo>
                <a:lnTo>
                  <a:pt x="0" y="347599"/>
                </a:lnTo>
                <a:lnTo>
                  <a:pt x="52324" y="393700"/>
                </a:lnTo>
                <a:close/>
              </a:path>
            </a:pathLst>
          </a:custGeom>
          <a:solidFill>
            <a:srgbClr val="FF9F40"/>
          </a:solidFill>
        </p:spPr>
        <p:txBody>
          <a:bodyPr wrap="square" lIns="0" tIns="0" rIns="0" bIns="0" rtlCol="0">
            <a:noAutofit/>
          </a:bodyPr>
          <a:lstStyle/>
          <a:p>
            <a:endParaRPr/>
          </a:p>
        </p:txBody>
      </p:sp>
      <p:sp>
        <p:nvSpPr>
          <p:cNvPr id="1114" name="object 1114"/>
          <p:cNvSpPr/>
          <p:nvPr/>
        </p:nvSpPr>
        <p:spPr>
          <a:xfrm>
            <a:off x="8763000" y="2855976"/>
            <a:ext cx="52324" cy="393700"/>
          </a:xfrm>
          <a:custGeom>
            <a:avLst/>
            <a:gdLst/>
            <a:ahLst/>
            <a:cxnLst/>
            <a:rect l="l" t="t" r="r" b="b"/>
            <a:pathLst>
              <a:path w="52324" h="393700">
                <a:moveTo>
                  <a:pt x="52324" y="393700"/>
                </a:moveTo>
                <a:lnTo>
                  <a:pt x="0" y="347599"/>
                </a:lnTo>
                <a:lnTo>
                  <a:pt x="0" y="22225"/>
                </a:lnTo>
                <a:lnTo>
                  <a:pt x="52324" y="0"/>
                </a:lnTo>
                <a:lnTo>
                  <a:pt x="52324" y="393700"/>
                </a:lnTo>
              </a:path>
            </a:pathLst>
          </a:custGeom>
          <a:ln w="12700">
            <a:solidFill>
              <a:srgbClr val="000000"/>
            </a:solidFill>
          </a:ln>
        </p:spPr>
        <p:txBody>
          <a:bodyPr wrap="square" lIns="0" tIns="0" rIns="0" bIns="0" rtlCol="0">
            <a:noAutofit/>
          </a:bodyPr>
          <a:lstStyle/>
          <a:p>
            <a:endParaRPr/>
          </a:p>
        </p:txBody>
      </p:sp>
      <p:sp>
        <p:nvSpPr>
          <p:cNvPr id="1115" name="object 1115"/>
          <p:cNvSpPr/>
          <p:nvPr/>
        </p:nvSpPr>
        <p:spPr>
          <a:xfrm>
            <a:off x="9210676" y="2660651"/>
            <a:ext cx="225425" cy="36575"/>
          </a:xfrm>
          <a:custGeom>
            <a:avLst/>
            <a:gdLst/>
            <a:ahLst/>
            <a:cxnLst/>
            <a:rect l="l" t="t" r="r" b="b"/>
            <a:pathLst>
              <a:path w="225425" h="36575">
                <a:moveTo>
                  <a:pt x="225425" y="0"/>
                </a:moveTo>
                <a:lnTo>
                  <a:pt x="74549" y="0"/>
                </a:lnTo>
                <a:lnTo>
                  <a:pt x="0" y="36575"/>
                </a:lnTo>
                <a:lnTo>
                  <a:pt x="154050" y="36575"/>
                </a:lnTo>
                <a:lnTo>
                  <a:pt x="225425" y="0"/>
                </a:lnTo>
                <a:close/>
              </a:path>
            </a:pathLst>
          </a:custGeom>
          <a:solidFill>
            <a:srgbClr val="FFC080"/>
          </a:solidFill>
        </p:spPr>
        <p:txBody>
          <a:bodyPr wrap="square" lIns="0" tIns="0" rIns="0" bIns="0" rtlCol="0">
            <a:noAutofit/>
          </a:bodyPr>
          <a:lstStyle/>
          <a:p>
            <a:endParaRPr/>
          </a:p>
        </p:txBody>
      </p:sp>
      <p:sp>
        <p:nvSpPr>
          <p:cNvPr id="1116" name="object 1116"/>
          <p:cNvSpPr/>
          <p:nvPr/>
        </p:nvSpPr>
        <p:spPr>
          <a:xfrm>
            <a:off x="9210676" y="2660651"/>
            <a:ext cx="225425" cy="36575"/>
          </a:xfrm>
          <a:custGeom>
            <a:avLst/>
            <a:gdLst/>
            <a:ahLst/>
            <a:cxnLst/>
            <a:rect l="l" t="t" r="r" b="b"/>
            <a:pathLst>
              <a:path w="225425" h="36575">
                <a:moveTo>
                  <a:pt x="225425" y="0"/>
                </a:moveTo>
                <a:lnTo>
                  <a:pt x="154050" y="36575"/>
                </a:lnTo>
                <a:lnTo>
                  <a:pt x="0" y="36575"/>
                </a:lnTo>
                <a:lnTo>
                  <a:pt x="74549" y="0"/>
                </a:lnTo>
                <a:lnTo>
                  <a:pt x="225425" y="0"/>
                </a:lnTo>
              </a:path>
            </a:pathLst>
          </a:custGeom>
          <a:ln w="12699">
            <a:solidFill>
              <a:srgbClr val="000000"/>
            </a:solidFill>
          </a:ln>
        </p:spPr>
        <p:txBody>
          <a:bodyPr wrap="square" lIns="0" tIns="0" rIns="0" bIns="0" rtlCol="0">
            <a:noAutofit/>
          </a:bodyPr>
          <a:lstStyle/>
          <a:p>
            <a:endParaRPr/>
          </a:p>
        </p:txBody>
      </p:sp>
      <p:sp>
        <p:nvSpPr>
          <p:cNvPr id="1117" name="object 1117"/>
          <p:cNvSpPr/>
          <p:nvPr/>
        </p:nvSpPr>
        <p:spPr>
          <a:xfrm>
            <a:off x="9285352" y="2597150"/>
            <a:ext cx="150749" cy="63500"/>
          </a:xfrm>
          <a:custGeom>
            <a:avLst/>
            <a:gdLst/>
            <a:ahLst/>
            <a:cxnLst/>
            <a:rect l="l" t="t" r="r" b="b"/>
            <a:pathLst>
              <a:path w="150749" h="63500">
                <a:moveTo>
                  <a:pt x="150749" y="63500"/>
                </a:moveTo>
                <a:lnTo>
                  <a:pt x="150749" y="0"/>
                </a:lnTo>
                <a:lnTo>
                  <a:pt x="0" y="0"/>
                </a:lnTo>
                <a:lnTo>
                  <a:pt x="0" y="63500"/>
                </a:lnTo>
                <a:lnTo>
                  <a:pt x="150749" y="63500"/>
                </a:lnTo>
                <a:close/>
              </a:path>
            </a:pathLst>
          </a:custGeom>
          <a:solidFill>
            <a:srgbClr val="FFC080"/>
          </a:solidFill>
        </p:spPr>
        <p:txBody>
          <a:bodyPr wrap="square" lIns="0" tIns="0" rIns="0" bIns="0" rtlCol="0">
            <a:noAutofit/>
          </a:bodyPr>
          <a:lstStyle/>
          <a:p>
            <a:endParaRPr/>
          </a:p>
        </p:txBody>
      </p:sp>
      <p:sp>
        <p:nvSpPr>
          <p:cNvPr id="1118" name="object 1118"/>
          <p:cNvSpPr/>
          <p:nvPr/>
        </p:nvSpPr>
        <p:spPr>
          <a:xfrm>
            <a:off x="9285352" y="2597150"/>
            <a:ext cx="150749" cy="63500"/>
          </a:xfrm>
          <a:custGeom>
            <a:avLst/>
            <a:gdLst/>
            <a:ahLst/>
            <a:cxnLst/>
            <a:rect l="l" t="t" r="r" b="b"/>
            <a:pathLst>
              <a:path w="150749" h="63500">
                <a:moveTo>
                  <a:pt x="150749" y="63500"/>
                </a:moveTo>
                <a:lnTo>
                  <a:pt x="150749" y="0"/>
                </a:lnTo>
                <a:lnTo>
                  <a:pt x="0" y="0"/>
                </a:lnTo>
                <a:lnTo>
                  <a:pt x="0" y="63500"/>
                </a:lnTo>
                <a:lnTo>
                  <a:pt x="150749" y="63500"/>
                </a:lnTo>
              </a:path>
            </a:pathLst>
          </a:custGeom>
          <a:ln w="12700">
            <a:solidFill>
              <a:srgbClr val="000000"/>
            </a:solidFill>
          </a:ln>
        </p:spPr>
        <p:txBody>
          <a:bodyPr wrap="square" lIns="0" tIns="0" rIns="0" bIns="0" rtlCol="0">
            <a:noAutofit/>
          </a:bodyPr>
          <a:lstStyle/>
          <a:p>
            <a:endParaRPr/>
          </a:p>
        </p:txBody>
      </p:sp>
      <p:sp>
        <p:nvSpPr>
          <p:cNvPr id="1119" name="object 1119"/>
          <p:cNvSpPr/>
          <p:nvPr/>
        </p:nvSpPr>
        <p:spPr>
          <a:xfrm>
            <a:off x="9210676" y="2597151"/>
            <a:ext cx="74549" cy="100075"/>
          </a:xfrm>
          <a:custGeom>
            <a:avLst/>
            <a:gdLst/>
            <a:ahLst/>
            <a:cxnLst/>
            <a:rect l="l" t="t" r="r" b="b"/>
            <a:pathLst>
              <a:path w="74549" h="100075">
                <a:moveTo>
                  <a:pt x="74549" y="63500"/>
                </a:moveTo>
                <a:lnTo>
                  <a:pt x="74549" y="0"/>
                </a:lnTo>
                <a:lnTo>
                  <a:pt x="0" y="44450"/>
                </a:lnTo>
                <a:lnTo>
                  <a:pt x="0" y="100075"/>
                </a:lnTo>
                <a:lnTo>
                  <a:pt x="74549" y="63500"/>
                </a:lnTo>
                <a:close/>
              </a:path>
            </a:pathLst>
          </a:custGeom>
          <a:solidFill>
            <a:srgbClr val="FF9F40"/>
          </a:solidFill>
        </p:spPr>
        <p:txBody>
          <a:bodyPr wrap="square" lIns="0" tIns="0" rIns="0" bIns="0" rtlCol="0">
            <a:noAutofit/>
          </a:bodyPr>
          <a:lstStyle/>
          <a:p>
            <a:endParaRPr/>
          </a:p>
        </p:txBody>
      </p:sp>
      <p:sp>
        <p:nvSpPr>
          <p:cNvPr id="1120" name="object 1120"/>
          <p:cNvSpPr/>
          <p:nvPr/>
        </p:nvSpPr>
        <p:spPr>
          <a:xfrm>
            <a:off x="9210676" y="2597151"/>
            <a:ext cx="74549" cy="100075"/>
          </a:xfrm>
          <a:custGeom>
            <a:avLst/>
            <a:gdLst/>
            <a:ahLst/>
            <a:cxnLst/>
            <a:rect l="l" t="t" r="r" b="b"/>
            <a:pathLst>
              <a:path w="74549" h="100075">
                <a:moveTo>
                  <a:pt x="74549" y="63500"/>
                </a:moveTo>
                <a:lnTo>
                  <a:pt x="0" y="100075"/>
                </a:lnTo>
                <a:lnTo>
                  <a:pt x="0" y="44450"/>
                </a:lnTo>
                <a:lnTo>
                  <a:pt x="74549" y="0"/>
                </a:lnTo>
                <a:lnTo>
                  <a:pt x="74549" y="63500"/>
                </a:lnTo>
              </a:path>
            </a:pathLst>
          </a:custGeom>
          <a:ln w="12700">
            <a:solidFill>
              <a:srgbClr val="000000"/>
            </a:solidFill>
          </a:ln>
        </p:spPr>
        <p:txBody>
          <a:bodyPr wrap="square" lIns="0" tIns="0" rIns="0" bIns="0" rtlCol="0">
            <a:noAutofit/>
          </a:bodyPr>
          <a:lstStyle/>
          <a:p>
            <a:endParaRPr/>
          </a:p>
        </p:txBody>
      </p:sp>
      <p:sp>
        <p:nvSpPr>
          <p:cNvPr id="1121" name="object 1121"/>
          <p:cNvSpPr/>
          <p:nvPr/>
        </p:nvSpPr>
        <p:spPr>
          <a:xfrm>
            <a:off x="9166226" y="2730501"/>
            <a:ext cx="79375" cy="392175"/>
          </a:xfrm>
          <a:custGeom>
            <a:avLst/>
            <a:gdLst/>
            <a:ahLst/>
            <a:cxnLst/>
            <a:rect l="l" t="t" r="r" b="b"/>
            <a:pathLst>
              <a:path w="79375" h="392175">
                <a:moveTo>
                  <a:pt x="0" y="392175"/>
                </a:moveTo>
                <a:lnTo>
                  <a:pt x="79375" y="392175"/>
                </a:lnTo>
                <a:lnTo>
                  <a:pt x="79375" y="0"/>
                </a:lnTo>
                <a:lnTo>
                  <a:pt x="0" y="0"/>
                </a:lnTo>
                <a:lnTo>
                  <a:pt x="0" y="392175"/>
                </a:lnTo>
                <a:close/>
              </a:path>
            </a:pathLst>
          </a:custGeom>
          <a:solidFill>
            <a:srgbClr val="FFC080"/>
          </a:solidFill>
        </p:spPr>
        <p:txBody>
          <a:bodyPr wrap="square" lIns="0" tIns="0" rIns="0" bIns="0" rtlCol="0">
            <a:noAutofit/>
          </a:bodyPr>
          <a:lstStyle/>
          <a:p>
            <a:endParaRPr/>
          </a:p>
        </p:txBody>
      </p:sp>
      <p:sp>
        <p:nvSpPr>
          <p:cNvPr id="1122" name="object 1122"/>
          <p:cNvSpPr/>
          <p:nvPr/>
        </p:nvSpPr>
        <p:spPr>
          <a:xfrm>
            <a:off x="9166226" y="2730501"/>
            <a:ext cx="182499" cy="392175"/>
          </a:xfrm>
          <a:custGeom>
            <a:avLst/>
            <a:gdLst/>
            <a:ahLst/>
            <a:cxnLst/>
            <a:rect l="l" t="t" r="r" b="b"/>
            <a:pathLst>
              <a:path w="182499" h="392175">
                <a:moveTo>
                  <a:pt x="0" y="0"/>
                </a:moveTo>
                <a:lnTo>
                  <a:pt x="182499" y="0"/>
                </a:lnTo>
                <a:lnTo>
                  <a:pt x="182499" y="392175"/>
                </a:lnTo>
                <a:lnTo>
                  <a:pt x="0" y="392175"/>
                </a:lnTo>
                <a:lnTo>
                  <a:pt x="0" y="0"/>
                </a:lnTo>
              </a:path>
            </a:pathLst>
          </a:custGeom>
          <a:ln w="12700">
            <a:solidFill>
              <a:srgbClr val="000000"/>
            </a:solidFill>
          </a:ln>
        </p:spPr>
        <p:txBody>
          <a:bodyPr wrap="square" lIns="0" tIns="0" rIns="0" bIns="0" rtlCol="0">
            <a:noAutofit/>
          </a:bodyPr>
          <a:lstStyle/>
          <a:p>
            <a:endParaRPr/>
          </a:p>
        </p:txBody>
      </p:sp>
      <p:sp>
        <p:nvSpPr>
          <p:cNvPr id="1123" name="object 1123"/>
          <p:cNvSpPr/>
          <p:nvPr/>
        </p:nvSpPr>
        <p:spPr>
          <a:xfrm>
            <a:off x="9113901" y="2730501"/>
            <a:ext cx="52324" cy="392175"/>
          </a:xfrm>
          <a:custGeom>
            <a:avLst/>
            <a:gdLst/>
            <a:ahLst/>
            <a:cxnLst/>
            <a:rect l="l" t="t" r="r" b="b"/>
            <a:pathLst>
              <a:path w="52324" h="392175">
                <a:moveTo>
                  <a:pt x="52324" y="392175"/>
                </a:moveTo>
                <a:lnTo>
                  <a:pt x="52324" y="0"/>
                </a:lnTo>
                <a:lnTo>
                  <a:pt x="0" y="22225"/>
                </a:lnTo>
                <a:lnTo>
                  <a:pt x="0" y="346075"/>
                </a:lnTo>
                <a:lnTo>
                  <a:pt x="52324" y="392175"/>
                </a:lnTo>
                <a:close/>
              </a:path>
            </a:pathLst>
          </a:custGeom>
          <a:solidFill>
            <a:srgbClr val="FF9F40"/>
          </a:solidFill>
        </p:spPr>
        <p:txBody>
          <a:bodyPr wrap="square" lIns="0" tIns="0" rIns="0" bIns="0" rtlCol="0">
            <a:noAutofit/>
          </a:bodyPr>
          <a:lstStyle/>
          <a:p>
            <a:endParaRPr/>
          </a:p>
        </p:txBody>
      </p:sp>
      <p:sp>
        <p:nvSpPr>
          <p:cNvPr id="1124" name="object 1124"/>
          <p:cNvSpPr/>
          <p:nvPr/>
        </p:nvSpPr>
        <p:spPr>
          <a:xfrm>
            <a:off x="9113901" y="2730501"/>
            <a:ext cx="52324" cy="392175"/>
          </a:xfrm>
          <a:custGeom>
            <a:avLst/>
            <a:gdLst/>
            <a:ahLst/>
            <a:cxnLst/>
            <a:rect l="l" t="t" r="r" b="b"/>
            <a:pathLst>
              <a:path w="52324" h="392175">
                <a:moveTo>
                  <a:pt x="52324" y="392175"/>
                </a:moveTo>
                <a:lnTo>
                  <a:pt x="0" y="346075"/>
                </a:lnTo>
                <a:lnTo>
                  <a:pt x="0" y="22225"/>
                </a:lnTo>
                <a:lnTo>
                  <a:pt x="52324" y="0"/>
                </a:lnTo>
                <a:lnTo>
                  <a:pt x="52324" y="392175"/>
                </a:lnTo>
              </a:path>
            </a:pathLst>
          </a:custGeom>
          <a:ln w="12700">
            <a:solidFill>
              <a:srgbClr val="000000"/>
            </a:solidFill>
          </a:ln>
        </p:spPr>
        <p:txBody>
          <a:bodyPr wrap="square" lIns="0" tIns="0" rIns="0" bIns="0" rtlCol="0">
            <a:noAutofit/>
          </a:bodyPr>
          <a:lstStyle/>
          <a:p>
            <a:endParaRPr/>
          </a:p>
        </p:txBody>
      </p:sp>
      <p:sp>
        <p:nvSpPr>
          <p:cNvPr id="1125" name="object 1125"/>
          <p:cNvSpPr/>
          <p:nvPr/>
        </p:nvSpPr>
        <p:spPr>
          <a:xfrm>
            <a:off x="9245600" y="2660650"/>
            <a:ext cx="196850" cy="520700"/>
          </a:xfrm>
          <a:custGeom>
            <a:avLst/>
            <a:gdLst/>
            <a:ahLst/>
            <a:cxnLst/>
            <a:rect l="l" t="t" r="r" b="b"/>
            <a:pathLst>
              <a:path w="196850" h="520700">
                <a:moveTo>
                  <a:pt x="0" y="0"/>
                </a:moveTo>
                <a:lnTo>
                  <a:pt x="0" y="520700"/>
                </a:lnTo>
                <a:lnTo>
                  <a:pt x="196850" y="520700"/>
                </a:lnTo>
                <a:lnTo>
                  <a:pt x="196850" y="0"/>
                </a:lnTo>
                <a:lnTo>
                  <a:pt x="0" y="0"/>
                </a:lnTo>
                <a:close/>
              </a:path>
            </a:pathLst>
          </a:custGeom>
          <a:solidFill>
            <a:srgbClr val="FFC080"/>
          </a:solidFill>
        </p:spPr>
        <p:txBody>
          <a:bodyPr wrap="square" lIns="0" tIns="0" rIns="0" bIns="0" rtlCol="0">
            <a:noAutofit/>
          </a:bodyPr>
          <a:lstStyle/>
          <a:p>
            <a:endParaRPr/>
          </a:p>
        </p:txBody>
      </p:sp>
      <p:sp>
        <p:nvSpPr>
          <p:cNvPr id="1126" name="object 1126"/>
          <p:cNvSpPr/>
          <p:nvPr/>
        </p:nvSpPr>
        <p:spPr>
          <a:xfrm>
            <a:off x="9245600" y="2660650"/>
            <a:ext cx="196850" cy="520700"/>
          </a:xfrm>
          <a:custGeom>
            <a:avLst/>
            <a:gdLst/>
            <a:ahLst/>
            <a:cxnLst/>
            <a:rect l="l" t="t" r="r" b="b"/>
            <a:pathLst>
              <a:path w="196850" h="520700">
                <a:moveTo>
                  <a:pt x="0" y="0"/>
                </a:moveTo>
                <a:lnTo>
                  <a:pt x="196850" y="0"/>
                </a:lnTo>
                <a:lnTo>
                  <a:pt x="196850" y="520700"/>
                </a:lnTo>
                <a:lnTo>
                  <a:pt x="0" y="520700"/>
                </a:lnTo>
                <a:lnTo>
                  <a:pt x="0" y="0"/>
                </a:lnTo>
              </a:path>
            </a:pathLst>
          </a:custGeom>
          <a:ln w="12700">
            <a:solidFill>
              <a:srgbClr val="000000"/>
            </a:solidFill>
          </a:ln>
        </p:spPr>
        <p:txBody>
          <a:bodyPr wrap="square" lIns="0" tIns="0" rIns="0" bIns="0" rtlCol="0">
            <a:noAutofit/>
          </a:bodyPr>
          <a:lstStyle/>
          <a:p>
            <a:endParaRPr/>
          </a:p>
        </p:txBody>
      </p:sp>
      <p:sp>
        <p:nvSpPr>
          <p:cNvPr id="1127" name="object 1127"/>
          <p:cNvSpPr/>
          <p:nvPr/>
        </p:nvSpPr>
        <p:spPr>
          <a:xfrm>
            <a:off x="9193276" y="2660650"/>
            <a:ext cx="52324" cy="520700"/>
          </a:xfrm>
          <a:custGeom>
            <a:avLst/>
            <a:gdLst/>
            <a:ahLst/>
            <a:cxnLst/>
            <a:rect l="l" t="t" r="r" b="b"/>
            <a:pathLst>
              <a:path w="52324" h="520700">
                <a:moveTo>
                  <a:pt x="52324" y="0"/>
                </a:moveTo>
                <a:lnTo>
                  <a:pt x="0" y="39750"/>
                </a:lnTo>
                <a:lnTo>
                  <a:pt x="0" y="508000"/>
                </a:lnTo>
                <a:lnTo>
                  <a:pt x="52324" y="520700"/>
                </a:lnTo>
                <a:lnTo>
                  <a:pt x="52324" y="0"/>
                </a:lnTo>
                <a:close/>
              </a:path>
            </a:pathLst>
          </a:custGeom>
          <a:solidFill>
            <a:srgbClr val="FF9F40"/>
          </a:solidFill>
        </p:spPr>
        <p:txBody>
          <a:bodyPr wrap="square" lIns="0" tIns="0" rIns="0" bIns="0" rtlCol="0">
            <a:noAutofit/>
          </a:bodyPr>
          <a:lstStyle/>
          <a:p>
            <a:endParaRPr/>
          </a:p>
        </p:txBody>
      </p:sp>
      <p:sp>
        <p:nvSpPr>
          <p:cNvPr id="1128" name="object 1128"/>
          <p:cNvSpPr/>
          <p:nvPr/>
        </p:nvSpPr>
        <p:spPr>
          <a:xfrm>
            <a:off x="9193276" y="2660650"/>
            <a:ext cx="52324" cy="520700"/>
          </a:xfrm>
          <a:custGeom>
            <a:avLst/>
            <a:gdLst/>
            <a:ahLst/>
            <a:cxnLst/>
            <a:rect l="l" t="t" r="r" b="b"/>
            <a:pathLst>
              <a:path w="52324" h="520700">
                <a:moveTo>
                  <a:pt x="52324" y="0"/>
                </a:moveTo>
                <a:lnTo>
                  <a:pt x="0" y="39750"/>
                </a:lnTo>
                <a:lnTo>
                  <a:pt x="0" y="508000"/>
                </a:lnTo>
                <a:lnTo>
                  <a:pt x="52324" y="520700"/>
                </a:lnTo>
                <a:lnTo>
                  <a:pt x="52324" y="0"/>
                </a:lnTo>
              </a:path>
            </a:pathLst>
          </a:custGeom>
          <a:ln w="12700">
            <a:solidFill>
              <a:srgbClr val="000000"/>
            </a:solidFill>
          </a:ln>
        </p:spPr>
        <p:txBody>
          <a:bodyPr wrap="square" lIns="0" tIns="0" rIns="0" bIns="0" rtlCol="0">
            <a:noAutofit/>
          </a:bodyPr>
          <a:lstStyle/>
          <a:p>
            <a:endParaRPr/>
          </a:p>
        </p:txBody>
      </p:sp>
      <p:sp>
        <p:nvSpPr>
          <p:cNvPr id="1129" name="object 1129"/>
          <p:cNvSpPr/>
          <p:nvPr/>
        </p:nvSpPr>
        <p:spPr>
          <a:xfrm>
            <a:off x="8778875" y="3211576"/>
            <a:ext cx="261874" cy="39624"/>
          </a:xfrm>
          <a:custGeom>
            <a:avLst/>
            <a:gdLst/>
            <a:ahLst/>
            <a:cxnLst/>
            <a:rect l="l" t="t" r="r" b="b"/>
            <a:pathLst>
              <a:path w="261874" h="39624">
                <a:moveTo>
                  <a:pt x="0" y="39624"/>
                </a:moveTo>
                <a:lnTo>
                  <a:pt x="174625" y="39624"/>
                </a:lnTo>
                <a:lnTo>
                  <a:pt x="261874" y="0"/>
                </a:lnTo>
                <a:lnTo>
                  <a:pt x="80899" y="0"/>
                </a:lnTo>
                <a:lnTo>
                  <a:pt x="0" y="39624"/>
                </a:lnTo>
                <a:close/>
              </a:path>
            </a:pathLst>
          </a:custGeom>
          <a:solidFill>
            <a:srgbClr val="FFC080"/>
          </a:solidFill>
        </p:spPr>
        <p:txBody>
          <a:bodyPr wrap="square" lIns="0" tIns="0" rIns="0" bIns="0" rtlCol="0">
            <a:noAutofit/>
          </a:bodyPr>
          <a:lstStyle/>
          <a:p>
            <a:endParaRPr/>
          </a:p>
        </p:txBody>
      </p:sp>
      <p:sp>
        <p:nvSpPr>
          <p:cNvPr id="1130" name="object 1130"/>
          <p:cNvSpPr/>
          <p:nvPr/>
        </p:nvSpPr>
        <p:spPr>
          <a:xfrm>
            <a:off x="8778875" y="3211576"/>
            <a:ext cx="261874" cy="39624"/>
          </a:xfrm>
          <a:custGeom>
            <a:avLst/>
            <a:gdLst/>
            <a:ahLst/>
            <a:cxnLst/>
            <a:rect l="l" t="t" r="r" b="b"/>
            <a:pathLst>
              <a:path w="261874" h="39624">
                <a:moveTo>
                  <a:pt x="0" y="39624"/>
                </a:moveTo>
                <a:lnTo>
                  <a:pt x="80899" y="0"/>
                </a:lnTo>
                <a:lnTo>
                  <a:pt x="261874" y="0"/>
                </a:lnTo>
                <a:lnTo>
                  <a:pt x="174625" y="39624"/>
                </a:lnTo>
                <a:lnTo>
                  <a:pt x="0" y="39624"/>
                </a:lnTo>
              </a:path>
            </a:pathLst>
          </a:custGeom>
          <a:ln w="12699">
            <a:solidFill>
              <a:srgbClr val="000000"/>
            </a:solidFill>
          </a:ln>
        </p:spPr>
        <p:txBody>
          <a:bodyPr wrap="square" lIns="0" tIns="0" rIns="0" bIns="0" rtlCol="0">
            <a:noAutofit/>
          </a:bodyPr>
          <a:lstStyle/>
          <a:p>
            <a:endParaRPr/>
          </a:p>
        </p:txBody>
      </p:sp>
      <p:sp>
        <p:nvSpPr>
          <p:cNvPr id="1131" name="object 1131"/>
          <p:cNvSpPr/>
          <p:nvPr/>
        </p:nvSpPr>
        <p:spPr>
          <a:xfrm>
            <a:off x="8953501" y="3211576"/>
            <a:ext cx="87249" cy="114300"/>
          </a:xfrm>
          <a:custGeom>
            <a:avLst/>
            <a:gdLst/>
            <a:ahLst/>
            <a:cxnLst/>
            <a:rect l="l" t="t" r="r" b="b"/>
            <a:pathLst>
              <a:path w="87249" h="114300">
                <a:moveTo>
                  <a:pt x="0" y="39624"/>
                </a:moveTo>
                <a:lnTo>
                  <a:pt x="0" y="114300"/>
                </a:lnTo>
                <a:lnTo>
                  <a:pt x="87249" y="61849"/>
                </a:lnTo>
                <a:lnTo>
                  <a:pt x="87249" y="0"/>
                </a:lnTo>
                <a:lnTo>
                  <a:pt x="0" y="39624"/>
                </a:lnTo>
                <a:close/>
              </a:path>
            </a:pathLst>
          </a:custGeom>
          <a:solidFill>
            <a:srgbClr val="FF8000"/>
          </a:solidFill>
        </p:spPr>
        <p:txBody>
          <a:bodyPr wrap="square" lIns="0" tIns="0" rIns="0" bIns="0" rtlCol="0">
            <a:noAutofit/>
          </a:bodyPr>
          <a:lstStyle/>
          <a:p>
            <a:endParaRPr/>
          </a:p>
        </p:txBody>
      </p:sp>
      <p:sp>
        <p:nvSpPr>
          <p:cNvPr id="1132" name="object 1132"/>
          <p:cNvSpPr/>
          <p:nvPr/>
        </p:nvSpPr>
        <p:spPr>
          <a:xfrm>
            <a:off x="8953501" y="3211576"/>
            <a:ext cx="87249" cy="114300"/>
          </a:xfrm>
          <a:custGeom>
            <a:avLst/>
            <a:gdLst/>
            <a:ahLst/>
            <a:cxnLst/>
            <a:rect l="l" t="t" r="r" b="b"/>
            <a:pathLst>
              <a:path w="87249" h="114300">
                <a:moveTo>
                  <a:pt x="0" y="39624"/>
                </a:moveTo>
                <a:lnTo>
                  <a:pt x="87249" y="0"/>
                </a:lnTo>
                <a:lnTo>
                  <a:pt x="87249" y="61849"/>
                </a:lnTo>
                <a:lnTo>
                  <a:pt x="0" y="114300"/>
                </a:lnTo>
                <a:lnTo>
                  <a:pt x="0" y="39624"/>
                </a:lnTo>
              </a:path>
            </a:pathLst>
          </a:custGeom>
          <a:ln w="12700">
            <a:solidFill>
              <a:srgbClr val="000000"/>
            </a:solidFill>
          </a:ln>
        </p:spPr>
        <p:txBody>
          <a:bodyPr wrap="square" lIns="0" tIns="0" rIns="0" bIns="0" rtlCol="0">
            <a:noAutofit/>
          </a:bodyPr>
          <a:lstStyle/>
          <a:p>
            <a:endParaRPr/>
          </a:p>
        </p:txBody>
      </p:sp>
      <p:sp>
        <p:nvSpPr>
          <p:cNvPr id="1133" name="object 1133"/>
          <p:cNvSpPr/>
          <p:nvPr/>
        </p:nvSpPr>
        <p:spPr>
          <a:xfrm>
            <a:off x="9156701" y="2876550"/>
            <a:ext cx="220599" cy="355600"/>
          </a:xfrm>
          <a:custGeom>
            <a:avLst/>
            <a:gdLst/>
            <a:ahLst/>
            <a:cxnLst/>
            <a:rect l="l" t="t" r="r" b="b"/>
            <a:pathLst>
              <a:path w="220599" h="355600">
                <a:moveTo>
                  <a:pt x="0" y="354075"/>
                </a:moveTo>
                <a:lnTo>
                  <a:pt x="220599" y="355600"/>
                </a:lnTo>
                <a:lnTo>
                  <a:pt x="220599" y="0"/>
                </a:lnTo>
                <a:lnTo>
                  <a:pt x="0" y="14350"/>
                </a:lnTo>
                <a:lnTo>
                  <a:pt x="0" y="354075"/>
                </a:lnTo>
                <a:close/>
              </a:path>
            </a:pathLst>
          </a:custGeom>
          <a:solidFill>
            <a:srgbClr val="FFC080"/>
          </a:solidFill>
        </p:spPr>
        <p:txBody>
          <a:bodyPr wrap="square" lIns="0" tIns="0" rIns="0" bIns="0" rtlCol="0">
            <a:noAutofit/>
          </a:bodyPr>
          <a:lstStyle/>
          <a:p>
            <a:endParaRPr/>
          </a:p>
        </p:txBody>
      </p:sp>
      <p:sp>
        <p:nvSpPr>
          <p:cNvPr id="1134" name="object 1134"/>
          <p:cNvSpPr/>
          <p:nvPr/>
        </p:nvSpPr>
        <p:spPr>
          <a:xfrm>
            <a:off x="9156701" y="2876550"/>
            <a:ext cx="220599" cy="355600"/>
          </a:xfrm>
          <a:custGeom>
            <a:avLst/>
            <a:gdLst/>
            <a:ahLst/>
            <a:cxnLst/>
            <a:rect l="l" t="t" r="r" b="b"/>
            <a:pathLst>
              <a:path w="220599" h="355600">
                <a:moveTo>
                  <a:pt x="0" y="354075"/>
                </a:moveTo>
                <a:lnTo>
                  <a:pt x="220599" y="355600"/>
                </a:lnTo>
                <a:lnTo>
                  <a:pt x="220599" y="0"/>
                </a:lnTo>
                <a:lnTo>
                  <a:pt x="0" y="14350"/>
                </a:lnTo>
                <a:lnTo>
                  <a:pt x="0" y="354075"/>
                </a:lnTo>
              </a:path>
            </a:pathLst>
          </a:custGeom>
          <a:ln w="12700">
            <a:solidFill>
              <a:srgbClr val="000000"/>
            </a:solidFill>
          </a:ln>
        </p:spPr>
        <p:txBody>
          <a:bodyPr wrap="square" lIns="0" tIns="0" rIns="0" bIns="0" rtlCol="0">
            <a:noAutofit/>
          </a:bodyPr>
          <a:lstStyle/>
          <a:p>
            <a:endParaRPr/>
          </a:p>
        </p:txBody>
      </p:sp>
      <p:sp>
        <p:nvSpPr>
          <p:cNvPr id="1135" name="object 1135"/>
          <p:cNvSpPr/>
          <p:nvPr/>
        </p:nvSpPr>
        <p:spPr>
          <a:xfrm>
            <a:off x="9377426" y="2873376"/>
            <a:ext cx="63500" cy="358775"/>
          </a:xfrm>
          <a:custGeom>
            <a:avLst/>
            <a:gdLst/>
            <a:ahLst/>
            <a:cxnLst/>
            <a:rect l="l" t="t" r="r" b="b"/>
            <a:pathLst>
              <a:path w="63500" h="358775">
                <a:moveTo>
                  <a:pt x="0" y="0"/>
                </a:moveTo>
                <a:lnTo>
                  <a:pt x="0" y="358775"/>
                </a:lnTo>
                <a:lnTo>
                  <a:pt x="63500" y="288925"/>
                </a:lnTo>
                <a:lnTo>
                  <a:pt x="63500" y="46100"/>
                </a:lnTo>
                <a:lnTo>
                  <a:pt x="0" y="0"/>
                </a:lnTo>
                <a:close/>
              </a:path>
            </a:pathLst>
          </a:custGeom>
          <a:solidFill>
            <a:srgbClr val="FF9F40"/>
          </a:solidFill>
        </p:spPr>
        <p:txBody>
          <a:bodyPr wrap="square" lIns="0" tIns="0" rIns="0" bIns="0" rtlCol="0">
            <a:noAutofit/>
          </a:bodyPr>
          <a:lstStyle/>
          <a:p>
            <a:endParaRPr/>
          </a:p>
        </p:txBody>
      </p:sp>
      <p:sp>
        <p:nvSpPr>
          <p:cNvPr id="1136" name="object 1136"/>
          <p:cNvSpPr/>
          <p:nvPr/>
        </p:nvSpPr>
        <p:spPr>
          <a:xfrm>
            <a:off x="9377426" y="2873376"/>
            <a:ext cx="63500" cy="358775"/>
          </a:xfrm>
          <a:custGeom>
            <a:avLst/>
            <a:gdLst/>
            <a:ahLst/>
            <a:cxnLst/>
            <a:rect l="l" t="t" r="r" b="b"/>
            <a:pathLst>
              <a:path w="63500" h="358775">
                <a:moveTo>
                  <a:pt x="0" y="0"/>
                </a:moveTo>
                <a:lnTo>
                  <a:pt x="0" y="358775"/>
                </a:lnTo>
                <a:lnTo>
                  <a:pt x="63500" y="288925"/>
                </a:lnTo>
                <a:lnTo>
                  <a:pt x="63500" y="46100"/>
                </a:lnTo>
                <a:lnTo>
                  <a:pt x="0" y="0"/>
                </a:lnTo>
              </a:path>
            </a:pathLst>
          </a:custGeom>
          <a:ln w="12700">
            <a:solidFill>
              <a:srgbClr val="000000"/>
            </a:solidFill>
          </a:ln>
        </p:spPr>
        <p:txBody>
          <a:bodyPr wrap="square" lIns="0" tIns="0" rIns="0" bIns="0" rtlCol="0">
            <a:noAutofit/>
          </a:bodyPr>
          <a:lstStyle/>
          <a:p>
            <a:endParaRPr/>
          </a:p>
        </p:txBody>
      </p:sp>
      <p:sp>
        <p:nvSpPr>
          <p:cNvPr id="1137" name="object 1137"/>
          <p:cNvSpPr/>
          <p:nvPr/>
        </p:nvSpPr>
        <p:spPr>
          <a:xfrm>
            <a:off x="9086851" y="3090926"/>
            <a:ext cx="136525" cy="203200"/>
          </a:xfrm>
          <a:custGeom>
            <a:avLst/>
            <a:gdLst/>
            <a:ahLst/>
            <a:cxnLst/>
            <a:rect l="l" t="t" r="r" b="b"/>
            <a:pathLst>
              <a:path w="136525" h="203200">
                <a:moveTo>
                  <a:pt x="0" y="0"/>
                </a:moveTo>
                <a:lnTo>
                  <a:pt x="0" y="203200"/>
                </a:lnTo>
                <a:lnTo>
                  <a:pt x="136525" y="203200"/>
                </a:lnTo>
                <a:lnTo>
                  <a:pt x="136525" y="0"/>
                </a:lnTo>
                <a:lnTo>
                  <a:pt x="0" y="0"/>
                </a:lnTo>
                <a:close/>
              </a:path>
            </a:pathLst>
          </a:custGeom>
          <a:solidFill>
            <a:srgbClr val="FFC080"/>
          </a:solidFill>
        </p:spPr>
        <p:txBody>
          <a:bodyPr wrap="square" lIns="0" tIns="0" rIns="0" bIns="0" rtlCol="0">
            <a:noAutofit/>
          </a:bodyPr>
          <a:lstStyle/>
          <a:p>
            <a:endParaRPr/>
          </a:p>
        </p:txBody>
      </p:sp>
      <p:sp>
        <p:nvSpPr>
          <p:cNvPr id="1138" name="object 1138"/>
          <p:cNvSpPr/>
          <p:nvPr/>
        </p:nvSpPr>
        <p:spPr>
          <a:xfrm>
            <a:off x="9086851" y="3090926"/>
            <a:ext cx="136525" cy="203200"/>
          </a:xfrm>
          <a:custGeom>
            <a:avLst/>
            <a:gdLst/>
            <a:ahLst/>
            <a:cxnLst/>
            <a:rect l="l" t="t" r="r" b="b"/>
            <a:pathLst>
              <a:path w="136525" h="203200">
                <a:moveTo>
                  <a:pt x="0" y="0"/>
                </a:moveTo>
                <a:lnTo>
                  <a:pt x="136525" y="0"/>
                </a:lnTo>
                <a:lnTo>
                  <a:pt x="136525" y="203200"/>
                </a:lnTo>
                <a:lnTo>
                  <a:pt x="0" y="203200"/>
                </a:lnTo>
                <a:lnTo>
                  <a:pt x="0" y="0"/>
                </a:lnTo>
              </a:path>
            </a:pathLst>
          </a:custGeom>
          <a:ln w="12700">
            <a:solidFill>
              <a:srgbClr val="000000"/>
            </a:solidFill>
          </a:ln>
        </p:spPr>
        <p:txBody>
          <a:bodyPr wrap="square" lIns="0" tIns="0" rIns="0" bIns="0" rtlCol="0">
            <a:noAutofit/>
          </a:bodyPr>
          <a:lstStyle/>
          <a:p>
            <a:endParaRPr/>
          </a:p>
        </p:txBody>
      </p:sp>
      <p:sp>
        <p:nvSpPr>
          <p:cNvPr id="1139" name="object 1139"/>
          <p:cNvSpPr/>
          <p:nvPr/>
        </p:nvSpPr>
        <p:spPr>
          <a:xfrm>
            <a:off x="9086851" y="3059176"/>
            <a:ext cx="188849" cy="31750"/>
          </a:xfrm>
          <a:custGeom>
            <a:avLst/>
            <a:gdLst/>
            <a:ahLst/>
            <a:cxnLst/>
            <a:rect l="l" t="t" r="r" b="b"/>
            <a:pathLst>
              <a:path w="188849" h="31750">
                <a:moveTo>
                  <a:pt x="0" y="31750"/>
                </a:moveTo>
                <a:lnTo>
                  <a:pt x="134874" y="31750"/>
                </a:lnTo>
                <a:lnTo>
                  <a:pt x="188849" y="0"/>
                </a:lnTo>
                <a:lnTo>
                  <a:pt x="69850" y="0"/>
                </a:lnTo>
                <a:lnTo>
                  <a:pt x="0" y="31750"/>
                </a:lnTo>
                <a:close/>
              </a:path>
            </a:pathLst>
          </a:custGeom>
          <a:solidFill>
            <a:srgbClr val="FFDFC0"/>
          </a:solidFill>
        </p:spPr>
        <p:txBody>
          <a:bodyPr wrap="square" lIns="0" tIns="0" rIns="0" bIns="0" rtlCol="0">
            <a:noAutofit/>
          </a:bodyPr>
          <a:lstStyle/>
          <a:p>
            <a:endParaRPr/>
          </a:p>
        </p:txBody>
      </p:sp>
      <p:sp>
        <p:nvSpPr>
          <p:cNvPr id="1140" name="object 1140"/>
          <p:cNvSpPr/>
          <p:nvPr/>
        </p:nvSpPr>
        <p:spPr>
          <a:xfrm>
            <a:off x="9086851" y="3059176"/>
            <a:ext cx="188849" cy="31750"/>
          </a:xfrm>
          <a:custGeom>
            <a:avLst/>
            <a:gdLst/>
            <a:ahLst/>
            <a:cxnLst/>
            <a:rect l="l" t="t" r="r" b="b"/>
            <a:pathLst>
              <a:path w="188849" h="31750">
                <a:moveTo>
                  <a:pt x="0" y="31750"/>
                </a:moveTo>
                <a:lnTo>
                  <a:pt x="69850" y="0"/>
                </a:lnTo>
                <a:lnTo>
                  <a:pt x="188849" y="0"/>
                </a:lnTo>
                <a:lnTo>
                  <a:pt x="134874" y="31750"/>
                </a:lnTo>
                <a:lnTo>
                  <a:pt x="0" y="31750"/>
                </a:lnTo>
              </a:path>
            </a:pathLst>
          </a:custGeom>
          <a:ln w="12700">
            <a:solidFill>
              <a:srgbClr val="000000"/>
            </a:solidFill>
          </a:ln>
        </p:spPr>
        <p:txBody>
          <a:bodyPr wrap="square" lIns="0" tIns="0" rIns="0" bIns="0" rtlCol="0">
            <a:noAutofit/>
          </a:bodyPr>
          <a:lstStyle/>
          <a:p>
            <a:endParaRPr/>
          </a:p>
        </p:txBody>
      </p:sp>
      <p:sp>
        <p:nvSpPr>
          <p:cNvPr id="1141" name="object 1141"/>
          <p:cNvSpPr/>
          <p:nvPr/>
        </p:nvSpPr>
        <p:spPr>
          <a:xfrm>
            <a:off x="9223375" y="3059176"/>
            <a:ext cx="50800" cy="234950"/>
          </a:xfrm>
          <a:custGeom>
            <a:avLst/>
            <a:gdLst/>
            <a:ahLst/>
            <a:cxnLst/>
            <a:rect l="l" t="t" r="r" b="b"/>
            <a:pathLst>
              <a:path w="50800" h="234950">
                <a:moveTo>
                  <a:pt x="0" y="234950"/>
                </a:moveTo>
                <a:lnTo>
                  <a:pt x="50800" y="177800"/>
                </a:lnTo>
                <a:lnTo>
                  <a:pt x="50800" y="0"/>
                </a:lnTo>
                <a:lnTo>
                  <a:pt x="0" y="31750"/>
                </a:lnTo>
                <a:lnTo>
                  <a:pt x="0" y="234950"/>
                </a:lnTo>
                <a:close/>
              </a:path>
            </a:pathLst>
          </a:custGeom>
          <a:solidFill>
            <a:srgbClr val="FF9F40"/>
          </a:solidFill>
        </p:spPr>
        <p:txBody>
          <a:bodyPr wrap="square" lIns="0" tIns="0" rIns="0" bIns="0" rtlCol="0">
            <a:noAutofit/>
          </a:bodyPr>
          <a:lstStyle/>
          <a:p>
            <a:endParaRPr/>
          </a:p>
        </p:txBody>
      </p:sp>
      <p:sp>
        <p:nvSpPr>
          <p:cNvPr id="1142" name="object 1142"/>
          <p:cNvSpPr/>
          <p:nvPr/>
        </p:nvSpPr>
        <p:spPr>
          <a:xfrm>
            <a:off x="9223375" y="3059176"/>
            <a:ext cx="50800" cy="234950"/>
          </a:xfrm>
          <a:custGeom>
            <a:avLst/>
            <a:gdLst/>
            <a:ahLst/>
            <a:cxnLst/>
            <a:rect l="l" t="t" r="r" b="b"/>
            <a:pathLst>
              <a:path w="50800" h="234950">
                <a:moveTo>
                  <a:pt x="0" y="234950"/>
                </a:moveTo>
                <a:lnTo>
                  <a:pt x="50800" y="177800"/>
                </a:lnTo>
                <a:lnTo>
                  <a:pt x="50800" y="0"/>
                </a:lnTo>
                <a:lnTo>
                  <a:pt x="0" y="31750"/>
                </a:lnTo>
                <a:lnTo>
                  <a:pt x="0" y="234950"/>
                </a:lnTo>
              </a:path>
            </a:pathLst>
          </a:custGeom>
          <a:ln w="12700">
            <a:solidFill>
              <a:srgbClr val="000000"/>
            </a:solidFill>
          </a:ln>
        </p:spPr>
        <p:txBody>
          <a:bodyPr wrap="square" lIns="0" tIns="0" rIns="0" bIns="0" rtlCol="0">
            <a:noAutofit/>
          </a:bodyPr>
          <a:lstStyle/>
          <a:p>
            <a:endParaRPr/>
          </a:p>
        </p:txBody>
      </p:sp>
      <p:sp>
        <p:nvSpPr>
          <p:cNvPr id="1143" name="object 1143"/>
          <p:cNvSpPr/>
          <p:nvPr/>
        </p:nvSpPr>
        <p:spPr>
          <a:xfrm>
            <a:off x="8983726" y="3090926"/>
            <a:ext cx="482600" cy="298450"/>
          </a:xfrm>
          <a:custGeom>
            <a:avLst/>
            <a:gdLst/>
            <a:ahLst/>
            <a:cxnLst/>
            <a:rect l="l" t="t" r="r" b="b"/>
            <a:pathLst>
              <a:path w="482600" h="298450">
                <a:moveTo>
                  <a:pt x="301625" y="0"/>
                </a:moveTo>
                <a:lnTo>
                  <a:pt x="0" y="298450"/>
                </a:lnTo>
                <a:lnTo>
                  <a:pt x="420624" y="298450"/>
                </a:lnTo>
                <a:lnTo>
                  <a:pt x="482600" y="0"/>
                </a:lnTo>
                <a:lnTo>
                  <a:pt x="301625" y="0"/>
                </a:lnTo>
                <a:close/>
              </a:path>
            </a:pathLst>
          </a:custGeom>
          <a:solidFill>
            <a:srgbClr val="C0C0C0"/>
          </a:solidFill>
        </p:spPr>
        <p:txBody>
          <a:bodyPr wrap="square" lIns="0" tIns="0" rIns="0" bIns="0" rtlCol="0">
            <a:noAutofit/>
          </a:bodyPr>
          <a:lstStyle/>
          <a:p>
            <a:endParaRPr/>
          </a:p>
        </p:txBody>
      </p:sp>
      <p:sp>
        <p:nvSpPr>
          <p:cNvPr id="1144" name="object 1144"/>
          <p:cNvSpPr/>
          <p:nvPr/>
        </p:nvSpPr>
        <p:spPr>
          <a:xfrm>
            <a:off x="8983726" y="3090926"/>
            <a:ext cx="482600" cy="298450"/>
          </a:xfrm>
          <a:custGeom>
            <a:avLst/>
            <a:gdLst/>
            <a:ahLst/>
            <a:cxnLst/>
            <a:rect l="l" t="t" r="r" b="b"/>
            <a:pathLst>
              <a:path w="482600" h="298450">
                <a:moveTo>
                  <a:pt x="301625" y="0"/>
                </a:moveTo>
                <a:lnTo>
                  <a:pt x="482600" y="0"/>
                </a:lnTo>
                <a:lnTo>
                  <a:pt x="420624" y="298450"/>
                </a:lnTo>
                <a:lnTo>
                  <a:pt x="0" y="298450"/>
                </a:lnTo>
                <a:lnTo>
                  <a:pt x="301625" y="0"/>
                </a:lnTo>
              </a:path>
            </a:pathLst>
          </a:custGeom>
          <a:ln w="12700">
            <a:solidFill>
              <a:srgbClr val="000000"/>
            </a:solidFill>
          </a:ln>
        </p:spPr>
        <p:txBody>
          <a:bodyPr wrap="square" lIns="0" tIns="0" rIns="0" bIns="0" rtlCol="0">
            <a:noAutofit/>
          </a:bodyPr>
          <a:lstStyle/>
          <a:p>
            <a:endParaRPr/>
          </a:p>
        </p:txBody>
      </p:sp>
      <p:sp>
        <p:nvSpPr>
          <p:cNvPr id="1145" name="object 1145"/>
          <p:cNvSpPr/>
          <p:nvPr/>
        </p:nvSpPr>
        <p:spPr>
          <a:xfrm>
            <a:off x="9404351" y="3092450"/>
            <a:ext cx="61849" cy="293750"/>
          </a:xfrm>
          <a:custGeom>
            <a:avLst/>
            <a:gdLst/>
            <a:ahLst/>
            <a:cxnLst/>
            <a:rect l="l" t="t" r="r" b="b"/>
            <a:pathLst>
              <a:path w="61849" h="293750">
                <a:moveTo>
                  <a:pt x="61849" y="0"/>
                </a:moveTo>
                <a:lnTo>
                  <a:pt x="0" y="293750"/>
                </a:lnTo>
                <a:lnTo>
                  <a:pt x="61849" y="122300"/>
                </a:lnTo>
                <a:lnTo>
                  <a:pt x="61849" y="0"/>
                </a:lnTo>
                <a:close/>
              </a:path>
            </a:pathLst>
          </a:custGeom>
          <a:solidFill>
            <a:srgbClr val="808080"/>
          </a:solidFill>
        </p:spPr>
        <p:txBody>
          <a:bodyPr wrap="square" lIns="0" tIns="0" rIns="0" bIns="0" rtlCol="0">
            <a:noAutofit/>
          </a:bodyPr>
          <a:lstStyle/>
          <a:p>
            <a:endParaRPr/>
          </a:p>
        </p:txBody>
      </p:sp>
      <p:sp>
        <p:nvSpPr>
          <p:cNvPr id="1146" name="object 1146"/>
          <p:cNvSpPr/>
          <p:nvPr/>
        </p:nvSpPr>
        <p:spPr>
          <a:xfrm>
            <a:off x="9404351" y="3092450"/>
            <a:ext cx="61849" cy="293750"/>
          </a:xfrm>
          <a:custGeom>
            <a:avLst/>
            <a:gdLst/>
            <a:ahLst/>
            <a:cxnLst/>
            <a:rect l="l" t="t" r="r" b="b"/>
            <a:pathLst>
              <a:path w="61849" h="293750">
                <a:moveTo>
                  <a:pt x="61849" y="0"/>
                </a:moveTo>
                <a:lnTo>
                  <a:pt x="0" y="293750"/>
                </a:lnTo>
                <a:lnTo>
                  <a:pt x="61849" y="122300"/>
                </a:lnTo>
                <a:lnTo>
                  <a:pt x="61849" y="0"/>
                </a:lnTo>
              </a:path>
            </a:pathLst>
          </a:custGeom>
          <a:ln w="12700">
            <a:solidFill>
              <a:srgbClr val="000000"/>
            </a:solidFill>
          </a:ln>
        </p:spPr>
        <p:txBody>
          <a:bodyPr wrap="square" lIns="0" tIns="0" rIns="0" bIns="0" rtlCol="0">
            <a:noAutofit/>
          </a:bodyPr>
          <a:lstStyle/>
          <a:p>
            <a:endParaRPr/>
          </a:p>
        </p:txBody>
      </p:sp>
      <p:sp>
        <p:nvSpPr>
          <p:cNvPr id="1147" name="object 1147"/>
          <p:cNvSpPr/>
          <p:nvPr/>
        </p:nvSpPr>
        <p:spPr>
          <a:xfrm>
            <a:off x="9391650" y="3132201"/>
            <a:ext cx="65024" cy="71374"/>
          </a:xfrm>
          <a:custGeom>
            <a:avLst/>
            <a:gdLst/>
            <a:ahLst/>
            <a:cxnLst/>
            <a:rect l="l" t="t" r="r" b="b"/>
            <a:pathLst>
              <a:path w="65024" h="71374">
                <a:moveTo>
                  <a:pt x="0" y="71374"/>
                </a:moveTo>
                <a:lnTo>
                  <a:pt x="55499" y="45974"/>
                </a:lnTo>
                <a:lnTo>
                  <a:pt x="65024" y="0"/>
                </a:lnTo>
                <a:lnTo>
                  <a:pt x="50800" y="12700"/>
                </a:lnTo>
                <a:lnTo>
                  <a:pt x="0" y="71374"/>
                </a:lnTo>
                <a:close/>
              </a:path>
            </a:pathLst>
          </a:custGeom>
          <a:solidFill>
            <a:srgbClr val="9F9F9F"/>
          </a:solidFill>
        </p:spPr>
        <p:txBody>
          <a:bodyPr wrap="square" lIns="0" tIns="0" rIns="0" bIns="0" rtlCol="0">
            <a:noAutofit/>
          </a:bodyPr>
          <a:lstStyle/>
          <a:p>
            <a:endParaRPr/>
          </a:p>
        </p:txBody>
      </p:sp>
      <p:sp>
        <p:nvSpPr>
          <p:cNvPr id="1148" name="object 1148"/>
          <p:cNvSpPr/>
          <p:nvPr/>
        </p:nvSpPr>
        <p:spPr>
          <a:xfrm>
            <a:off x="9259951" y="2925827"/>
            <a:ext cx="133350" cy="277749"/>
          </a:xfrm>
          <a:custGeom>
            <a:avLst/>
            <a:gdLst/>
            <a:ahLst/>
            <a:cxnLst/>
            <a:rect l="l" t="t" r="r" b="b"/>
            <a:pathLst>
              <a:path w="133350" h="277749">
                <a:moveTo>
                  <a:pt x="0" y="266700"/>
                </a:moveTo>
                <a:lnTo>
                  <a:pt x="133350" y="277749"/>
                </a:lnTo>
                <a:lnTo>
                  <a:pt x="133350" y="0"/>
                </a:lnTo>
                <a:lnTo>
                  <a:pt x="0" y="4699"/>
                </a:lnTo>
                <a:lnTo>
                  <a:pt x="0" y="266700"/>
                </a:lnTo>
                <a:close/>
              </a:path>
            </a:pathLst>
          </a:custGeom>
          <a:solidFill>
            <a:srgbClr val="FFC080"/>
          </a:solidFill>
        </p:spPr>
        <p:txBody>
          <a:bodyPr wrap="square" lIns="0" tIns="0" rIns="0" bIns="0" rtlCol="0">
            <a:noAutofit/>
          </a:bodyPr>
          <a:lstStyle/>
          <a:p>
            <a:endParaRPr/>
          </a:p>
        </p:txBody>
      </p:sp>
      <p:sp>
        <p:nvSpPr>
          <p:cNvPr id="1149" name="object 1149"/>
          <p:cNvSpPr/>
          <p:nvPr/>
        </p:nvSpPr>
        <p:spPr>
          <a:xfrm>
            <a:off x="9259951" y="2925827"/>
            <a:ext cx="133350" cy="277749"/>
          </a:xfrm>
          <a:custGeom>
            <a:avLst/>
            <a:gdLst/>
            <a:ahLst/>
            <a:cxnLst/>
            <a:rect l="l" t="t" r="r" b="b"/>
            <a:pathLst>
              <a:path w="133350" h="277749">
                <a:moveTo>
                  <a:pt x="0" y="266700"/>
                </a:moveTo>
                <a:lnTo>
                  <a:pt x="133350" y="277749"/>
                </a:lnTo>
                <a:lnTo>
                  <a:pt x="133350" y="0"/>
                </a:lnTo>
                <a:lnTo>
                  <a:pt x="0" y="4699"/>
                </a:lnTo>
                <a:lnTo>
                  <a:pt x="0" y="266700"/>
                </a:lnTo>
              </a:path>
            </a:pathLst>
          </a:custGeom>
          <a:ln w="12699">
            <a:solidFill>
              <a:srgbClr val="000000"/>
            </a:solidFill>
          </a:ln>
        </p:spPr>
        <p:txBody>
          <a:bodyPr wrap="square" lIns="0" tIns="0" rIns="0" bIns="0" rtlCol="0">
            <a:noAutofit/>
          </a:bodyPr>
          <a:lstStyle/>
          <a:p>
            <a:endParaRPr/>
          </a:p>
        </p:txBody>
      </p:sp>
      <p:sp>
        <p:nvSpPr>
          <p:cNvPr id="1150" name="object 1150"/>
          <p:cNvSpPr/>
          <p:nvPr/>
        </p:nvSpPr>
        <p:spPr>
          <a:xfrm>
            <a:off x="9391650" y="2925827"/>
            <a:ext cx="52324" cy="277749"/>
          </a:xfrm>
          <a:custGeom>
            <a:avLst/>
            <a:gdLst/>
            <a:ahLst/>
            <a:cxnLst/>
            <a:rect l="l" t="t" r="r" b="b"/>
            <a:pathLst>
              <a:path w="52324" h="277749">
                <a:moveTo>
                  <a:pt x="0" y="0"/>
                </a:moveTo>
                <a:lnTo>
                  <a:pt x="0" y="277749"/>
                </a:lnTo>
                <a:lnTo>
                  <a:pt x="52324" y="219075"/>
                </a:lnTo>
                <a:lnTo>
                  <a:pt x="52324" y="33274"/>
                </a:lnTo>
                <a:lnTo>
                  <a:pt x="0" y="0"/>
                </a:lnTo>
                <a:close/>
              </a:path>
            </a:pathLst>
          </a:custGeom>
          <a:solidFill>
            <a:srgbClr val="FF9F40"/>
          </a:solidFill>
        </p:spPr>
        <p:txBody>
          <a:bodyPr wrap="square" lIns="0" tIns="0" rIns="0" bIns="0" rtlCol="0">
            <a:noAutofit/>
          </a:bodyPr>
          <a:lstStyle/>
          <a:p>
            <a:endParaRPr/>
          </a:p>
        </p:txBody>
      </p:sp>
      <p:sp>
        <p:nvSpPr>
          <p:cNvPr id="1151" name="object 1151"/>
          <p:cNvSpPr/>
          <p:nvPr/>
        </p:nvSpPr>
        <p:spPr>
          <a:xfrm>
            <a:off x="9391650" y="2925827"/>
            <a:ext cx="52324" cy="277749"/>
          </a:xfrm>
          <a:custGeom>
            <a:avLst/>
            <a:gdLst/>
            <a:ahLst/>
            <a:cxnLst/>
            <a:rect l="l" t="t" r="r" b="b"/>
            <a:pathLst>
              <a:path w="52324" h="277749">
                <a:moveTo>
                  <a:pt x="0" y="0"/>
                </a:moveTo>
                <a:lnTo>
                  <a:pt x="52324" y="33274"/>
                </a:lnTo>
                <a:lnTo>
                  <a:pt x="52324" y="219075"/>
                </a:lnTo>
                <a:lnTo>
                  <a:pt x="0" y="277749"/>
                </a:lnTo>
                <a:lnTo>
                  <a:pt x="0" y="0"/>
                </a:lnTo>
              </a:path>
            </a:pathLst>
          </a:custGeom>
          <a:ln w="12700">
            <a:solidFill>
              <a:srgbClr val="000000"/>
            </a:solidFill>
          </a:ln>
        </p:spPr>
        <p:txBody>
          <a:bodyPr wrap="square" lIns="0" tIns="0" rIns="0" bIns="0" rtlCol="0">
            <a:noAutofit/>
          </a:bodyPr>
          <a:lstStyle/>
          <a:p>
            <a:endParaRPr/>
          </a:p>
        </p:txBody>
      </p:sp>
      <p:sp>
        <p:nvSpPr>
          <p:cNvPr id="1152" name="object 1152"/>
          <p:cNvSpPr/>
          <p:nvPr/>
        </p:nvSpPr>
        <p:spPr>
          <a:xfrm>
            <a:off x="9466326" y="2821051"/>
            <a:ext cx="25400" cy="25400"/>
          </a:xfrm>
          <a:custGeom>
            <a:avLst/>
            <a:gdLst/>
            <a:ahLst/>
            <a:cxnLst/>
            <a:rect l="l" t="t" r="r" b="b"/>
            <a:pathLst>
              <a:path w="25400" h="25400">
                <a:moveTo>
                  <a:pt x="3175" y="22225"/>
                </a:moveTo>
                <a:lnTo>
                  <a:pt x="7874" y="22225"/>
                </a:lnTo>
                <a:lnTo>
                  <a:pt x="11049" y="20574"/>
                </a:lnTo>
                <a:lnTo>
                  <a:pt x="15875" y="20574"/>
                </a:lnTo>
                <a:lnTo>
                  <a:pt x="20574" y="22225"/>
                </a:lnTo>
                <a:lnTo>
                  <a:pt x="25400" y="25400"/>
                </a:lnTo>
                <a:lnTo>
                  <a:pt x="17399" y="11049"/>
                </a:lnTo>
                <a:lnTo>
                  <a:pt x="17399" y="6350"/>
                </a:lnTo>
                <a:lnTo>
                  <a:pt x="14224" y="4699"/>
                </a:lnTo>
                <a:lnTo>
                  <a:pt x="12700" y="1524"/>
                </a:lnTo>
                <a:lnTo>
                  <a:pt x="9525" y="1524"/>
                </a:lnTo>
                <a:lnTo>
                  <a:pt x="6350" y="0"/>
                </a:lnTo>
                <a:lnTo>
                  <a:pt x="3175" y="0"/>
                </a:lnTo>
                <a:lnTo>
                  <a:pt x="0" y="3175"/>
                </a:lnTo>
                <a:lnTo>
                  <a:pt x="0" y="22225"/>
                </a:lnTo>
                <a:lnTo>
                  <a:pt x="3175" y="22225"/>
                </a:lnTo>
                <a:close/>
              </a:path>
            </a:pathLst>
          </a:custGeom>
          <a:solidFill>
            <a:srgbClr val="C0FFFF"/>
          </a:solidFill>
        </p:spPr>
        <p:txBody>
          <a:bodyPr wrap="square" lIns="0" tIns="0" rIns="0" bIns="0" rtlCol="0">
            <a:noAutofit/>
          </a:bodyPr>
          <a:lstStyle/>
          <a:p>
            <a:endParaRPr/>
          </a:p>
        </p:txBody>
      </p:sp>
      <p:sp>
        <p:nvSpPr>
          <p:cNvPr id="1153" name="object 1153"/>
          <p:cNvSpPr/>
          <p:nvPr/>
        </p:nvSpPr>
        <p:spPr>
          <a:xfrm>
            <a:off x="9466326" y="2821051"/>
            <a:ext cx="25400" cy="25400"/>
          </a:xfrm>
          <a:custGeom>
            <a:avLst/>
            <a:gdLst/>
            <a:ahLst/>
            <a:cxnLst/>
            <a:rect l="l" t="t" r="r" b="b"/>
            <a:pathLst>
              <a:path w="25400" h="25400">
                <a:moveTo>
                  <a:pt x="25400" y="25400"/>
                </a:moveTo>
                <a:lnTo>
                  <a:pt x="17399" y="11049"/>
                </a:lnTo>
                <a:lnTo>
                  <a:pt x="17399" y="6350"/>
                </a:lnTo>
                <a:lnTo>
                  <a:pt x="15875" y="4699"/>
                </a:lnTo>
                <a:lnTo>
                  <a:pt x="14224" y="4699"/>
                </a:lnTo>
                <a:lnTo>
                  <a:pt x="12700" y="1524"/>
                </a:lnTo>
                <a:lnTo>
                  <a:pt x="11049" y="1524"/>
                </a:lnTo>
                <a:lnTo>
                  <a:pt x="9525" y="1524"/>
                </a:lnTo>
                <a:lnTo>
                  <a:pt x="7874" y="0"/>
                </a:lnTo>
                <a:lnTo>
                  <a:pt x="6350" y="0"/>
                </a:lnTo>
                <a:lnTo>
                  <a:pt x="4699" y="0"/>
                </a:lnTo>
                <a:lnTo>
                  <a:pt x="3175" y="0"/>
                </a:lnTo>
                <a:lnTo>
                  <a:pt x="3175" y="1524"/>
                </a:lnTo>
                <a:lnTo>
                  <a:pt x="1524" y="1524"/>
                </a:lnTo>
                <a:lnTo>
                  <a:pt x="0" y="3175"/>
                </a:lnTo>
                <a:lnTo>
                  <a:pt x="0" y="4699"/>
                </a:lnTo>
                <a:lnTo>
                  <a:pt x="0" y="6350"/>
                </a:lnTo>
                <a:lnTo>
                  <a:pt x="0" y="12700"/>
                </a:lnTo>
                <a:lnTo>
                  <a:pt x="0" y="17399"/>
                </a:lnTo>
                <a:lnTo>
                  <a:pt x="0" y="19050"/>
                </a:lnTo>
                <a:lnTo>
                  <a:pt x="0" y="22225"/>
                </a:lnTo>
                <a:lnTo>
                  <a:pt x="1524" y="22225"/>
                </a:lnTo>
                <a:lnTo>
                  <a:pt x="3175" y="22225"/>
                </a:lnTo>
                <a:lnTo>
                  <a:pt x="6350" y="22225"/>
                </a:lnTo>
                <a:lnTo>
                  <a:pt x="7874" y="22225"/>
                </a:lnTo>
                <a:lnTo>
                  <a:pt x="11049" y="20574"/>
                </a:lnTo>
                <a:lnTo>
                  <a:pt x="12700" y="20574"/>
                </a:lnTo>
                <a:lnTo>
                  <a:pt x="15875" y="20574"/>
                </a:lnTo>
                <a:lnTo>
                  <a:pt x="20574" y="22225"/>
                </a:lnTo>
                <a:lnTo>
                  <a:pt x="25400" y="25400"/>
                </a:lnTo>
              </a:path>
            </a:pathLst>
          </a:custGeom>
          <a:ln w="12700">
            <a:solidFill>
              <a:srgbClr val="000000"/>
            </a:solidFill>
          </a:ln>
        </p:spPr>
        <p:txBody>
          <a:bodyPr wrap="square" lIns="0" tIns="0" rIns="0" bIns="0" rtlCol="0">
            <a:noAutofit/>
          </a:bodyPr>
          <a:lstStyle/>
          <a:p>
            <a:endParaRPr/>
          </a:p>
        </p:txBody>
      </p:sp>
      <p:sp>
        <p:nvSpPr>
          <p:cNvPr id="1154" name="object 1154"/>
          <p:cNvSpPr/>
          <p:nvPr/>
        </p:nvSpPr>
        <p:spPr>
          <a:xfrm>
            <a:off x="9494901" y="2778125"/>
            <a:ext cx="25400" cy="25400"/>
          </a:xfrm>
          <a:custGeom>
            <a:avLst/>
            <a:gdLst/>
            <a:ahLst/>
            <a:cxnLst/>
            <a:rect l="l" t="t" r="r" b="b"/>
            <a:pathLst>
              <a:path w="25400" h="25400">
                <a:moveTo>
                  <a:pt x="0" y="3175"/>
                </a:moveTo>
                <a:lnTo>
                  <a:pt x="0" y="8000"/>
                </a:lnTo>
                <a:lnTo>
                  <a:pt x="1524" y="11175"/>
                </a:lnTo>
                <a:lnTo>
                  <a:pt x="4699" y="12700"/>
                </a:lnTo>
                <a:lnTo>
                  <a:pt x="11049" y="12700"/>
                </a:lnTo>
                <a:lnTo>
                  <a:pt x="14224" y="14350"/>
                </a:lnTo>
                <a:lnTo>
                  <a:pt x="17399" y="15875"/>
                </a:lnTo>
                <a:lnTo>
                  <a:pt x="19050" y="19050"/>
                </a:lnTo>
                <a:lnTo>
                  <a:pt x="22225" y="22225"/>
                </a:lnTo>
                <a:lnTo>
                  <a:pt x="25400" y="25400"/>
                </a:lnTo>
                <a:lnTo>
                  <a:pt x="23749" y="22225"/>
                </a:lnTo>
                <a:lnTo>
                  <a:pt x="22225" y="15875"/>
                </a:lnTo>
                <a:lnTo>
                  <a:pt x="20574" y="12700"/>
                </a:lnTo>
                <a:lnTo>
                  <a:pt x="19050" y="9525"/>
                </a:lnTo>
                <a:lnTo>
                  <a:pt x="17399" y="4825"/>
                </a:lnTo>
                <a:lnTo>
                  <a:pt x="14224" y="1650"/>
                </a:lnTo>
                <a:lnTo>
                  <a:pt x="11049" y="0"/>
                </a:lnTo>
                <a:lnTo>
                  <a:pt x="1524" y="0"/>
                </a:lnTo>
                <a:lnTo>
                  <a:pt x="0" y="3175"/>
                </a:lnTo>
                <a:close/>
              </a:path>
            </a:pathLst>
          </a:custGeom>
          <a:solidFill>
            <a:srgbClr val="C0FFFF"/>
          </a:solidFill>
        </p:spPr>
        <p:txBody>
          <a:bodyPr wrap="square" lIns="0" tIns="0" rIns="0" bIns="0" rtlCol="0">
            <a:noAutofit/>
          </a:bodyPr>
          <a:lstStyle/>
          <a:p>
            <a:endParaRPr/>
          </a:p>
        </p:txBody>
      </p:sp>
      <p:sp>
        <p:nvSpPr>
          <p:cNvPr id="1155" name="object 1155"/>
          <p:cNvSpPr/>
          <p:nvPr/>
        </p:nvSpPr>
        <p:spPr>
          <a:xfrm>
            <a:off x="9494901" y="2778125"/>
            <a:ext cx="25400" cy="25400"/>
          </a:xfrm>
          <a:custGeom>
            <a:avLst/>
            <a:gdLst/>
            <a:ahLst/>
            <a:cxnLst/>
            <a:rect l="l" t="t" r="r" b="b"/>
            <a:pathLst>
              <a:path w="25400" h="25400">
                <a:moveTo>
                  <a:pt x="25400" y="25400"/>
                </a:moveTo>
                <a:lnTo>
                  <a:pt x="23749" y="22225"/>
                </a:lnTo>
                <a:lnTo>
                  <a:pt x="22225" y="15875"/>
                </a:lnTo>
                <a:lnTo>
                  <a:pt x="20574" y="12700"/>
                </a:lnTo>
                <a:lnTo>
                  <a:pt x="19050" y="9525"/>
                </a:lnTo>
                <a:lnTo>
                  <a:pt x="17399" y="4825"/>
                </a:lnTo>
                <a:lnTo>
                  <a:pt x="15875" y="3175"/>
                </a:lnTo>
                <a:lnTo>
                  <a:pt x="14224" y="1650"/>
                </a:lnTo>
                <a:lnTo>
                  <a:pt x="11049" y="0"/>
                </a:lnTo>
                <a:lnTo>
                  <a:pt x="9525" y="0"/>
                </a:lnTo>
                <a:lnTo>
                  <a:pt x="6350" y="0"/>
                </a:lnTo>
                <a:lnTo>
                  <a:pt x="4699" y="0"/>
                </a:lnTo>
                <a:lnTo>
                  <a:pt x="1524" y="0"/>
                </a:lnTo>
                <a:lnTo>
                  <a:pt x="0" y="1650"/>
                </a:lnTo>
                <a:lnTo>
                  <a:pt x="0" y="3175"/>
                </a:lnTo>
                <a:lnTo>
                  <a:pt x="0" y="4825"/>
                </a:lnTo>
                <a:lnTo>
                  <a:pt x="0" y="8000"/>
                </a:lnTo>
                <a:lnTo>
                  <a:pt x="0" y="9525"/>
                </a:lnTo>
                <a:lnTo>
                  <a:pt x="1524" y="11175"/>
                </a:lnTo>
                <a:lnTo>
                  <a:pt x="1524" y="12700"/>
                </a:lnTo>
                <a:lnTo>
                  <a:pt x="3175" y="12700"/>
                </a:lnTo>
                <a:lnTo>
                  <a:pt x="4699" y="12700"/>
                </a:lnTo>
                <a:lnTo>
                  <a:pt x="12700" y="12700"/>
                </a:lnTo>
                <a:lnTo>
                  <a:pt x="14224" y="14350"/>
                </a:lnTo>
                <a:lnTo>
                  <a:pt x="15875" y="14350"/>
                </a:lnTo>
                <a:lnTo>
                  <a:pt x="17399" y="15875"/>
                </a:lnTo>
                <a:lnTo>
                  <a:pt x="19050" y="19050"/>
                </a:lnTo>
                <a:lnTo>
                  <a:pt x="20574" y="20700"/>
                </a:lnTo>
                <a:lnTo>
                  <a:pt x="22225" y="22225"/>
                </a:lnTo>
                <a:lnTo>
                  <a:pt x="25400" y="25400"/>
                </a:lnTo>
              </a:path>
            </a:pathLst>
          </a:custGeom>
          <a:ln w="12700">
            <a:solidFill>
              <a:srgbClr val="000000"/>
            </a:solidFill>
          </a:ln>
        </p:spPr>
        <p:txBody>
          <a:bodyPr wrap="square" lIns="0" tIns="0" rIns="0" bIns="0" rtlCol="0">
            <a:noAutofit/>
          </a:bodyPr>
          <a:lstStyle/>
          <a:p>
            <a:endParaRPr/>
          </a:p>
        </p:txBody>
      </p:sp>
      <p:sp>
        <p:nvSpPr>
          <p:cNvPr id="1156" name="object 1156"/>
          <p:cNvSpPr/>
          <p:nvPr/>
        </p:nvSpPr>
        <p:spPr>
          <a:xfrm>
            <a:off x="9469502" y="3252851"/>
            <a:ext cx="106299" cy="39624"/>
          </a:xfrm>
          <a:custGeom>
            <a:avLst/>
            <a:gdLst/>
            <a:ahLst/>
            <a:cxnLst/>
            <a:rect l="l" t="t" r="r" b="b"/>
            <a:pathLst>
              <a:path w="106299" h="39624">
                <a:moveTo>
                  <a:pt x="4699" y="30099"/>
                </a:moveTo>
                <a:lnTo>
                  <a:pt x="12700" y="33274"/>
                </a:lnTo>
                <a:lnTo>
                  <a:pt x="26924" y="36449"/>
                </a:lnTo>
                <a:lnTo>
                  <a:pt x="41275" y="36449"/>
                </a:lnTo>
                <a:lnTo>
                  <a:pt x="53975" y="33274"/>
                </a:lnTo>
                <a:lnTo>
                  <a:pt x="66675" y="26924"/>
                </a:lnTo>
                <a:lnTo>
                  <a:pt x="66675" y="33274"/>
                </a:lnTo>
                <a:lnTo>
                  <a:pt x="76200" y="38100"/>
                </a:lnTo>
                <a:lnTo>
                  <a:pt x="87249" y="39624"/>
                </a:lnTo>
                <a:lnTo>
                  <a:pt x="93599" y="38100"/>
                </a:lnTo>
                <a:lnTo>
                  <a:pt x="104775" y="34925"/>
                </a:lnTo>
                <a:lnTo>
                  <a:pt x="106299" y="28575"/>
                </a:lnTo>
                <a:lnTo>
                  <a:pt x="104775" y="25400"/>
                </a:lnTo>
                <a:lnTo>
                  <a:pt x="104775" y="12700"/>
                </a:lnTo>
                <a:lnTo>
                  <a:pt x="103124" y="6350"/>
                </a:lnTo>
                <a:lnTo>
                  <a:pt x="96774" y="0"/>
                </a:lnTo>
                <a:lnTo>
                  <a:pt x="74549" y="1524"/>
                </a:lnTo>
                <a:lnTo>
                  <a:pt x="58674" y="0"/>
                </a:lnTo>
                <a:lnTo>
                  <a:pt x="49149" y="3175"/>
                </a:lnTo>
                <a:lnTo>
                  <a:pt x="25400" y="3175"/>
                </a:lnTo>
                <a:lnTo>
                  <a:pt x="9525" y="7874"/>
                </a:lnTo>
                <a:lnTo>
                  <a:pt x="4699" y="11049"/>
                </a:lnTo>
                <a:lnTo>
                  <a:pt x="0" y="14224"/>
                </a:lnTo>
                <a:lnTo>
                  <a:pt x="0" y="23749"/>
                </a:lnTo>
                <a:lnTo>
                  <a:pt x="4699" y="30099"/>
                </a:lnTo>
                <a:close/>
              </a:path>
            </a:pathLst>
          </a:custGeom>
          <a:solidFill>
            <a:srgbClr val="401F00"/>
          </a:solidFill>
        </p:spPr>
        <p:txBody>
          <a:bodyPr wrap="square" lIns="0" tIns="0" rIns="0" bIns="0" rtlCol="0">
            <a:noAutofit/>
          </a:bodyPr>
          <a:lstStyle/>
          <a:p>
            <a:endParaRPr/>
          </a:p>
        </p:txBody>
      </p:sp>
      <p:sp>
        <p:nvSpPr>
          <p:cNvPr id="1157" name="object 1157"/>
          <p:cNvSpPr/>
          <p:nvPr/>
        </p:nvSpPr>
        <p:spPr>
          <a:xfrm>
            <a:off x="9469502" y="3252851"/>
            <a:ext cx="106299" cy="39624"/>
          </a:xfrm>
          <a:custGeom>
            <a:avLst/>
            <a:gdLst/>
            <a:ahLst/>
            <a:cxnLst/>
            <a:rect l="l" t="t" r="r" b="b"/>
            <a:pathLst>
              <a:path w="106299" h="39624">
                <a:moveTo>
                  <a:pt x="58674" y="0"/>
                </a:moveTo>
                <a:lnTo>
                  <a:pt x="49149" y="3175"/>
                </a:lnTo>
                <a:lnTo>
                  <a:pt x="38100" y="3175"/>
                </a:lnTo>
                <a:lnTo>
                  <a:pt x="25400" y="3175"/>
                </a:lnTo>
                <a:lnTo>
                  <a:pt x="9525" y="7874"/>
                </a:lnTo>
                <a:lnTo>
                  <a:pt x="4699" y="11049"/>
                </a:lnTo>
                <a:lnTo>
                  <a:pt x="0" y="14224"/>
                </a:lnTo>
                <a:lnTo>
                  <a:pt x="0" y="23749"/>
                </a:lnTo>
                <a:lnTo>
                  <a:pt x="4699" y="30099"/>
                </a:lnTo>
                <a:lnTo>
                  <a:pt x="12700" y="33274"/>
                </a:lnTo>
                <a:lnTo>
                  <a:pt x="26924" y="36449"/>
                </a:lnTo>
                <a:lnTo>
                  <a:pt x="41275" y="36449"/>
                </a:lnTo>
                <a:lnTo>
                  <a:pt x="53975" y="33274"/>
                </a:lnTo>
                <a:lnTo>
                  <a:pt x="66675" y="26924"/>
                </a:lnTo>
                <a:lnTo>
                  <a:pt x="66675" y="33274"/>
                </a:lnTo>
                <a:lnTo>
                  <a:pt x="76200" y="38100"/>
                </a:lnTo>
                <a:lnTo>
                  <a:pt x="87249" y="39624"/>
                </a:lnTo>
                <a:lnTo>
                  <a:pt x="93599" y="38100"/>
                </a:lnTo>
                <a:lnTo>
                  <a:pt x="104775" y="34925"/>
                </a:lnTo>
                <a:lnTo>
                  <a:pt x="106299" y="28575"/>
                </a:lnTo>
                <a:lnTo>
                  <a:pt x="104775" y="25400"/>
                </a:lnTo>
                <a:lnTo>
                  <a:pt x="104775" y="22225"/>
                </a:lnTo>
                <a:lnTo>
                  <a:pt x="104775" y="12700"/>
                </a:lnTo>
                <a:lnTo>
                  <a:pt x="103124" y="6350"/>
                </a:lnTo>
                <a:lnTo>
                  <a:pt x="96774" y="0"/>
                </a:lnTo>
                <a:lnTo>
                  <a:pt x="74549" y="1524"/>
                </a:lnTo>
                <a:lnTo>
                  <a:pt x="58674" y="0"/>
                </a:lnTo>
              </a:path>
            </a:pathLst>
          </a:custGeom>
          <a:ln w="12700">
            <a:solidFill>
              <a:srgbClr val="000000"/>
            </a:solidFill>
          </a:ln>
        </p:spPr>
        <p:txBody>
          <a:bodyPr wrap="square" lIns="0" tIns="0" rIns="0" bIns="0" rtlCol="0">
            <a:noAutofit/>
          </a:bodyPr>
          <a:lstStyle/>
          <a:p>
            <a:endParaRPr/>
          </a:p>
        </p:txBody>
      </p:sp>
      <p:sp>
        <p:nvSpPr>
          <p:cNvPr id="1158" name="object 1158"/>
          <p:cNvSpPr/>
          <p:nvPr/>
        </p:nvSpPr>
        <p:spPr>
          <a:xfrm>
            <a:off x="9440926" y="3252852"/>
            <a:ext cx="114300" cy="41275"/>
          </a:xfrm>
          <a:custGeom>
            <a:avLst/>
            <a:gdLst/>
            <a:ahLst/>
            <a:cxnLst/>
            <a:rect l="l" t="t" r="r" b="b"/>
            <a:pathLst>
              <a:path w="114300" h="41275">
                <a:moveTo>
                  <a:pt x="4699" y="31750"/>
                </a:moveTo>
                <a:lnTo>
                  <a:pt x="14224" y="34925"/>
                </a:lnTo>
                <a:lnTo>
                  <a:pt x="30099" y="38100"/>
                </a:lnTo>
                <a:lnTo>
                  <a:pt x="44450" y="38100"/>
                </a:lnTo>
                <a:lnTo>
                  <a:pt x="57150" y="34925"/>
                </a:lnTo>
                <a:lnTo>
                  <a:pt x="71374" y="28575"/>
                </a:lnTo>
                <a:lnTo>
                  <a:pt x="71374" y="34925"/>
                </a:lnTo>
                <a:lnTo>
                  <a:pt x="82550" y="39624"/>
                </a:lnTo>
                <a:lnTo>
                  <a:pt x="92075" y="41275"/>
                </a:lnTo>
                <a:lnTo>
                  <a:pt x="101600" y="39624"/>
                </a:lnTo>
                <a:lnTo>
                  <a:pt x="112649" y="36449"/>
                </a:lnTo>
                <a:lnTo>
                  <a:pt x="114300" y="30099"/>
                </a:lnTo>
                <a:lnTo>
                  <a:pt x="112649" y="26924"/>
                </a:lnTo>
                <a:lnTo>
                  <a:pt x="112649" y="14224"/>
                </a:lnTo>
                <a:lnTo>
                  <a:pt x="111125" y="6350"/>
                </a:lnTo>
                <a:lnTo>
                  <a:pt x="103124" y="0"/>
                </a:lnTo>
                <a:lnTo>
                  <a:pt x="79375" y="1524"/>
                </a:lnTo>
                <a:lnTo>
                  <a:pt x="63500" y="0"/>
                </a:lnTo>
                <a:lnTo>
                  <a:pt x="52324" y="3175"/>
                </a:lnTo>
                <a:lnTo>
                  <a:pt x="39624" y="3175"/>
                </a:lnTo>
                <a:lnTo>
                  <a:pt x="26924" y="4699"/>
                </a:lnTo>
                <a:lnTo>
                  <a:pt x="9525" y="7874"/>
                </a:lnTo>
                <a:lnTo>
                  <a:pt x="4699" y="11049"/>
                </a:lnTo>
                <a:lnTo>
                  <a:pt x="0" y="14224"/>
                </a:lnTo>
                <a:lnTo>
                  <a:pt x="0" y="25400"/>
                </a:lnTo>
                <a:lnTo>
                  <a:pt x="4699" y="31750"/>
                </a:lnTo>
                <a:close/>
              </a:path>
            </a:pathLst>
          </a:custGeom>
          <a:solidFill>
            <a:srgbClr val="5F2F00"/>
          </a:solidFill>
        </p:spPr>
        <p:txBody>
          <a:bodyPr wrap="square" lIns="0" tIns="0" rIns="0" bIns="0" rtlCol="0">
            <a:noAutofit/>
          </a:bodyPr>
          <a:lstStyle/>
          <a:p>
            <a:endParaRPr/>
          </a:p>
        </p:txBody>
      </p:sp>
      <p:sp>
        <p:nvSpPr>
          <p:cNvPr id="1159" name="object 1159"/>
          <p:cNvSpPr/>
          <p:nvPr/>
        </p:nvSpPr>
        <p:spPr>
          <a:xfrm>
            <a:off x="9440926" y="3252852"/>
            <a:ext cx="114300" cy="41275"/>
          </a:xfrm>
          <a:custGeom>
            <a:avLst/>
            <a:gdLst/>
            <a:ahLst/>
            <a:cxnLst/>
            <a:rect l="l" t="t" r="r" b="b"/>
            <a:pathLst>
              <a:path w="114300" h="41275">
                <a:moveTo>
                  <a:pt x="63500" y="0"/>
                </a:moveTo>
                <a:lnTo>
                  <a:pt x="52324" y="3175"/>
                </a:lnTo>
                <a:lnTo>
                  <a:pt x="39624" y="3175"/>
                </a:lnTo>
                <a:lnTo>
                  <a:pt x="26924" y="4699"/>
                </a:lnTo>
                <a:lnTo>
                  <a:pt x="9525" y="7874"/>
                </a:lnTo>
                <a:lnTo>
                  <a:pt x="4699" y="11049"/>
                </a:lnTo>
                <a:lnTo>
                  <a:pt x="0" y="14224"/>
                </a:lnTo>
                <a:lnTo>
                  <a:pt x="0" y="25400"/>
                </a:lnTo>
                <a:lnTo>
                  <a:pt x="4699" y="31750"/>
                </a:lnTo>
                <a:lnTo>
                  <a:pt x="14224" y="34925"/>
                </a:lnTo>
                <a:lnTo>
                  <a:pt x="30099" y="38100"/>
                </a:lnTo>
                <a:lnTo>
                  <a:pt x="44450" y="38100"/>
                </a:lnTo>
                <a:lnTo>
                  <a:pt x="57150" y="34925"/>
                </a:lnTo>
                <a:lnTo>
                  <a:pt x="71374" y="28575"/>
                </a:lnTo>
                <a:lnTo>
                  <a:pt x="71374" y="34925"/>
                </a:lnTo>
                <a:lnTo>
                  <a:pt x="82550" y="39624"/>
                </a:lnTo>
                <a:lnTo>
                  <a:pt x="92075" y="41275"/>
                </a:lnTo>
                <a:lnTo>
                  <a:pt x="101600" y="39624"/>
                </a:lnTo>
                <a:lnTo>
                  <a:pt x="112649" y="36449"/>
                </a:lnTo>
                <a:lnTo>
                  <a:pt x="114300" y="30099"/>
                </a:lnTo>
                <a:lnTo>
                  <a:pt x="112649" y="26924"/>
                </a:lnTo>
                <a:lnTo>
                  <a:pt x="112649" y="22225"/>
                </a:lnTo>
                <a:lnTo>
                  <a:pt x="112649" y="14224"/>
                </a:lnTo>
                <a:lnTo>
                  <a:pt x="111125" y="6350"/>
                </a:lnTo>
                <a:lnTo>
                  <a:pt x="103124" y="0"/>
                </a:lnTo>
                <a:lnTo>
                  <a:pt x="79375" y="1524"/>
                </a:lnTo>
                <a:lnTo>
                  <a:pt x="63500" y="0"/>
                </a:lnTo>
              </a:path>
            </a:pathLst>
          </a:custGeom>
          <a:ln w="12700">
            <a:solidFill>
              <a:srgbClr val="000000"/>
            </a:solidFill>
          </a:ln>
        </p:spPr>
        <p:txBody>
          <a:bodyPr wrap="square" lIns="0" tIns="0" rIns="0" bIns="0" rtlCol="0">
            <a:noAutofit/>
          </a:bodyPr>
          <a:lstStyle/>
          <a:p>
            <a:endParaRPr/>
          </a:p>
        </p:txBody>
      </p:sp>
      <p:sp>
        <p:nvSpPr>
          <p:cNvPr id="1160" name="object 1160"/>
          <p:cNvSpPr/>
          <p:nvPr/>
        </p:nvSpPr>
        <p:spPr>
          <a:xfrm>
            <a:off x="9477376" y="3071876"/>
            <a:ext cx="93725" cy="184150"/>
          </a:xfrm>
          <a:custGeom>
            <a:avLst/>
            <a:gdLst/>
            <a:ahLst/>
            <a:cxnLst/>
            <a:rect l="l" t="t" r="r" b="b"/>
            <a:pathLst>
              <a:path w="93725" h="184150">
                <a:moveTo>
                  <a:pt x="19050" y="60325"/>
                </a:moveTo>
                <a:lnTo>
                  <a:pt x="1650" y="80899"/>
                </a:lnTo>
                <a:lnTo>
                  <a:pt x="0" y="99949"/>
                </a:lnTo>
                <a:lnTo>
                  <a:pt x="6350" y="120650"/>
                </a:lnTo>
                <a:lnTo>
                  <a:pt x="14350" y="144399"/>
                </a:lnTo>
                <a:lnTo>
                  <a:pt x="27050" y="169799"/>
                </a:lnTo>
                <a:lnTo>
                  <a:pt x="31750" y="179324"/>
                </a:lnTo>
                <a:lnTo>
                  <a:pt x="39750" y="184150"/>
                </a:lnTo>
                <a:lnTo>
                  <a:pt x="47625" y="184150"/>
                </a:lnTo>
                <a:lnTo>
                  <a:pt x="57150" y="182499"/>
                </a:lnTo>
                <a:lnTo>
                  <a:pt x="84200" y="182499"/>
                </a:lnTo>
                <a:lnTo>
                  <a:pt x="93725" y="180975"/>
                </a:lnTo>
                <a:lnTo>
                  <a:pt x="87375" y="172974"/>
                </a:lnTo>
                <a:lnTo>
                  <a:pt x="73025" y="155575"/>
                </a:lnTo>
                <a:lnTo>
                  <a:pt x="63500" y="136525"/>
                </a:lnTo>
                <a:lnTo>
                  <a:pt x="52450" y="122174"/>
                </a:lnTo>
                <a:lnTo>
                  <a:pt x="47625" y="109474"/>
                </a:lnTo>
                <a:lnTo>
                  <a:pt x="49275" y="104775"/>
                </a:lnTo>
                <a:lnTo>
                  <a:pt x="52450" y="95250"/>
                </a:lnTo>
                <a:lnTo>
                  <a:pt x="57150" y="82550"/>
                </a:lnTo>
                <a:lnTo>
                  <a:pt x="65150" y="61849"/>
                </a:lnTo>
                <a:lnTo>
                  <a:pt x="73025" y="42799"/>
                </a:lnTo>
                <a:lnTo>
                  <a:pt x="81025" y="28575"/>
                </a:lnTo>
                <a:lnTo>
                  <a:pt x="81025" y="0"/>
                </a:lnTo>
                <a:lnTo>
                  <a:pt x="41275" y="0"/>
                </a:lnTo>
                <a:lnTo>
                  <a:pt x="39750" y="6350"/>
                </a:lnTo>
                <a:lnTo>
                  <a:pt x="39750" y="25400"/>
                </a:lnTo>
                <a:lnTo>
                  <a:pt x="31750" y="41275"/>
                </a:lnTo>
                <a:lnTo>
                  <a:pt x="19050" y="60325"/>
                </a:lnTo>
                <a:close/>
              </a:path>
            </a:pathLst>
          </a:custGeom>
          <a:solidFill>
            <a:srgbClr val="0000C4"/>
          </a:solidFill>
        </p:spPr>
        <p:txBody>
          <a:bodyPr wrap="square" lIns="0" tIns="0" rIns="0" bIns="0" rtlCol="0">
            <a:noAutofit/>
          </a:bodyPr>
          <a:lstStyle/>
          <a:p>
            <a:endParaRPr/>
          </a:p>
        </p:txBody>
      </p:sp>
      <p:sp>
        <p:nvSpPr>
          <p:cNvPr id="1161" name="object 1161"/>
          <p:cNvSpPr/>
          <p:nvPr/>
        </p:nvSpPr>
        <p:spPr>
          <a:xfrm>
            <a:off x="9477376" y="3071876"/>
            <a:ext cx="93725" cy="184150"/>
          </a:xfrm>
          <a:custGeom>
            <a:avLst/>
            <a:gdLst/>
            <a:ahLst/>
            <a:cxnLst/>
            <a:rect l="l" t="t" r="r" b="b"/>
            <a:pathLst>
              <a:path w="93725" h="184150">
                <a:moveTo>
                  <a:pt x="73025" y="42799"/>
                </a:moveTo>
                <a:lnTo>
                  <a:pt x="65150" y="61849"/>
                </a:lnTo>
                <a:lnTo>
                  <a:pt x="57150" y="82550"/>
                </a:lnTo>
                <a:lnTo>
                  <a:pt x="52450" y="95250"/>
                </a:lnTo>
                <a:lnTo>
                  <a:pt x="49275" y="104775"/>
                </a:lnTo>
                <a:lnTo>
                  <a:pt x="47625" y="109474"/>
                </a:lnTo>
                <a:lnTo>
                  <a:pt x="52450" y="122174"/>
                </a:lnTo>
                <a:lnTo>
                  <a:pt x="63500" y="136525"/>
                </a:lnTo>
                <a:lnTo>
                  <a:pt x="73025" y="155575"/>
                </a:lnTo>
                <a:lnTo>
                  <a:pt x="87375" y="172974"/>
                </a:lnTo>
                <a:lnTo>
                  <a:pt x="93725" y="180975"/>
                </a:lnTo>
                <a:lnTo>
                  <a:pt x="84200" y="182499"/>
                </a:lnTo>
                <a:lnTo>
                  <a:pt x="68325" y="182499"/>
                </a:lnTo>
                <a:lnTo>
                  <a:pt x="57150" y="182499"/>
                </a:lnTo>
                <a:lnTo>
                  <a:pt x="47625" y="184150"/>
                </a:lnTo>
                <a:lnTo>
                  <a:pt x="39750" y="184150"/>
                </a:lnTo>
                <a:lnTo>
                  <a:pt x="31750" y="179324"/>
                </a:lnTo>
                <a:lnTo>
                  <a:pt x="27050" y="169799"/>
                </a:lnTo>
                <a:lnTo>
                  <a:pt x="14350" y="144399"/>
                </a:lnTo>
                <a:lnTo>
                  <a:pt x="6350" y="120650"/>
                </a:lnTo>
                <a:lnTo>
                  <a:pt x="0" y="99949"/>
                </a:lnTo>
                <a:lnTo>
                  <a:pt x="1650" y="80899"/>
                </a:lnTo>
                <a:lnTo>
                  <a:pt x="19050" y="60325"/>
                </a:lnTo>
                <a:lnTo>
                  <a:pt x="31750" y="41275"/>
                </a:lnTo>
                <a:lnTo>
                  <a:pt x="39750" y="25400"/>
                </a:lnTo>
                <a:lnTo>
                  <a:pt x="39750" y="6350"/>
                </a:lnTo>
                <a:lnTo>
                  <a:pt x="41275" y="0"/>
                </a:lnTo>
                <a:lnTo>
                  <a:pt x="68325" y="0"/>
                </a:lnTo>
                <a:lnTo>
                  <a:pt x="81025" y="0"/>
                </a:lnTo>
                <a:lnTo>
                  <a:pt x="81025" y="28575"/>
                </a:lnTo>
                <a:lnTo>
                  <a:pt x="73025" y="42799"/>
                </a:lnTo>
              </a:path>
            </a:pathLst>
          </a:custGeom>
          <a:ln w="12699">
            <a:solidFill>
              <a:srgbClr val="000000"/>
            </a:solidFill>
          </a:ln>
        </p:spPr>
        <p:txBody>
          <a:bodyPr wrap="square" lIns="0" tIns="0" rIns="0" bIns="0" rtlCol="0">
            <a:noAutofit/>
          </a:bodyPr>
          <a:lstStyle/>
          <a:p>
            <a:endParaRPr/>
          </a:p>
        </p:txBody>
      </p:sp>
      <p:sp>
        <p:nvSpPr>
          <p:cNvPr id="1162" name="object 1162"/>
          <p:cNvSpPr/>
          <p:nvPr/>
        </p:nvSpPr>
        <p:spPr>
          <a:xfrm>
            <a:off x="9456802" y="3068701"/>
            <a:ext cx="106299" cy="192024"/>
          </a:xfrm>
          <a:custGeom>
            <a:avLst/>
            <a:gdLst/>
            <a:ahLst/>
            <a:cxnLst/>
            <a:rect l="l" t="t" r="r" b="b"/>
            <a:pathLst>
              <a:path w="106299" h="192024">
                <a:moveTo>
                  <a:pt x="1524" y="96774"/>
                </a:moveTo>
                <a:lnTo>
                  <a:pt x="0" y="111125"/>
                </a:lnTo>
                <a:lnTo>
                  <a:pt x="1524" y="122174"/>
                </a:lnTo>
                <a:lnTo>
                  <a:pt x="14224" y="139700"/>
                </a:lnTo>
                <a:lnTo>
                  <a:pt x="31750" y="165100"/>
                </a:lnTo>
                <a:lnTo>
                  <a:pt x="42799" y="184150"/>
                </a:lnTo>
                <a:lnTo>
                  <a:pt x="49149" y="187325"/>
                </a:lnTo>
                <a:lnTo>
                  <a:pt x="60325" y="190500"/>
                </a:lnTo>
                <a:lnTo>
                  <a:pt x="69850" y="192024"/>
                </a:lnTo>
                <a:lnTo>
                  <a:pt x="79375" y="190500"/>
                </a:lnTo>
                <a:lnTo>
                  <a:pt x="88900" y="190500"/>
                </a:lnTo>
                <a:lnTo>
                  <a:pt x="92075" y="185674"/>
                </a:lnTo>
                <a:lnTo>
                  <a:pt x="80899" y="171450"/>
                </a:lnTo>
                <a:lnTo>
                  <a:pt x="68199" y="150749"/>
                </a:lnTo>
                <a:lnTo>
                  <a:pt x="60325" y="136525"/>
                </a:lnTo>
                <a:lnTo>
                  <a:pt x="53975" y="125349"/>
                </a:lnTo>
                <a:lnTo>
                  <a:pt x="49149" y="112649"/>
                </a:lnTo>
                <a:lnTo>
                  <a:pt x="42799" y="104775"/>
                </a:lnTo>
                <a:lnTo>
                  <a:pt x="31750" y="99949"/>
                </a:lnTo>
                <a:lnTo>
                  <a:pt x="47625" y="104775"/>
                </a:lnTo>
                <a:lnTo>
                  <a:pt x="52324" y="95250"/>
                </a:lnTo>
                <a:lnTo>
                  <a:pt x="60325" y="82550"/>
                </a:lnTo>
                <a:lnTo>
                  <a:pt x="66675" y="68199"/>
                </a:lnTo>
                <a:lnTo>
                  <a:pt x="76200" y="58674"/>
                </a:lnTo>
                <a:lnTo>
                  <a:pt x="85725" y="55499"/>
                </a:lnTo>
                <a:lnTo>
                  <a:pt x="96774" y="50800"/>
                </a:lnTo>
                <a:lnTo>
                  <a:pt x="101600" y="41275"/>
                </a:lnTo>
                <a:lnTo>
                  <a:pt x="106299" y="23749"/>
                </a:lnTo>
                <a:lnTo>
                  <a:pt x="106299" y="0"/>
                </a:lnTo>
                <a:lnTo>
                  <a:pt x="49149" y="0"/>
                </a:lnTo>
                <a:lnTo>
                  <a:pt x="39624" y="23749"/>
                </a:lnTo>
                <a:lnTo>
                  <a:pt x="34925" y="39624"/>
                </a:lnTo>
                <a:lnTo>
                  <a:pt x="30099" y="45974"/>
                </a:lnTo>
                <a:lnTo>
                  <a:pt x="17399" y="63500"/>
                </a:lnTo>
                <a:lnTo>
                  <a:pt x="6350" y="82550"/>
                </a:lnTo>
                <a:lnTo>
                  <a:pt x="1524" y="96774"/>
                </a:lnTo>
                <a:close/>
              </a:path>
            </a:pathLst>
          </a:custGeom>
          <a:solidFill>
            <a:srgbClr val="0000DF"/>
          </a:solidFill>
        </p:spPr>
        <p:txBody>
          <a:bodyPr wrap="square" lIns="0" tIns="0" rIns="0" bIns="0" rtlCol="0">
            <a:noAutofit/>
          </a:bodyPr>
          <a:lstStyle/>
          <a:p>
            <a:endParaRPr/>
          </a:p>
        </p:txBody>
      </p:sp>
      <p:sp>
        <p:nvSpPr>
          <p:cNvPr id="1163" name="object 1163"/>
          <p:cNvSpPr/>
          <p:nvPr/>
        </p:nvSpPr>
        <p:spPr>
          <a:xfrm>
            <a:off x="9456802" y="3068701"/>
            <a:ext cx="106299" cy="192024"/>
          </a:xfrm>
          <a:custGeom>
            <a:avLst/>
            <a:gdLst/>
            <a:ahLst/>
            <a:cxnLst/>
            <a:rect l="l" t="t" r="r" b="b"/>
            <a:pathLst>
              <a:path w="106299" h="192024">
                <a:moveTo>
                  <a:pt x="49149" y="0"/>
                </a:moveTo>
                <a:lnTo>
                  <a:pt x="39624" y="23749"/>
                </a:lnTo>
                <a:lnTo>
                  <a:pt x="34925" y="39624"/>
                </a:lnTo>
                <a:lnTo>
                  <a:pt x="30099" y="45974"/>
                </a:lnTo>
                <a:lnTo>
                  <a:pt x="17399" y="63500"/>
                </a:lnTo>
                <a:lnTo>
                  <a:pt x="6350" y="82550"/>
                </a:lnTo>
                <a:lnTo>
                  <a:pt x="1524" y="96774"/>
                </a:lnTo>
                <a:lnTo>
                  <a:pt x="0" y="111125"/>
                </a:lnTo>
                <a:lnTo>
                  <a:pt x="1524" y="122174"/>
                </a:lnTo>
                <a:lnTo>
                  <a:pt x="14224" y="139700"/>
                </a:lnTo>
                <a:lnTo>
                  <a:pt x="31750" y="165100"/>
                </a:lnTo>
                <a:lnTo>
                  <a:pt x="42799" y="184150"/>
                </a:lnTo>
                <a:lnTo>
                  <a:pt x="49149" y="187325"/>
                </a:lnTo>
                <a:lnTo>
                  <a:pt x="60325" y="190500"/>
                </a:lnTo>
                <a:lnTo>
                  <a:pt x="69850" y="192024"/>
                </a:lnTo>
                <a:lnTo>
                  <a:pt x="79375" y="190500"/>
                </a:lnTo>
                <a:lnTo>
                  <a:pt x="88900" y="190500"/>
                </a:lnTo>
                <a:lnTo>
                  <a:pt x="92075" y="185674"/>
                </a:lnTo>
                <a:lnTo>
                  <a:pt x="80899" y="171450"/>
                </a:lnTo>
                <a:lnTo>
                  <a:pt x="68199" y="150749"/>
                </a:lnTo>
                <a:lnTo>
                  <a:pt x="60325" y="136525"/>
                </a:lnTo>
                <a:lnTo>
                  <a:pt x="53975" y="125349"/>
                </a:lnTo>
                <a:lnTo>
                  <a:pt x="49149" y="112649"/>
                </a:lnTo>
                <a:lnTo>
                  <a:pt x="42799" y="104775"/>
                </a:lnTo>
                <a:lnTo>
                  <a:pt x="31750" y="99949"/>
                </a:lnTo>
                <a:lnTo>
                  <a:pt x="47625" y="104775"/>
                </a:lnTo>
                <a:lnTo>
                  <a:pt x="52324" y="95250"/>
                </a:lnTo>
                <a:lnTo>
                  <a:pt x="60325" y="82550"/>
                </a:lnTo>
                <a:lnTo>
                  <a:pt x="66675" y="68199"/>
                </a:lnTo>
                <a:lnTo>
                  <a:pt x="76200" y="58674"/>
                </a:lnTo>
                <a:lnTo>
                  <a:pt x="85725" y="55499"/>
                </a:lnTo>
                <a:lnTo>
                  <a:pt x="96774" y="50800"/>
                </a:lnTo>
                <a:lnTo>
                  <a:pt x="101600" y="41275"/>
                </a:lnTo>
                <a:lnTo>
                  <a:pt x="106299" y="23749"/>
                </a:lnTo>
                <a:lnTo>
                  <a:pt x="106299" y="6350"/>
                </a:lnTo>
                <a:lnTo>
                  <a:pt x="106299" y="0"/>
                </a:lnTo>
                <a:lnTo>
                  <a:pt x="87249" y="0"/>
                </a:lnTo>
                <a:lnTo>
                  <a:pt x="71374" y="0"/>
                </a:lnTo>
                <a:lnTo>
                  <a:pt x="49149" y="0"/>
                </a:lnTo>
              </a:path>
            </a:pathLst>
          </a:custGeom>
          <a:ln w="12700">
            <a:solidFill>
              <a:srgbClr val="000000"/>
            </a:solidFill>
          </a:ln>
        </p:spPr>
        <p:txBody>
          <a:bodyPr wrap="square" lIns="0" tIns="0" rIns="0" bIns="0" rtlCol="0">
            <a:noAutofit/>
          </a:bodyPr>
          <a:lstStyle/>
          <a:p>
            <a:endParaRPr/>
          </a:p>
        </p:txBody>
      </p:sp>
      <p:sp>
        <p:nvSpPr>
          <p:cNvPr id="1164" name="object 1164"/>
          <p:cNvSpPr/>
          <p:nvPr/>
        </p:nvSpPr>
        <p:spPr>
          <a:xfrm>
            <a:off x="9550400" y="3109976"/>
            <a:ext cx="25400" cy="25400"/>
          </a:xfrm>
          <a:custGeom>
            <a:avLst/>
            <a:gdLst/>
            <a:ahLst/>
            <a:cxnLst/>
            <a:rect l="l" t="t" r="r" b="b"/>
            <a:pathLst>
              <a:path w="25400" h="25400">
                <a:moveTo>
                  <a:pt x="25400" y="0"/>
                </a:moveTo>
                <a:lnTo>
                  <a:pt x="20700" y="7874"/>
                </a:lnTo>
                <a:lnTo>
                  <a:pt x="15875" y="15875"/>
                </a:lnTo>
                <a:lnTo>
                  <a:pt x="9525" y="20574"/>
                </a:lnTo>
                <a:lnTo>
                  <a:pt x="0" y="25400"/>
                </a:lnTo>
              </a:path>
            </a:pathLst>
          </a:custGeom>
          <a:ln w="12700">
            <a:solidFill>
              <a:srgbClr val="000000"/>
            </a:solidFill>
          </a:ln>
        </p:spPr>
        <p:txBody>
          <a:bodyPr wrap="square" lIns="0" tIns="0" rIns="0" bIns="0" rtlCol="0">
            <a:noAutofit/>
          </a:bodyPr>
          <a:lstStyle/>
          <a:p>
            <a:endParaRPr/>
          </a:p>
        </p:txBody>
      </p:sp>
      <p:sp>
        <p:nvSpPr>
          <p:cNvPr id="1165" name="object 1165"/>
          <p:cNvSpPr/>
          <p:nvPr/>
        </p:nvSpPr>
        <p:spPr>
          <a:xfrm>
            <a:off x="9555226" y="3116326"/>
            <a:ext cx="25400" cy="25400"/>
          </a:xfrm>
          <a:custGeom>
            <a:avLst/>
            <a:gdLst/>
            <a:ahLst/>
            <a:cxnLst/>
            <a:rect l="l" t="t" r="r" b="b"/>
            <a:pathLst>
              <a:path w="25400" h="25400">
                <a:moveTo>
                  <a:pt x="25400" y="0"/>
                </a:moveTo>
                <a:lnTo>
                  <a:pt x="22225" y="7874"/>
                </a:lnTo>
                <a:lnTo>
                  <a:pt x="15875" y="15875"/>
                </a:lnTo>
                <a:lnTo>
                  <a:pt x="9525" y="20574"/>
                </a:lnTo>
                <a:lnTo>
                  <a:pt x="0" y="25400"/>
                </a:lnTo>
              </a:path>
            </a:pathLst>
          </a:custGeom>
          <a:ln w="12700">
            <a:solidFill>
              <a:srgbClr val="000000"/>
            </a:solidFill>
          </a:ln>
        </p:spPr>
        <p:txBody>
          <a:bodyPr wrap="square" lIns="0" tIns="0" rIns="0" bIns="0" rtlCol="0">
            <a:noAutofit/>
          </a:bodyPr>
          <a:lstStyle/>
          <a:p>
            <a:endParaRPr/>
          </a:p>
        </p:txBody>
      </p:sp>
      <p:sp>
        <p:nvSpPr>
          <p:cNvPr id="1166" name="object 1166"/>
          <p:cNvSpPr/>
          <p:nvPr/>
        </p:nvSpPr>
        <p:spPr>
          <a:xfrm>
            <a:off x="9378951" y="2855976"/>
            <a:ext cx="74549" cy="69850"/>
          </a:xfrm>
          <a:custGeom>
            <a:avLst/>
            <a:gdLst/>
            <a:ahLst/>
            <a:cxnLst/>
            <a:rect l="l" t="t" r="r" b="b"/>
            <a:pathLst>
              <a:path w="74549" h="69850">
                <a:moveTo>
                  <a:pt x="1524" y="31750"/>
                </a:moveTo>
                <a:lnTo>
                  <a:pt x="9525" y="42799"/>
                </a:lnTo>
                <a:lnTo>
                  <a:pt x="17399" y="49149"/>
                </a:lnTo>
                <a:lnTo>
                  <a:pt x="28575" y="53975"/>
                </a:lnTo>
                <a:lnTo>
                  <a:pt x="41275" y="55499"/>
                </a:lnTo>
                <a:lnTo>
                  <a:pt x="58674" y="69850"/>
                </a:lnTo>
                <a:lnTo>
                  <a:pt x="74549" y="55499"/>
                </a:lnTo>
                <a:lnTo>
                  <a:pt x="60325" y="47625"/>
                </a:lnTo>
                <a:lnTo>
                  <a:pt x="60325" y="36449"/>
                </a:lnTo>
                <a:lnTo>
                  <a:pt x="61849" y="28575"/>
                </a:lnTo>
                <a:lnTo>
                  <a:pt x="61849" y="19050"/>
                </a:lnTo>
                <a:lnTo>
                  <a:pt x="58674" y="7874"/>
                </a:lnTo>
                <a:lnTo>
                  <a:pt x="47625" y="0"/>
                </a:lnTo>
                <a:lnTo>
                  <a:pt x="42799" y="0"/>
                </a:lnTo>
                <a:lnTo>
                  <a:pt x="39624" y="3175"/>
                </a:lnTo>
                <a:lnTo>
                  <a:pt x="42799" y="7874"/>
                </a:lnTo>
                <a:lnTo>
                  <a:pt x="47625" y="19050"/>
                </a:lnTo>
                <a:lnTo>
                  <a:pt x="42799" y="25400"/>
                </a:lnTo>
                <a:lnTo>
                  <a:pt x="38100" y="19050"/>
                </a:lnTo>
                <a:lnTo>
                  <a:pt x="22225" y="7874"/>
                </a:lnTo>
                <a:lnTo>
                  <a:pt x="15875" y="4699"/>
                </a:lnTo>
                <a:lnTo>
                  <a:pt x="12700" y="7874"/>
                </a:lnTo>
                <a:lnTo>
                  <a:pt x="14224" y="14224"/>
                </a:lnTo>
                <a:lnTo>
                  <a:pt x="26924" y="28575"/>
                </a:lnTo>
                <a:lnTo>
                  <a:pt x="19050" y="22225"/>
                </a:lnTo>
                <a:lnTo>
                  <a:pt x="7874" y="15875"/>
                </a:lnTo>
                <a:lnTo>
                  <a:pt x="3175" y="19050"/>
                </a:lnTo>
                <a:lnTo>
                  <a:pt x="9525" y="26924"/>
                </a:lnTo>
                <a:lnTo>
                  <a:pt x="0" y="22225"/>
                </a:lnTo>
                <a:lnTo>
                  <a:pt x="0" y="30099"/>
                </a:lnTo>
                <a:lnTo>
                  <a:pt x="1524" y="31750"/>
                </a:lnTo>
                <a:close/>
              </a:path>
            </a:pathLst>
          </a:custGeom>
          <a:solidFill>
            <a:srgbClr val="FFDFC0"/>
          </a:solidFill>
        </p:spPr>
        <p:txBody>
          <a:bodyPr wrap="square" lIns="0" tIns="0" rIns="0" bIns="0" rtlCol="0">
            <a:noAutofit/>
          </a:bodyPr>
          <a:lstStyle/>
          <a:p>
            <a:endParaRPr/>
          </a:p>
        </p:txBody>
      </p:sp>
      <p:sp>
        <p:nvSpPr>
          <p:cNvPr id="1167" name="object 1167"/>
          <p:cNvSpPr/>
          <p:nvPr/>
        </p:nvSpPr>
        <p:spPr>
          <a:xfrm>
            <a:off x="9378951" y="2855976"/>
            <a:ext cx="74549" cy="69850"/>
          </a:xfrm>
          <a:custGeom>
            <a:avLst/>
            <a:gdLst/>
            <a:ahLst/>
            <a:cxnLst/>
            <a:rect l="l" t="t" r="r" b="b"/>
            <a:pathLst>
              <a:path w="74549" h="69850">
                <a:moveTo>
                  <a:pt x="58674" y="69850"/>
                </a:moveTo>
                <a:lnTo>
                  <a:pt x="41275" y="55499"/>
                </a:lnTo>
                <a:lnTo>
                  <a:pt x="28575" y="53975"/>
                </a:lnTo>
                <a:lnTo>
                  <a:pt x="17399" y="49149"/>
                </a:lnTo>
                <a:lnTo>
                  <a:pt x="9525" y="42799"/>
                </a:lnTo>
                <a:lnTo>
                  <a:pt x="1524" y="31750"/>
                </a:lnTo>
                <a:lnTo>
                  <a:pt x="0" y="30099"/>
                </a:lnTo>
                <a:lnTo>
                  <a:pt x="0" y="22225"/>
                </a:lnTo>
                <a:lnTo>
                  <a:pt x="9525" y="26924"/>
                </a:lnTo>
                <a:lnTo>
                  <a:pt x="3175" y="19050"/>
                </a:lnTo>
                <a:lnTo>
                  <a:pt x="7874" y="15875"/>
                </a:lnTo>
                <a:lnTo>
                  <a:pt x="19050" y="22225"/>
                </a:lnTo>
                <a:lnTo>
                  <a:pt x="26924" y="28575"/>
                </a:lnTo>
                <a:lnTo>
                  <a:pt x="14224" y="14224"/>
                </a:lnTo>
                <a:lnTo>
                  <a:pt x="12700" y="7874"/>
                </a:lnTo>
                <a:lnTo>
                  <a:pt x="15875" y="4699"/>
                </a:lnTo>
                <a:lnTo>
                  <a:pt x="22225" y="7874"/>
                </a:lnTo>
                <a:lnTo>
                  <a:pt x="38100" y="19050"/>
                </a:lnTo>
                <a:lnTo>
                  <a:pt x="42799" y="25400"/>
                </a:lnTo>
                <a:lnTo>
                  <a:pt x="47625" y="19050"/>
                </a:lnTo>
                <a:lnTo>
                  <a:pt x="42799" y="7874"/>
                </a:lnTo>
                <a:lnTo>
                  <a:pt x="39624" y="3175"/>
                </a:lnTo>
                <a:lnTo>
                  <a:pt x="42799" y="0"/>
                </a:lnTo>
                <a:lnTo>
                  <a:pt x="47625" y="0"/>
                </a:lnTo>
                <a:lnTo>
                  <a:pt x="58674" y="7874"/>
                </a:lnTo>
                <a:lnTo>
                  <a:pt x="61849" y="19050"/>
                </a:lnTo>
                <a:lnTo>
                  <a:pt x="61849" y="28575"/>
                </a:lnTo>
                <a:lnTo>
                  <a:pt x="60325" y="36449"/>
                </a:lnTo>
                <a:lnTo>
                  <a:pt x="60325" y="47625"/>
                </a:lnTo>
                <a:lnTo>
                  <a:pt x="74549" y="55499"/>
                </a:lnTo>
                <a:lnTo>
                  <a:pt x="58674" y="69850"/>
                </a:lnTo>
              </a:path>
            </a:pathLst>
          </a:custGeom>
          <a:ln w="12700">
            <a:solidFill>
              <a:srgbClr val="000000"/>
            </a:solidFill>
          </a:ln>
        </p:spPr>
        <p:txBody>
          <a:bodyPr wrap="square" lIns="0" tIns="0" rIns="0" bIns="0" rtlCol="0">
            <a:noAutofit/>
          </a:bodyPr>
          <a:lstStyle/>
          <a:p>
            <a:endParaRPr/>
          </a:p>
        </p:txBody>
      </p:sp>
      <p:sp>
        <p:nvSpPr>
          <p:cNvPr id="1168" name="object 1168"/>
          <p:cNvSpPr/>
          <p:nvPr/>
        </p:nvSpPr>
        <p:spPr>
          <a:xfrm>
            <a:off x="9420226" y="2894076"/>
            <a:ext cx="161925" cy="184150"/>
          </a:xfrm>
          <a:custGeom>
            <a:avLst/>
            <a:gdLst/>
            <a:ahLst/>
            <a:cxnLst/>
            <a:rect l="l" t="t" r="r" b="b"/>
            <a:pathLst>
              <a:path w="161925" h="184150">
                <a:moveTo>
                  <a:pt x="82550" y="152400"/>
                </a:moveTo>
                <a:lnTo>
                  <a:pt x="81025" y="161925"/>
                </a:lnTo>
                <a:lnTo>
                  <a:pt x="84200" y="174625"/>
                </a:lnTo>
                <a:lnTo>
                  <a:pt x="90550" y="180975"/>
                </a:lnTo>
                <a:lnTo>
                  <a:pt x="100075" y="182499"/>
                </a:lnTo>
                <a:lnTo>
                  <a:pt x="119125" y="184150"/>
                </a:lnTo>
                <a:lnTo>
                  <a:pt x="135000" y="182499"/>
                </a:lnTo>
                <a:lnTo>
                  <a:pt x="146050" y="179324"/>
                </a:lnTo>
                <a:lnTo>
                  <a:pt x="154050" y="172974"/>
                </a:lnTo>
                <a:lnTo>
                  <a:pt x="157225" y="155575"/>
                </a:lnTo>
                <a:lnTo>
                  <a:pt x="155575" y="146050"/>
                </a:lnTo>
                <a:lnTo>
                  <a:pt x="158750" y="130175"/>
                </a:lnTo>
                <a:lnTo>
                  <a:pt x="155575" y="127000"/>
                </a:lnTo>
                <a:lnTo>
                  <a:pt x="155575" y="118999"/>
                </a:lnTo>
                <a:lnTo>
                  <a:pt x="158750" y="114300"/>
                </a:lnTo>
                <a:lnTo>
                  <a:pt x="160400" y="107950"/>
                </a:lnTo>
                <a:lnTo>
                  <a:pt x="161925" y="98425"/>
                </a:lnTo>
                <a:lnTo>
                  <a:pt x="160400" y="88900"/>
                </a:lnTo>
                <a:lnTo>
                  <a:pt x="158750" y="79375"/>
                </a:lnTo>
                <a:lnTo>
                  <a:pt x="157225" y="73025"/>
                </a:lnTo>
                <a:lnTo>
                  <a:pt x="152400" y="66675"/>
                </a:lnTo>
                <a:lnTo>
                  <a:pt x="147700" y="58674"/>
                </a:lnTo>
                <a:lnTo>
                  <a:pt x="139700" y="52324"/>
                </a:lnTo>
                <a:lnTo>
                  <a:pt x="133350" y="53975"/>
                </a:lnTo>
                <a:lnTo>
                  <a:pt x="112775" y="58674"/>
                </a:lnTo>
                <a:lnTo>
                  <a:pt x="103250" y="68199"/>
                </a:lnTo>
                <a:lnTo>
                  <a:pt x="93725" y="63500"/>
                </a:lnTo>
                <a:lnTo>
                  <a:pt x="81025" y="57150"/>
                </a:lnTo>
                <a:lnTo>
                  <a:pt x="74549" y="58674"/>
                </a:lnTo>
                <a:lnTo>
                  <a:pt x="71374" y="55499"/>
                </a:lnTo>
                <a:lnTo>
                  <a:pt x="65024" y="55499"/>
                </a:lnTo>
                <a:lnTo>
                  <a:pt x="52324" y="42799"/>
                </a:lnTo>
                <a:lnTo>
                  <a:pt x="34925" y="17399"/>
                </a:lnTo>
                <a:lnTo>
                  <a:pt x="20574" y="0"/>
                </a:lnTo>
                <a:lnTo>
                  <a:pt x="0" y="28575"/>
                </a:lnTo>
                <a:lnTo>
                  <a:pt x="20574" y="42799"/>
                </a:lnTo>
                <a:lnTo>
                  <a:pt x="42799" y="63500"/>
                </a:lnTo>
                <a:lnTo>
                  <a:pt x="55499" y="76200"/>
                </a:lnTo>
                <a:lnTo>
                  <a:pt x="53975" y="84074"/>
                </a:lnTo>
                <a:lnTo>
                  <a:pt x="63500" y="90424"/>
                </a:lnTo>
                <a:lnTo>
                  <a:pt x="73025" y="90424"/>
                </a:lnTo>
                <a:lnTo>
                  <a:pt x="84200" y="103124"/>
                </a:lnTo>
                <a:lnTo>
                  <a:pt x="90550" y="111125"/>
                </a:lnTo>
                <a:lnTo>
                  <a:pt x="88900" y="123825"/>
                </a:lnTo>
                <a:lnTo>
                  <a:pt x="85725" y="142875"/>
                </a:lnTo>
                <a:lnTo>
                  <a:pt x="82550" y="152400"/>
                </a:lnTo>
                <a:close/>
              </a:path>
            </a:pathLst>
          </a:custGeom>
          <a:solidFill>
            <a:srgbClr val="4040FF"/>
          </a:solidFill>
        </p:spPr>
        <p:txBody>
          <a:bodyPr wrap="square" lIns="0" tIns="0" rIns="0" bIns="0" rtlCol="0">
            <a:noAutofit/>
          </a:bodyPr>
          <a:lstStyle/>
          <a:p>
            <a:endParaRPr/>
          </a:p>
        </p:txBody>
      </p:sp>
      <p:sp>
        <p:nvSpPr>
          <p:cNvPr id="1169" name="object 1169"/>
          <p:cNvSpPr/>
          <p:nvPr/>
        </p:nvSpPr>
        <p:spPr>
          <a:xfrm>
            <a:off x="9420226" y="2894076"/>
            <a:ext cx="161925" cy="184150"/>
          </a:xfrm>
          <a:custGeom>
            <a:avLst/>
            <a:gdLst/>
            <a:ahLst/>
            <a:cxnLst/>
            <a:rect l="l" t="t" r="r" b="b"/>
            <a:pathLst>
              <a:path w="161925" h="184150">
                <a:moveTo>
                  <a:pt x="147700" y="58674"/>
                </a:moveTo>
                <a:lnTo>
                  <a:pt x="139700" y="52324"/>
                </a:lnTo>
                <a:lnTo>
                  <a:pt x="133350" y="53975"/>
                </a:lnTo>
                <a:lnTo>
                  <a:pt x="112775" y="58674"/>
                </a:lnTo>
                <a:lnTo>
                  <a:pt x="103250" y="68199"/>
                </a:lnTo>
                <a:lnTo>
                  <a:pt x="93725" y="63500"/>
                </a:lnTo>
                <a:lnTo>
                  <a:pt x="81025" y="57150"/>
                </a:lnTo>
                <a:lnTo>
                  <a:pt x="74549" y="58674"/>
                </a:lnTo>
                <a:lnTo>
                  <a:pt x="71374" y="55499"/>
                </a:lnTo>
                <a:lnTo>
                  <a:pt x="65024" y="55499"/>
                </a:lnTo>
                <a:lnTo>
                  <a:pt x="52324" y="42799"/>
                </a:lnTo>
                <a:lnTo>
                  <a:pt x="34925" y="17399"/>
                </a:lnTo>
                <a:lnTo>
                  <a:pt x="20574" y="0"/>
                </a:lnTo>
                <a:lnTo>
                  <a:pt x="0" y="28575"/>
                </a:lnTo>
                <a:lnTo>
                  <a:pt x="20574" y="42799"/>
                </a:lnTo>
                <a:lnTo>
                  <a:pt x="42799" y="63500"/>
                </a:lnTo>
                <a:lnTo>
                  <a:pt x="55499" y="76200"/>
                </a:lnTo>
                <a:lnTo>
                  <a:pt x="53975" y="84074"/>
                </a:lnTo>
                <a:lnTo>
                  <a:pt x="63500" y="90424"/>
                </a:lnTo>
                <a:lnTo>
                  <a:pt x="73025" y="90424"/>
                </a:lnTo>
                <a:lnTo>
                  <a:pt x="84200" y="103124"/>
                </a:lnTo>
                <a:lnTo>
                  <a:pt x="90550" y="111125"/>
                </a:lnTo>
                <a:lnTo>
                  <a:pt x="88900" y="123825"/>
                </a:lnTo>
                <a:lnTo>
                  <a:pt x="85725" y="142875"/>
                </a:lnTo>
                <a:lnTo>
                  <a:pt x="82550" y="152400"/>
                </a:lnTo>
                <a:lnTo>
                  <a:pt x="81025" y="161925"/>
                </a:lnTo>
                <a:lnTo>
                  <a:pt x="84200" y="174625"/>
                </a:lnTo>
                <a:lnTo>
                  <a:pt x="90550" y="180975"/>
                </a:lnTo>
                <a:lnTo>
                  <a:pt x="100075" y="182499"/>
                </a:lnTo>
                <a:lnTo>
                  <a:pt x="119125" y="184150"/>
                </a:lnTo>
                <a:lnTo>
                  <a:pt x="135000" y="182499"/>
                </a:lnTo>
                <a:lnTo>
                  <a:pt x="146050" y="179324"/>
                </a:lnTo>
                <a:lnTo>
                  <a:pt x="154050" y="172974"/>
                </a:lnTo>
                <a:lnTo>
                  <a:pt x="157225" y="155575"/>
                </a:lnTo>
                <a:lnTo>
                  <a:pt x="155575" y="146050"/>
                </a:lnTo>
                <a:lnTo>
                  <a:pt x="158750" y="130175"/>
                </a:lnTo>
                <a:lnTo>
                  <a:pt x="155575" y="127000"/>
                </a:lnTo>
                <a:lnTo>
                  <a:pt x="155575" y="118999"/>
                </a:lnTo>
                <a:lnTo>
                  <a:pt x="158750" y="114300"/>
                </a:lnTo>
                <a:lnTo>
                  <a:pt x="160400" y="107950"/>
                </a:lnTo>
                <a:lnTo>
                  <a:pt x="161925" y="98425"/>
                </a:lnTo>
                <a:lnTo>
                  <a:pt x="160400" y="88900"/>
                </a:lnTo>
                <a:lnTo>
                  <a:pt x="158750" y="79375"/>
                </a:lnTo>
                <a:lnTo>
                  <a:pt x="157225" y="73025"/>
                </a:lnTo>
                <a:lnTo>
                  <a:pt x="152400" y="66675"/>
                </a:lnTo>
                <a:lnTo>
                  <a:pt x="147700" y="58674"/>
                </a:lnTo>
              </a:path>
            </a:pathLst>
          </a:custGeom>
          <a:ln w="12700">
            <a:solidFill>
              <a:srgbClr val="000000"/>
            </a:solidFill>
          </a:ln>
        </p:spPr>
        <p:txBody>
          <a:bodyPr wrap="square" lIns="0" tIns="0" rIns="0" bIns="0" rtlCol="0">
            <a:noAutofit/>
          </a:bodyPr>
          <a:lstStyle/>
          <a:p>
            <a:endParaRPr/>
          </a:p>
        </p:txBody>
      </p:sp>
      <p:sp>
        <p:nvSpPr>
          <p:cNvPr id="1170" name="object 1170"/>
          <p:cNvSpPr/>
          <p:nvPr/>
        </p:nvSpPr>
        <p:spPr>
          <a:xfrm>
            <a:off x="9539352" y="3025775"/>
            <a:ext cx="34925" cy="39750"/>
          </a:xfrm>
          <a:custGeom>
            <a:avLst/>
            <a:gdLst/>
            <a:ahLst/>
            <a:cxnLst/>
            <a:rect l="l" t="t" r="r" b="b"/>
            <a:pathLst>
              <a:path w="34925" h="39750">
                <a:moveTo>
                  <a:pt x="12700" y="39750"/>
                </a:moveTo>
                <a:lnTo>
                  <a:pt x="26924" y="34925"/>
                </a:lnTo>
                <a:lnTo>
                  <a:pt x="31750" y="30225"/>
                </a:lnTo>
                <a:lnTo>
                  <a:pt x="31750" y="25400"/>
                </a:lnTo>
                <a:lnTo>
                  <a:pt x="34925" y="14350"/>
                </a:lnTo>
                <a:lnTo>
                  <a:pt x="33274" y="0"/>
                </a:lnTo>
                <a:lnTo>
                  <a:pt x="25400" y="17525"/>
                </a:lnTo>
                <a:lnTo>
                  <a:pt x="17399" y="28575"/>
                </a:lnTo>
                <a:lnTo>
                  <a:pt x="6350" y="36575"/>
                </a:lnTo>
                <a:lnTo>
                  <a:pt x="0" y="38100"/>
                </a:lnTo>
                <a:lnTo>
                  <a:pt x="12700" y="39750"/>
                </a:lnTo>
                <a:close/>
              </a:path>
            </a:pathLst>
          </a:custGeom>
          <a:solidFill>
            <a:srgbClr val="0000DF"/>
          </a:solidFill>
        </p:spPr>
        <p:txBody>
          <a:bodyPr wrap="square" lIns="0" tIns="0" rIns="0" bIns="0" rtlCol="0">
            <a:noAutofit/>
          </a:bodyPr>
          <a:lstStyle/>
          <a:p>
            <a:endParaRPr/>
          </a:p>
        </p:txBody>
      </p:sp>
      <p:sp>
        <p:nvSpPr>
          <p:cNvPr id="1171" name="object 1171"/>
          <p:cNvSpPr/>
          <p:nvPr/>
        </p:nvSpPr>
        <p:spPr>
          <a:xfrm>
            <a:off x="9521825" y="2970276"/>
            <a:ext cx="25400" cy="39624"/>
          </a:xfrm>
          <a:custGeom>
            <a:avLst/>
            <a:gdLst/>
            <a:ahLst/>
            <a:cxnLst/>
            <a:rect l="l" t="t" r="r" b="b"/>
            <a:pathLst>
              <a:path w="25400" h="39624">
                <a:moveTo>
                  <a:pt x="20700" y="36449"/>
                </a:moveTo>
                <a:lnTo>
                  <a:pt x="25400" y="26924"/>
                </a:lnTo>
                <a:lnTo>
                  <a:pt x="22225" y="11049"/>
                </a:lnTo>
                <a:lnTo>
                  <a:pt x="15875" y="0"/>
                </a:lnTo>
                <a:lnTo>
                  <a:pt x="15875" y="17399"/>
                </a:lnTo>
                <a:lnTo>
                  <a:pt x="7874" y="28575"/>
                </a:lnTo>
                <a:lnTo>
                  <a:pt x="0" y="39624"/>
                </a:lnTo>
                <a:lnTo>
                  <a:pt x="7874" y="36449"/>
                </a:lnTo>
                <a:lnTo>
                  <a:pt x="11049" y="31750"/>
                </a:lnTo>
                <a:lnTo>
                  <a:pt x="15875" y="22225"/>
                </a:lnTo>
                <a:lnTo>
                  <a:pt x="20700" y="36449"/>
                </a:lnTo>
                <a:close/>
              </a:path>
            </a:pathLst>
          </a:custGeom>
          <a:solidFill>
            <a:srgbClr val="0000DF"/>
          </a:solidFill>
        </p:spPr>
        <p:txBody>
          <a:bodyPr wrap="square" lIns="0" tIns="0" rIns="0" bIns="0" rtlCol="0">
            <a:noAutofit/>
          </a:bodyPr>
          <a:lstStyle/>
          <a:p>
            <a:endParaRPr/>
          </a:p>
        </p:txBody>
      </p:sp>
      <p:sp>
        <p:nvSpPr>
          <p:cNvPr id="1172" name="object 1172"/>
          <p:cNvSpPr/>
          <p:nvPr/>
        </p:nvSpPr>
        <p:spPr>
          <a:xfrm>
            <a:off x="9512300" y="3003550"/>
            <a:ext cx="25400" cy="25400"/>
          </a:xfrm>
          <a:custGeom>
            <a:avLst/>
            <a:gdLst/>
            <a:ahLst/>
            <a:cxnLst/>
            <a:rect l="l" t="t" r="r" b="b"/>
            <a:pathLst>
              <a:path w="25400" h="25400">
                <a:moveTo>
                  <a:pt x="0" y="0"/>
                </a:moveTo>
                <a:lnTo>
                  <a:pt x="11049" y="8000"/>
                </a:lnTo>
                <a:lnTo>
                  <a:pt x="22225" y="15875"/>
                </a:lnTo>
                <a:lnTo>
                  <a:pt x="9525" y="15875"/>
                </a:lnTo>
                <a:lnTo>
                  <a:pt x="25400" y="25400"/>
                </a:lnTo>
              </a:path>
            </a:pathLst>
          </a:custGeom>
          <a:ln w="12700">
            <a:solidFill>
              <a:srgbClr val="000000"/>
            </a:solidFill>
          </a:ln>
        </p:spPr>
        <p:txBody>
          <a:bodyPr wrap="square" lIns="0" tIns="0" rIns="0" bIns="0" rtlCol="0">
            <a:noAutofit/>
          </a:bodyPr>
          <a:lstStyle/>
          <a:p>
            <a:endParaRPr/>
          </a:p>
        </p:txBody>
      </p:sp>
      <p:sp>
        <p:nvSpPr>
          <p:cNvPr id="1173" name="object 1173"/>
          <p:cNvSpPr/>
          <p:nvPr/>
        </p:nvSpPr>
        <p:spPr>
          <a:xfrm>
            <a:off x="9531350" y="2954401"/>
            <a:ext cx="33274" cy="25400"/>
          </a:xfrm>
          <a:custGeom>
            <a:avLst/>
            <a:gdLst/>
            <a:ahLst/>
            <a:cxnLst/>
            <a:rect l="l" t="t" r="r" b="b"/>
            <a:pathLst>
              <a:path w="33274" h="25400">
                <a:moveTo>
                  <a:pt x="1524" y="0"/>
                </a:moveTo>
                <a:lnTo>
                  <a:pt x="0" y="25400"/>
                </a:lnTo>
                <a:lnTo>
                  <a:pt x="22225" y="12700"/>
                </a:lnTo>
                <a:lnTo>
                  <a:pt x="33274" y="0"/>
                </a:lnTo>
              </a:path>
            </a:pathLst>
          </a:custGeom>
          <a:ln w="12700">
            <a:solidFill>
              <a:srgbClr val="000000"/>
            </a:solidFill>
          </a:ln>
        </p:spPr>
        <p:txBody>
          <a:bodyPr wrap="square" lIns="0" tIns="0" rIns="0" bIns="0" rtlCol="0">
            <a:noAutofit/>
          </a:bodyPr>
          <a:lstStyle/>
          <a:p>
            <a:endParaRPr/>
          </a:p>
        </p:txBody>
      </p:sp>
      <p:sp>
        <p:nvSpPr>
          <p:cNvPr id="1174" name="object 1174"/>
          <p:cNvSpPr/>
          <p:nvPr/>
        </p:nvSpPr>
        <p:spPr>
          <a:xfrm>
            <a:off x="9485376" y="2836927"/>
            <a:ext cx="166624" cy="118999"/>
          </a:xfrm>
          <a:custGeom>
            <a:avLst/>
            <a:gdLst/>
            <a:ahLst/>
            <a:cxnLst/>
            <a:rect l="l" t="t" r="r" b="b"/>
            <a:pathLst>
              <a:path w="166624" h="118999">
                <a:moveTo>
                  <a:pt x="7874" y="57150"/>
                </a:moveTo>
                <a:lnTo>
                  <a:pt x="4699" y="60325"/>
                </a:lnTo>
                <a:lnTo>
                  <a:pt x="1524" y="61849"/>
                </a:lnTo>
                <a:lnTo>
                  <a:pt x="0" y="65024"/>
                </a:lnTo>
                <a:lnTo>
                  <a:pt x="0" y="69850"/>
                </a:lnTo>
                <a:lnTo>
                  <a:pt x="1524" y="79375"/>
                </a:lnTo>
                <a:lnTo>
                  <a:pt x="7874" y="90424"/>
                </a:lnTo>
                <a:lnTo>
                  <a:pt x="20574" y="103124"/>
                </a:lnTo>
                <a:lnTo>
                  <a:pt x="25400" y="107950"/>
                </a:lnTo>
                <a:lnTo>
                  <a:pt x="33274" y="112649"/>
                </a:lnTo>
                <a:lnTo>
                  <a:pt x="45974" y="117475"/>
                </a:lnTo>
                <a:lnTo>
                  <a:pt x="50800" y="118999"/>
                </a:lnTo>
                <a:lnTo>
                  <a:pt x="60325" y="117475"/>
                </a:lnTo>
                <a:lnTo>
                  <a:pt x="69850" y="115824"/>
                </a:lnTo>
                <a:lnTo>
                  <a:pt x="76200" y="114300"/>
                </a:lnTo>
                <a:lnTo>
                  <a:pt x="88900" y="101600"/>
                </a:lnTo>
                <a:lnTo>
                  <a:pt x="93599" y="103124"/>
                </a:lnTo>
                <a:lnTo>
                  <a:pt x="98425" y="104775"/>
                </a:lnTo>
                <a:lnTo>
                  <a:pt x="103124" y="104775"/>
                </a:lnTo>
                <a:lnTo>
                  <a:pt x="107950" y="103124"/>
                </a:lnTo>
                <a:lnTo>
                  <a:pt x="114300" y="101600"/>
                </a:lnTo>
                <a:lnTo>
                  <a:pt x="118999" y="99949"/>
                </a:lnTo>
                <a:lnTo>
                  <a:pt x="133350" y="92075"/>
                </a:lnTo>
                <a:lnTo>
                  <a:pt x="138049" y="88900"/>
                </a:lnTo>
                <a:lnTo>
                  <a:pt x="141224" y="87249"/>
                </a:lnTo>
                <a:lnTo>
                  <a:pt x="149225" y="82550"/>
                </a:lnTo>
                <a:lnTo>
                  <a:pt x="153924" y="76200"/>
                </a:lnTo>
                <a:lnTo>
                  <a:pt x="160274" y="69850"/>
                </a:lnTo>
                <a:lnTo>
                  <a:pt x="163449" y="61849"/>
                </a:lnTo>
                <a:lnTo>
                  <a:pt x="165100" y="52324"/>
                </a:lnTo>
                <a:lnTo>
                  <a:pt x="166624" y="45974"/>
                </a:lnTo>
                <a:lnTo>
                  <a:pt x="165100" y="33274"/>
                </a:lnTo>
                <a:lnTo>
                  <a:pt x="161925" y="22225"/>
                </a:lnTo>
                <a:lnTo>
                  <a:pt x="155575" y="14224"/>
                </a:lnTo>
                <a:lnTo>
                  <a:pt x="147574" y="6350"/>
                </a:lnTo>
                <a:lnTo>
                  <a:pt x="136525" y="1524"/>
                </a:lnTo>
                <a:lnTo>
                  <a:pt x="120650" y="0"/>
                </a:lnTo>
                <a:lnTo>
                  <a:pt x="106299" y="0"/>
                </a:lnTo>
                <a:lnTo>
                  <a:pt x="95250" y="1524"/>
                </a:lnTo>
                <a:lnTo>
                  <a:pt x="82550" y="6350"/>
                </a:lnTo>
                <a:lnTo>
                  <a:pt x="74549" y="11049"/>
                </a:lnTo>
                <a:lnTo>
                  <a:pt x="69850" y="14224"/>
                </a:lnTo>
                <a:lnTo>
                  <a:pt x="66675" y="9525"/>
                </a:lnTo>
                <a:lnTo>
                  <a:pt x="63500" y="6350"/>
                </a:lnTo>
                <a:lnTo>
                  <a:pt x="60325" y="4699"/>
                </a:lnTo>
                <a:lnTo>
                  <a:pt x="55499" y="3175"/>
                </a:lnTo>
                <a:lnTo>
                  <a:pt x="50800" y="1524"/>
                </a:lnTo>
                <a:lnTo>
                  <a:pt x="38100" y="1524"/>
                </a:lnTo>
                <a:lnTo>
                  <a:pt x="33274" y="4699"/>
                </a:lnTo>
                <a:lnTo>
                  <a:pt x="28575" y="6350"/>
                </a:lnTo>
                <a:lnTo>
                  <a:pt x="26924" y="9525"/>
                </a:lnTo>
                <a:lnTo>
                  <a:pt x="25400" y="14224"/>
                </a:lnTo>
                <a:lnTo>
                  <a:pt x="23749" y="19050"/>
                </a:lnTo>
                <a:lnTo>
                  <a:pt x="23749" y="23749"/>
                </a:lnTo>
                <a:lnTo>
                  <a:pt x="26924" y="28575"/>
                </a:lnTo>
                <a:lnTo>
                  <a:pt x="31750" y="31750"/>
                </a:lnTo>
                <a:lnTo>
                  <a:pt x="38100" y="33274"/>
                </a:lnTo>
                <a:lnTo>
                  <a:pt x="39624" y="34925"/>
                </a:lnTo>
                <a:lnTo>
                  <a:pt x="33274" y="36449"/>
                </a:lnTo>
                <a:lnTo>
                  <a:pt x="31750" y="39624"/>
                </a:lnTo>
                <a:lnTo>
                  <a:pt x="36449" y="42799"/>
                </a:lnTo>
                <a:lnTo>
                  <a:pt x="39624" y="53975"/>
                </a:lnTo>
                <a:lnTo>
                  <a:pt x="38100" y="61849"/>
                </a:lnTo>
                <a:lnTo>
                  <a:pt x="36449" y="68199"/>
                </a:lnTo>
                <a:lnTo>
                  <a:pt x="31750" y="71374"/>
                </a:lnTo>
                <a:lnTo>
                  <a:pt x="26924" y="71374"/>
                </a:lnTo>
                <a:lnTo>
                  <a:pt x="19050" y="69850"/>
                </a:lnTo>
                <a:lnTo>
                  <a:pt x="15875" y="63500"/>
                </a:lnTo>
                <a:lnTo>
                  <a:pt x="14224" y="57150"/>
                </a:lnTo>
                <a:lnTo>
                  <a:pt x="7874" y="57150"/>
                </a:lnTo>
                <a:close/>
              </a:path>
            </a:pathLst>
          </a:custGeom>
          <a:solidFill>
            <a:srgbClr val="FFDFC0"/>
          </a:solidFill>
        </p:spPr>
        <p:txBody>
          <a:bodyPr wrap="square" lIns="0" tIns="0" rIns="0" bIns="0" rtlCol="0">
            <a:noAutofit/>
          </a:bodyPr>
          <a:lstStyle/>
          <a:p>
            <a:endParaRPr/>
          </a:p>
        </p:txBody>
      </p:sp>
      <p:sp>
        <p:nvSpPr>
          <p:cNvPr id="1175" name="object 1175"/>
          <p:cNvSpPr/>
          <p:nvPr/>
        </p:nvSpPr>
        <p:spPr>
          <a:xfrm>
            <a:off x="9485376" y="2836927"/>
            <a:ext cx="166624" cy="118999"/>
          </a:xfrm>
          <a:custGeom>
            <a:avLst/>
            <a:gdLst/>
            <a:ahLst/>
            <a:cxnLst/>
            <a:rect l="l" t="t" r="r" b="b"/>
            <a:pathLst>
              <a:path w="166624" h="118999">
                <a:moveTo>
                  <a:pt x="95250" y="1524"/>
                </a:moveTo>
                <a:lnTo>
                  <a:pt x="82550" y="6350"/>
                </a:lnTo>
                <a:lnTo>
                  <a:pt x="74549" y="11049"/>
                </a:lnTo>
                <a:lnTo>
                  <a:pt x="69850" y="14224"/>
                </a:lnTo>
                <a:lnTo>
                  <a:pt x="66675" y="9525"/>
                </a:lnTo>
                <a:lnTo>
                  <a:pt x="63500" y="6350"/>
                </a:lnTo>
                <a:lnTo>
                  <a:pt x="60325" y="4699"/>
                </a:lnTo>
                <a:lnTo>
                  <a:pt x="55499" y="3175"/>
                </a:lnTo>
                <a:lnTo>
                  <a:pt x="50800" y="1524"/>
                </a:lnTo>
                <a:lnTo>
                  <a:pt x="47625" y="1524"/>
                </a:lnTo>
                <a:lnTo>
                  <a:pt x="42799" y="1524"/>
                </a:lnTo>
                <a:lnTo>
                  <a:pt x="38100" y="1524"/>
                </a:lnTo>
                <a:lnTo>
                  <a:pt x="33274" y="4699"/>
                </a:lnTo>
                <a:lnTo>
                  <a:pt x="28575" y="6350"/>
                </a:lnTo>
                <a:lnTo>
                  <a:pt x="26924" y="9525"/>
                </a:lnTo>
                <a:lnTo>
                  <a:pt x="25400" y="14224"/>
                </a:lnTo>
                <a:lnTo>
                  <a:pt x="23749" y="19050"/>
                </a:lnTo>
                <a:lnTo>
                  <a:pt x="23749" y="23749"/>
                </a:lnTo>
                <a:lnTo>
                  <a:pt x="26924" y="28575"/>
                </a:lnTo>
                <a:lnTo>
                  <a:pt x="31750" y="31750"/>
                </a:lnTo>
                <a:lnTo>
                  <a:pt x="38100" y="33274"/>
                </a:lnTo>
                <a:lnTo>
                  <a:pt x="39624" y="34925"/>
                </a:lnTo>
                <a:lnTo>
                  <a:pt x="33274" y="36449"/>
                </a:lnTo>
                <a:lnTo>
                  <a:pt x="31750" y="39624"/>
                </a:lnTo>
                <a:lnTo>
                  <a:pt x="36449" y="42799"/>
                </a:lnTo>
                <a:lnTo>
                  <a:pt x="39624" y="53975"/>
                </a:lnTo>
                <a:lnTo>
                  <a:pt x="38100" y="61849"/>
                </a:lnTo>
                <a:lnTo>
                  <a:pt x="36449" y="68199"/>
                </a:lnTo>
                <a:lnTo>
                  <a:pt x="31750" y="71374"/>
                </a:lnTo>
                <a:lnTo>
                  <a:pt x="26924" y="71374"/>
                </a:lnTo>
                <a:lnTo>
                  <a:pt x="19050" y="69850"/>
                </a:lnTo>
                <a:lnTo>
                  <a:pt x="15875" y="63500"/>
                </a:lnTo>
                <a:lnTo>
                  <a:pt x="14224" y="57150"/>
                </a:lnTo>
                <a:lnTo>
                  <a:pt x="7874" y="57150"/>
                </a:lnTo>
                <a:lnTo>
                  <a:pt x="4699" y="60325"/>
                </a:lnTo>
                <a:lnTo>
                  <a:pt x="1524" y="61849"/>
                </a:lnTo>
                <a:lnTo>
                  <a:pt x="0" y="65024"/>
                </a:lnTo>
                <a:lnTo>
                  <a:pt x="0" y="69850"/>
                </a:lnTo>
                <a:lnTo>
                  <a:pt x="1524" y="79375"/>
                </a:lnTo>
                <a:lnTo>
                  <a:pt x="7874" y="90424"/>
                </a:lnTo>
                <a:lnTo>
                  <a:pt x="20574" y="103124"/>
                </a:lnTo>
                <a:lnTo>
                  <a:pt x="25400" y="107950"/>
                </a:lnTo>
                <a:lnTo>
                  <a:pt x="33274" y="112649"/>
                </a:lnTo>
                <a:lnTo>
                  <a:pt x="45974" y="117475"/>
                </a:lnTo>
                <a:lnTo>
                  <a:pt x="50800" y="118999"/>
                </a:lnTo>
                <a:lnTo>
                  <a:pt x="60325" y="117475"/>
                </a:lnTo>
                <a:lnTo>
                  <a:pt x="69850" y="115824"/>
                </a:lnTo>
                <a:lnTo>
                  <a:pt x="76200" y="114300"/>
                </a:lnTo>
                <a:lnTo>
                  <a:pt x="88900" y="101600"/>
                </a:lnTo>
                <a:lnTo>
                  <a:pt x="93599" y="103124"/>
                </a:lnTo>
                <a:lnTo>
                  <a:pt x="98425" y="104775"/>
                </a:lnTo>
                <a:lnTo>
                  <a:pt x="103124" y="104775"/>
                </a:lnTo>
                <a:lnTo>
                  <a:pt x="107950" y="103124"/>
                </a:lnTo>
                <a:lnTo>
                  <a:pt x="114300" y="101600"/>
                </a:lnTo>
                <a:lnTo>
                  <a:pt x="118999" y="99949"/>
                </a:lnTo>
                <a:lnTo>
                  <a:pt x="133350" y="92075"/>
                </a:lnTo>
                <a:lnTo>
                  <a:pt x="138049" y="88900"/>
                </a:lnTo>
                <a:lnTo>
                  <a:pt x="141224" y="87249"/>
                </a:lnTo>
                <a:lnTo>
                  <a:pt x="149225" y="82550"/>
                </a:lnTo>
                <a:lnTo>
                  <a:pt x="153924" y="76200"/>
                </a:lnTo>
                <a:lnTo>
                  <a:pt x="160274" y="69850"/>
                </a:lnTo>
                <a:lnTo>
                  <a:pt x="163449" y="61849"/>
                </a:lnTo>
                <a:lnTo>
                  <a:pt x="165100" y="52324"/>
                </a:lnTo>
                <a:lnTo>
                  <a:pt x="166624" y="45974"/>
                </a:lnTo>
                <a:lnTo>
                  <a:pt x="165100" y="33274"/>
                </a:lnTo>
                <a:lnTo>
                  <a:pt x="161925" y="22225"/>
                </a:lnTo>
                <a:lnTo>
                  <a:pt x="155575" y="14224"/>
                </a:lnTo>
                <a:lnTo>
                  <a:pt x="147574" y="6350"/>
                </a:lnTo>
                <a:lnTo>
                  <a:pt x="136525" y="1524"/>
                </a:lnTo>
                <a:lnTo>
                  <a:pt x="120650" y="0"/>
                </a:lnTo>
                <a:lnTo>
                  <a:pt x="106299" y="0"/>
                </a:lnTo>
                <a:lnTo>
                  <a:pt x="95250" y="1524"/>
                </a:lnTo>
              </a:path>
            </a:pathLst>
          </a:custGeom>
          <a:ln w="12700">
            <a:solidFill>
              <a:srgbClr val="000000"/>
            </a:solidFill>
          </a:ln>
        </p:spPr>
        <p:txBody>
          <a:bodyPr wrap="square" lIns="0" tIns="0" rIns="0" bIns="0" rtlCol="0">
            <a:noAutofit/>
          </a:bodyPr>
          <a:lstStyle/>
          <a:p>
            <a:endParaRPr/>
          </a:p>
        </p:txBody>
      </p:sp>
      <p:sp>
        <p:nvSpPr>
          <p:cNvPr id="1176" name="object 1176"/>
          <p:cNvSpPr/>
          <p:nvPr/>
        </p:nvSpPr>
        <p:spPr>
          <a:xfrm>
            <a:off x="9547226" y="2855976"/>
            <a:ext cx="15875" cy="12700"/>
          </a:xfrm>
          <a:custGeom>
            <a:avLst/>
            <a:gdLst/>
            <a:ahLst/>
            <a:cxnLst/>
            <a:rect l="l" t="t" r="r" b="b"/>
            <a:pathLst>
              <a:path w="15875" h="12700">
                <a:moveTo>
                  <a:pt x="0" y="6350"/>
                </a:moveTo>
                <a:lnTo>
                  <a:pt x="0" y="9778"/>
                </a:lnTo>
                <a:lnTo>
                  <a:pt x="3555" y="12700"/>
                </a:lnTo>
                <a:lnTo>
                  <a:pt x="12319" y="12700"/>
                </a:lnTo>
                <a:lnTo>
                  <a:pt x="15875" y="9778"/>
                </a:lnTo>
                <a:lnTo>
                  <a:pt x="15875" y="2794"/>
                </a:lnTo>
                <a:lnTo>
                  <a:pt x="12319" y="0"/>
                </a:lnTo>
                <a:lnTo>
                  <a:pt x="3555" y="0"/>
                </a:lnTo>
                <a:lnTo>
                  <a:pt x="0" y="2794"/>
                </a:lnTo>
                <a:lnTo>
                  <a:pt x="0" y="6350"/>
                </a:lnTo>
                <a:close/>
              </a:path>
            </a:pathLst>
          </a:custGeom>
          <a:solidFill>
            <a:srgbClr val="FFFFFF"/>
          </a:solidFill>
        </p:spPr>
        <p:txBody>
          <a:bodyPr wrap="square" lIns="0" tIns="0" rIns="0" bIns="0" rtlCol="0">
            <a:noAutofit/>
          </a:bodyPr>
          <a:lstStyle/>
          <a:p>
            <a:endParaRPr/>
          </a:p>
        </p:txBody>
      </p:sp>
      <p:sp>
        <p:nvSpPr>
          <p:cNvPr id="1177" name="object 1177"/>
          <p:cNvSpPr/>
          <p:nvPr/>
        </p:nvSpPr>
        <p:spPr>
          <a:xfrm>
            <a:off x="9547226" y="2855976"/>
            <a:ext cx="15875" cy="12700"/>
          </a:xfrm>
          <a:custGeom>
            <a:avLst/>
            <a:gdLst/>
            <a:ahLst/>
            <a:cxnLst/>
            <a:rect l="l" t="t" r="r" b="b"/>
            <a:pathLst>
              <a:path w="15875" h="12700">
                <a:moveTo>
                  <a:pt x="0" y="6350"/>
                </a:moveTo>
                <a:lnTo>
                  <a:pt x="0" y="2794"/>
                </a:lnTo>
                <a:lnTo>
                  <a:pt x="3555" y="0"/>
                </a:lnTo>
                <a:lnTo>
                  <a:pt x="8000" y="0"/>
                </a:lnTo>
                <a:lnTo>
                  <a:pt x="12319" y="0"/>
                </a:lnTo>
                <a:lnTo>
                  <a:pt x="15875" y="2794"/>
                </a:lnTo>
                <a:lnTo>
                  <a:pt x="15875" y="6350"/>
                </a:lnTo>
                <a:lnTo>
                  <a:pt x="15875" y="9778"/>
                </a:lnTo>
                <a:lnTo>
                  <a:pt x="12319" y="12700"/>
                </a:lnTo>
                <a:lnTo>
                  <a:pt x="3555" y="12700"/>
                </a:lnTo>
                <a:lnTo>
                  <a:pt x="0" y="9778"/>
                </a:lnTo>
                <a:lnTo>
                  <a:pt x="0" y="6350"/>
                </a:lnTo>
                <a:close/>
              </a:path>
            </a:pathLst>
          </a:custGeom>
          <a:ln w="12700">
            <a:solidFill>
              <a:srgbClr val="000000"/>
            </a:solidFill>
          </a:ln>
        </p:spPr>
        <p:txBody>
          <a:bodyPr wrap="square" lIns="0" tIns="0" rIns="0" bIns="0" rtlCol="0">
            <a:noAutofit/>
          </a:bodyPr>
          <a:lstStyle/>
          <a:p>
            <a:endParaRPr/>
          </a:p>
        </p:txBody>
      </p:sp>
      <p:sp>
        <p:nvSpPr>
          <p:cNvPr id="1178" name="object 1178"/>
          <p:cNvSpPr/>
          <p:nvPr/>
        </p:nvSpPr>
        <p:spPr>
          <a:xfrm>
            <a:off x="9555226" y="2859151"/>
            <a:ext cx="12700" cy="12700"/>
          </a:xfrm>
          <a:custGeom>
            <a:avLst/>
            <a:gdLst/>
            <a:ahLst/>
            <a:cxnLst/>
            <a:rect l="l" t="t" r="r" b="b"/>
            <a:pathLst>
              <a:path w="12700" h="12700">
                <a:moveTo>
                  <a:pt x="0" y="6350"/>
                </a:moveTo>
                <a:lnTo>
                  <a:pt x="0" y="9778"/>
                </a:lnTo>
                <a:lnTo>
                  <a:pt x="2794" y="12700"/>
                </a:lnTo>
                <a:lnTo>
                  <a:pt x="9778" y="12700"/>
                </a:lnTo>
                <a:lnTo>
                  <a:pt x="12700" y="9778"/>
                </a:lnTo>
                <a:lnTo>
                  <a:pt x="12700" y="2794"/>
                </a:lnTo>
                <a:lnTo>
                  <a:pt x="9778" y="0"/>
                </a:lnTo>
                <a:lnTo>
                  <a:pt x="2794" y="0"/>
                </a:lnTo>
                <a:lnTo>
                  <a:pt x="0" y="2794"/>
                </a:lnTo>
                <a:lnTo>
                  <a:pt x="0" y="6350"/>
                </a:lnTo>
                <a:close/>
              </a:path>
            </a:pathLst>
          </a:custGeom>
          <a:solidFill>
            <a:srgbClr val="4040FF"/>
          </a:solidFill>
        </p:spPr>
        <p:txBody>
          <a:bodyPr wrap="square" lIns="0" tIns="0" rIns="0" bIns="0" rtlCol="0">
            <a:noAutofit/>
          </a:bodyPr>
          <a:lstStyle/>
          <a:p>
            <a:endParaRPr/>
          </a:p>
        </p:txBody>
      </p:sp>
      <p:sp>
        <p:nvSpPr>
          <p:cNvPr id="1179" name="object 1179"/>
          <p:cNvSpPr/>
          <p:nvPr/>
        </p:nvSpPr>
        <p:spPr>
          <a:xfrm>
            <a:off x="9555226" y="2859151"/>
            <a:ext cx="12700" cy="12700"/>
          </a:xfrm>
          <a:custGeom>
            <a:avLst/>
            <a:gdLst/>
            <a:ahLst/>
            <a:cxnLst/>
            <a:rect l="l" t="t" r="r" b="b"/>
            <a:pathLst>
              <a:path w="12700" h="12700">
                <a:moveTo>
                  <a:pt x="0" y="6350"/>
                </a:moveTo>
                <a:lnTo>
                  <a:pt x="0" y="2794"/>
                </a:lnTo>
                <a:lnTo>
                  <a:pt x="2794" y="0"/>
                </a:lnTo>
                <a:lnTo>
                  <a:pt x="6350" y="0"/>
                </a:lnTo>
                <a:lnTo>
                  <a:pt x="9778" y="0"/>
                </a:lnTo>
                <a:lnTo>
                  <a:pt x="12700" y="2794"/>
                </a:lnTo>
                <a:lnTo>
                  <a:pt x="12700" y="6350"/>
                </a:lnTo>
                <a:lnTo>
                  <a:pt x="12700" y="9778"/>
                </a:lnTo>
                <a:lnTo>
                  <a:pt x="9778" y="12700"/>
                </a:lnTo>
                <a:lnTo>
                  <a:pt x="2794" y="12700"/>
                </a:lnTo>
                <a:lnTo>
                  <a:pt x="0" y="9778"/>
                </a:lnTo>
                <a:lnTo>
                  <a:pt x="0" y="6350"/>
                </a:lnTo>
                <a:close/>
              </a:path>
            </a:pathLst>
          </a:custGeom>
          <a:ln w="12700">
            <a:solidFill>
              <a:srgbClr val="000000"/>
            </a:solidFill>
          </a:ln>
        </p:spPr>
        <p:txBody>
          <a:bodyPr wrap="square" lIns="0" tIns="0" rIns="0" bIns="0" rtlCol="0">
            <a:noAutofit/>
          </a:bodyPr>
          <a:lstStyle/>
          <a:p>
            <a:endParaRPr/>
          </a:p>
        </p:txBody>
      </p:sp>
      <p:sp>
        <p:nvSpPr>
          <p:cNvPr id="1180" name="object 1180"/>
          <p:cNvSpPr/>
          <p:nvPr/>
        </p:nvSpPr>
        <p:spPr>
          <a:xfrm>
            <a:off x="9556750" y="2862326"/>
            <a:ext cx="12700" cy="12700"/>
          </a:xfrm>
          <a:custGeom>
            <a:avLst/>
            <a:gdLst/>
            <a:ahLst/>
            <a:cxnLst/>
            <a:rect l="l" t="t" r="r" b="b"/>
            <a:pathLst>
              <a:path w="12700" h="12700">
                <a:moveTo>
                  <a:pt x="0" y="6350"/>
                </a:moveTo>
                <a:lnTo>
                  <a:pt x="0" y="9778"/>
                </a:lnTo>
                <a:lnTo>
                  <a:pt x="2794" y="12700"/>
                </a:lnTo>
                <a:lnTo>
                  <a:pt x="9905" y="12700"/>
                </a:lnTo>
                <a:lnTo>
                  <a:pt x="12700" y="9778"/>
                </a:lnTo>
                <a:lnTo>
                  <a:pt x="12700" y="2794"/>
                </a:lnTo>
                <a:lnTo>
                  <a:pt x="9905" y="0"/>
                </a:lnTo>
                <a:lnTo>
                  <a:pt x="2794" y="0"/>
                </a:lnTo>
                <a:lnTo>
                  <a:pt x="0" y="2794"/>
                </a:lnTo>
                <a:lnTo>
                  <a:pt x="0" y="6350"/>
                </a:lnTo>
                <a:close/>
              </a:path>
            </a:pathLst>
          </a:custGeom>
          <a:solidFill>
            <a:srgbClr val="DFDFDF"/>
          </a:solidFill>
        </p:spPr>
        <p:txBody>
          <a:bodyPr wrap="square" lIns="0" tIns="0" rIns="0" bIns="0" rtlCol="0">
            <a:noAutofit/>
          </a:bodyPr>
          <a:lstStyle/>
          <a:p>
            <a:endParaRPr/>
          </a:p>
        </p:txBody>
      </p:sp>
      <p:sp>
        <p:nvSpPr>
          <p:cNvPr id="1181" name="object 1181"/>
          <p:cNvSpPr/>
          <p:nvPr/>
        </p:nvSpPr>
        <p:spPr>
          <a:xfrm>
            <a:off x="9556750" y="2862326"/>
            <a:ext cx="12700" cy="12700"/>
          </a:xfrm>
          <a:custGeom>
            <a:avLst/>
            <a:gdLst/>
            <a:ahLst/>
            <a:cxnLst/>
            <a:rect l="l" t="t" r="r" b="b"/>
            <a:pathLst>
              <a:path w="12700" h="12700">
                <a:moveTo>
                  <a:pt x="0" y="6350"/>
                </a:moveTo>
                <a:lnTo>
                  <a:pt x="0" y="2794"/>
                </a:lnTo>
                <a:lnTo>
                  <a:pt x="2794" y="0"/>
                </a:lnTo>
                <a:lnTo>
                  <a:pt x="6350" y="0"/>
                </a:lnTo>
                <a:lnTo>
                  <a:pt x="9905" y="0"/>
                </a:lnTo>
                <a:lnTo>
                  <a:pt x="12700" y="2794"/>
                </a:lnTo>
                <a:lnTo>
                  <a:pt x="12700" y="6350"/>
                </a:lnTo>
                <a:lnTo>
                  <a:pt x="12700" y="9778"/>
                </a:lnTo>
                <a:lnTo>
                  <a:pt x="9905" y="12700"/>
                </a:lnTo>
                <a:lnTo>
                  <a:pt x="2794" y="12700"/>
                </a:lnTo>
                <a:lnTo>
                  <a:pt x="0" y="9778"/>
                </a:lnTo>
                <a:lnTo>
                  <a:pt x="0" y="6350"/>
                </a:lnTo>
                <a:close/>
              </a:path>
            </a:pathLst>
          </a:custGeom>
          <a:ln w="12700">
            <a:solidFill>
              <a:srgbClr val="000000"/>
            </a:solidFill>
          </a:ln>
        </p:spPr>
        <p:txBody>
          <a:bodyPr wrap="square" lIns="0" tIns="0" rIns="0" bIns="0" rtlCol="0">
            <a:noAutofit/>
          </a:bodyPr>
          <a:lstStyle/>
          <a:p>
            <a:endParaRPr/>
          </a:p>
        </p:txBody>
      </p:sp>
      <p:sp>
        <p:nvSpPr>
          <p:cNvPr id="1182" name="object 1182"/>
          <p:cNvSpPr/>
          <p:nvPr/>
        </p:nvSpPr>
        <p:spPr>
          <a:xfrm>
            <a:off x="9561577" y="2865501"/>
            <a:ext cx="79375" cy="88900"/>
          </a:xfrm>
          <a:custGeom>
            <a:avLst/>
            <a:gdLst/>
            <a:ahLst/>
            <a:cxnLst/>
            <a:rect l="l" t="t" r="r" b="b"/>
            <a:pathLst>
              <a:path w="79375" h="88900">
                <a:moveTo>
                  <a:pt x="33274" y="3175"/>
                </a:moveTo>
                <a:lnTo>
                  <a:pt x="28575" y="7874"/>
                </a:lnTo>
                <a:lnTo>
                  <a:pt x="28575" y="17399"/>
                </a:lnTo>
                <a:lnTo>
                  <a:pt x="22225" y="15875"/>
                </a:lnTo>
                <a:lnTo>
                  <a:pt x="17399" y="17399"/>
                </a:lnTo>
                <a:lnTo>
                  <a:pt x="6350" y="22225"/>
                </a:lnTo>
                <a:lnTo>
                  <a:pt x="11049" y="26924"/>
                </a:lnTo>
                <a:lnTo>
                  <a:pt x="3175" y="26924"/>
                </a:lnTo>
                <a:lnTo>
                  <a:pt x="0" y="31750"/>
                </a:lnTo>
                <a:lnTo>
                  <a:pt x="0" y="34925"/>
                </a:lnTo>
                <a:lnTo>
                  <a:pt x="6350" y="34925"/>
                </a:lnTo>
                <a:lnTo>
                  <a:pt x="3175" y="38100"/>
                </a:lnTo>
                <a:lnTo>
                  <a:pt x="12700" y="45974"/>
                </a:lnTo>
                <a:lnTo>
                  <a:pt x="19050" y="42799"/>
                </a:lnTo>
                <a:lnTo>
                  <a:pt x="31750" y="42799"/>
                </a:lnTo>
                <a:lnTo>
                  <a:pt x="38100" y="47625"/>
                </a:lnTo>
                <a:lnTo>
                  <a:pt x="41275" y="52324"/>
                </a:lnTo>
                <a:lnTo>
                  <a:pt x="42799" y="58674"/>
                </a:lnTo>
                <a:lnTo>
                  <a:pt x="41275" y="66675"/>
                </a:lnTo>
                <a:lnTo>
                  <a:pt x="39624" y="71374"/>
                </a:lnTo>
                <a:lnTo>
                  <a:pt x="33274" y="76200"/>
                </a:lnTo>
                <a:lnTo>
                  <a:pt x="26924" y="77724"/>
                </a:lnTo>
                <a:lnTo>
                  <a:pt x="25400" y="80899"/>
                </a:lnTo>
                <a:lnTo>
                  <a:pt x="26924" y="88900"/>
                </a:lnTo>
                <a:lnTo>
                  <a:pt x="34925" y="87249"/>
                </a:lnTo>
                <a:lnTo>
                  <a:pt x="39624" y="85725"/>
                </a:lnTo>
                <a:lnTo>
                  <a:pt x="42799" y="79375"/>
                </a:lnTo>
                <a:lnTo>
                  <a:pt x="45974" y="79375"/>
                </a:lnTo>
                <a:lnTo>
                  <a:pt x="52324" y="77724"/>
                </a:lnTo>
                <a:lnTo>
                  <a:pt x="55499" y="69850"/>
                </a:lnTo>
                <a:lnTo>
                  <a:pt x="61849" y="69850"/>
                </a:lnTo>
                <a:lnTo>
                  <a:pt x="65024" y="65024"/>
                </a:lnTo>
                <a:lnTo>
                  <a:pt x="65024" y="58674"/>
                </a:lnTo>
                <a:lnTo>
                  <a:pt x="66675" y="47625"/>
                </a:lnTo>
                <a:lnTo>
                  <a:pt x="79375" y="36449"/>
                </a:lnTo>
                <a:lnTo>
                  <a:pt x="77724" y="25400"/>
                </a:lnTo>
                <a:lnTo>
                  <a:pt x="66675" y="22225"/>
                </a:lnTo>
                <a:lnTo>
                  <a:pt x="66675" y="12700"/>
                </a:lnTo>
                <a:lnTo>
                  <a:pt x="58674" y="12700"/>
                </a:lnTo>
                <a:lnTo>
                  <a:pt x="58674" y="3175"/>
                </a:lnTo>
                <a:lnTo>
                  <a:pt x="50800" y="3175"/>
                </a:lnTo>
                <a:lnTo>
                  <a:pt x="41275" y="0"/>
                </a:lnTo>
                <a:lnTo>
                  <a:pt x="33274" y="3175"/>
                </a:lnTo>
                <a:close/>
              </a:path>
            </a:pathLst>
          </a:custGeom>
          <a:solidFill>
            <a:srgbClr val="804000"/>
          </a:solidFill>
        </p:spPr>
        <p:txBody>
          <a:bodyPr wrap="square" lIns="0" tIns="0" rIns="0" bIns="0" rtlCol="0">
            <a:noAutofit/>
          </a:bodyPr>
          <a:lstStyle/>
          <a:p>
            <a:endParaRPr/>
          </a:p>
        </p:txBody>
      </p:sp>
      <p:sp>
        <p:nvSpPr>
          <p:cNvPr id="1183" name="object 1183"/>
          <p:cNvSpPr/>
          <p:nvPr/>
        </p:nvSpPr>
        <p:spPr>
          <a:xfrm>
            <a:off x="9561577" y="2865501"/>
            <a:ext cx="79375" cy="88900"/>
          </a:xfrm>
          <a:custGeom>
            <a:avLst/>
            <a:gdLst/>
            <a:ahLst/>
            <a:cxnLst/>
            <a:rect l="l" t="t" r="r" b="b"/>
            <a:pathLst>
              <a:path w="79375" h="88900">
                <a:moveTo>
                  <a:pt x="41275" y="0"/>
                </a:moveTo>
                <a:lnTo>
                  <a:pt x="33274" y="3175"/>
                </a:lnTo>
                <a:lnTo>
                  <a:pt x="28575" y="7874"/>
                </a:lnTo>
                <a:lnTo>
                  <a:pt x="28575" y="17399"/>
                </a:lnTo>
                <a:lnTo>
                  <a:pt x="22225" y="15875"/>
                </a:lnTo>
                <a:lnTo>
                  <a:pt x="17399" y="17399"/>
                </a:lnTo>
                <a:lnTo>
                  <a:pt x="6350" y="22225"/>
                </a:lnTo>
                <a:lnTo>
                  <a:pt x="11049" y="26924"/>
                </a:lnTo>
                <a:lnTo>
                  <a:pt x="3175" y="26924"/>
                </a:lnTo>
                <a:lnTo>
                  <a:pt x="0" y="31750"/>
                </a:lnTo>
                <a:lnTo>
                  <a:pt x="0" y="34925"/>
                </a:lnTo>
                <a:lnTo>
                  <a:pt x="6350" y="34925"/>
                </a:lnTo>
                <a:lnTo>
                  <a:pt x="3175" y="38100"/>
                </a:lnTo>
                <a:lnTo>
                  <a:pt x="12700" y="45974"/>
                </a:lnTo>
                <a:lnTo>
                  <a:pt x="19050" y="42799"/>
                </a:lnTo>
                <a:lnTo>
                  <a:pt x="25400" y="42799"/>
                </a:lnTo>
                <a:lnTo>
                  <a:pt x="31750" y="42799"/>
                </a:lnTo>
                <a:lnTo>
                  <a:pt x="38100" y="47625"/>
                </a:lnTo>
                <a:lnTo>
                  <a:pt x="41275" y="52324"/>
                </a:lnTo>
                <a:lnTo>
                  <a:pt x="42799" y="58674"/>
                </a:lnTo>
                <a:lnTo>
                  <a:pt x="41275" y="66675"/>
                </a:lnTo>
                <a:lnTo>
                  <a:pt x="39624" y="71374"/>
                </a:lnTo>
                <a:lnTo>
                  <a:pt x="33274" y="76200"/>
                </a:lnTo>
                <a:lnTo>
                  <a:pt x="26924" y="77724"/>
                </a:lnTo>
                <a:lnTo>
                  <a:pt x="25400" y="80899"/>
                </a:lnTo>
                <a:lnTo>
                  <a:pt x="26924" y="88900"/>
                </a:lnTo>
                <a:lnTo>
                  <a:pt x="34925" y="87249"/>
                </a:lnTo>
                <a:lnTo>
                  <a:pt x="39624" y="85725"/>
                </a:lnTo>
                <a:lnTo>
                  <a:pt x="42799" y="79375"/>
                </a:lnTo>
                <a:lnTo>
                  <a:pt x="45974" y="79375"/>
                </a:lnTo>
                <a:lnTo>
                  <a:pt x="52324" y="77724"/>
                </a:lnTo>
                <a:lnTo>
                  <a:pt x="55499" y="69850"/>
                </a:lnTo>
                <a:lnTo>
                  <a:pt x="61849" y="69850"/>
                </a:lnTo>
                <a:lnTo>
                  <a:pt x="65024" y="65024"/>
                </a:lnTo>
                <a:lnTo>
                  <a:pt x="65024" y="58674"/>
                </a:lnTo>
                <a:lnTo>
                  <a:pt x="66675" y="47625"/>
                </a:lnTo>
                <a:lnTo>
                  <a:pt x="79375" y="36449"/>
                </a:lnTo>
                <a:lnTo>
                  <a:pt x="77724" y="25400"/>
                </a:lnTo>
                <a:lnTo>
                  <a:pt x="66675" y="22225"/>
                </a:lnTo>
                <a:lnTo>
                  <a:pt x="66675" y="12700"/>
                </a:lnTo>
                <a:lnTo>
                  <a:pt x="58674" y="12700"/>
                </a:lnTo>
                <a:lnTo>
                  <a:pt x="58674" y="3175"/>
                </a:lnTo>
                <a:lnTo>
                  <a:pt x="50800" y="3175"/>
                </a:lnTo>
                <a:lnTo>
                  <a:pt x="41275" y="0"/>
                </a:lnTo>
              </a:path>
            </a:pathLst>
          </a:custGeom>
          <a:ln w="12700">
            <a:solidFill>
              <a:srgbClr val="000000"/>
            </a:solidFill>
          </a:ln>
        </p:spPr>
        <p:txBody>
          <a:bodyPr wrap="square" lIns="0" tIns="0" rIns="0" bIns="0" rtlCol="0">
            <a:noAutofit/>
          </a:bodyPr>
          <a:lstStyle/>
          <a:p>
            <a:endParaRPr/>
          </a:p>
        </p:txBody>
      </p:sp>
      <p:sp>
        <p:nvSpPr>
          <p:cNvPr id="1184" name="object 1184"/>
          <p:cNvSpPr/>
          <p:nvPr/>
        </p:nvSpPr>
        <p:spPr>
          <a:xfrm>
            <a:off x="9523476" y="2871851"/>
            <a:ext cx="25400" cy="25400"/>
          </a:xfrm>
          <a:custGeom>
            <a:avLst/>
            <a:gdLst/>
            <a:ahLst/>
            <a:cxnLst/>
            <a:rect l="l" t="t" r="r" b="b"/>
            <a:pathLst>
              <a:path w="25400" h="25400">
                <a:moveTo>
                  <a:pt x="25400" y="0"/>
                </a:moveTo>
                <a:lnTo>
                  <a:pt x="23749" y="12700"/>
                </a:lnTo>
                <a:lnTo>
                  <a:pt x="20574" y="22225"/>
                </a:lnTo>
                <a:lnTo>
                  <a:pt x="15875" y="25400"/>
                </a:lnTo>
                <a:lnTo>
                  <a:pt x="11049" y="22225"/>
                </a:lnTo>
                <a:lnTo>
                  <a:pt x="6350" y="19050"/>
                </a:lnTo>
                <a:lnTo>
                  <a:pt x="0" y="9525"/>
                </a:lnTo>
              </a:path>
            </a:pathLst>
          </a:custGeom>
          <a:ln w="12700">
            <a:solidFill>
              <a:srgbClr val="000000"/>
            </a:solidFill>
          </a:ln>
        </p:spPr>
        <p:txBody>
          <a:bodyPr wrap="square" lIns="0" tIns="0" rIns="0" bIns="0" rtlCol="0">
            <a:noAutofit/>
          </a:bodyPr>
          <a:lstStyle/>
          <a:p>
            <a:endParaRPr/>
          </a:p>
        </p:txBody>
      </p:sp>
      <p:sp>
        <p:nvSpPr>
          <p:cNvPr id="1185" name="object 1185"/>
          <p:cNvSpPr/>
          <p:nvPr/>
        </p:nvSpPr>
        <p:spPr>
          <a:xfrm>
            <a:off x="9550400" y="2871851"/>
            <a:ext cx="25400" cy="25400"/>
          </a:xfrm>
          <a:custGeom>
            <a:avLst/>
            <a:gdLst/>
            <a:ahLst/>
            <a:cxnLst/>
            <a:rect l="l" t="t" r="r" b="b"/>
            <a:pathLst>
              <a:path w="25400" h="25400">
                <a:moveTo>
                  <a:pt x="25400" y="25400"/>
                </a:moveTo>
                <a:lnTo>
                  <a:pt x="0" y="0"/>
                </a:lnTo>
                <a:lnTo>
                  <a:pt x="9525" y="25400"/>
                </a:lnTo>
              </a:path>
            </a:pathLst>
          </a:custGeom>
          <a:ln w="12700">
            <a:solidFill>
              <a:srgbClr val="000000"/>
            </a:solidFill>
          </a:ln>
        </p:spPr>
        <p:txBody>
          <a:bodyPr wrap="square" lIns="0" tIns="0" rIns="0" bIns="0" rtlCol="0">
            <a:noAutofit/>
          </a:bodyPr>
          <a:lstStyle/>
          <a:p>
            <a:endParaRPr/>
          </a:p>
        </p:txBody>
      </p:sp>
      <p:sp>
        <p:nvSpPr>
          <p:cNvPr id="1186" name="object 1186"/>
          <p:cNvSpPr/>
          <p:nvPr/>
        </p:nvSpPr>
        <p:spPr>
          <a:xfrm>
            <a:off x="9567926" y="2846451"/>
            <a:ext cx="25400" cy="25400"/>
          </a:xfrm>
          <a:custGeom>
            <a:avLst/>
            <a:gdLst/>
            <a:ahLst/>
            <a:cxnLst/>
            <a:rect l="l" t="t" r="r" b="b"/>
            <a:pathLst>
              <a:path w="25400" h="25400">
                <a:moveTo>
                  <a:pt x="22225" y="25400"/>
                </a:moveTo>
                <a:lnTo>
                  <a:pt x="25400" y="14224"/>
                </a:lnTo>
                <a:lnTo>
                  <a:pt x="15875" y="4699"/>
                </a:lnTo>
                <a:lnTo>
                  <a:pt x="6350" y="0"/>
                </a:lnTo>
                <a:lnTo>
                  <a:pt x="0" y="0"/>
                </a:lnTo>
              </a:path>
            </a:pathLst>
          </a:custGeom>
          <a:ln w="12700">
            <a:solidFill>
              <a:srgbClr val="000000"/>
            </a:solidFill>
          </a:ln>
        </p:spPr>
        <p:txBody>
          <a:bodyPr wrap="square" lIns="0" tIns="0" rIns="0" bIns="0" rtlCol="0">
            <a:noAutofit/>
          </a:bodyPr>
          <a:lstStyle/>
          <a:p>
            <a:endParaRPr/>
          </a:p>
        </p:txBody>
      </p:sp>
      <p:sp>
        <p:nvSpPr>
          <p:cNvPr id="1187" name="object 1187"/>
          <p:cNvSpPr/>
          <p:nvPr/>
        </p:nvSpPr>
        <p:spPr>
          <a:xfrm>
            <a:off x="9580626" y="2919476"/>
            <a:ext cx="25400" cy="25400"/>
          </a:xfrm>
          <a:custGeom>
            <a:avLst/>
            <a:gdLst/>
            <a:ahLst/>
            <a:cxnLst/>
            <a:rect l="l" t="t" r="r" b="b"/>
            <a:pathLst>
              <a:path w="25400" h="25400">
                <a:moveTo>
                  <a:pt x="7874" y="0"/>
                </a:moveTo>
                <a:lnTo>
                  <a:pt x="17399" y="0"/>
                </a:lnTo>
                <a:lnTo>
                  <a:pt x="25400" y="7874"/>
                </a:lnTo>
                <a:lnTo>
                  <a:pt x="23749" y="20574"/>
                </a:lnTo>
                <a:lnTo>
                  <a:pt x="17399" y="25400"/>
                </a:lnTo>
                <a:lnTo>
                  <a:pt x="12700" y="25400"/>
                </a:lnTo>
                <a:lnTo>
                  <a:pt x="4699" y="25400"/>
                </a:lnTo>
                <a:lnTo>
                  <a:pt x="0" y="22225"/>
                </a:lnTo>
                <a:lnTo>
                  <a:pt x="0" y="15875"/>
                </a:lnTo>
                <a:lnTo>
                  <a:pt x="3175" y="11049"/>
                </a:lnTo>
                <a:lnTo>
                  <a:pt x="7874" y="12700"/>
                </a:lnTo>
              </a:path>
            </a:pathLst>
          </a:custGeom>
          <a:ln w="12700">
            <a:solidFill>
              <a:srgbClr val="000000"/>
            </a:solidFill>
          </a:ln>
        </p:spPr>
        <p:txBody>
          <a:bodyPr wrap="square" lIns="0" tIns="0" rIns="0" bIns="0" rtlCol="0">
            <a:noAutofit/>
          </a:bodyPr>
          <a:lstStyle/>
          <a:p>
            <a:endParaRPr/>
          </a:p>
        </p:txBody>
      </p:sp>
      <p:sp>
        <p:nvSpPr>
          <p:cNvPr id="1188" name="object 1188"/>
          <p:cNvSpPr/>
          <p:nvPr/>
        </p:nvSpPr>
        <p:spPr>
          <a:xfrm>
            <a:off x="9578975" y="2832100"/>
            <a:ext cx="90550" cy="103250"/>
          </a:xfrm>
          <a:custGeom>
            <a:avLst/>
            <a:gdLst/>
            <a:ahLst/>
            <a:cxnLst/>
            <a:rect l="l" t="t" r="r" b="b"/>
            <a:pathLst>
              <a:path w="90550" h="103250">
                <a:moveTo>
                  <a:pt x="27685" y="52959"/>
                </a:moveTo>
                <a:lnTo>
                  <a:pt x="47244" y="103250"/>
                </a:lnTo>
                <a:lnTo>
                  <a:pt x="50539" y="102240"/>
                </a:lnTo>
                <a:lnTo>
                  <a:pt x="63904" y="96151"/>
                </a:lnTo>
                <a:lnTo>
                  <a:pt x="74977" y="87745"/>
                </a:lnTo>
                <a:lnTo>
                  <a:pt x="83369" y="77456"/>
                </a:lnTo>
                <a:lnTo>
                  <a:pt x="88690" y="65717"/>
                </a:lnTo>
                <a:lnTo>
                  <a:pt x="90550" y="52959"/>
                </a:lnTo>
                <a:lnTo>
                  <a:pt x="90108" y="46658"/>
                </a:lnTo>
                <a:lnTo>
                  <a:pt x="86429" y="34087"/>
                </a:lnTo>
                <a:lnTo>
                  <a:pt x="79419" y="22895"/>
                </a:lnTo>
                <a:lnTo>
                  <a:pt x="69559" y="13485"/>
                </a:lnTo>
                <a:lnTo>
                  <a:pt x="57330" y="6263"/>
                </a:lnTo>
                <a:lnTo>
                  <a:pt x="43212" y="1633"/>
                </a:lnTo>
                <a:lnTo>
                  <a:pt x="27685" y="0"/>
                </a:lnTo>
                <a:lnTo>
                  <a:pt x="24831" y="56"/>
                </a:lnTo>
                <a:lnTo>
                  <a:pt x="12118" y="1686"/>
                </a:lnTo>
                <a:lnTo>
                  <a:pt x="0" y="5461"/>
                </a:lnTo>
                <a:lnTo>
                  <a:pt x="27685" y="52959"/>
                </a:lnTo>
                <a:close/>
              </a:path>
            </a:pathLst>
          </a:custGeom>
          <a:solidFill>
            <a:srgbClr val="FFFF00"/>
          </a:solidFill>
        </p:spPr>
        <p:txBody>
          <a:bodyPr wrap="square" lIns="0" tIns="0" rIns="0" bIns="0" rtlCol="0">
            <a:noAutofit/>
          </a:bodyPr>
          <a:lstStyle/>
          <a:p>
            <a:endParaRPr/>
          </a:p>
        </p:txBody>
      </p:sp>
      <p:sp>
        <p:nvSpPr>
          <p:cNvPr id="1189" name="object 1189"/>
          <p:cNvSpPr/>
          <p:nvPr/>
        </p:nvSpPr>
        <p:spPr>
          <a:xfrm>
            <a:off x="9578975" y="2832100"/>
            <a:ext cx="90550" cy="103250"/>
          </a:xfrm>
          <a:custGeom>
            <a:avLst/>
            <a:gdLst/>
            <a:ahLst/>
            <a:cxnLst/>
            <a:rect l="l" t="t" r="r" b="b"/>
            <a:pathLst>
              <a:path w="90550" h="103250">
                <a:moveTo>
                  <a:pt x="0" y="5461"/>
                </a:moveTo>
                <a:lnTo>
                  <a:pt x="12118" y="1686"/>
                </a:lnTo>
                <a:lnTo>
                  <a:pt x="24831" y="56"/>
                </a:lnTo>
                <a:lnTo>
                  <a:pt x="27685" y="0"/>
                </a:lnTo>
                <a:lnTo>
                  <a:pt x="43212" y="1633"/>
                </a:lnTo>
                <a:lnTo>
                  <a:pt x="57330" y="6263"/>
                </a:lnTo>
                <a:lnTo>
                  <a:pt x="69559" y="13485"/>
                </a:lnTo>
                <a:lnTo>
                  <a:pt x="79419" y="22895"/>
                </a:lnTo>
                <a:lnTo>
                  <a:pt x="86429" y="34087"/>
                </a:lnTo>
                <a:lnTo>
                  <a:pt x="90108" y="46658"/>
                </a:lnTo>
                <a:lnTo>
                  <a:pt x="90550" y="52959"/>
                </a:lnTo>
                <a:lnTo>
                  <a:pt x="88690" y="65717"/>
                </a:lnTo>
                <a:lnTo>
                  <a:pt x="83369" y="77456"/>
                </a:lnTo>
                <a:lnTo>
                  <a:pt x="74977" y="87745"/>
                </a:lnTo>
                <a:lnTo>
                  <a:pt x="63904" y="96151"/>
                </a:lnTo>
                <a:lnTo>
                  <a:pt x="50539" y="102240"/>
                </a:lnTo>
                <a:lnTo>
                  <a:pt x="47244" y="103250"/>
                </a:lnTo>
              </a:path>
            </a:pathLst>
          </a:custGeom>
          <a:ln w="12700">
            <a:solidFill>
              <a:srgbClr val="000000"/>
            </a:solidFill>
          </a:ln>
        </p:spPr>
        <p:txBody>
          <a:bodyPr wrap="square" lIns="0" tIns="0" rIns="0" bIns="0" rtlCol="0">
            <a:noAutofit/>
          </a:bodyPr>
          <a:lstStyle/>
          <a:p>
            <a:endParaRPr/>
          </a:p>
        </p:txBody>
      </p:sp>
      <p:sp>
        <p:nvSpPr>
          <p:cNvPr id="1190" name="object 1190"/>
          <p:cNvSpPr/>
          <p:nvPr/>
        </p:nvSpPr>
        <p:spPr>
          <a:xfrm>
            <a:off x="9552052" y="2827402"/>
            <a:ext cx="47625" cy="49149"/>
          </a:xfrm>
          <a:custGeom>
            <a:avLst/>
            <a:gdLst/>
            <a:ahLst/>
            <a:cxnLst/>
            <a:rect l="l" t="t" r="r" b="b"/>
            <a:pathLst>
              <a:path w="47625" h="49149">
                <a:moveTo>
                  <a:pt x="17399" y="23749"/>
                </a:moveTo>
                <a:lnTo>
                  <a:pt x="25400" y="31750"/>
                </a:lnTo>
                <a:lnTo>
                  <a:pt x="31750" y="38100"/>
                </a:lnTo>
                <a:lnTo>
                  <a:pt x="39624" y="42799"/>
                </a:lnTo>
                <a:lnTo>
                  <a:pt x="47625" y="49149"/>
                </a:lnTo>
                <a:lnTo>
                  <a:pt x="39624" y="34925"/>
                </a:lnTo>
                <a:lnTo>
                  <a:pt x="33274" y="20574"/>
                </a:lnTo>
                <a:lnTo>
                  <a:pt x="25400" y="6350"/>
                </a:lnTo>
                <a:lnTo>
                  <a:pt x="0" y="0"/>
                </a:lnTo>
                <a:lnTo>
                  <a:pt x="4699" y="7874"/>
                </a:lnTo>
                <a:lnTo>
                  <a:pt x="9525" y="15875"/>
                </a:lnTo>
                <a:lnTo>
                  <a:pt x="12700" y="19050"/>
                </a:lnTo>
                <a:lnTo>
                  <a:pt x="17399" y="23749"/>
                </a:lnTo>
                <a:close/>
              </a:path>
            </a:pathLst>
          </a:custGeom>
          <a:solidFill>
            <a:srgbClr val="C0C000"/>
          </a:solidFill>
        </p:spPr>
        <p:txBody>
          <a:bodyPr wrap="square" lIns="0" tIns="0" rIns="0" bIns="0" rtlCol="0">
            <a:noAutofit/>
          </a:bodyPr>
          <a:lstStyle/>
          <a:p>
            <a:endParaRPr/>
          </a:p>
        </p:txBody>
      </p:sp>
      <p:sp>
        <p:nvSpPr>
          <p:cNvPr id="1191" name="object 1191"/>
          <p:cNvSpPr/>
          <p:nvPr/>
        </p:nvSpPr>
        <p:spPr>
          <a:xfrm>
            <a:off x="9552052" y="2827402"/>
            <a:ext cx="47625" cy="49149"/>
          </a:xfrm>
          <a:custGeom>
            <a:avLst/>
            <a:gdLst/>
            <a:ahLst/>
            <a:cxnLst/>
            <a:rect l="l" t="t" r="r" b="b"/>
            <a:pathLst>
              <a:path w="47625" h="49149">
                <a:moveTo>
                  <a:pt x="25400" y="6350"/>
                </a:moveTo>
                <a:lnTo>
                  <a:pt x="0" y="0"/>
                </a:lnTo>
                <a:lnTo>
                  <a:pt x="4699" y="7874"/>
                </a:lnTo>
                <a:lnTo>
                  <a:pt x="9525" y="15875"/>
                </a:lnTo>
                <a:lnTo>
                  <a:pt x="12700" y="19050"/>
                </a:lnTo>
                <a:lnTo>
                  <a:pt x="17399" y="23749"/>
                </a:lnTo>
                <a:lnTo>
                  <a:pt x="25400" y="31750"/>
                </a:lnTo>
                <a:lnTo>
                  <a:pt x="31750" y="38100"/>
                </a:lnTo>
                <a:lnTo>
                  <a:pt x="39624" y="42799"/>
                </a:lnTo>
                <a:lnTo>
                  <a:pt x="47625" y="49149"/>
                </a:lnTo>
                <a:lnTo>
                  <a:pt x="39624" y="34925"/>
                </a:lnTo>
                <a:lnTo>
                  <a:pt x="33274" y="20574"/>
                </a:lnTo>
                <a:lnTo>
                  <a:pt x="25400" y="6350"/>
                </a:lnTo>
              </a:path>
            </a:pathLst>
          </a:custGeom>
          <a:ln w="12700">
            <a:solidFill>
              <a:srgbClr val="000000"/>
            </a:solidFill>
          </a:ln>
        </p:spPr>
        <p:txBody>
          <a:bodyPr wrap="square" lIns="0" tIns="0" rIns="0" bIns="0" rtlCol="0">
            <a:noAutofit/>
          </a:bodyPr>
          <a:lstStyle/>
          <a:p>
            <a:endParaRPr/>
          </a:p>
        </p:txBody>
      </p:sp>
      <p:sp>
        <p:nvSpPr>
          <p:cNvPr id="1192" name="object 1192"/>
          <p:cNvSpPr/>
          <p:nvPr/>
        </p:nvSpPr>
        <p:spPr>
          <a:xfrm>
            <a:off x="9588500" y="2844800"/>
            <a:ext cx="69850" cy="25400"/>
          </a:xfrm>
          <a:custGeom>
            <a:avLst/>
            <a:gdLst/>
            <a:ahLst/>
            <a:cxnLst/>
            <a:rect l="l" t="t" r="r" b="b"/>
            <a:pathLst>
              <a:path w="69850" h="25400">
                <a:moveTo>
                  <a:pt x="0" y="6350"/>
                </a:moveTo>
                <a:lnTo>
                  <a:pt x="4825" y="3175"/>
                </a:lnTo>
                <a:lnTo>
                  <a:pt x="14350" y="1650"/>
                </a:lnTo>
                <a:lnTo>
                  <a:pt x="27050" y="0"/>
                </a:lnTo>
                <a:lnTo>
                  <a:pt x="36575" y="1650"/>
                </a:lnTo>
                <a:lnTo>
                  <a:pt x="47625" y="6350"/>
                </a:lnTo>
                <a:lnTo>
                  <a:pt x="58800" y="14350"/>
                </a:lnTo>
                <a:lnTo>
                  <a:pt x="69850" y="25400"/>
                </a:lnTo>
              </a:path>
            </a:pathLst>
          </a:custGeom>
          <a:ln w="12700">
            <a:solidFill>
              <a:srgbClr val="000000"/>
            </a:solidFill>
          </a:ln>
        </p:spPr>
        <p:txBody>
          <a:bodyPr wrap="square" lIns="0" tIns="0" rIns="0" bIns="0" rtlCol="0">
            <a:noAutofit/>
          </a:bodyPr>
          <a:lstStyle/>
          <a:p>
            <a:endParaRPr/>
          </a:p>
        </p:txBody>
      </p:sp>
      <p:sp>
        <p:nvSpPr>
          <p:cNvPr id="1193" name="object 1193"/>
          <p:cNvSpPr/>
          <p:nvPr/>
        </p:nvSpPr>
        <p:spPr>
          <a:xfrm>
            <a:off x="9620250" y="2863851"/>
            <a:ext cx="38100" cy="49275"/>
          </a:xfrm>
          <a:custGeom>
            <a:avLst/>
            <a:gdLst/>
            <a:ahLst/>
            <a:cxnLst/>
            <a:rect l="l" t="t" r="r" b="b"/>
            <a:pathLst>
              <a:path w="38100" h="49275">
                <a:moveTo>
                  <a:pt x="38100" y="0"/>
                </a:moveTo>
                <a:lnTo>
                  <a:pt x="36575" y="4825"/>
                </a:lnTo>
                <a:lnTo>
                  <a:pt x="33400" y="14350"/>
                </a:lnTo>
                <a:lnTo>
                  <a:pt x="30225" y="22225"/>
                </a:lnTo>
                <a:lnTo>
                  <a:pt x="25400" y="30225"/>
                </a:lnTo>
                <a:lnTo>
                  <a:pt x="22225" y="33400"/>
                </a:lnTo>
                <a:lnTo>
                  <a:pt x="19050" y="36575"/>
                </a:lnTo>
                <a:lnTo>
                  <a:pt x="12700" y="42925"/>
                </a:lnTo>
                <a:lnTo>
                  <a:pt x="6350" y="46100"/>
                </a:lnTo>
                <a:lnTo>
                  <a:pt x="0" y="49275"/>
                </a:lnTo>
              </a:path>
            </a:pathLst>
          </a:custGeom>
          <a:ln w="12700">
            <a:solidFill>
              <a:srgbClr val="000000"/>
            </a:solidFill>
          </a:ln>
        </p:spPr>
        <p:txBody>
          <a:bodyPr wrap="square" lIns="0" tIns="0" rIns="0" bIns="0" rtlCol="0">
            <a:noAutofit/>
          </a:bodyPr>
          <a:lstStyle/>
          <a:p>
            <a:endParaRPr/>
          </a:p>
        </p:txBody>
      </p:sp>
      <p:sp>
        <p:nvSpPr>
          <p:cNvPr id="1194" name="object 1194"/>
          <p:cNvSpPr/>
          <p:nvPr/>
        </p:nvSpPr>
        <p:spPr>
          <a:xfrm>
            <a:off x="9223375" y="2705100"/>
            <a:ext cx="109474" cy="185800"/>
          </a:xfrm>
          <a:custGeom>
            <a:avLst/>
            <a:gdLst/>
            <a:ahLst/>
            <a:cxnLst/>
            <a:rect l="l" t="t" r="r" b="b"/>
            <a:pathLst>
              <a:path w="109474" h="185800">
                <a:moveTo>
                  <a:pt x="0" y="22225"/>
                </a:moveTo>
                <a:lnTo>
                  <a:pt x="0" y="185800"/>
                </a:lnTo>
                <a:lnTo>
                  <a:pt x="109474" y="179450"/>
                </a:lnTo>
                <a:lnTo>
                  <a:pt x="109474" y="0"/>
                </a:lnTo>
                <a:lnTo>
                  <a:pt x="0" y="22225"/>
                </a:lnTo>
                <a:close/>
              </a:path>
            </a:pathLst>
          </a:custGeom>
          <a:solidFill>
            <a:srgbClr val="FFC080"/>
          </a:solidFill>
        </p:spPr>
        <p:txBody>
          <a:bodyPr wrap="square" lIns="0" tIns="0" rIns="0" bIns="0" rtlCol="0">
            <a:noAutofit/>
          </a:bodyPr>
          <a:lstStyle/>
          <a:p>
            <a:endParaRPr/>
          </a:p>
        </p:txBody>
      </p:sp>
      <p:sp>
        <p:nvSpPr>
          <p:cNvPr id="1195" name="object 1195"/>
          <p:cNvSpPr/>
          <p:nvPr/>
        </p:nvSpPr>
        <p:spPr>
          <a:xfrm>
            <a:off x="9223375" y="2705100"/>
            <a:ext cx="109474" cy="185800"/>
          </a:xfrm>
          <a:custGeom>
            <a:avLst/>
            <a:gdLst/>
            <a:ahLst/>
            <a:cxnLst/>
            <a:rect l="l" t="t" r="r" b="b"/>
            <a:pathLst>
              <a:path w="109474" h="185800">
                <a:moveTo>
                  <a:pt x="0" y="22225"/>
                </a:moveTo>
                <a:lnTo>
                  <a:pt x="109474" y="0"/>
                </a:lnTo>
                <a:lnTo>
                  <a:pt x="109474" y="179450"/>
                </a:lnTo>
                <a:lnTo>
                  <a:pt x="0" y="185800"/>
                </a:lnTo>
                <a:lnTo>
                  <a:pt x="0" y="22225"/>
                </a:lnTo>
              </a:path>
            </a:pathLst>
          </a:custGeom>
          <a:ln w="12700">
            <a:solidFill>
              <a:srgbClr val="000000"/>
            </a:solidFill>
          </a:ln>
        </p:spPr>
        <p:txBody>
          <a:bodyPr wrap="square" lIns="0" tIns="0" rIns="0" bIns="0" rtlCol="0">
            <a:noAutofit/>
          </a:bodyPr>
          <a:lstStyle/>
          <a:p>
            <a:endParaRPr/>
          </a:p>
        </p:txBody>
      </p:sp>
      <p:sp>
        <p:nvSpPr>
          <p:cNvPr id="1196" name="object 1196"/>
          <p:cNvSpPr/>
          <p:nvPr/>
        </p:nvSpPr>
        <p:spPr>
          <a:xfrm>
            <a:off x="9332976" y="2705100"/>
            <a:ext cx="103124" cy="185800"/>
          </a:xfrm>
          <a:custGeom>
            <a:avLst/>
            <a:gdLst/>
            <a:ahLst/>
            <a:cxnLst/>
            <a:rect l="l" t="t" r="r" b="b"/>
            <a:pathLst>
              <a:path w="103124" h="185800">
                <a:moveTo>
                  <a:pt x="0" y="0"/>
                </a:moveTo>
                <a:lnTo>
                  <a:pt x="0" y="179450"/>
                </a:lnTo>
                <a:lnTo>
                  <a:pt x="103124" y="185800"/>
                </a:lnTo>
                <a:lnTo>
                  <a:pt x="103124" y="11175"/>
                </a:lnTo>
                <a:lnTo>
                  <a:pt x="0" y="0"/>
                </a:lnTo>
                <a:close/>
              </a:path>
            </a:pathLst>
          </a:custGeom>
          <a:solidFill>
            <a:srgbClr val="DF6F00"/>
          </a:solidFill>
        </p:spPr>
        <p:txBody>
          <a:bodyPr wrap="square" lIns="0" tIns="0" rIns="0" bIns="0" rtlCol="0">
            <a:noAutofit/>
          </a:bodyPr>
          <a:lstStyle/>
          <a:p>
            <a:endParaRPr/>
          </a:p>
        </p:txBody>
      </p:sp>
      <p:sp>
        <p:nvSpPr>
          <p:cNvPr id="1197" name="object 1197"/>
          <p:cNvSpPr/>
          <p:nvPr/>
        </p:nvSpPr>
        <p:spPr>
          <a:xfrm>
            <a:off x="9332976" y="2705100"/>
            <a:ext cx="103124" cy="185800"/>
          </a:xfrm>
          <a:custGeom>
            <a:avLst/>
            <a:gdLst/>
            <a:ahLst/>
            <a:cxnLst/>
            <a:rect l="l" t="t" r="r" b="b"/>
            <a:pathLst>
              <a:path w="103124" h="185800">
                <a:moveTo>
                  <a:pt x="0" y="0"/>
                </a:moveTo>
                <a:lnTo>
                  <a:pt x="103124" y="11175"/>
                </a:lnTo>
                <a:lnTo>
                  <a:pt x="103124" y="185800"/>
                </a:lnTo>
                <a:lnTo>
                  <a:pt x="0" y="179450"/>
                </a:lnTo>
                <a:lnTo>
                  <a:pt x="0" y="0"/>
                </a:lnTo>
              </a:path>
            </a:pathLst>
          </a:custGeom>
          <a:ln w="12700">
            <a:solidFill>
              <a:srgbClr val="000000"/>
            </a:solidFill>
          </a:ln>
        </p:spPr>
        <p:txBody>
          <a:bodyPr wrap="square" lIns="0" tIns="0" rIns="0" bIns="0" rtlCol="0">
            <a:noAutofit/>
          </a:bodyPr>
          <a:lstStyle/>
          <a:p>
            <a:endParaRPr/>
          </a:p>
        </p:txBody>
      </p:sp>
      <p:sp>
        <p:nvSpPr>
          <p:cNvPr id="1198" name="object 1198"/>
          <p:cNvSpPr/>
          <p:nvPr/>
        </p:nvSpPr>
        <p:spPr>
          <a:xfrm>
            <a:off x="9332976" y="2705101"/>
            <a:ext cx="139700" cy="87375"/>
          </a:xfrm>
          <a:custGeom>
            <a:avLst/>
            <a:gdLst/>
            <a:ahLst/>
            <a:cxnLst/>
            <a:rect l="l" t="t" r="r" b="b"/>
            <a:pathLst>
              <a:path w="139700" h="87375">
                <a:moveTo>
                  <a:pt x="0" y="0"/>
                </a:moveTo>
                <a:lnTo>
                  <a:pt x="17399" y="74675"/>
                </a:lnTo>
                <a:lnTo>
                  <a:pt x="139700" y="87375"/>
                </a:lnTo>
                <a:lnTo>
                  <a:pt x="104775" y="11175"/>
                </a:lnTo>
                <a:lnTo>
                  <a:pt x="0" y="0"/>
                </a:lnTo>
                <a:close/>
              </a:path>
            </a:pathLst>
          </a:custGeom>
          <a:solidFill>
            <a:srgbClr val="FFC080"/>
          </a:solidFill>
        </p:spPr>
        <p:txBody>
          <a:bodyPr wrap="square" lIns="0" tIns="0" rIns="0" bIns="0" rtlCol="0">
            <a:noAutofit/>
          </a:bodyPr>
          <a:lstStyle/>
          <a:p>
            <a:endParaRPr/>
          </a:p>
        </p:txBody>
      </p:sp>
      <p:sp>
        <p:nvSpPr>
          <p:cNvPr id="1199" name="object 1199"/>
          <p:cNvSpPr/>
          <p:nvPr/>
        </p:nvSpPr>
        <p:spPr>
          <a:xfrm>
            <a:off x="9332976" y="2705101"/>
            <a:ext cx="139700" cy="87375"/>
          </a:xfrm>
          <a:custGeom>
            <a:avLst/>
            <a:gdLst/>
            <a:ahLst/>
            <a:cxnLst/>
            <a:rect l="l" t="t" r="r" b="b"/>
            <a:pathLst>
              <a:path w="139700" h="87375">
                <a:moveTo>
                  <a:pt x="0" y="0"/>
                </a:moveTo>
                <a:lnTo>
                  <a:pt x="104775" y="11175"/>
                </a:lnTo>
                <a:lnTo>
                  <a:pt x="139700" y="87375"/>
                </a:lnTo>
                <a:lnTo>
                  <a:pt x="17399" y="74675"/>
                </a:lnTo>
                <a:lnTo>
                  <a:pt x="0" y="0"/>
                </a:lnTo>
              </a:path>
            </a:pathLst>
          </a:custGeom>
          <a:ln w="12700">
            <a:solidFill>
              <a:srgbClr val="000000"/>
            </a:solidFill>
          </a:ln>
        </p:spPr>
        <p:txBody>
          <a:bodyPr wrap="square" lIns="0" tIns="0" rIns="0" bIns="0" rtlCol="0">
            <a:noAutofit/>
          </a:bodyPr>
          <a:lstStyle/>
          <a:p>
            <a:endParaRPr/>
          </a:p>
        </p:txBody>
      </p:sp>
      <p:sp>
        <p:nvSpPr>
          <p:cNvPr id="1200" name="object 1200"/>
          <p:cNvSpPr/>
          <p:nvPr/>
        </p:nvSpPr>
        <p:spPr>
          <a:xfrm>
            <a:off x="9332976" y="2792477"/>
            <a:ext cx="139700" cy="98425"/>
          </a:xfrm>
          <a:custGeom>
            <a:avLst/>
            <a:gdLst/>
            <a:ahLst/>
            <a:cxnLst/>
            <a:rect l="l" t="t" r="r" b="b"/>
            <a:pathLst>
              <a:path w="139700" h="98425">
                <a:moveTo>
                  <a:pt x="0" y="92075"/>
                </a:moveTo>
                <a:lnTo>
                  <a:pt x="98425" y="98425"/>
                </a:lnTo>
                <a:lnTo>
                  <a:pt x="139700" y="11049"/>
                </a:lnTo>
                <a:lnTo>
                  <a:pt x="22225" y="0"/>
                </a:lnTo>
                <a:lnTo>
                  <a:pt x="0" y="92075"/>
                </a:lnTo>
                <a:close/>
              </a:path>
            </a:pathLst>
          </a:custGeom>
          <a:solidFill>
            <a:srgbClr val="FF8000"/>
          </a:solidFill>
        </p:spPr>
        <p:txBody>
          <a:bodyPr wrap="square" lIns="0" tIns="0" rIns="0" bIns="0" rtlCol="0">
            <a:noAutofit/>
          </a:bodyPr>
          <a:lstStyle/>
          <a:p>
            <a:endParaRPr/>
          </a:p>
        </p:txBody>
      </p:sp>
      <p:sp>
        <p:nvSpPr>
          <p:cNvPr id="1201" name="object 1201"/>
          <p:cNvSpPr/>
          <p:nvPr/>
        </p:nvSpPr>
        <p:spPr>
          <a:xfrm>
            <a:off x="9332976" y="2792477"/>
            <a:ext cx="139700" cy="98425"/>
          </a:xfrm>
          <a:custGeom>
            <a:avLst/>
            <a:gdLst/>
            <a:ahLst/>
            <a:cxnLst/>
            <a:rect l="l" t="t" r="r" b="b"/>
            <a:pathLst>
              <a:path w="139700" h="98425">
                <a:moveTo>
                  <a:pt x="0" y="92075"/>
                </a:moveTo>
                <a:lnTo>
                  <a:pt x="22225" y="0"/>
                </a:lnTo>
                <a:lnTo>
                  <a:pt x="139700" y="11049"/>
                </a:lnTo>
                <a:lnTo>
                  <a:pt x="98425" y="98425"/>
                </a:lnTo>
                <a:lnTo>
                  <a:pt x="0" y="92075"/>
                </a:lnTo>
              </a:path>
            </a:pathLst>
          </a:custGeom>
          <a:ln w="12700">
            <a:solidFill>
              <a:srgbClr val="000000"/>
            </a:solidFill>
          </a:ln>
        </p:spPr>
        <p:txBody>
          <a:bodyPr wrap="square" lIns="0" tIns="0" rIns="0" bIns="0" rtlCol="0">
            <a:noAutofit/>
          </a:bodyPr>
          <a:lstStyle/>
          <a:p>
            <a:endParaRPr/>
          </a:p>
        </p:txBody>
      </p:sp>
      <p:sp>
        <p:nvSpPr>
          <p:cNvPr id="1202" name="object 1202"/>
          <p:cNvSpPr/>
          <p:nvPr/>
        </p:nvSpPr>
        <p:spPr>
          <a:xfrm>
            <a:off x="8969376" y="2995677"/>
            <a:ext cx="73025" cy="131699"/>
          </a:xfrm>
          <a:custGeom>
            <a:avLst/>
            <a:gdLst/>
            <a:ahLst/>
            <a:cxnLst/>
            <a:rect l="l" t="t" r="r" b="b"/>
            <a:pathLst>
              <a:path w="73025" h="131699">
                <a:moveTo>
                  <a:pt x="28575" y="118999"/>
                </a:moveTo>
                <a:lnTo>
                  <a:pt x="39750" y="127000"/>
                </a:lnTo>
                <a:lnTo>
                  <a:pt x="57150" y="131699"/>
                </a:lnTo>
                <a:lnTo>
                  <a:pt x="61975" y="104775"/>
                </a:lnTo>
                <a:lnTo>
                  <a:pt x="65150" y="88900"/>
                </a:lnTo>
                <a:lnTo>
                  <a:pt x="65150" y="60325"/>
                </a:lnTo>
                <a:lnTo>
                  <a:pt x="73025" y="4699"/>
                </a:lnTo>
                <a:lnTo>
                  <a:pt x="53975" y="0"/>
                </a:lnTo>
                <a:lnTo>
                  <a:pt x="0" y="88900"/>
                </a:lnTo>
                <a:lnTo>
                  <a:pt x="14224" y="107950"/>
                </a:lnTo>
                <a:lnTo>
                  <a:pt x="28575" y="118999"/>
                </a:lnTo>
                <a:close/>
              </a:path>
            </a:pathLst>
          </a:custGeom>
          <a:solidFill>
            <a:srgbClr val="0000DF"/>
          </a:solidFill>
        </p:spPr>
        <p:txBody>
          <a:bodyPr wrap="square" lIns="0" tIns="0" rIns="0" bIns="0" rtlCol="0">
            <a:noAutofit/>
          </a:bodyPr>
          <a:lstStyle/>
          <a:p>
            <a:endParaRPr/>
          </a:p>
        </p:txBody>
      </p:sp>
      <p:sp>
        <p:nvSpPr>
          <p:cNvPr id="1203" name="object 1203"/>
          <p:cNvSpPr/>
          <p:nvPr/>
        </p:nvSpPr>
        <p:spPr>
          <a:xfrm>
            <a:off x="8969376" y="2995677"/>
            <a:ext cx="73025" cy="131699"/>
          </a:xfrm>
          <a:custGeom>
            <a:avLst/>
            <a:gdLst/>
            <a:ahLst/>
            <a:cxnLst/>
            <a:rect l="l" t="t" r="r" b="b"/>
            <a:pathLst>
              <a:path w="73025" h="131699">
                <a:moveTo>
                  <a:pt x="73025" y="4699"/>
                </a:moveTo>
                <a:lnTo>
                  <a:pt x="65150" y="60325"/>
                </a:lnTo>
                <a:lnTo>
                  <a:pt x="65150" y="88900"/>
                </a:lnTo>
                <a:lnTo>
                  <a:pt x="61975" y="104775"/>
                </a:lnTo>
                <a:lnTo>
                  <a:pt x="57150" y="131699"/>
                </a:lnTo>
                <a:lnTo>
                  <a:pt x="39750" y="127000"/>
                </a:lnTo>
                <a:lnTo>
                  <a:pt x="28575" y="118999"/>
                </a:lnTo>
                <a:lnTo>
                  <a:pt x="14224" y="107950"/>
                </a:lnTo>
                <a:lnTo>
                  <a:pt x="0" y="88900"/>
                </a:lnTo>
                <a:lnTo>
                  <a:pt x="53975" y="0"/>
                </a:lnTo>
                <a:lnTo>
                  <a:pt x="73025" y="4699"/>
                </a:lnTo>
              </a:path>
            </a:pathLst>
          </a:custGeom>
          <a:ln w="12700">
            <a:solidFill>
              <a:srgbClr val="000000"/>
            </a:solidFill>
          </a:ln>
        </p:spPr>
        <p:txBody>
          <a:bodyPr wrap="square" lIns="0" tIns="0" rIns="0" bIns="0" rtlCol="0">
            <a:noAutofit/>
          </a:bodyPr>
          <a:lstStyle/>
          <a:p>
            <a:endParaRPr/>
          </a:p>
        </p:txBody>
      </p:sp>
      <p:sp>
        <p:nvSpPr>
          <p:cNvPr id="1204" name="object 1204"/>
          <p:cNvSpPr/>
          <p:nvPr/>
        </p:nvSpPr>
        <p:spPr>
          <a:xfrm>
            <a:off x="9117076" y="2898775"/>
            <a:ext cx="63500" cy="63500"/>
          </a:xfrm>
          <a:custGeom>
            <a:avLst/>
            <a:gdLst/>
            <a:ahLst/>
            <a:cxnLst/>
            <a:rect l="l" t="t" r="r" b="b"/>
            <a:pathLst>
              <a:path w="63500" h="63500">
                <a:moveTo>
                  <a:pt x="50800" y="17525"/>
                </a:moveTo>
                <a:lnTo>
                  <a:pt x="55499" y="17525"/>
                </a:lnTo>
                <a:lnTo>
                  <a:pt x="60325" y="14350"/>
                </a:lnTo>
                <a:lnTo>
                  <a:pt x="61849" y="12700"/>
                </a:lnTo>
                <a:lnTo>
                  <a:pt x="63500" y="9525"/>
                </a:lnTo>
                <a:lnTo>
                  <a:pt x="60325" y="8000"/>
                </a:lnTo>
                <a:lnTo>
                  <a:pt x="55499" y="8000"/>
                </a:lnTo>
                <a:lnTo>
                  <a:pt x="49149" y="9525"/>
                </a:lnTo>
                <a:lnTo>
                  <a:pt x="52324" y="8000"/>
                </a:lnTo>
                <a:lnTo>
                  <a:pt x="55499" y="4825"/>
                </a:lnTo>
                <a:lnTo>
                  <a:pt x="55499" y="1650"/>
                </a:lnTo>
                <a:lnTo>
                  <a:pt x="52324" y="0"/>
                </a:lnTo>
                <a:lnTo>
                  <a:pt x="41275" y="1650"/>
                </a:lnTo>
                <a:lnTo>
                  <a:pt x="22225" y="6350"/>
                </a:lnTo>
                <a:lnTo>
                  <a:pt x="17399" y="8000"/>
                </a:lnTo>
                <a:lnTo>
                  <a:pt x="17399" y="9525"/>
                </a:lnTo>
                <a:lnTo>
                  <a:pt x="19050" y="17525"/>
                </a:lnTo>
                <a:lnTo>
                  <a:pt x="20574" y="27050"/>
                </a:lnTo>
                <a:lnTo>
                  <a:pt x="22225" y="33400"/>
                </a:lnTo>
                <a:lnTo>
                  <a:pt x="20574" y="36575"/>
                </a:lnTo>
                <a:lnTo>
                  <a:pt x="3175" y="41275"/>
                </a:lnTo>
                <a:lnTo>
                  <a:pt x="0" y="41275"/>
                </a:lnTo>
                <a:lnTo>
                  <a:pt x="0" y="58800"/>
                </a:lnTo>
                <a:lnTo>
                  <a:pt x="12700" y="55625"/>
                </a:lnTo>
                <a:lnTo>
                  <a:pt x="23749" y="52450"/>
                </a:lnTo>
                <a:lnTo>
                  <a:pt x="28575" y="50800"/>
                </a:lnTo>
                <a:lnTo>
                  <a:pt x="28575" y="52450"/>
                </a:lnTo>
                <a:lnTo>
                  <a:pt x="31750" y="58800"/>
                </a:lnTo>
                <a:lnTo>
                  <a:pt x="33274" y="61975"/>
                </a:lnTo>
                <a:lnTo>
                  <a:pt x="38100" y="63500"/>
                </a:lnTo>
                <a:lnTo>
                  <a:pt x="45974" y="61975"/>
                </a:lnTo>
                <a:lnTo>
                  <a:pt x="45974" y="57150"/>
                </a:lnTo>
                <a:lnTo>
                  <a:pt x="42799" y="49275"/>
                </a:lnTo>
                <a:lnTo>
                  <a:pt x="38100" y="39750"/>
                </a:lnTo>
                <a:lnTo>
                  <a:pt x="38100" y="31750"/>
                </a:lnTo>
                <a:lnTo>
                  <a:pt x="42799" y="28575"/>
                </a:lnTo>
                <a:lnTo>
                  <a:pt x="53975" y="28575"/>
                </a:lnTo>
                <a:lnTo>
                  <a:pt x="60325" y="27050"/>
                </a:lnTo>
                <a:lnTo>
                  <a:pt x="61849" y="25400"/>
                </a:lnTo>
                <a:lnTo>
                  <a:pt x="63500" y="22225"/>
                </a:lnTo>
                <a:lnTo>
                  <a:pt x="61849" y="20700"/>
                </a:lnTo>
                <a:lnTo>
                  <a:pt x="58674" y="19050"/>
                </a:lnTo>
                <a:lnTo>
                  <a:pt x="50800" y="17525"/>
                </a:lnTo>
                <a:close/>
              </a:path>
            </a:pathLst>
          </a:custGeom>
          <a:solidFill>
            <a:srgbClr val="FFDFC0"/>
          </a:solidFill>
        </p:spPr>
        <p:txBody>
          <a:bodyPr wrap="square" lIns="0" tIns="0" rIns="0" bIns="0" rtlCol="0">
            <a:noAutofit/>
          </a:bodyPr>
          <a:lstStyle/>
          <a:p>
            <a:endParaRPr/>
          </a:p>
        </p:txBody>
      </p:sp>
      <p:sp>
        <p:nvSpPr>
          <p:cNvPr id="1205" name="object 1205"/>
          <p:cNvSpPr/>
          <p:nvPr/>
        </p:nvSpPr>
        <p:spPr>
          <a:xfrm>
            <a:off x="9117076" y="2898775"/>
            <a:ext cx="63500" cy="63500"/>
          </a:xfrm>
          <a:custGeom>
            <a:avLst/>
            <a:gdLst/>
            <a:ahLst/>
            <a:cxnLst/>
            <a:rect l="l" t="t" r="r" b="b"/>
            <a:pathLst>
              <a:path w="63500" h="63500">
                <a:moveTo>
                  <a:pt x="3175" y="41275"/>
                </a:moveTo>
                <a:lnTo>
                  <a:pt x="20574" y="36575"/>
                </a:lnTo>
                <a:lnTo>
                  <a:pt x="22225" y="33400"/>
                </a:lnTo>
                <a:lnTo>
                  <a:pt x="20574" y="27050"/>
                </a:lnTo>
                <a:lnTo>
                  <a:pt x="19050" y="17525"/>
                </a:lnTo>
                <a:lnTo>
                  <a:pt x="17399" y="9525"/>
                </a:lnTo>
                <a:lnTo>
                  <a:pt x="17399" y="8000"/>
                </a:lnTo>
                <a:lnTo>
                  <a:pt x="22225" y="6350"/>
                </a:lnTo>
                <a:lnTo>
                  <a:pt x="41275" y="1650"/>
                </a:lnTo>
                <a:lnTo>
                  <a:pt x="52324" y="0"/>
                </a:lnTo>
                <a:lnTo>
                  <a:pt x="53975" y="0"/>
                </a:lnTo>
                <a:lnTo>
                  <a:pt x="55499" y="1650"/>
                </a:lnTo>
                <a:lnTo>
                  <a:pt x="55499" y="4825"/>
                </a:lnTo>
                <a:lnTo>
                  <a:pt x="52324" y="8000"/>
                </a:lnTo>
                <a:lnTo>
                  <a:pt x="49149" y="9525"/>
                </a:lnTo>
                <a:lnTo>
                  <a:pt x="55499" y="8000"/>
                </a:lnTo>
                <a:lnTo>
                  <a:pt x="60325" y="8000"/>
                </a:lnTo>
                <a:lnTo>
                  <a:pt x="63500" y="9525"/>
                </a:lnTo>
                <a:lnTo>
                  <a:pt x="63500" y="11175"/>
                </a:lnTo>
                <a:lnTo>
                  <a:pt x="61849" y="12700"/>
                </a:lnTo>
                <a:lnTo>
                  <a:pt x="60325" y="14350"/>
                </a:lnTo>
                <a:lnTo>
                  <a:pt x="55499" y="17525"/>
                </a:lnTo>
                <a:lnTo>
                  <a:pt x="50800" y="17525"/>
                </a:lnTo>
                <a:lnTo>
                  <a:pt x="58674" y="19050"/>
                </a:lnTo>
                <a:lnTo>
                  <a:pt x="61849" y="20700"/>
                </a:lnTo>
                <a:lnTo>
                  <a:pt x="63500" y="22225"/>
                </a:lnTo>
                <a:lnTo>
                  <a:pt x="61849" y="25400"/>
                </a:lnTo>
                <a:lnTo>
                  <a:pt x="60325" y="27050"/>
                </a:lnTo>
                <a:lnTo>
                  <a:pt x="53975" y="28575"/>
                </a:lnTo>
                <a:lnTo>
                  <a:pt x="49149" y="28575"/>
                </a:lnTo>
                <a:lnTo>
                  <a:pt x="42799" y="28575"/>
                </a:lnTo>
                <a:lnTo>
                  <a:pt x="38100" y="31750"/>
                </a:lnTo>
                <a:lnTo>
                  <a:pt x="38100" y="33400"/>
                </a:lnTo>
                <a:lnTo>
                  <a:pt x="38100" y="39750"/>
                </a:lnTo>
                <a:lnTo>
                  <a:pt x="42799" y="49275"/>
                </a:lnTo>
                <a:lnTo>
                  <a:pt x="45974" y="57150"/>
                </a:lnTo>
                <a:lnTo>
                  <a:pt x="45974" y="61975"/>
                </a:lnTo>
                <a:lnTo>
                  <a:pt x="38100" y="63500"/>
                </a:lnTo>
                <a:lnTo>
                  <a:pt x="33274" y="61975"/>
                </a:lnTo>
                <a:lnTo>
                  <a:pt x="31750" y="58800"/>
                </a:lnTo>
                <a:lnTo>
                  <a:pt x="28575" y="52450"/>
                </a:lnTo>
                <a:lnTo>
                  <a:pt x="28575" y="50800"/>
                </a:lnTo>
                <a:lnTo>
                  <a:pt x="23749" y="52450"/>
                </a:lnTo>
                <a:lnTo>
                  <a:pt x="12700" y="55625"/>
                </a:lnTo>
                <a:lnTo>
                  <a:pt x="0" y="58800"/>
                </a:lnTo>
                <a:lnTo>
                  <a:pt x="0" y="41275"/>
                </a:lnTo>
                <a:lnTo>
                  <a:pt x="3175" y="41275"/>
                </a:lnTo>
              </a:path>
            </a:pathLst>
          </a:custGeom>
          <a:ln w="12700">
            <a:solidFill>
              <a:srgbClr val="000000"/>
            </a:solidFill>
          </a:ln>
        </p:spPr>
        <p:txBody>
          <a:bodyPr wrap="square" lIns="0" tIns="0" rIns="0" bIns="0" rtlCol="0">
            <a:noAutofit/>
          </a:bodyPr>
          <a:lstStyle/>
          <a:p>
            <a:endParaRPr/>
          </a:p>
        </p:txBody>
      </p:sp>
      <p:sp>
        <p:nvSpPr>
          <p:cNvPr id="1206" name="object 1206"/>
          <p:cNvSpPr/>
          <p:nvPr/>
        </p:nvSpPr>
        <p:spPr>
          <a:xfrm>
            <a:off x="9152001" y="2908300"/>
            <a:ext cx="25400" cy="25400"/>
          </a:xfrm>
          <a:custGeom>
            <a:avLst/>
            <a:gdLst/>
            <a:ahLst/>
            <a:cxnLst/>
            <a:rect l="l" t="t" r="r" b="b"/>
            <a:pathLst>
              <a:path w="25400" h="25400">
                <a:moveTo>
                  <a:pt x="25400" y="0"/>
                </a:moveTo>
                <a:lnTo>
                  <a:pt x="9525" y="12700"/>
                </a:lnTo>
                <a:lnTo>
                  <a:pt x="0" y="25400"/>
                </a:lnTo>
              </a:path>
            </a:pathLst>
          </a:custGeom>
          <a:ln w="12700">
            <a:solidFill>
              <a:srgbClr val="000000"/>
            </a:solidFill>
          </a:ln>
        </p:spPr>
        <p:txBody>
          <a:bodyPr wrap="square" lIns="0" tIns="0" rIns="0" bIns="0" rtlCol="0">
            <a:noAutofit/>
          </a:bodyPr>
          <a:lstStyle/>
          <a:p>
            <a:endParaRPr/>
          </a:p>
        </p:txBody>
      </p:sp>
      <p:sp>
        <p:nvSpPr>
          <p:cNvPr id="1207" name="object 1207"/>
          <p:cNvSpPr/>
          <p:nvPr/>
        </p:nvSpPr>
        <p:spPr>
          <a:xfrm>
            <a:off x="9153525" y="2917825"/>
            <a:ext cx="25400" cy="25400"/>
          </a:xfrm>
          <a:custGeom>
            <a:avLst/>
            <a:gdLst/>
            <a:ahLst/>
            <a:cxnLst/>
            <a:rect l="l" t="t" r="r" b="b"/>
            <a:pathLst>
              <a:path w="25400" h="25400">
                <a:moveTo>
                  <a:pt x="25400" y="0"/>
                </a:moveTo>
                <a:lnTo>
                  <a:pt x="15875" y="0"/>
                </a:lnTo>
                <a:lnTo>
                  <a:pt x="9525" y="19050"/>
                </a:lnTo>
                <a:lnTo>
                  <a:pt x="0" y="25400"/>
                </a:lnTo>
              </a:path>
            </a:pathLst>
          </a:custGeom>
          <a:ln w="12700">
            <a:solidFill>
              <a:srgbClr val="000000"/>
            </a:solidFill>
          </a:ln>
        </p:spPr>
        <p:txBody>
          <a:bodyPr wrap="square" lIns="0" tIns="0" rIns="0" bIns="0" rtlCol="0">
            <a:noAutofit/>
          </a:bodyPr>
          <a:lstStyle/>
          <a:p>
            <a:endParaRPr/>
          </a:p>
        </p:txBody>
      </p:sp>
      <p:sp>
        <p:nvSpPr>
          <p:cNvPr id="1208" name="object 1208"/>
          <p:cNvSpPr/>
          <p:nvPr/>
        </p:nvSpPr>
        <p:spPr>
          <a:xfrm>
            <a:off x="8847202" y="3063875"/>
            <a:ext cx="150749" cy="158750"/>
          </a:xfrm>
          <a:custGeom>
            <a:avLst/>
            <a:gdLst/>
            <a:ahLst/>
            <a:cxnLst/>
            <a:rect l="l" t="t" r="r" b="b"/>
            <a:pathLst>
              <a:path w="150749" h="158750">
                <a:moveTo>
                  <a:pt x="0" y="136525"/>
                </a:moveTo>
                <a:lnTo>
                  <a:pt x="0" y="144525"/>
                </a:lnTo>
                <a:lnTo>
                  <a:pt x="4699" y="155575"/>
                </a:lnTo>
                <a:lnTo>
                  <a:pt x="20574" y="157225"/>
                </a:lnTo>
                <a:lnTo>
                  <a:pt x="30099" y="158750"/>
                </a:lnTo>
                <a:lnTo>
                  <a:pt x="45974" y="154050"/>
                </a:lnTo>
                <a:lnTo>
                  <a:pt x="61849" y="135000"/>
                </a:lnTo>
                <a:lnTo>
                  <a:pt x="84074" y="112775"/>
                </a:lnTo>
                <a:lnTo>
                  <a:pt x="96774" y="107950"/>
                </a:lnTo>
                <a:lnTo>
                  <a:pt x="104775" y="85725"/>
                </a:lnTo>
                <a:lnTo>
                  <a:pt x="117475" y="68325"/>
                </a:lnTo>
                <a:lnTo>
                  <a:pt x="133350" y="52450"/>
                </a:lnTo>
                <a:lnTo>
                  <a:pt x="139700" y="41275"/>
                </a:lnTo>
                <a:lnTo>
                  <a:pt x="150749" y="23875"/>
                </a:lnTo>
                <a:lnTo>
                  <a:pt x="138049" y="15875"/>
                </a:lnTo>
                <a:lnTo>
                  <a:pt x="123825" y="11175"/>
                </a:lnTo>
                <a:lnTo>
                  <a:pt x="112649" y="4825"/>
                </a:lnTo>
                <a:lnTo>
                  <a:pt x="103124" y="0"/>
                </a:lnTo>
                <a:lnTo>
                  <a:pt x="88900" y="11175"/>
                </a:lnTo>
                <a:lnTo>
                  <a:pt x="80899" y="23875"/>
                </a:lnTo>
                <a:lnTo>
                  <a:pt x="74549" y="38100"/>
                </a:lnTo>
                <a:lnTo>
                  <a:pt x="73025" y="49275"/>
                </a:lnTo>
                <a:lnTo>
                  <a:pt x="50800" y="73025"/>
                </a:lnTo>
                <a:lnTo>
                  <a:pt x="26924" y="100075"/>
                </a:lnTo>
                <a:lnTo>
                  <a:pt x="12700" y="122300"/>
                </a:lnTo>
                <a:lnTo>
                  <a:pt x="0" y="136525"/>
                </a:lnTo>
                <a:close/>
              </a:path>
            </a:pathLst>
          </a:custGeom>
          <a:solidFill>
            <a:srgbClr val="9F9F9F"/>
          </a:solidFill>
        </p:spPr>
        <p:txBody>
          <a:bodyPr wrap="square" lIns="0" tIns="0" rIns="0" bIns="0" rtlCol="0">
            <a:noAutofit/>
          </a:bodyPr>
          <a:lstStyle/>
          <a:p>
            <a:endParaRPr/>
          </a:p>
        </p:txBody>
      </p:sp>
      <p:sp>
        <p:nvSpPr>
          <p:cNvPr id="1209" name="object 1209"/>
          <p:cNvSpPr/>
          <p:nvPr/>
        </p:nvSpPr>
        <p:spPr>
          <a:xfrm>
            <a:off x="8847202" y="3063875"/>
            <a:ext cx="150749" cy="158750"/>
          </a:xfrm>
          <a:custGeom>
            <a:avLst/>
            <a:gdLst/>
            <a:ahLst/>
            <a:cxnLst/>
            <a:rect l="l" t="t" r="r" b="b"/>
            <a:pathLst>
              <a:path w="150749" h="158750">
                <a:moveTo>
                  <a:pt x="88900" y="11175"/>
                </a:moveTo>
                <a:lnTo>
                  <a:pt x="80899" y="23875"/>
                </a:lnTo>
                <a:lnTo>
                  <a:pt x="74549" y="38100"/>
                </a:lnTo>
                <a:lnTo>
                  <a:pt x="73025" y="49275"/>
                </a:lnTo>
                <a:lnTo>
                  <a:pt x="50800" y="73025"/>
                </a:lnTo>
                <a:lnTo>
                  <a:pt x="26924" y="100075"/>
                </a:lnTo>
                <a:lnTo>
                  <a:pt x="12700" y="122300"/>
                </a:lnTo>
                <a:lnTo>
                  <a:pt x="0" y="136525"/>
                </a:lnTo>
                <a:lnTo>
                  <a:pt x="0" y="144525"/>
                </a:lnTo>
                <a:lnTo>
                  <a:pt x="4699" y="155575"/>
                </a:lnTo>
                <a:lnTo>
                  <a:pt x="20574" y="157225"/>
                </a:lnTo>
                <a:lnTo>
                  <a:pt x="30099" y="158750"/>
                </a:lnTo>
                <a:lnTo>
                  <a:pt x="45974" y="154050"/>
                </a:lnTo>
                <a:lnTo>
                  <a:pt x="61849" y="135000"/>
                </a:lnTo>
                <a:lnTo>
                  <a:pt x="84074" y="112775"/>
                </a:lnTo>
                <a:lnTo>
                  <a:pt x="96774" y="107950"/>
                </a:lnTo>
                <a:lnTo>
                  <a:pt x="104775" y="85725"/>
                </a:lnTo>
                <a:lnTo>
                  <a:pt x="117475" y="68325"/>
                </a:lnTo>
                <a:lnTo>
                  <a:pt x="133350" y="52450"/>
                </a:lnTo>
                <a:lnTo>
                  <a:pt x="139700" y="41275"/>
                </a:lnTo>
                <a:lnTo>
                  <a:pt x="150749" y="23875"/>
                </a:lnTo>
                <a:lnTo>
                  <a:pt x="138049" y="15875"/>
                </a:lnTo>
                <a:lnTo>
                  <a:pt x="123825" y="11175"/>
                </a:lnTo>
                <a:lnTo>
                  <a:pt x="112649" y="4825"/>
                </a:lnTo>
                <a:lnTo>
                  <a:pt x="103124" y="0"/>
                </a:lnTo>
                <a:lnTo>
                  <a:pt x="88900" y="11175"/>
                </a:lnTo>
              </a:path>
            </a:pathLst>
          </a:custGeom>
          <a:ln w="12700">
            <a:solidFill>
              <a:srgbClr val="000000"/>
            </a:solidFill>
          </a:ln>
        </p:spPr>
        <p:txBody>
          <a:bodyPr wrap="square" lIns="0" tIns="0" rIns="0" bIns="0" rtlCol="0">
            <a:noAutofit/>
          </a:bodyPr>
          <a:lstStyle/>
          <a:p>
            <a:endParaRPr/>
          </a:p>
        </p:txBody>
      </p:sp>
      <p:sp>
        <p:nvSpPr>
          <p:cNvPr id="1210" name="object 1210"/>
          <p:cNvSpPr/>
          <p:nvPr/>
        </p:nvSpPr>
        <p:spPr>
          <a:xfrm>
            <a:off x="8844026" y="3198876"/>
            <a:ext cx="127000" cy="44450"/>
          </a:xfrm>
          <a:custGeom>
            <a:avLst/>
            <a:gdLst/>
            <a:ahLst/>
            <a:cxnLst/>
            <a:rect l="l" t="t" r="r" b="b"/>
            <a:pathLst>
              <a:path w="127000" h="44450">
                <a:moveTo>
                  <a:pt x="31750" y="33274"/>
                </a:moveTo>
                <a:lnTo>
                  <a:pt x="36449" y="28575"/>
                </a:lnTo>
                <a:lnTo>
                  <a:pt x="47625" y="34925"/>
                </a:lnTo>
                <a:lnTo>
                  <a:pt x="73025" y="39624"/>
                </a:lnTo>
                <a:lnTo>
                  <a:pt x="96774" y="42799"/>
                </a:lnTo>
                <a:lnTo>
                  <a:pt x="107950" y="44450"/>
                </a:lnTo>
                <a:lnTo>
                  <a:pt x="120650" y="39624"/>
                </a:lnTo>
                <a:lnTo>
                  <a:pt x="125349" y="34925"/>
                </a:lnTo>
                <a:lnTo>
                  <a:pt x="127000" y="25400"/>
                </a:lnTo>
                <a:lnTo>
                  <a:pt x="125349" y="17399"/>
                </a:lnTo>
                <a:lnTo>
                  <a:pt x="120650" y="12700"/>
                </a:lnTo>
                <a:lnTo>
                  <a:pt x="109474" y="7874"/>
                </a:lnTo>
                <a:lnTo>
                  <a:pt x="76200" y="7874"/>
                </a:lnTo>
                <a:lnTo>
                  <a:pt x="63500" y="9525"/>
                </a:lnTo>
                <a:lnTo>
                  <a:pt x="53975" y="9525"/>
                </a:lnTo>
                <a:lnTo>
                  <a:pt x="38100" y="7874"/>
                </a:lnTo>
                <a:lnTo>
                  <a:pt x="12700" y="0"/>
                </a:lnTo>
                <a:lnTo>
                  <a:pt x="4699" y="7874"/>
                </a:lnTo>
                <a:lnTo>
                  <a:pt x="1524" y="17399"/>
                </a:lnTo>
                <a:lnTo>
                  <a:pt x="0" y="30099"/>
                </a:lnTo>
                <a:lnTo>
                  <a:pt x="19050" y="36449"/>
                </a:lnTo>
                <a:lnTo>
                  <a:pt x="31750" y="33274"/>
                </a:lnTo>
                <a:close/>
              </a:path>
            </a:pathLst>
          </a:custGeom>
          <a:solidFill>
            <a:srgbClr val="401F00"/>
          </a:solidFill>
        </p:spPr>
        <p:txBody>
          <a:bodyPr wrap="square" lIns="0" tIns="0" rIns="0" bIns="0" rtlCol="0">
            <a:noAutofit/>
          </a:bodyPr>
          <a:lstStyle/>
          <a:p>
            <a:endParaRPr/>
          </a:p>
        </p:txBody>
      </p:sp>
      <p:sp>
        <p:nvSpPr>
          <p:cNvPr id="1211" name="object 1211"/>
          <p:cNvSpPr/>
          <p:nvPr/>
        </p:nvSpPr>
        <p:spPr>
          <a:xfrm>
            <a:off x="8844026" y="3198876"/>
            <a:ext cx="127000" cy="44450"/>
          </a:xfrm>
          <a:custGeom>
            <a:avLst/>
            <a:gdLst/>
            <a:ahLst/>
            <a:cxnLst/>
            <a:rect l="l" t="t" r="r" b="b"/>
            <a:pathLst>
              <a:path w="127000" h="44450">
                <a:moveTo>
                  <a:pt x="12700" y="0"/>
                </a:moveTo>
                <a:lnTo>
                  <a:pt x="4699" y="7874"/>
                </a:lnTo>
                <a:lnTo>
                  <a:pt x="1524" y="17399"/>
                </a:lnTo>
                <a:lnTo>
                  <a:pt x="0" y="30099"/>
                </a:lnTo>
                <a:lnTo>
                  <a:pt x="19050" y="36449"/>
                </a:lnTo>
                <a:lnTo>
                  <a:pt x="31750" y="33274"/>
                </a:lnTo>
                <a:lnTo>
                  <a:pt x="36449" y="28575"/>
                </a:lnTo>
                <a:lnTo>
                  <a:pt x="47625" y="34925"/>
                </a:lnTo>
                <a:lnTo>
                  <a:pt x="73025" y="39624"/>
                </a:lnTo>
                <a:lnTo>
                  <a:pt x="96774" y="42799"/>
                </a:lnTo>
                <a:lnTo>
                  <a:pt x="107950" y="44450"/>
                </a:lnTo>
                <a:lnTo>
                  <a:pt x="120650" y="39624"/>
                </a:lnTo>
                <a:lnTo>
                  <a:pt x="125349" y="34925"/>
                </a:lnTo>
                <a:lnTo>
                  <a:pt x="127000" y="25400"/>
                </a:lnTo>
                <a:lnTo>
                  <a:pt x="125349" y="17399"/>
                </a:lnTo>
                <a:lnTo>
                  <a:pt x="120650" y="12700"/>
                </a:lnTo>
                <a:lnTo>
                  <a:pt x="109474" y="7874"/>
                </a:lnTo>
                <a:lnTo>
                  <a:pt x="95250" y="7874"/>
                </a:lnTo>
                <a:lnTo>
                  <a:pt x="76200" y="7874"/>
                </a:lnTo>
                <a:lnTo>
                  <a:pt x="63500" y="9525"/>
                </a:lnTo>
                <a:lnTo>
                  <a:pt x="53975" y="9525"/>
                </a:lnTo>
                <a:lnTo>
                  <a:pt x="38100" y="7874"/>
                </a:lnTo>
                <a:lnTo>
                  <a:pt x="12700" y="0"/>
                </a:lnTo>
              </a:path>
            </a:pathLst>
          </a:custGeom>
          <a:ln w="12700">
            <a:solidFill>
              <a:srgbClr val="000000"/>
            </a:solidFill>
          </a:ln>
        </p:spPr>
        <p:txBody>
          <a:bodyPr wrap="square" lIns="0" tIns="0" rIns="0" bIns="0" rtlCol="0">
            <a:noAutofit/>
          </a:bodyPr>
          <a:lstStyle/>
          <a:p>
            <a:endParaRPr/>
          </a:p>
        </p:txBody>
      </p:sp>
      <p:sp>
        <p:nvSpPr>
          <p:cNvPr id="1212" name="object 1212"/>
          <p:cNvSpPr/>
          <p:nvPr/>
        </p:nvSpPr>
        <p:spPr>
          <a:xfrm>
            <a:off x="8837676" y="3060700"/>
            <a:ext cx="160274" cy="154050"/>
          </a:xfrm>
          <a:custGeom>
            <a:avLst/>
            <a:gdLst/>
            <a:ahLst/>
            <a:cxnLst/>
            <a:rect l="l" t="t" r="r" b="b"/>
            <a:pathLst>
              <a:path w="160274" h="154050">
                <a:moveTo>
                  <a:pt x="0" y="136525"/>
                </a:moveTo>
                <a:lnTo>
                  <a:pt x="0" y="144525"/>
                </a:lnTo>
                <a:lnTo>
                  <a:pt x="22225" y="150875"/>
                </a:lnTo>
                <a:lnTo>
                  <a:pt x="45974" y="154050"/>
                </a:lnTo>
                <a:lnTo>
                  <a:pt x="63500" y="135000"/>
                </a:lnTo>
                <a:lnTo>
                  <a:pt x="85725" y="111125"/>
                </a:lnTo>
                <a:lnTo>
                  <a:pt x="98425" y="106425"/>
                </a:lnTo>
                <a:lnTo>
                  <a:pt x="106299" y="85725"/>
                </a:lnTo>
                <a:lnTo>
                  <a:pt x="118999" y="68325"/>
                </a:lnTo>
                <a:lnTo>
                  <a:pt x="142875" y="50800"/>
                </a:lnTo>
                <a:lnTo>
                  <a:pt x="160274" y="31750"/>
                </a:lnTo>
                <a:lnTo>
                  <a:pt x="139700" y="23875"/>
                </a:lnTo>
                <a:lnTo>
                  <a:pt x="122174" y="15875"/>
                </a:lnTo>
                <a:lnTo>
                  <a:pt x="114300" y="4825"/>
                </a:lnTo>
                <a:lnTo>
                  <a:pt x="104775" y="0"/>
                </a:lnTo>
                <a:lnTo>
                  <a:pt x="90424" y="11175"/>
                </a:lnTo>
                <a:lnTo>
                  <a:pt x="80899" y="23875"/>
                </a:lnTo>
                <a:lnTo>
                  <a:pt x="76200" y="38100"/>
                </a:lnTo>
                <a:lnTo>
                  <a:pt x="74549" y="49275"/>
                </a:lnTo>
                <a:lnTo>
                  <a:pt x="50800" y="73025"/>
                </a:lnTo>
                <a:lnTo>
                  <a:pt x="26924" y="100075"/>
                </a:lnTo>
                <a:lnTo>
                  <a:pt x="12700" y="122300"/>
                </a:lnTo>
                <a:lnTo>
                  <a:pt x="0" y="136525"/>
                </a:lnTo>
                <a:close/>
              </a:path>
            </a:pathLst>
          </a:custGeom>
          <a:solidFill>
            <a:srgbClr val="9F9F9F"/>
          </a:solidFill>
        </p:spPr>
        <p:txBody>
          <a:bodyPr wrap="square" lIns="0" tIns="0" rIns="0" bIns="0" rtlCol="0">
            <a:noAutofit/>
          </a:bodyPr>
          <a:lstStyle/>
          <a:p>
            <a:endParaRPr/>
          </a:p>
        </p:txBody>
      </p:sp>
      <p:sp>
        <p:nvSpPr>
          <p:cNvPr id="1213" name="object 1213"/>
          <p:cNvSpPr/>
          <p:nvPr/>
        </p:nvSpPr>
        <p:spPr>
          <a:xfrm>
            <a:off x="8837676" y="3060700"/>
            <a:ext cx="160274" cy="154050"/>
          </a:xfrm>
          <a:custGeom>
            <a:avLst/>
            <a:gdLst/>
            <a:ahLst/>
            <a:cxnLst/>
            <a:rect l="l" t="t" r="r" b="b"/>
            <a:pathLst>
              <a:path w="160274" h="154050">
                <a:moveTo>
                  <a:pt x="90424" y="11175"/>
                </a:moveTo>
                <a:lnTo>
                  <a:pt x="80899" y="23875"/>
                </a:lnTo>
                <a:lnTo>
                  <a:pt x="76200" y="38100"/>
                </a:lnTo>
                <a:lnTo>
                  <a:pt x="74549" y="49275"/>
                </a:lnTo>
                <a:lnTo>
                  <a:pt x="50800" y="73025"/>
                </a:lnTo>
                <a:lnTo>
                  <a:pt x="26924" y="100075"/>
                </a:lnTo>
                <a:lnTo>
                  <a:pt x="12700" y="122300"/>
                </a:lnTo>
                <a:lnTo>
                  <a:pt x="0" y="136525"/>
                </a:lnTo>
                <a:lnTo>
                  <a:pt x="0" y="144525"/>
                </a:lnTo>
                <a:lnTo>
                  <a:pt x="22225" y="150875"/>
                </a:lnTo>
                <a:lnTo>
                  <a:pt x="45974" y="154050"/>
                </a:lnTo>
                <a:lnTo>
                  <a:pt x="63500" y="135000"/>
                </a:lnTo>
                <a:lnTo>
                  <a:pt x="85725" y="111125"/>
                </a:lnTo>
                <a:lnTo>
                  <a:pt x="98425" y="106425"/>
                </a:lnTo>
                <a:lnTo>
                  <a:pt x="106299" y="85725"/>
                </a:lnTo>
                <a:lnTo>
                  <a:pt x="118999" y="68325"/>
                </a:lnTo>
                <a:lnTo>
                  <a:pt x="142875" y="50800"/>
                </a:lnTo>
                <a:lnTo>
                  <a:pt x="160274" y="31750"/>
                </a:lnTo>
                <a:lnTo>
                  <a:pt x="139700" y="23875"/>
                </a:lnTo>
                <a:lnTo>
                  <a:pt x="122174" y="15875"/>
                </a:lnTo>
                <a:lnTo>
                  <a:pt x="114300" y="4825"/>
                </a:lnTo>
                <a:lnTo>
                  <a:pt x="104775" y="0"/>
                </a:lnTo>
                <a:lnTo>
                  <a:pt x="90424" y="11175"/>
                </a:lnTo>
              </a:path>
            </a:pathLst>
          </a:custGeom>
          <a:ln w="12700">
            <a:solidFill>
              <a:srgbClr val="000000"/>
            </a:solidFill>
          </a:ln>
        </p:spPr>
        <p:txBody>
          <a:bodyPr wrap="square" lIns="0" tIns="0" rIns="0" bIns="0" rtlCol="0">
            <a:noAutofit/>
          </a:bodyPr>
          <a:lstStyle/>
          <a:p>
            <a:endParaRPr/>
          </a:p>
        </p:txBody>
      </p:sp>
      <p:sp>
        <p:nvSpPr>
          <p:cNvPr id="1214" name="object 1214"/>
          <p:cNvSpPr/>
          <p:nvPr/>
        </p:nvSpPr>
        <p:spPr>
          <a:xfrm>
            <a:off x="8826500" y="3203575"/>
            <a:ext cx="134874" cy="44450"/>
          </a:xfrm>
          <a:custGeom>
            <a:avLst/>
            <a:gdLst/>
            <a:ahLst/>
            <a:cxnLst/>
            <a:rect l="l" t="t" r="r" b="b"/>
            <a:pathLst>
              <a:path w="134874" h="44450">
                <a:moveTo>
                  <a:pt x="20574" y="36575"/>
                </a:moveTo>
                <a:lnTo>
                  <a:pt x="33274" y="33400"/>
                </a:lnTo>
                <a:lnTo>
                  <a:pt x="38100" y="28575"/>
                </a:lnTo>
                <a:lnTo>
                  <a:pt x="50800" y="34925"/>
                </a:lnTo>
                <a:lnTo>
                  <a:pt x="77724" y="39750"/>
                </a:lnTo>
                <a:lnTo>
                  <a:pt x="101600" y="42925"/>
                </a:lnTo>
                <a:lnTo>
                  <a:pt x="114300" y="44450"/>
                </a:lnTo>
                <a:lnTo>
                  <a:pt x="127000" y="39750"/>
                </a:lnTo>
                <a:lnTo>
                  <a:pt x="133350" y="34925"/>
                </a:lnTo>
                <a:lnTo>
                  <a:pt x="134874" y="25400"/>
                </a:lnTo>
                <a:lnTo>
                  <a:pt x="131699" y="17525"/>
                </a:lnTo>
                <a:lnTo>
                  <a:pt x="127000" y="12700"/>
                </a:lnTo>
                <a:lnTo>
                  <a:pt x="117475" y="8000"/>
                </a:lnTo>
                <a:lnTo>
                  <a:pt x="101600" y="6350"/>
                </a:lnTo>
                <a:lnTo>
                  <a:pt x="80899" y="6350"/>
                </a:lnTo>
                <a:lnTo>
                  <a:pt x="66675" y="9525"/>
                </a:lnTo>
                <a:lnTo>
                  <a:pt x="57150" y="9525"/>
                </a:lnTo>
                <a:lnTo>
                  <a:pt x="41275" y="6350"/>
                </a:lnTo>
                <a:lnTo>
                  <a:pt x="14224" y="0"/>
                </a:lnTo>
                <a:lnTo>
                  <a:pt x="4699" y="8000"/>
                </a:lnTo>
                <a:lnTo>
                  <a:pt x="1524" y="17525"/>
                </a:lnTo>
                <a:lnTo>
                  <a:pt x="0" y="30225"/>
                </a:lnTo>
                <a:lnTo>
                  <a:pt x="20574" y="36575"/>
                </a:lnTo>
                <a:close/>
              </a:path>
            </a:pathLst>
          </a:custGeom>
          <a:solidFill>
            <a:srgbClr val="5F2F00"/>
          </a:solidFill>
        </p:spPr>
        <p:txBody>
          <a:bodyPr wrap="square" lIns="0" tIns="0" rIns="0" bIns="0" rtlCol="0">
            <a:noAutofit/>
          </a:bodyPr>
          <a:lstStyle/>
          <a:p>
            <a:endParaRPr/>
          </a:p>
        </p:txBody>
      </p:sp>
      <p:sp>
        <p:nvSpPr>
          <p:cNvPr id="1215" name="object 1215"/>
          <p:cNvSpPr/>
          <p:nvPr/>
        </p:nvSpPr>
        <p:spPr>
          <a:xfrm>
            <a:off x="8826500" y="3203575"/>
            <a:ext cx="134874" cy="44450"/>
          </a:xfrm>
          <a:custGeom>
            <a:avLst/>
            <a:gdLst/>
            <a:ahLst/>
            <a:cxnLst/>
            <a:rect l="l" t="t" r="r" b="b"/>
            <a:pathLst>
              <a:path w="134874" h="44450">
                <a:moveTo>
                  <a:pt x="14224" y="0"/>
                </a:moveTo>
                <a:lnTo>
                  <a:pt x="4699" y="8000"/>
                </a:lnTo>
                <a:lnTo>
                  <a:pt x="1524" y="17525"/>
                </a:lnTo>
                <a:lnTo>
                  <a:pt x="0" y="30225"/>
                </a:lnTo>
                <a:lnTo>
                  <a:pt x="20574" y="36575"/>
                </a:lnTo>
                <a:lnTo>
                  <a:pt x="33274" y="33400"/>
                </a:lnTo>
                <a:lnTo>
                  <a:pt x="38100" y="28575"/>
                </a:lnTo>
                <a:lnTo>
                  <a:pt x="50800" y="34925"/>
                </a:lnTo>
                <a:lnTo>
                  <a:pt x="77724" y="39750"/>
                </a:lnTo>
                <a:lnTo>
                  <a:pt x="101600" y="42925"/>
                </a:lnTo>
                <a:lnTo>
                  <a:pt x="114300" y="44450"/>
                </a:lnTo>
                <a:lnTo>
                  <a:pt x="127000" y="39750"/>
                </a:lnTo>
                <a:lnTo>
                  <a:pt x="133350" y="34925"/>
                </a:lnTo>
                <a:lnTo>
                  <a:pt x="134874" y="25400"/>
                </a:lnTo>
                <a:lnTo>
                  <a:pt x="131699" y="17525"/>
                </a:lnTo>
                <a:lnTo>
                  <a:pt x="127000" y="12700"/>
                </a:lnTo>
                <a:lnTo>
                  <a:pt x="117475" y="8000"/>
                </a:lnTo>
                <a:lnTo>
                  <a:pt x="101600" y="6350"/>
                </a:lnTo>
                <a:lnTo>
                  <a:pt x="80899" y="6350"/>
                </a:lnTo>
                <a:lnTo>
                  <a:pt x="66675" y="9525"/>
                </a:lnTo>
                <a:lnTo>
                  <a:pt x="57150" y="9525"/>
                </a:lnTo>
                <a:lnTo>
                  <a:pt x="41275" y="6350"/>
                </a:lnTo>
                <a:lnTo>
                  <a:pt x="14224" y="0"/>
                </a:lnTo>
              </a:path>
            </a:pathLst>
          </a:custGeom>
          <a:ln w="12700">
            <a:solidFill>
              <a:srgbClr val="000000"/>
            </a:solidFill>
          </a:ln>
        </p:spPr>
        <p:txBody>
          <a:bodyPr wrap="square" lIns="0" tIns="0" rIns="0" bIns="0" rtlCol="0">
            <a:noAutofit/>
          </a:bodyPr>
          <a:lstStyle/>
          <a:p>
            <a:endParaRPr/>
          </a:p>
        </p:txBody>
      </p:sp>
      <p:sp>
        <p:nvSpPr>
          <p:cNvPr id="1216" name="object 1216"/>
          <p:cNvSpPr/>
          <p:nvPr/>
        </p:nvSpPr>
        <p:spPr>
          <a:xfrm>
            <a:off x="8915400" y="2935351"/>
            <a:ext cx="217424" cy="192024"/>
          </a:xfrm>
          <a:custGeom>
            <a:avLst/>
            <a:gdLst/>
            <a:ahLst/>
            <a:cxnLst/>
            <a:rect l="l" t="t" r="r" b="b"/>
            <a:pathLst>
              <a:path w="217424" h="192024">
                <a:moveTo>
                  <a:pt x="106299" y="115824"/>
                </a:moveTo>
                <a:lnTo>
                  <a:pt x="112649" y="96774"/>
                </a:lnTo>
                <a:lnTo>
                  <a:pt x="115824" y="76200"/>
                </a:lnTo>
                <a:lnTo>
                  <a:pt x="117475" y="52324"/>
                </a:lnTo>
                <a:lnTo>
                  <a:pt x="134874" y="47625"/>
                </a:lnTo>
                <a:lnTo>
                  <a:pt x="179324" y="41275"/>
                </a:lnTo>
                <a:lnTo>
                  <a:pt x="214249" y="31750"/>
                </a:lnTo>
                <a:lnTo>
                  <a:pt x="214249" y="6350"/>
                </a:lnTo>
                <a:lnTo>
                  <a:pt x="217424" y="0"/>
                </a:lnTo>
                <a:lnTo>
                  <a:pt x="203200" y="0"/>
                </a:lnTo>
                <a:lnTo>
                  <a:pt x="188849" y="6350"/>
                </a:lnTo>
                <a:lnTo>
                  <a:pt x="176149" y="7874"/>
                </a:lnTo>
                <a:lnTo>
                  <a:pt x="163449" y="11049"/>
                </a:lnTo>
                <a:lnTo>
                  <a:pt x="149225" y="11049"/>
                </a:lnTo>
                <a:lnTo>
                  <a:pt x="125349" y="17399"/>
                </a:lnTo>
                <a:lnTo>
                  <a:pt x="107950" y="15875"/>
                </a:lnTo>
                <a:lnTo>
                  <a:pt x="88900" y="19050"/>
                </a:lnTo>
                <a:lnTo>
                  <a:pt x="66675" y="25400"/>
                </a:lnTo>
                <a:lnTo>
                  <a:pt x="53975" y="34925"/>
                </a:lnTo>
                <a:lnTo>
                  <a:pt x="50800" y="45974"/>
                </a:lnTo>
                <a:lnTo>
                  <a:pt x="53975" y="60325"/>
                </a:lnTo>
                <a:lnTo>
                  <a:pt x="50800" y="71374"/>
                </a:lnTo>
                <a:lnTo>
                  <a:pt x="45974" y="79375"/>
                </a:lnTo>
                <a:lnTo>
                  <a:pt x="38100" y="90424"/>
                </a:lnTo>
                <a:lnTo>
                  <a:pt x="25400" y="99949"/>
                </a:lnTo>
                <a:lnTo>
                  <a:pt x="17399" y="104775"/>
                </a:lnTo>
                <a:lnTo>
                  <a:pt x="0" y="112649"/>
                </a:lnTo>
                <a:lnTo>
                  <a:pt x="4699" y="127000"/>
                </a:lnTo>
                <a:lnTo>
                  <a:pt x="20574" y="134874"/>
                </a:lnTo>
                <a:lnTo>
                  <a:pt x="33274" y="139700"/>
                </a:lnTo>
                <a:lnTo>
                  <a:pt x="41275" y="150749"/>
                </a:lnTo>
                <a:lnTo>
                  <a:pt x="49149" y="168275"/>
                </a:lnTo>
                <a:lnTo>
                  <a:pt x="53975" y="179324"/>
                </a:lnTo>
                <a:lnTo>
                  <a:pt x="63500" y="185674"/>
                </a:lnTo>
                <a:lnTo>
                  <a:pt x="76200" y="192024"/>
                </a:lnTo>
                <a:lnTo>
                  <a:pt x="77724" y="182499"/>
                </a:lnTo>
                <a:lnTo>
                  <a:pt x="85725" y="157099"/>
                </a:lnTo>
                <a:lnTo>
                  <a:pt x="98425" y="136525"/>
                </a:lnTo>
                <a:lnTo>
                  <a:pt x="106299" y="115824"/>
                </a:lnTo>
                <a:close/>
              </a:path>
            </a:pathLst>
          </a:custGeom>
          <a:solidFill>
            <a:srgbClr val="0000FF"/>
          </a:solidFill>
        </p:spPr>
        <p:txBody>
          <a:bodyPr wrap="square" lIns="0" tIns="0" rIns="0" bIns="0" rtlCol="0">
            <a:noAutofit/>
          </a:bodyPr>
          <a:lstStyle/>
          <a:p>
            <a:endParaRPr/>
          </a:p>
        </p:txBody>
      </p:sp>
      <p:sp>
        <p:nvSpPr>
          <p:cNvPr id="1217" name="object 1217"/>
          <p:cNvSpPr/>
          <p:nvPr/>
        </p:nvSpPr>
        <p:spPr>
          <a:xfrm>
            <a:off x="8915400" y="2935351"/>
            <a:ext cx="217424" cy="192024"/>
          </a:xfrm>
          <a:custGeom>
            <a:avLst/>
            <a:gdLst/>
            <a:ahLst/>
            <a:cxnLst/>
            <a:rect l="l" t="t" r="r" b="b"/>
            <a:pathLst>
              <a:path w="217424" h="192024">
                <a:moveTo>
                  <a:pt x="53975" y="60325"/>
                </a:moveTo>
                <a:lnTo>
                  <a:pt x="50800" y="71374"/>
                </a:lnTo>
                <a:lnTo>
                  <a:pt x="45974" y="79375"/>
                </a:lnTo>
                <a:lnTo>
                  <a:pt x="38100" y="90424"/>
                </a:lnTo>
                <a:lnTo>
                  <a:pt x="25400" y="99949"/>
                </a:lnTo>
                <a:lnTo>
                  <a:pt x="17399" y="104775"/>
                </a:lnTo>
                <a:lnTo>
                  <a:pt x="0" y="112649"/>
                </a:lnTo>
                <a:lnTo>
                  <a:pt x="4699" y="127000"/>
                </a:lnTo>
                <a:lnTo>
                  <a:pt x="20574" y="134874"/>
                </a:lnTo>
                <a:lnTo>
                  <a:pt x="33274" y="139700"/>
                </a:lnTo>
                <a:lnTo>
                  <a:pt x="41275" y="150749"/>
                </a:lnTo>
                <a:lnTo>
                  <a:pt x="49149" y="168275"/>
                </a:lnTo>
                <a:lnTo>
                  <a:pt x="53975" y="179324"/>
                </a:lnTo>
                <a:lnTo>
                  <a:pt x="63500" y="185674"/>
                </a:lnTo>
                <a:lnTo>
                  <a:pt x="76200" y="192024"/>
                </a:lnTo>
                <a:lnTo>
                  <a:pt x="77724" y="182499"/>
                </a:lnTo>
                <a:lnTo>
                  <a:pt x="85725" y="157099"/>
                </a:lnTo>
                <a:lnTo>
                  <a:pt x="98425" y="136525"/>
                </a:lnTo>
                <a:lnTo>
                  <a:pt x="106299" y="115824"/>
                </a:lnTo>
                <a:lnTo>
                  <a:pt x="112649" y="96774"/>
                </a:lnTo>
                <a:lnTo>
                  <a:pt x="115824" y="76200"/>
                </a:lnTo>
                <a:lnTo>
                  <a:pt x="117475" y="52324"/>
                </a:lnTo>
                <a:lnTo>
                  <a:pt x="134874" y="47625"/>
                </a:lnTo>
                <a:lnTo>
                  <a:pt x="179324" y="41275"/>
                </a:lnTo>
                <a:lnTo>
                  <a:pt x="214249" y="31750"/>
                </a:lnTo>
                <a:lnTo>
                  <a:pt x="214249" y="22225"/>
                </a:lnTo>
                <a:lnTo>
                  <a:pt x="214249" y="6350"/>
                </a:lnTo>
                <a:lnTo>
                  <a:pt x="217424" y="0"/>
                </a:lnTo>
                <a:lnTo>
                  <a:pt x="203200" y="0"/>
                </a:lnTo>
                <a:lnTo>
                  <a:pt x="188849" y="6350"/>
                </a:lnTo>
                <a:lnTo>
                  <a:pt x="176149" y="7874"/>
                </a:lnTo>
                <a:lnTo>
                  <a:pt x="163449" y="11049"/>
                </a:lnTo>
                <a:lnTo>
                  <a:pt x="149225" y="11049"/>
                </a:lnTo>
                <a:lnTo>
                  <a:pt x="125349" y="17399"/>
                </a:lnTo>
                <a:lnTo>
                  <a:pt x="107950" y="15875"/>
                </a:lnTo>
                <a:lnTo>
                  <a:pt x="88900" y="19050"/>
                </a:lnTo>
                <a:lnTo>
                  <a:pt x="66675" y="25400"/>
                </a:lnTo>
                <a:lnTo>
                  <a:pt x="53975" y="34925"/>
                </a:lnTo>
                <a:lnTo>
                  <a:pt x="50800" y="45974"/>
                </a:lnTo>
                <a:lnTo>
                  <a:pt x="53975" y="60325"/>
                </a:lnTo>
              </a:path>
            </a:pathLst>
          </a:custGeom>
          <a:ln w="12700">
            <a:solidFill>
              <a:srgbClr val="000000"/>
            </a:solidFill>
          </a:ln>
        </p:spPr>
        <p:txBody>
          <a:bodyPr wrap="square" lIns="0" tIns="0" rIns="0" bIns="0" rtlCol="0">
            <a:noAutofit/>
          </a:bodyPr>
          <a:lstStyle/>
          <a:p>
            <a:endParaRPr/>
          </a:p>
        </p:txBody>
      </p:sp>
      <p:sp>
        <p:nvSpPr>
          <p:cNvPr id="1218" name="object 1218"/>
          <p:cNvSpPr/>
          <p:nvPr/>
        </p:nvSpPr>
        <p:spPr>
          <a:xfrm>
            <a:off x="9023351" y="2973452"/>
            <a:ext cx="41275" cy="112649"/>
          </a:xfrm>
          <a:custGeom>
            <a:avLst/>
            <a:gdLst/>
            <a:ahLst/>
            <a:cxnLst/>
            <a:rect l="l" t="t" r="r" b="b"/>
            <a:pathLst>
              <a:path w="41275" h="112649">
                <a:moveTo>
                  <a:pt x="6350" y="14224"/>
                </a:moveTo>
                <a:lnTo>
                  <a:pt x="1524" y="36449"/>
                </a:lnTo>
                <a:lnTo>
                  <a:pt x="0" y="57150"/>
                </a:lnTo>
                <a:lnTo>
                  <a:pt x="0" y="69850"/>
                </a:lnTo>
                <a:lnTo>
                  <a:pt x="6350" y="90424"/>
                </a:lnTo>
                <a:lnTo>
                  <a:pt x="19050" y="103124"/>
                </a:lnTo>
                <a:lnTo>
                  <a:pt x="31750" y="112649"/>
                </a:lnTo>
                <a:lnTo>
                  <a:pt x="41275" y="88900"/>
                </a:lnTo>
                <a:lnTo>
                  <a:pt x="41275" y="73025"/>
                </a:lnTo>
                <a:lnTo>
                  <a:pt x="34925" y="50800"/>
                </a:lnTo>
                <a:lnTo>
                  <a:pt x="23875" y="23749"/>
                </a:lnTo>
                <a:lnTo>
                  <a:pt x="19050" y="11049"/>
                </a:lnTo>
                <a:lnTo>
                  <a:pt x="12700" y="0"/>
                </a:lnTo>
                <a:lnTo>
                  <a:pt x="0" y="3175"/>
                </a:lnTo>
                <a:lnTo>
                  <a:pt x="6350" y="14224"/>
                </a:lnTo>
                <a:close/>
              </a:path>
            </a:pathLst>
          </a:custGeom>
          <a:solidFill>
            <a:srgbClr val="FF0000"/>
          </a:solidFill>
        </p:spPr>
        <p:txBody>
          <a:bodyPr wrap="square" lIns="0" tIns="0" rIns="0" bIns="0" rtlCol="0">
            <a:noAutofit/>
          </a:bodyPr>
          <a:lstStyle/>
          <a:p>
            <a:endParaRPr/>
          </a:p>
        </p:txBody>
      </p:sp>
      <p:sp>
        <p:nvSpPr>
          <p:cNvPr id="1219" name="object 1219"/>
          <p:cNvSpPr/>
          <p:nvPr/>
        </p:nvSpPr>
        <p:spPr>
          <a:xfrm>
            <a:off x="9023351" y="2973452"/>
            <a:ext cx="41275" cy="112649"/>
          </a:xfrm>
          <a:custGeom>
            <a:avLst/>
            <a:gdLst/>
            <a:ahLst/>
            <a:cxnLst/>
            <a:rect l="l" t="t" r="r" b="b"/>
            <a:pathLst>
              <a:path w="41275" h="112649">
                <a:moveTo>
                  <a:pt x="6350" y="14224"/>
                </a:moveTo>
                <a:lnTo>
                  <a:pt x="1524" y="36449"/>
                </a:lnTo>
                <a:lnTo>
                  <a:pt x="0" y="57150"/>
                </a:lnTo>
                <a:lnTo>
                  <a:pt x="0" y="69850"/>
                </a:lnTo>
                <a:lnTo>
                  <a:pt x="6350" y="90424"/>
                </a:lnTo>
                <a:lnTo>
                  <a:pt x="19050" y="103124"/>
                </a:lnTo>
                <a:lnTo>
                  <a:pt x="31750" y="112649"/>
                </a:lnTo>
                <a:lnTo>
                  <a:pt x="41275" y="88900"/>
                </a:lnTo>
                <a:lnTo>
                  <a:pt x="41275" y="73025"/>
                </a:lnTo>
                <a:lnTo>
                  <a:pt x="34925" y="50800"/>
                </a:lnTo>
                <a:lnTo>
                  <a:pt x="23875" y="23749"/>
                </a:lnTo>
                <a:lnTo>
                  <a:pt x="19050" y="11049"/>
                </a:lnTo>
                <a:lnTo>
                  <a:pt x="12700" y="0"/>
                </a:lnTo>
                <a:lnTo>
                  <a:pt x="0" y="3175"/>
                </a:lnTo>
                <a:lnTo>
                  <a:pt x="6350" y="14224"/>
                </a:lnTo>
              </a:path>
            </a:pathLst>
          </a:custGeom>
          <a:ln w="12700">
            <a:solidFill>
              <a:srgbClr val="000000"/>
            </a:solidFill>
          </a:ln>
        </p:spPr>
        <p:txBody>
          <a:bodyPr wrap="square" lIns="0" tIns="0" rIns="0" bIns="0" rtlCol="0">
            <a:noAutofit/>
          </a:bodyPr>
          <a:lstStyle/>
          <a:p>
            <a:endParaRPr/>
          </a:p>
        </p:txBody>
      </p:sp>
      <p:sp>
        <p:nvSpPr>
          <p:cNvPr id="1220" name="object 1220"/>
          <p:cNvSpPr/>
          <p:nvPr/>
        </p:nvSpPr>
        <p:spPr>
          <a:xfrm>
            <a:off x="9118601" y="2909952"/>
            <a:ext cx="68199" cy="68199"/>
          </a:xfrm>
          <a:custGeom>
            <a:avLst/>
            <a:gdLst/>
            <a:ahLst/>
            <a:cxnLst/>
            <a:rect l="l" t="t" r="r" b="b"/>
            <a:pathLst>
              <a:path w="68199" h="68199">
                <a:moveTo>
                  <a:pt x="65024" y="9525"/>
                </a:moveTo>
                <a:lnTo>
                  <a:pt x="52324" y="9525"/>
                </a:lnTo>
                <a:lnTo>
                  <a:pt x="57150" y="7874"/>
                </a:lnTo>
                <a:lnTo>
                  <a:pt x="60325" y="6350"/>
                </a:lnTo>
                <a:lnTo>
                  <a:pt x="60325" y="3175"/>
                </a:lnTo>
                <a:lnTo>
                  <a:pt x="57150" y="0"/>
                </a:lnTo>
                <a:lnTo>
                  <a:pt x="44450" y="1524"/>
                </a:lnTo>
                <a:lnTo>
                  <a:pt x="23749" y="6350"/>
                </a:lnTo>
                <a:lnTo>
                  <a:pt x="19050" y="9525"/>
                </a:lnTo>
                <a:lnTo>
                  <a:pt x="19050" y="11049"/>
                </a:lnTo>
                <a:lnTo>
                  <a:pt x="20574" y="19050"/>
                </a:lnTo>
                <a:lnTo>
                  <a:pt x="23749" y="30099"/>
                </a:lnTo>
                <a:lnTo>
                  <a:pt x="23749" y="36449"/>
                </a:lnTo>
                <a:lnTo>
                  <a:pt x="22225" y="38100"/>
                </a:lnTo>
                <a:lnTo>
                  <a:pt x="3175" y="44450"/>
                </a:lnTo>
                <a:lnTo>
                  <a:pt x="0" y="44450"/>
                </a:lnTo>
                <a:lnTo>
                  <a:pt x="0" y="61849"/>
                </a:lnTo>
                <a:lnTo>
                  <a:pt x="12700" y="58674"/>
                </a:lnTo>
                <a:lnTo>
                  <a:pt x="25400" y="55499"/>
                </a:lnTo>
                <a:lnTo>
                  <a:pt x="30099" y="55499"/>
                </a:lnTo>
                <a:lnTo>
                  <a:pt x="33274" y="61849"/>
                </a:lnTo>
                <a:lnTo>
                  <a:pt x="36449" y="66675"/>
                </a:lnTo>
                <a:lnTo>
                  <a:pt x="41275" y="68199"/>
                </a:lnTo>
                <a:lnTo>
                  <a:pt x="49149" y="66675"/>
                </a:lnTo>
                <a:lnTo>
                  <a:pt x="49149" y="61849"/>
                </a:lnTo>
                <a:lnTo>
                  <a:pt x="45974" y="52324"/>
                </a:lnTo>
                <a:lnTo>
                  <a:pt x="41275" y="42799"/>
                </a:lnTo>
                <a:lnTo>
                  <a:pt x="41275" y="33274"/>
                </a:lnTo>
                <a:lnTo>
                  <a:pt x="45974" y="31750"/>
                </a:lnTo>
                <a:lnTo>
                  <a:pt x="52324" y="30099"/>
                </a:lnTo>
                <a:lnTo>
                  <a:pt x="58674" y="30099"/>
                </a:lnTo>
                <a:lnTo>
                  <a:pt x="65024" y="28575"/>
                </a:lnTo>
                <a:lnTo>
                  <a:pt x="66675" y="26924"/>
                </a:lnTo>
                <a:lnTo>
                  <a:pt x="68199" y="23749"/>
                </a:lnTo>
                <a:lnTo>
                  <a:pt x="66675" y="22225"/>
                </a:lnTo>
                <a:lnTo>
                  <a:pt x="63500" y="20574"/>
                </a:lnTo>
                <a:lnTo>
                  <a:pt x="55499" y="19050"/>
                </a:lnTo>
                <a:lnTo>
                  <a:pt x="60325" y="17399"/>
                </a:lnTo>
                <a:lnTo>
                  <a:pt x="65024" y="15875"/>
                </a:lnTo>
                <a:lnTo>
                  <a:pt x="68199" y="12700"/>
                </a:lnTo>
                <a:lnTo>
                  <a:pt x="68199" y="9525"/>
                </a:lnTo>
                <a:lnTo>
                  <a:pt x="65024" y="9525"/>
                </a:lnTo>
                <a:close/>
              </a:path>
            </a:pathLst>
          </a:custGeom>
          <a:solidFill>
            <a:srgbClr val="FFDFC0"/>
          </a:solidFill>
        </p:spPr>
        <p:txBody>
          <a:bodyPr wrap="square" lIns="0" tIns="0" rIns="0" bIns="0" rtlCol="0">
            <a:noAutofit/>
          </a:bodyPr>
          <a:lstStyle/>
          <a:p>
            <a:endParaRPr/>
          </a:p>
        </p:txBody>
      </p:sp>
      <p:sp>
        <p:nvSpPr>
          <p:cNvPr id="1221" name="object 1221"/>
          <p:cNvSpPr/>
          <p:nvPr/>
        </p:nvSpPr>
        <p:spPr>
          <a:xfrm>
            <a:off x="9118601" y="2909952"/>
            <a:ext cx="68199" cy="68199"/>
          </a:xfrm>
          <a:custGeom>
            <a:avLst/>
            <a:gdLst/>
            <a:ahLst/>
            <a:cxnLst/>
            <a:rect l="l" t="t" r="r" b="b"/>
            <a:pathLst>
              <a:path w="68199" h="68199">
                <a:moveTo>
                  <a:pt x="3175" y="44450"/>
                </a:moveTo>
                <a:lnTo>
                  <a:pt x="22225" y="38100"/>
                </a:lnTo>
                <a:lnTo>
                  <a:pt x="23749" y="36449"/>
                </a:lnTo>
                <a:lnTo>
                  <a:pt x="23749" y="30099"/>
                </a:lnTo>
                <a:lnTo>
                  <a:pt x="20574" y="19050"/>
                </a:lnTo>
                <a:lnTo>
                  <a:pt x="19050" y="11049"/>
                </a:lnTo>
                <a:lnTo>
                  <a:pt x="19050" y="9525"/>
                </a:lnTo>
                <a:lnTo>
                  <a:pt x="23749" y="6350"/>
                </a:lnTo>
                <a:lnTo>
                  <a:pt x="44450" y="1524"/>
                </a:lnTo>
                <a:lnTo>
                  <a:pt x="57150" y="0"/>
                </a:lnTo>
                <a:lnTo>
                  <a:pt x="60325" y="3175"/>
                </a:lnTo>
                <a:lnTo>
                  <a:pt x="60325" y="6350"/>
                </a:lnTo>
                <a:lnTo>
                  <a:pt x="57150" y="7874"/>
                </a:lnTo>
                <a:lnTo>
                  <a:pt x="52324" y="9525"/>
                </a:lnTo>
                <a:lnTo>
                  <a:pt x="58674" y="9525"/>
                </a:lnTo>
                <a:lnTo>
                  <a:pt x="65024" y="9525"/>
                </a:lnTo>
                <a:lnTo>
                  <a:pt x="68199" y="9525"/>
                </a:lnTo>
                <a:lnTo>
                  <a:pt x="68199" y="12700"/>
                </a:lnTo>
                <a:lnTo>
                  <a:pt x="66675" y="14224"/>
                </a:lnTo>
                <a:lnTo>
                  <a:pt x="65024" y="15875"/>
                </a:lnTo>
                <a:lnTo>
                  <a:pt x="60325" y="17399"/>
                </a:lnTo>
                <a:lnTo>
                  <a:pt x="55499" y="19050"/>
                </a:lnTo>
                <a:lnTo>
                  <a:pt x="63500" y="20574"/>
                </a:lnTo>
                <a:lnTo>
                  <a:pt x="66675" y="22225"/>
                </a:lnTo>
                <a:lnTo>
                  <a:pt x="68199" y="23749"/>
                </a:lnTo>
                <a:lnTo>
                  <a:pt x="66675" y="26924"/>
                </a:lnTo>
                <a:lnTo>
                  <a:pt x="65024" y="28575"/>
                </a:lnTo>
                <a:lnTo>
                  <a:pt x="58674" y="30099"/>
                </a:lnTo>
                <a:lnTo>
                  <a:pt x="52324" y="30099"/>
                </a:lnTo>
                <a:lnTo>
                  <a:pt x="45974" y="31750"/>
                </a:lnTo>
                <a:lnTo>
                  <a:pt x="41275" y="33274"/>
                </a:lnTo>
                <a:lnTo>
                  <a:pt x="41275" y="36449"/>
                </a:lnTo>
                <a:lnTo>
                  <a:pt x="41275" y="42799"/>
                </a:lnTo>
                <a:lnTo>
                  <a:pt x="45974" y="52324"/>
                </a:lnTo>
                <a:lnTo>
                  <a:pt x="49149" y="61849"/>
                </a:lnTo>
                <a:lnTo>
                  <a:pt x="49149" y="66675"/>
                </a:lnTo>
                <a:lnTo>
                  <a:pt x="41275" y="68199"/>
                </a:lnTo>
                <a:lnTo>
                  <a:pt x="36449" y="66675"/>
                </a:lnTo>
                <a:lnTo>
                  <a:pt x="33274" y="61849"/>
                </a:lnTo>
                <a:lnTo>
                  <a:pt x="30099" y="55499"/>
                </a:lnTo>
                <a:lnTo>
                  <a:pt x="25400" y="55499"/>
                </a:lnTo>
                <a:lnTo>
                  <a:pt x="12700" y="58674"/>
                </a:lnTo>
                <a:lnTo>
                  <a:pt x="0" y="61849"/>
                </a:lnTo>
                <a:lnTo>
                  <a:pt x="0" y="44450"/>
                </a:lnTo>
                <a:lnTo>
                  <a:pt x="3175" y="44450"/>
                </a:lnTo>
              </a:path>
            </a:pathLst>
          </a:custGeom>
          <a:ln w="12700">
            <a:solidFill>
              <a:srgbClr val="000000"/>
            </a:solidFill>
          </a:ln>
        </p:spPr>
        <p:txBody>
          <a:bodyPr wrap="square" lIns="0" tIns="0" rIns="0" bIns="0" rtlCol="0">
            <a:noAutofit/>
          </a:bodyPr>
          <a:lstStyle/>
          <a:p>
            <a:endParaRPr/>
          </a:p>
        </p:txBody>
      </p:sp>
      <p:sp>
        <p:nvSpPr>
          <p:cNvPr id="1222" name="object 1222"/>
          <p:cNvSpPr/>
          <p:nvPr/>
        </p:nvSpPr>
        <p:spPr>
          <a:xfrm>
            <a:off x="9155176" y="2919476"/>
            <a:ext cx="25400" cy="25400"/>
          </a:xfrm>
          <a:custGeom>
            <a:avLst/>
            <a:gdLst/>
            <a:ahLst/>
            <a:cxnLst/>
            <a:rect l="l" t="t" r="r" b="b"/>
            <a:pathLst>
              <a:path w="25400" h="25400">
                <a:moveTo>
                  <a:pt x="25400" y="0"/>
                </a:moveTo>
                <a:lnTo>
                  <a:pt x="7874" y="14224"/>
                </a:lnTo>
                <a:lnTo>
                  <a:pt x="0" y="25400"/>
                </a:lnTo>
              </a:path>
            </a:pathLst>
          </a:custGeom>
          <a:ln w="12700">
            <a:solidFill>
              <a:srgbClr val="000000"/>
            </a:solidFill>
          </a:ln>
        </p:spPr>
        <p:txBody>
          <a:bodyPr wrap="square" lIns="0" tIns="0" rIns="0" bIns="0" rtlCol="0">
            <a:noAutofit/>
          </a:bodyPr>
          <a:lstStyle/>
          <a:p>
            <a:endParaRPr/>
          </a:p>
        </p:txBody>
      </p:sp>
      <p:sp>
        <p:nvSpPr>
          <p:cNvPr id="1223" name="object 1223"/>
          <p:cNvSpPr/>
          <p:nvPr/>
        </p:nvSpPr>
        <p:spPr>
          <a:xfrm>
            <a:off x="9158351" y="2929001"/>
            <a:ext cx="25400" cy="25400"/>
          </a:xfrm>
          <a:custGeom>
            <a:avLst/>
            <a:gdLst/>
            <a:ahLst/>
            <a:cxnLst/>
            <a:rect l="l" t="t" r="r" b="b"/>
            <a:pathLst>
              <a:path w="25400" h="25400">
                <a:moveTo>
                  <a:pt x="25400" y="0"/>
                </a:moveTo>
                <a:lnTo>
                  <a:pt x="15875" y="0"/>
                </a:lnTo>
                <a:lnTo>
                  <a:pt x="9525" y="14224"/>
                </a:lnTo>
                <a:lnTo>
                  <a:pt x="0" y="25400"/>
                </a:lnTo>
              </a:path>
            </a:pathLst>
          </a:custGeom>
          <a:ln w="12700">
            <a:solidFill>
              <a:srgbClr val="000000"/>
            </a:solidFill>
          </a:ln>
        </p:spPr>
        <p:txBody>
          <a:bodyPr wrap="square" lIns="0" tIns="0" rIns="0" bIns="0" rtlCol="0">
            <a:noAutofit/>
          </a:bodyPr>
          <a:lstStyle/>
          <a:p>
            <a:endParaRPr/>
          </a:p>
        </p:txBody>
      </p:sp>
      <p:sp>
        <p:nvSpPr>
          <p:cNvPr id="1224" name="object 1224"/>
          <p:cNvSpPr/>
          <p:nvPr/>
        </p:nvSpPr>
        <p:spPr>
          <a:xfrm>
            <a:off x="8963026" y="2948052"/>
            <a:ext cx="168275" cy="60325"/>
          </a:xfrm>
          <a:custGeom>
            <a:avLst/>
            <a:gdLst/>
            <a:ahLst/>
            <a:cxnLst/>
            <a:rect l="l" t="t" r="r" b="b"/>
            <a:pathLst>
              <a:path w="168275" h="60325">
                <a:moveTo>
                  <a:pt x="4699" y="53975"/>
                </a:moveTo>
                <a:lnTo>
                  <a:pt x="7874" y="57150"/>
                </a:lnTo>
                <a:lnTo>
                  <a:pt x="23749" y="60325"/>
                </a:lnTo>
                <a:lnTo>
                  <a:pt x="41275" y="60325"/>
                </a:lnTo>
                <a:lnTo>
                  <a:pt x="69850" y="55499"/>
                </a:lnTo>
                <a:lnTo>
                  <a:pt x="98425" y="44450"/>
                </a:lnTo>
                <a:lnTo>
                  <a:pt x="127000" y="38100"/>
                </a:lnTo>
                <a:lnTo>
                  <a:pt x="147700" y="34925"/>
                </a:lnTo>
                <a:lnTo>
                  <a:pt x="168275" y="30099"/>
                </a:lnTo>
                <a:lnTo>
                  <a:pt x="163575" y="19050"/>
                </a:lnTo>
                <a:lnTo>
                  <a:pt x="161925" y="9525"/>
                </a:lnTo>
                <a:lnTo>
                  <a:pt x="165100" y="0"/>
                </a:lnTo>
                <a:lnTo>
                  <a:pt x="139700" y="3175"/>
                </a:lnTo>
                <a:lnTo>
                  <a:pt x="120650" y="7874"/>
                </a:lnTo>
                <a:lnTo>
                  <a:pt x="104775" y="11049"/>
                </a:lnTo>
                <a:lnTo>
                  <a:pt x="92075" y="11049"/>
                </a:lnTo>
                <a:lnTo>
                  <a:pt x="69850" y="14224"/>
                </a:lnTo>
                <a:lnTo>
                  <a:pt x="55499" y="15875"/>
                </a:lnTo>
                <a:lnTo>
                  <a:pt x="25400" y="15875"/>
                </a:lnTo>
                <a:lnTo>
                  <a:pt x="9525" y="19050"/>
                </a:lnTo>
                <a:lnTo>
                  <a:pt x="3175" y="22225"/>
                </a:lnTo>
                <a:lnTo>
                  <a:pt x="0" y="30099"/>
                </a:lnTo>
                <a:lnTo>
                  <a:pt x="0" y="41275"/>
                </a:lnTo>
                <a:lnTo>
                  <a:pt x="4699" y="53975"/>
                </a:lnTo>
                <a:close/>
              </a:path>
            </a:pathLst>
          </a:custGeom>
          <a:solidFill>
            <a:srgbClr val="0000FF"/>
          </a:solidFill>
        </p:spPr>
        <p:txBody>
          <a:bodyPr wrap="square" lIns="0" tIns="0" rIns="0" bIns="0" rtlCol="0">
            <a:noAutofit/>
          </a:bodyPr>
          <a:lstStyle/>
          <a:p>
            <a:endParaRPr/>
          </a:p>
        </p:txBody>
      </p:sp>
      <p:sp>
        <p:nvSpPr>
          <p:cNvPr id="1225" name="object 1225"/>
          <p:cNvSpPr/>
          <p:nvPr/>
        </p:nvSpPr>
        <p:spPr>
          <a:xfrm>
            <a:off x="8963026" y="2948052"/>
            <a:ext cx="168275" cy="60325"/>
          </a:xfrm>
          <a:custGeom>
            <a:avLst/>
            <a:gdLst/>
            <a:ahLst/>
            <a:cxnLst/>
            <a:rect l="l" t="t" r="r" b="b"/>
            <a:pathLst>
              <a:path w="168275" h="60325">
                <a:moveTo>
                  <a:pt x="165100" y="0"/>
                </a:moveTo>
                <a:lnTo>
                  <a:pt x="139700" y="3175"/>
                </a:lnTo>
                <a:lnTo>
                  <a:pt x="120650" y="7874"/>
                </a:lnTo>
                <a:lnTo>
                  <a:pt x="104775" y="11049"/>
                </a:lnTo>
                <a:lnTo>
                  <a:pt x="92075" y="11049"/>
                </a:lnTo>
                <a:lnTo>
                  <a:pt x="69850" y="14224"/>
                </a:lnTo>
                <a:lnTo>
                  <a:pt x="55499" y="15875"/>
                </a:lnTo>
                <a:lnTo>
                  <a:pt x="42799" y="15875"/>
                </a:lnTo>
                <a:lnTo>
                  <a:pt x="25400" y="15875"/>
                </a:lnTo>
                <a:lnTo>
                  <a:pt x="9525" y="19050"/>
                </a:lnTo>
                <a:lnTo>
                  <a:pt x="3175" y="22225"/>
                </a:lnTo>
                <a:lnTo>
                  <a:pt x="0" y="30099"/>
                </a:lnTo>
                <a:lnTo>
                  <a:pt x="0" y="41275"/>
                </a:lnTo>
                <a:lnTo>
                  <a:pt x="4699" y="53975"/>
                </a:lnTo>
                <a:lnTo>
                  <a:pt x="7874" y="57150"/>
                </a:lnTo>
                <a:lnTo>
                  <a:pt x="23749" y="60325"/>
                </a:lnTo>
                <a:lnTo>
                  <a:pt x="41275" y="60325"/>
                </a:lnTo>
                <a:lnTo>
                  <a:pt x="69850" y="55499"/>
                </a:lnTo>
                <a:lnTo>
                  <a:pt x="98425" y="44450"/>
                </a:lnTo>
                <a:lnTo>
                  <a:pt x="127000" y="38100"/>
                </a:lnTo>
                <a:lnTo>
                  <a:pt x="147700" y="34925"/>
                </a:lnTo>
                <a:lnTo>
                  <a:pt x="168275" y="30099"/>
                </a:lnTo>
                <a:lnTo>
                  <a:pt x="163575" y="19050"/>
                </a:lnTo>
                <a:lnTo>
                  <a:pt x="161925" y="9525"/>
                </a:lnTo>
                <a:lnTo>
                  <a:pt x="165100" y="0"/>
                </a:lnTo>
              </a:path>
            </a:pathLst>
          </a:custGeom>
          <a:ln w="12700">
            <a:solidFill>
              <a:srgbClr val="000000"/>
            </a:solidFill>
          </a:ln>
        </p:spPr>
        <p:txBody>
          <a:bodyPr wrap="square" lIns="0" tIns="0" rIns="0" bIns="0" rtlCol="0">
            <a:noAutofit/>
          </a:bodyPr>
          <a:lstStyle/>
          <a:p>
            <a:endParaRPr/>
          </a:p>
        </p:txBody>
      </p:sp>
      <p:sp>
        <p:nvSpPr>
          <p:cNvPr id="1226" name="object 1226"/>
          <p:cNvSpPr/>
          <p:nvPr/>
        </p:nvSpPr>
        <p:spPr>
          <a:xfrm>
            <a:off x="8920226" y="3041650"/>
            <a:ext cx="31750" cy="25400"/>
          </a:xfrm>
          <a:custGeom>
            <a:avLst/>
            <a:gdLst/>
            <a:ahLst/>
            <a:cxnLst/>
            <a:rect l="l" t="t" r="r" b="b"/>
            <a:pathLst>
              <a:path w="31750" h="25400">
                <a:moveTo>
                  <a:pt x="0" y="23875"/>
                </a:moveTo>
                <a:lnTo>
                  <a:pt x="31750" y="0"/>
                </a:lnTo>
                <a:lnTo>
                  <a:pt x="4699" y="25400"/>
                </a:lnTo>
              </a:path>
            </a:pathLst>
          </a:custGeom>
          <a:ln w="12700">
            <a:solidFill>
              <a:srgbClr val="000000"/>
            </a:solidFill>
          </a:ln>
        </p:spPr>
        <p:txBody>
          <a:bodyPr wrap="square" lIns="0" tIns="0" rIns="0" bIns="0" rtlCol="0">
            <a:noAutofit/>
          </a:bodyPr>
          <a:lstStyle/>
          <a:p>
            <a:endParaRPr/>
          </a:p>
        </p:txBody>
      </p:sp>
      <p:sp>
        <p:nvSpPr>
          <p:cNvPr id="1227" name="object 1227"/>
          <p:cNvSpPr/>
          <p:nvPr/>
        </p:nvSpPr>
        <p:spPr>
          <a:xfrm>
            <a:off x="8974201" y="3056001"/>
            <a:ext cx="25400" cy="25400"/>
          </a:xfrm>
          <a:custGeom>
            <a:avLst/>
            <a:gdLst/>
            <a:ahLst/>
            <a:cxnLst/>
            <a:rect l="l" t="t" r="r" b="b"/>
            <a:pathLst>
              <a:path w="25400" h="25400">
                <a:moveTo>
                  <a:pt x="0" y="0"/>
                </a:moveTo>
                <a:lnTo>
                  <a:pt x="11049" y="6350"/>
                </a:lnTo>
                <a:lnTo>
                  <a:pt x="19050" y="12700"/>
                </a:lnTo>
                <a:lnTo>
                  <a:pt x="25400" y="25400"/>
                </a:lnTo>
              </a:path>
            </a:pathLst>
          </a:custGeom>
          <a:ln w="12700">
            <a:solidFill>
              <a:srgbClr val="000000"/>
            </a:solidFill>
          </a:ln>
        </p:spPr>
        <p:txBody>
          <a:bodyPr wrap="square" lIns="0" tIns="0" rIns="0" bIns="0" rtlCol="0">
            <a:noAutofit/>
          </a:bodyPr>
          <a:lstStyle/>
          <a:p>
            <a:endParaRPr/>
          </a:p>
        </p:txBody>
      </p:sp>
      <p:sp>
        <p:nvSpPr>
          <p:cNvPr id="1228" name="object 1228"/>
          <p:cNvSpPr/>
          <p:nvPr/>
        </p:nvSpPr>
        <p:spPr>
          <a:xfrm>
            <a:off x="8953501" y="2822575"/>
            <a:ext cx="130175" cy="139700"/>
          </a:xfrm>
          <a:custGeom>
            <a:avLst/>
            <a:gdLst/>
            <a:ahLst/>
            <a:cxnLst/>
            <a:rect l="l" t="t" r="r" b="b"/>
            <a:pathLst>
              <a:path w="130175" h="139700">
                <a:moveTo>
                  <a:pt x="79375" y="3175"/>
                </a:moveTo>
                <a:lnTo>
                  <a:pt x="71500" y="0"/>
                </a:lnTo>
                <a:lnTo>
                  <a:pt x="49149" y="0"/>
                </a:lnTo>
                <a:lnTo>
                  <a:pt x="34925" y="6350"/>
                </a:lnTo>
                <a:lnTo>
                  <a:pt x="19050" y="14350"/>
                </a:lnTo>
                <a:lnTo>
                  <a:pt x="7874" y="30225"/>
                </a:lnTo>
                <a:lnTo>
                  <a:pt x="1524" y="46100"/>
                </a:lnTo>
                <a:lnTo>
                  <a:pt x="0" y="63500"/>
                </a:lnTo>
                <a:lnTo>
                  <a:pt x="1524" y="88900"/>
                </a:lnTo>
                <a:lnTo>
                  <a:pt x="4699" y="106425"/>
                </a:lnTo>
                <a:lnTo>
                  <a:pt x="12700" y="119125"/>
                </a:lnTo>
                <a:lnTo>
                  <a:pt x="22225" y="125475"/>
                </a:lnTo>
                <a:lnTo>
                  <a:pt x="28575" y="133350"/>
                </a:lnTo>
                <a:lnTo>
                  <a:pt x="34925" y="139700"/>
                </a:lnTo>
                <a:lnTo>
                  <a:pt x="58674" y="138175"/>
                </a:lnTo>
                <a:lnTo>
                  <a:pt x="60325" y="133350"/>
                </a:lnTo>
                <a:lnTo>
                  <a:pt x="63500" y="127000"/>
                </a:lnTo>
                <a:lnTo>
                  <a:pt x="74675" y="127000"/>
                </a:lnTo>
                <a:lnTo>
                  <a:pt x="88900" y="123825"/>
                </a:lnTo>
                <a:lnTo>
                  <a:pt x="98425" y="122300"/>
                </a:lnTo>
                <a:lnTo>
                  <a:pt x="109600" y="117475"/>
                </a:lnTo>
                <a:lnTo>
                  <a:pt x="112775" y="112775"/>
                </a:lnTo>
                <a:lnTo>
                  <a:pt x="111125" y="107950"/>
                </a:lnTo>
                <a:lnTo>
                  <a:pt x="106425" y="103250"/>
                </a:lnTo>
                <a:lnTo>
                  <a:pt x="111125" y="100075"/>
                </a:lnTo>
                <a:lnTo>
                  <a:pt x="109600" y="98425"/>
                </a:lnTo>
                <a:lnTo>
                  <a:pt x="106425" y="95250"/>
                </a:lnTo>
                <a:lnTo>
                  <a:pt x="103250" y="95250"/>
                </a:lnTo>
                <a:lnTo>
                  <a:pt x="100075" y="98425"/>
                </a:lnTo>
                <a:lnTo>
                  <a:pt x="96900" y="101600"/>
                </a:lnTo>
                <a:lnTo>
                  <a:pt x="93725" y="103250"/>
                </a:lnTo>
                <a:lnTo>
                  <a:pt x="90550" y="104775"/>
                </a:lnTo>
                <a:lnTo>
                  <a:pt x="87375" y="104775"/>
                </a:lnTo>
                <a:lnTo>
                  <a:pt x="82550" y="106425"/>
                </a:lnTo>
                <a:lnTo>
                  <a:pt x="81025" y="104775"/>
                </a:lnTo>
                <a:lnTo>
                  <a:pt x="77850" y="104775"/>
                </a:lnTo>
                <a:lnTo>
                  <a:pt x="74675" y="101600"/>
                </a:lnTo>
                <a:lnTo>
                  <a:pt x="73025" y="100075"/>
                </a:lnTo>
                <a:lnTo>
                  <a:pt x="73025" y="93725"/>
                </a:lnTo>
                <a:lnTo>
                  <a:pt x="74675" y="90550"/>
                </a:lnTo>
                <a:lnTo>
                  <a:pt x="77850" y="85725"/>
                </a:lnTo>
                <a:lnTo>
                  <a:pt x="82550" y="82550"/>
                </a:lnTo>
                <a:lnTo>
                  <a:pt x="85725" y="81025"/>
                </a:lnTo>
                <a:lnTo>
                  <a:pt x="88900" y="79375"/>
                </a:lnTo>
                <a:lnTo>
                  <a:pt x="92075" y="77850"/>
                </a:lnTo>
                <a:lnTo>
                  <a:pt x="101600" y="77850"/>
                </a:lnTo>
                <a:lnTo>
                  <a:pt x="107950" y="81025"/>
                </a:lnTo>
                <a:lnTo>
                  <a:pt x="106425" y="73025"/>
                </a:lnTo>
                <a:lnTo>
                  <a:pt x="103250" y="63500"/>
                </a:lnTo>
                <a:lnTo>
                  <a:pt x="106425" y="65150"/>
                </a:lnTo>
                <a:lnTo>
                  <a:pt x="109600" y="66675"/>
                </a:lnTo>
                <a:lnTo>
                  <a:pt x="114300" y="68325"/>
                </a:lnTo>
                <a:lnTo>
                  <a:pt x="117475" y="68325"/>
                </a:lnTo>
                <a:lnTo>
                  <a:pt x="122300" y="66675"/>
                </a:lnTo>
                <a:lnTo>
                  <a:pt x="125475" y="65150"/>
                </a:lnTo>
                <a:lnTo>
                  <a:pt x="128650" y="60325"/>
                </a:lnTo>
                <a:lnTo>
                  <a:pt x="130175" y="57150"/>
                </a:lnTo>
                <a:lnTo>
                  <a:pt x="128650" y="52450"/>
                </a:lnTo>
                <a:lnTo>
                  <a:pt x="128650" y="47625"/>
                </a:lnTo>
                <a:lnTo>
                  <a:pt x="125475" y="44450"/>
                </a:lnTo>
                <a:lnTo>
                  <a:pt x="122300" y="39750"/>
                </a:lnTo>
                <a:lnTo>
                  <a:pt x="119125" y="38100"/>
                </a:lnTo>
                <a:lnTo>
                  <a:pt x="117475" y="36575"/>
                </a:lnTo>
                <a:lnTo>
                  <a:pt x="112775" y="36575"/>
                </a:lnTo>
                <a:lnTo>
                  <a:pt x="106425" y="38100"/>
                </a:lnTo>
                <a:lnTo>
                  <a:pt x="101600" y="38100"/>
                </a:lnTo>
                <a:lnTo>
                  <a:pt x="98425" y="39750"/>
                </a:lnTo>
                <a:lnTo>
                  <a:pt x="96900" y="41275"/>
                </a:lnTo>
                <a:lnTo>
                  <a:pt x="93725" y="33400"/>
                </a:lnTo>
                <a:lnTo>
                  <a:pt x="88900" y="25400"/>
                </a:lnTo>
                <a:lnTo>
                  <a:pt x="85725" y="17525"/>
                </a:lnTo>
                <a:lnTo>
                  <a:pt x="79375" y="3175"/>
                </a:lnTo>
                <a:close/>
              </a:path>
            </a:pathLst>
          </a:custGeom>
          <a:solidFill>
            <a:srgbClr val="FFDFC0"/>
          </a:solidFill>
        </p:spPr>
        <p:txBody>
          <a:bodyPr wrap="square" lIns="0" tIns="0" rIns="0" bIns="0" rtlCol="0">
            <a:noAutofit/>
          </a:bodyPr>
          <a:lstStyle/>
          <a:p>
            <a:endParaRPr/>
          </a:p>
        </p:txBody>
      </p:sp>
      <p:sp>
        <p:nvSpPr>
          <p:cNvPr id="1229" name="object 1229"/>
          <p:cNvSpPr/>
          <p:nvPr/>
        </p:nvSpPr>
        <p:spPr>
          <a:xfrm>
            <a:off x="8953501" y="2822575"/>
            <a:ext cx="130175" cy="139700"/>
          </a:xfrm>
          <a:custGeom>
            <a:avLst/>
            <a:gdLst/>
            <a:ahLst/>
            <a:cxnLst/>
            <a:rect l="l" t="t" r="r" b="b"/>
            <a:pathLst>
              <a:path w="130175" h="139700">
                <a:moveTo>
                  <a:pt x="79375" y="3175"/>
                </a:moveTo>
                <a:lnTo>
                  <a:pt x="85725" y="17525"/>
                </a:lnTo>
                <a:lnTo>
                  <a:pt x="88900" y="25400"/>
                </a:lnTo>
                <a:lnTo>
                  <a:pt x="93725" y="33400"/>
                </a:lnTo>
                <a:lnTo>
                  <a:pt x="96900" y="41275"/>
                </a:lnTo>
                <a:lnTo>
                  <a:pt x="98425" y="39750"/>
                </a:lnTo>
                <a:lnTo>
                  <a:pt x="101600" y="38100"/>
                </a:lnTo>
                <a:lnTo>
                  <a:pt x="106425" y="38100"/>
                </a:lnTo>
                <a:lnTo>
                  <a:pt x="112775" y="36575"/>
                </a:lnTo>
                <a:lnTo>
                  <a:pt x="117475" y="36575"/>
                </a:lnTo>
                <a:lnTo>
                  <a:pt x="119125" y="38100"/>
                </a:lnTo>
                <a:lnTo>
                  <a:pt x="122300" y="39750"/>
                </a:lnTo>
                <a:lnTo>
                  <a:pt x="125475" y="44450"/>
                </a:lnTo>
                <a:lnTo>
                  <a:pt x="128650" y="47625"/>
                </a:lnTo>
                <a:lnTo>
                  <a:pt x="128650" y="52450"/>
                </a:lnTo>
                <a:lnTo>
                  <a:pt x="130175" y="57150"/>
                </a:lnTo>
                <a:lnTo>
                  <a:pt x="128650" y="60325"/>
                </a:lnTo>
                <a:lnTo>
                  <a:pt x="125475" y="65150"/>
                </a:lnTo>
                <a:lnTo>
                  <a:pt x="122300" y="66675"/>
                </a:lnTo>
                <a:lnTo>
                  <a:pt x="117475" y="68325"/>
                </a:lnTo>
                <a:lnTo>
                  <a:pt x="114300" y="68325"/>
                </a:lnTo>
                <a:lnTo>
                  <a:pt x="109600" y="66675"/>
                </a:lnTo>
                <a:lnTo>
                  <a:pt x="106425" y="65150"/>
                </a:lnTo>
                <a:lnTo>
                  <a:pt x="103250" y="63500"/>
                </a:lnTo>
                <a:lnTo>
                  <a:pt x="106425" y="73025"/>
                </a:lnTo>
                <a:lnTo>
                  <a:pt x="107950" y="81025"/>
                </a:lnTo>
                <a:lnTo>
                  <a:pt x="101600" y="77850"/>
                </a:lnTo>
                <a:lnTo>
                  <a:pt x="95250" y="77850"/>
                </a:lnTo>
                <a:lnTo>
                  <a:pt x="92075" y="77850"/>
                </a:lnTo>
                <a:lnTo>
                  <a:pt x="88900" y="79375"/>
                </a:lnTo>
                <a:lnTo>
                  <a:pt x="85725" y="81025"/>
                </a:lnTo>
                <a:lnTo>
                  <a:pt x="82550" y="82550"/>
                </a:lnTo>
                <a:lnTo>
                  <a:pt x="77850" y="85725"/>
                </a:lnTo>
                <a:lnTo>
                  <a:pt x="74675" y="90550"/>
                </a:lnTo>
                <a:lnTo>
                  <a:pt x="73025" y="93725"/>
                </a:lnTo>
                <a:lnTo>
                  <a:pt x="73025" y="100075"/>
                </a:lnTo>
                <a:lnTo>
                  <a:pt x="74675" y="101600"/>
                </a:lnTo>
                <a:lnTo>
                  <a:pt x="77850" y="104775"/>
                </a:lnTo>
                <a:lnTo>
                  <a:pt x="81025" y="104775"/>
                </a:lnTo>
                <a:lnTo>
                  <a:pt x="82550" y="106425"/>
                </a:lnTo>
                <a:lnTo>
                  <a:pt x="87375" y="104775"/>
                </a:lnTo>
                <a:lnTo>
                  <a:pt x="90550" y="104775"/>
                </a:lnTo>
                <a:lnTo>
                  <a:pt x="93725" y="103250"/>
                </a:lnTo>
                <a:lnTo>
                  <a:pt x="96900" y="101600"/>
                </a:lnTo>
                <a:lnTo>
                  <a:pt x="100075" y="98425"/>
                </a:lnTo>
                <a:lnTo>
                  <a:pt x="103250" y="95250"/>
                </a:lnTo>
                <a:lnTo>
                  <a:pt x="106425" y="95250"/>
                </a:lnTo>
                <a:lnTo>
                  <a:pt x="109600" y="98425"/>
                </a:lnTo>
                <a:lnTo>
                  <a:pt x="111125" y="100075"/>
                </a:lnTo>
                <a:lnTo>
                  <a:pt x="106425" y="103250"/>
                </a:lnTo>
                <a:lnTo>
                  <a:pt x="111125" y="107950"/>
                </a:lnTo>
                <a:lnTo>
                  <a:pt x="112775" y="112775"/>
                </a:lnTo>
                <a:lnTo>
                  <a:pt x="109600" y="117475"/>
                </a:lnTo>
                <a:lnTo>
                  <a:pt x="98425" y="122300"/>
                </a:lnTo>
                <a:lnTo>
                  <a:pt x="88900" y="123825"/>
                </a:lnTo>
                <a:lnTo>
                  <a:pt x="74675" y="127000"/>
                </a:lnTo>
                <a:lnTo>
                  <a:pt x="66675" y="127000"/>
                </a:lnTo>
                <a:lnTo>
                  <a:pt x="63500" y="127000"/>
                </a:lnTo>
                <a:lnTo>
                  <a:pt x="60325" y="133350"/>
                </a:lnTo>
                <a:lnTo>
                  <a:pt x="58674" y="138175"/>
                </a:lnTo>
                <a:lnTo>
                  <a:pt x="34925" y="139700"/>
                </a:lnTo>
                <a:lnTo>
                  <a:pt x="28575" y="133350"/>
                </a:lnTo>
                <a:lnTo>
                  <a:pt x="22225" y="125475"/>
                </a:lnTo>
                <a:lnTo>
                  <a:pt x="12700" y="119125"/>
                </a:lnTo>
                <a:lnTo>
                  <a:pt x="4699" y="106425"/>
                </a:lnTo>
                <a:lnTo>
                  <a:pt x="1524" y="88900"/>
                </a:lnTo>
                <a:lnTo>
                  <a:pt x="0" y="63500"/>
                </a:lnTo>
                <a:lnTo>
                  <a:pt x="1524" y="46100"/>
                </a:lnTo>
                <a:lnTo>
                  <a:pt x="7874" y="30225"/>
                </a:lnTo>
                <a:lnTo>
                  <a:pt x="19050" y="14350"/>
                </a:lnTo>
                <a:lnTo>
                  <a:pt x="34925" y="6350"/>
                </a:lnTo>
                <a:lnTo>
                  <a:pt x="49149" y="0"/>
                </a:lnTo>
                <a:lnTo>
                  <a:pt x="63500" y="0"/>
                </a:lnTo>
                <a:lnTo>
                  <a:pt x="71500" y="0"/>
                </a:lnTo>
                <a:lnTo>
                  <a:pt x="79375" y="3175"/>
                </a:lnTo>
              </a:path>
            </a:pathLst>
          </a:custGeom>
          <a:ln w="12700">
            <a:solidFill>
              <a:srgbClr val="000000"/>
            </a:solidFill>
          </a:ln>
        </p:spPr>
        <p:txBody>
          <a:bodyPr wrap="square" lIns="0" tIns="0" rIns="0" bIns="0" rtlCol="0">
            <a:noAutofit/>
          </a:bodyPr>
          <a:lstStyle/>
          <a:p>
            <a:endParaRPr/>
          </a:p>
        </p:txBody>
      </p:sp>
      <p:sp>
        <p:nvSpPr>
          <p:cNvPr id="1230" name="object 1230"/>
          <p:cNvSpPr/>
          <p:nvPr/>
        </p:nvSpPr>
        <p:spPr>
          <a:xfrm>
            <a:off x="8928100" y="2811527"/>
            <a:ext cx="109474" cy="131699"/>
          </a:xfrm>
          <a:custGeom>
            <a:avLst/>
            <a:gdLst/>
            <a:ahLst/>
            <a:cxnLst/>
            <a:rect l="l" t="t" r="r" b="b"/>
            <a:pathLst>
              <a:path w="109474" h="131699">
                <a:moveTo>
                  <a:pt x="4699" y="49149"/>
                </a:moveTo>
                <a:lnTo>
                  <a:pt x="0" y="58674"/>
                </a:lnTo>
                <a:lnTo>
                  <a:pt x="0" y="73025"/>
                </a:lnTo>
                <a:lnTo>
                  <a:pt x="3175" y="87249"/>
                </a:lnTo>
                <a:lnTo>
                  <a:pt x="7874" y="98425"/>
                </a:lnTo>
                <a:lnTo>
                  <a:pt x="15875" y="112649"/>
                </a:lnTo>
                <a:lnTo>
                  <a:pt x="26924" y="123825"/>
                </a:lnTo>
                <a:lnTo>
                  <a:pt x="34925" y="130175"/>
                </a:lnTo>
                <a:lnTo>
                  <a:pt x="44450" y="131699"/>
                </a:lnTo>
                <a:lnTo>
                  <a:pt x="52324" y="128524"/>
                </a:lnTo>
                <a:lnTo>
                  <a:pt x="55499" y="125349"/>
                </a:lnTo>
                <a:lnTo>
                  <a:pt x="50800" y="118999"/>
                </a:lnTo>
                <a:lnTo>
                  <a:pt x="47625" y="115824"/>
                </a:lnTo>
                <a:lnTo>
                  <a:pt x="44450" y="107950"/>
                </a:lnTo>
                <a:lnTo>
                  <a:pt x="42799" y="101600"/>
                </a:lnTo>
                <a:lnTo>
                  <a:pt x="44450" y="95250"/>
                </a:lnTo>
                <a:lnTo>
                  <a:pt x="47625" y="90424"/>
                </a:lnTo>
                <a:lnTo>
                  <a:pt x="50800" y="87249"/>
                </a:lnTo>
                <a:lnTo>
                  <a:pt x="53975" y="85725"/>
                </a:lnTo>
                <a:lnTo>
                  <a:pt x="60325" y="85725"/>
                </a:lnTo>
                <a:lnTo>
                  <a:pt x="65024" y="87249"/>
                </a:lnTo>
                <a:lnTo>
                  <a:pt x="69850" y="88900"/>
                </a:lnTo>
                <a:lnTo>
                  <a:pt x="73025" y="88900"/>
                </a:lnTo>
                <a:lnTo>
                  <a:pt x="80899" y="80899"/>
                </a:lnTo>
                <a:lnTo>
                  <a:pt x="79375" y="73025"/>
                </a:lnTo>
                <a:lnTo>
                  <a:pt x="77724" y="63500"/>
                </a:lnTo>
                <a:lnTo>
                  <a:pt x="74549" y="58674"/>
                </a:lnTo>
                <a:lnTo>
                  <a:pt x="82550" y="52324"/>
                </a:lnTo>
                <a:lnTo>
                  <a:pt x="84074" y="42799"/>
                </a:lnTo>
                <a:lnTo>
                  <a:pt x="88900" y="33274"/>
                </a:lnTo>
                <a:lnTo>
                  <a:pt x="96774" y="28575"/>
                </a:lnTo>
                <a:lnTo>
                  <a:pt x="109474" y="20574"/>
                </a:lnTo>
                <a:lnTo>
                  <a:pt x="104775" y="12700"/>
                </a:lnTo>
                <a:lnTo>
                  <a:pt x="98425" y="6350"/>
                </a:lnTo>
                <a:lnTo>
                  <a:pt x="85725" y="1524"/>
                </a:lnTo>
                <a:lnTo>
                  <a:pt x="77724" y="0"/>
                </a:lnTo>
                <a:lnTo>
                  <a:pt x="66675" y="7874"/>
                </a:lnTo>
                <a:lnTo>
                  <a:pt x="60325" y="3175"/>
                </a:lnTo>
                <a:lnTo>
                  <a:pt x="49149" y="15875"/>
                </a:lnTo>
                <a:lnTo>
                  <a:pt x="34925" y="23749"/>
                </a:lnTo>
                <a:lnTo>
                  <a:pt x="22225" y="31750"/>
                </a:lnTo>
                <a:lnTo>
                  <a:pt x="14224" y="41275"/>
                </a:lnTo>
                <a:lnTo>
                  <a:pt x="4699" y="36449"/>
                </a:lnTo>
                <a:lnTo>
                  <a:pt x="4699" y="49149"/>
                </a:lnTo>
                <a:close/>
              </a:path>
            </a:pathLst>
          </a:custGeom>
          <a:solidFill>
            <a:srgbClr val="9F5000"/>
          </a:solidFill>
        </p:spPr>
        <p:txBody>
          <a:bodyPr wrap="square" lIns="0" tIns="0" rIns="0" bIns="0" rtlCol="0">
            <a:noAutofit/>
          </a:bodyPr>
          <a:lstStyle/>
          <a:p>
            <a:endParaRPr/>
          </a:p>
        </p:txBody>
      </p:sp>
      <p:sp>
        <p:nvSpPr>
          <p:cNvPr id="1231" name="object 1231"/>
          <p:cNvSpPr/>
          <p:nvPr/>
        </p:nvSpPr>
        <p:spPr>
          <a:xfrm>
            <a:off x="8928100" y="2811527"/>
            <a:ext cx="109474" cy="131699"/>
          </a:xfrm>
          <a:custGeom>
            <a:avLst/>
            <a:gdLst/>
            <a:ahLst/>
            <a:cxnLst/>
            <a:rect l="l" t="t" r="r" b="b"/>
            <a:pathLst>
              <a:path w="109474" h="131699">
                <a:moveTo>
                  <a:pt x="109474" y="20574"/>
                </a:moveTo>
                <a:lnTo>
                  <a:pt x="104775" y="12700"/>
                </a:lnTo>
                <a:lnTo>
                  <a:pt x="98425" y="6350"/>
                </a:lnTo>
                <a:lnTo>
                  <a:pt x="85725" y="1524"/>
                </a:lnTo>
                <a:lnTo>
                  <a:pt x="77724" y="0"/>
                </a:lnTo>
                <a:lnTo>
                  <a:pt x="66675" y="7874"/>
                </a:lnTo>
                <a:lnTo>
                  <a:pt x="60325" y="3175"/>
                </a:lnTo>
                <a:lnTo>
                  <a:pt x="49149" y="15875"/>
                </a:lnTo>
                <a:lnTo>
                  <a:pt x="34925" y="23749"/>
                </a:lnTo>
                <a:lnTo>
                  <a:pt x="22225" y="31750"/>
                </a:lnTo>
                <a:lnTo>
                  <a:pt x="14224" y="41275"/>
                </a:lnTo>
                <a:lnTo>
                  <a:pt x="4699" y="36449"/>
                </a:lnTo>
                <a:lnTo>
                  <a:pt x="4699" y="49149"/>
                </a:lnTo>
                <a:lnTo>
                  <a:pt x="0" y="58674"/>
                </a:lnTo>
                <a:lnTo>
                  <a:pt x="0" y="73025"/>
                </a:lnTo>
                <a:lnTo>
                  <a:pt x="3175" y="87249"/>
                </a:lnTo>
                <a:lnTo>
                  <a:pt x="7874" y="98425"/>
                </a:lnTo>
                <a:lnTo>
                  <a:pt x="15875" y="112649"/>
                </a:lnTo>
                <a:lnTo>
                  <a:pt x="26924" y="123825"/>
                </a:lnTo>
                <a:lnTo>
                  <a:pt x="34925" y="130175"/>
                </a:lnTo>
                <a:lnTo>
                  <a:pt x="44450" y="131699"/>
                </a:lnTo>
                <a:lnTo>
                  <a:pt x="52324" y="128524"/>
                </a:lnTo>
                <a:lnTo>
                  <a:pt x="55499" y="125349"/>
                </a:lnTo>
                <a:lnTo>
                  <a:pt x="50800" y="118999"/>
                </a:lnTo>
                <a:lnTo>
                  <a:pt x="47625" y="115824"/>
                </a:lnTo>
                <a:lnTo>
                  <a:pt x="44450" y="107950"/>
                </a:lnTo>
                <a:lnTo>
                  <a:pt x="42799" y="101600"/>
                </a:lnTo>
                <a:lnTo>
                  <a:pt x="44450" y="95250"/>
                </a:lnTo>
                <a:lnTo>
                  <a:pt x="47625" y="90424"/>
                </a:lnTo>
                <a:lnTo>
                  <a:pt x="50800" y="87249"/>
                </a:lnTo>
                <a:lnTo>
                  <a:pt x="53975" y="85725"/>
                </a:lnTo>
                <a:lnTo>
                  <a:pt x="60325" y="85725"/>
                </a:lnTo>
                <a:lnTo>
                  <a:pt x="65024" y="87249"/>
                </a:lnTo>
                <a:lnTo>
                  <a:pt x="69850" y="88900"/>
                </a:lnTo>
                <a:lnTo>
                  <a:pt x="73025" y="88900"/>
                </a:lnTo>
                <a:lnTo>
                  <a:pt x="80899" y="80899"/>
                </a:lnTo>
                <a:lnTo>
                  <a:pt x="79375" y="73025"/>
                </a:lnTo>
                <a:lnTo>
                  <a:pt x="77724" y="63500"/>
                </a:lnTo>
                <a:lnTo>
                  <a:pt x="74549" y="58674"/>
                </a:lnTo>
                <a:lnTo>
                  <a:pt x="82550" y="52324"/>
                </a:lnTo>
                <a:lnTo>
                  <a:pt x="84074" y="42799"/>
                </a:lnTo>
                <a:lnTo>
                  <a:pt x="88900" y="33274"/>
                </a:lnTo>
                <a:lnTo>
                  <a:pt x="96774" y="28575"/>
                </a:lnTo>
                <a:lnTo>
                  <a:pt x="109474" y="20574"/>
                </a:lnTo>
              </a:path>
            </a:pathLst>
          </a:custGeom>
          <a:ln w="12700">
            <a:solidFill>
              <a:srgbClr val="000000"/>
            </a:solidFill>
          </a:ln>
        </p:spPr>
        <p:txBody>
          <a:bodyPr wrap="square" lIns="0" tIns="0" rIns="0" bIns="0" rtlCol="0">
            <a:noAutofit/>
          </a:bodyPr>
          <a:lstStyle/>
          <a:p>
            <a:endParaRPr/>
          </a:p>
        </p:txBody>
      </p:sp>
      <p:sp>
        <p:nvSpPr>
          <p:cNvPr id="1232" name="object 1232"/>
          <p:cNvSpPr/>
          <p:nvPr/>
        </p:nvSpPr>
        <p:spPr>
          <a:xfrm>
            <a:off x="9034526" y="2854326"/>
            <a:ext cx="12700" cy="17525"/>
          </a:xfrm>
          <a:custGeom>
            <a:avLst/>
            <a:gdLst/>
            <a:ahLst/>
            <a:cxnLst/>
            <a:rect l="l" t="t" r="r" b="b"/>
            <a:pathLst>
              <a:path w="12700" h="17525">
                <a:moveTo>
                  <a:pt x="0" y="8762"/>
                </a:moveTo>
                <a:lnTo>
                  <a:pt x="0" y="13588"/>
                </a:lnTo>
                <a:lnTo>
                  <a:pt x="2794" y="17525"/>
                </a:lnTo>
                <a:lnTo>
                  <a:pt x="9778" y="17525"/>
                </a:lnTo>
                <a:lnTo>
                  <a:pt x="12700" y="13588"/>
                </a:lnTo>
                <a:lnTo>
                  <a:pt x="12700" y="3937"/>
                </a:lnTo>
                <a:lnTo>
                  <a:pt x="9778" y="0"/>
                </a:lnTo>
                <a:lnTo>
                  <a:pt x="2794" y="0"/>
                </a:lnTo>
                <a:lnTo>
                  <a:pt x="0" y="3937"/>
                </a:lnTo>
                <a:lnTo>
                  <a:pt x="0" y="8762"/>
                </a:lnTo>
                <a:close/>
              </a:path>
            </a:pathLst>
          </a:custGeom>
          <a:solidFill>
            <a:srgbClr val="FFFFFF"/>
          </a:solidFill>
        </p:spPr>
        <p:txBody>
          <a:bodyPr wrap="square" lIns="0" tIns="0" rIns="0" bIns="0" rtlCol="0">
            <a:noAutofit/>
          </a:bodyPr>
          <a:lstStyle/>
          <a:p>
            <a:endParaRPr/>
          </a:p>
        </p:txBody>
      </p:sp>
      <p:sp>
        <p:nvSpPr>
          <p:cNvPr id="1233" name="object 1233"/>
          <p:cNvSpPr/>
          <p:nvPr/>
        </p:nvSpPr>
        <p:spPr>
          <a:xfrm>
            <a:off x="9034526" y="2854326"/>
            <a:ext cx="12700" cy="17525"/>
          </a:xfrm>
          <a:custGeom>
            <a:avLst/>
            <a:gdLst/>
            <a:ahLst/>
            <a:cxnLst/>
            <a:rect l="l" t="t" r="r" b="b"/>
            <a:pathLst>
              <a:path w="12700" h="17525">
                <a:moveTo>
                  <a:pt x="0" y="8762"/>
                </a:moveTo>
                <a:lnTo>
                  <a:pt x="0" y="3937"/>
                </a:lnTo>
                <a:lnTo>
                  <a:pt x="2794" y="0"/>
                </a:lnTo>
                <a:lnTo>
                  <a:pt x="6350" y="0"/>
                </a:lnTo>
                <a:lnTo>
                  <a:pt x="9778" y="0"/>
                </a:lnTo>
                <a:lnTo>
                  <a:pt x="12700" y="3937"/>
                </a:lnTo>
                <a:lnTo>
                  <a:pt x="12700" y="8762"/>
                </a:lnTo>
                <a:lnTo>
                  <a:pt x="12700" y="13588"/>
                </a:lnTo>
                <a:lnTo>
                  <a:pt x="9778" y="17525"/>
                </a:lnTo>
                <a:lnTo>
                  <a:pt x="2794" y="17525"/>
                </a:lnTo>
                <a:lnTo>
                  <a:pt x="0" y="13588"/>
                </a:lnTo>
                <a:lnTo>
                  <a:pt x="0" y="8762"/>
                </a:lnTo>
                <a:close/>
              </a:path>
            </a:pathLst>
          </a:custGeom>
          <a:ln w="12700">
            <a:solidFill>
              <a:srgbClr val="000000"/>
            </a:solidFill>
          </a:ln>
        </p:spPr>
        <p:txBody>
          <a:bodyPr wrap="square" lIns="0" tIns="0" rIns="0" bIns="0" rtlCol="0">
            <a:noAutofit/>
          </a:bodyPr>
          <a:lstStyle/>
          <a:p>
            <a:endParaRPr/>
          </a:p>
        </p:txBody>
      </p:sp>
      <p:sp>
        <p:nvSpPr>
          <p:cNvPr id="1234" name="object 1234"/>
          <p:cNvSpPr/>
          <p:nvPr/>
        </p:nvSpPr>
        <p:spPr>
          <a:xfrm>
            <a:off x="9044051" y="2859151"/>
            <a:ext cx="12700" cy="12700"/>
          </a:xfrm>
          <a:custGeom>
            <a:avLst/>
            <a:gdLst/>
            <a:ahLst/>
            <a:cxnLst/>
            <a:rect l="l" t="t" r="r" b="b"/>
            <a:pathLst>
              <a:path w="12700" h="12700">
                <a:moveTo>
                  <a:pt x="0" y="6350"/>
                </a:moveTo>
                <a:lnTo>
                  <a:pt x="0" y="9778"/>
                </a:lnTo>
                <a:lnTo>
                  <a:pt x="2794" y="12700"/>
                </a:lnTo>
                <a:lnTo>
                  <a:pt x="9778" y="12700"/>
                </a:lnTo>
                <a:lnTo>
                  <a:pt x="12700" y="9778"/>
                </a:lnTo>
                <a:lnTo>
                  <a:pt x="12700" y="2794"/>
                </a:lnTo>
                <a:lnTo>
                  <a:pt x="9778" y="0"/>
                </a:lnTo>
                <a:lnTo>
                  <a:pt x="2794" y="0"/>
                </a:lnTo>
                <a:lnTo>
                  <a:pt x="0" y="2794"/>
                </a:lnTo>
                <a:lnTo>
                  <a:pt x="0" y="6350"/>
                </a:lnTo>
                <a:close/>
              </a:path>
            </a:pathLst>
          </a:custGeom>
          <a:solidFill>
            <a:srgbClr val="009F00"/>
          </a:solidFill>
        </p:spPr>
        <p:txBody>
          <a:bodyPr wrap="square" lIns="0" tIns="0" rIns="0" bIns="0" rtlCol="0">
            <a:noAutofit/>
          </a:bodyPr>
          <a:lstStyle/>
          <a:p>
            <a:endParaRPr/>
          </a:p>
        </p:txBody>
      </p:sp>
      <p:sp>
        <p:nvSpPr>
          <p:cNvPr id="1235" name="object 1235"/>
          <p:cNvSpPr/>
          <p:nvPr/>
        </p:nvSpPr>
        <p:spPr>
          <a:xfrm>
            <a:off x="9044051" y="2859151"/>
            <a:ext cx="12700" cy="12700"/>
          </a:xfrm>
          <a:custGeom>
            <a:avLst/>
            <a:gdLst/>
            <a:ahLst/>
            <a:cxnLst/>
            <a:rect l="l" t="t" r="r" b="b"/>
            <a:pathLst>
              <a:path w="12700" h="12700">
                <a:moveTo>
                  <a:pt x="0" y="6350"/>
                </a:moveTo>
                <a:lnTo>
                  <a:pt x="0" y="2794"/>
                </a:lnTo>
                <a:lnTo>
                  <a:pt x="2794" y="0"/>
                </a:lnTo>
                <a:lnTo>
                  <a:pt x="6350" y="0"/>
                </a:lnTo>
                <a:lnTo>
                  <a:pt x="9778" y="0"/>
                </a:lnTo>
                <a:lnTo>
                  <a:pt x="12700" y="2794"/>
                </a:lnTo>
                <a:lnTo>
                  <a:pt x="12700" y="6350"/>
                </a:lnTo>
                <a:lnTo>
                  <a:pt x="12700" y="9778"/>
                </a:lnTo>
                <a:lnTo>
                  <a:pt x="9778" y="12700"/>
                </a:lnTo>
                <a:lnTo>
                  <a:pt x="2794" y="12700"/>
                </a:lnTo>
                <a:lnTo>
                  <a:pt x="0" y="9778"/>
                </a:lnTo>
                <a:lnTo>
                  <a:pt x="0" y="6350"/>
                </a:lnTo>
                <a:close/>
              </a:path>
            </a:pathLst>
          </a:custGeom>
          <a:ln w="12700">
            <a:solidFill>
              <a:srgbClr val="000000"/>
            </a:solidFill>
          </a:ln>
        </p:spPr>
        <p:txBody>
          <a:bodyPr wrap="square" lIns="0" tIns="0" rIns="0" bIns="0" rtlCol="0">
            <a:noAutofit/>
          </a:bodyPr>
          <a:lstStyle/>
          <a:p>
            <a:endParaRPr/>
          </a:p>
        </p:txBody>
      </p:sp>
      <p:sp>
        <p:nvSpPr>
          <p:cNvPr id="1236" name="object 1236"/>
          <p:cNvSpPr/>
          <p:nvPr/>
        </p:nvSpPr>
        <p:spPr>
          <a:xfrm>
            <a:off x="9047226" y="2862326"/>
            <a:ext cx="12700" cy="12700"/>
          </a:xfrm>
          <a:custGeom>
            <a:avLst/>
            <a:gdLst/>
            <a:ahLst/>
            <a:cxnLst/>
            <a:rect l="l" t="t" r="r" b="b"/>
            <a:pathLst>
              <a:path w="12700" h="12700">
                <a:moveTo>
                  <a:pt x="0" y="6350"/>
                </a:moveTo>
                <a:lnTo>
                  <a:pt x="0" y="9778"/>
                </a:lnTo>
                <a:lnTo>
                  <a:pt x="2794" y="12700"/>
                </a:lnTo>
                <a:lnTo>
                  <a:pt x="9778" y="12700"/>
                </a:lnTo>
                <a:lnTo>
                  <a:pt x="12700" y="9778"/>
                </a:lnTo>
                <a:lnTo>
                  <a:pt x="12700" y="2794"/>
                </a:lnTo>
                <a:lnTo>
                  <a:pt x="9778" y="0"/>
                </a:lnTo>
                <a:lnTo>
                  <a:pt x="2794" y="0"/>
                </a:lnTo>
                <a:lnTo>
                  <a:pt x="0" y="2794"/>
                </a:lnTo>
                <a:lnTo>
                  <a:pt x="0" y="6350"/>
                </a:lnTo>
                <a:close/>
              </a:path>
            </a:pathLst>
          </a:custGeom>
          <a:solidFill>
            <a:srgbClr val="C0FFC0"/>
          </a:solidFill>
        </p:spPr>
        <p:txBody>
          <a:bodyPr wrap="square" lIns="0" tIns="0" rIns="0" bIns="0" rtlCol="0">
            <a:noAutofit/>
          </a:bodyPr>
          <a:lstStyle/>
          <a:p>
            <a:endParaRPr/>
          </a:p>
        </p:txBody>
      </p:sp>
      <p:sp>
        <p:nvSpPr>
          <p:cNvPr id="1237" name="object 1237"/>
          <p:cNvSpPr/>
          <p:nvPr/>
        </p:nvSpPr>
        <p:spPr>
          <a:xfrm>
            <a:off x="9047226" y="2862326"/>
            <a:ext cx="12700" cy="12700"/>
          </a:xfrm>
          <a:custGeom>
            <a:avLst/>
            <a:gdLst/>
            <a:ahLst/>
            <a:cxnLst/>
            <a:rect l="l" t="t" r="r" b="b"/>
            <a:pathLst>
              <a:path w="12700" h="12700">
                <a:moveTo>
                  <a:pt x="0" y="6350"/>
                </a:moveTo>
                <a:lnTo>
                  <a:pt x="0" y="2794"/>
                </a:lnTo>
                <a:lnTo>
                  <a:pt x="2794" y="0"/>
                </a:lnTo>
                <a:lnTo>
                  <a:pt x="6350" y="0"/>
                </a:lnTo>
                <a:lnTo>
                  <a:pt x="9778" y="0"/>
                </a:lnTo>
                <a:lnTo>
                  <a:pt x="12700" y="2794"/>
                </a:lnTo>
                <a:lnTo>
                  <a:pt x="12700" y="6350"/>
                </a:lnTo>
                <a:lnTo>
                  <a:pt x="12700" y="9778"/>
                </a:lnTo>
                <a:lnTo>
                  <a:pt x="9778" y="12700"/>
                </a:lnTo>
                <a:lnTo>
                  <a:pt x="2794" y="12700"/>
                </a:lnTo>
                <a:lnTo>
                  <a:pt x="0" y="9778"/>
                </a:lnTo>
                <a:lnTo>
                  <a:pt x="0" y="6350"/>
                </a:lnTo>
                <a:close/>
              </a:path>
            </a:pathLst>
          </a:custGeom>
          <a:ln w="12700">
            <a:solidFill>
              <a:srgbClr val="000000"/>
            </a:solidFill>
          </a:ln>
        </p:spPr>
        <p:txBody>
          <a:bodyPr wrap="square" lIns="0" tIns="0" rIns="0" bIns="0" rtlCol="0">
            <a:noAutofit/>
          </a:bodyPr>
          <a:lstStyle/>
          <a:p>
            <a:endParaRPr/>
          </a:p>
        </p:txBody>
      </p:sp>
      <p:sp>
        <p:nvSpPr>
          <p:cNvPr id="1238" name="object 1238"/>
          <p:cNvSpPr/>
          <p:nvPr/>
        </p:nvSpPr>
        <p:spPr>
          <a:xfrm>
            <a:off x="9023350" y="2871851"/>
            <a:ext cx="25400" cy="25400"/>
          </a:xfrm>
          <a:custGeom>
            <a:avLst/>
            <a:gdLst/>
            <a:ahLst/>
            <a:cxnLst/>
            <a:rect l="l" t="t" r="r" b="b"/>
            <a:pathLst>
              <a:path w="25400" h="25400">
                <a:moveTo>
                  <a:pt x="0" y="6350"/>
                </a:moveTo>
                <a:lnTo>
                  <a:pt x="25400" y="0"/>
                </a:lnTo>
                <a:lnTo>
                  <a:pt x="17525" y="25400"/>
                </a:lnTo>
              </a:path>
            </a:pathLst>
          </a:custGeom>
          <a:ln w="12700">
            <a:solidFill>
              <a:srgbClr val="000000"/>
            </a:solidFill>
          </a:ln>
        </p:spPr>
        <p:txBody>
          <a:bodyPr wrap="square" lIns="0" tIns="0" rIns="0" bIns="0" rtlCol="0">
            <a:noAutofit/>
          </a:bodyPr>
          <a:lstStyle/>
          <a:p>
            <a:endParaRPr/>
          </a:p>
        </p:txBody>
      </p:sp>
      <p:sp>
        <p:nvSpPr>
          <p:cNvPr id="1239" name="object 1239"/>
          <p:cNvSpPr/>
          <p:nvPr/>
        </p:nvSpPr>
        <p:spPr>
          <a:xfrm>
            <a:off x="9018651" y="2841625"/>
            <a:ext cx="25400" cy="25400"/>
          </a:xfrm>
          <a:custGeom>
            <a:avLst/>
            <a:gdLst/>
            <a:ahLst/>
            <a:cxnLst/>
            <a:rect l="l" t="t" r="r" b="b"/>
            <a:pathLst>
              <a:path w="25400" h="25400">
                <a:moveTo>
                  <a:pt x="25400" y="0"/>
                </a:moveTo>
                <a:lnTo>
                  <a:pt x="14224" y="3175"/>
                </a:lnTo>
                <a:lnTo>
                  <a:pt x="6350" y="9525"/>
                </a:lnTo>
                <a:lnTo>
                  <a:pt x="1524" y="15875"/>
                </a:lnTo>
                <a:lnTo>
                  <a:pt x="0" y="25400"/>
                </a:lnTo>
              </a:path>
            </a:pathLst>
          </a:custGeom>
          <a:ln w="12700">
            <a:solidFill>
              <a:srgbClr val="000000"/>
            </a:solidFill>
          </a:ln>
        </p:spPr>
        <p:txBody>
          <a:bodyPr wrap="square" lIns="0" tIns="0" rIns="0" bIns="0" rtlCol="0">
            <a:noAutofit/>
          </a:bodyPr>
          <a:lstStyle/>
          <a:p>
            <a:endParaRPr/>
          </a:p>
        </p:txBody>
      </p:sp>
      <p:sp>
        <p:nvSpPr>
          <p:cNvPr id="1240" name="object 1240"/>
          <p:cNvSpPr/>
          <p:nvPr/>
        </p:nvSpPr>
        <p:spPr>
          <a:xfrm>
            <a:off x="8977376" y="2908300"/>
            <a:ext cx="25400" cy="25400"/>
          </a:xfrm>
          <a:custGeom>
            <a:avLst/>
            <a:gdLst/>
            <a:ahLst/>
            <a:cxnLst/>
            <a:rect l="l" t="t" r="r" b="b"/>
            <a:pathLst>
              <a:path w="25400" h="25400">
                <a:moveTo>
                  <a:pt x="14224" y="0"/>
                </a:moveTo>
                <a:lnTo>
                  <a:pt x="6350" y="0"/>
                </a:lnTo>
                <a:lnTo>
                  <a:pt x="3175" y="1650"/>
                </a:lnTo>
                <a:lnTo>
                  <a:pt x="0" y="9525"/>
                </a:lnTo>
                <a:lnTo>
                  <a:pt x="1524" y="17525"/>
                </a:lnTo>
                <a:lnTo>
                  <a:pt x="4699" y="22225"/>
                </a:lnTo>
                <a:lnTo>
                  <a:pt x="9525" y="25400"/>
                </a:lnTo>
                <a:lnTo>
                  <a:pt x="15875" y="25400"/>
                </a:lnTo>
                <a:lnTo>
                  <a:pt x="22225" y="23875"/>
                </a:lnTo>
                <a:lnTo>
                  <a:pt x="25400" y="19050"/>
                </a:lnTo>
                <a:lnTo>
                  <a:pt x="25400" y="14350"/>
                </a:lnTo>
                <a:lnTo>
                  <a:pt x="22225" y="12700"/>
                </a:lnTo>
                <a:lnTo>
                  <a:pt x="20574" y="11175"/>
                </a:lnTo>
                <a:lnTo>
                  <a:pt x="14224" y="12700"/>
                </a:lnTo>
                <a:lnTo>
                  <a:pt x="14224" y="17525"/>
                </a:lnTo>
              </a:path>
            </a:pathLst>
          </a:custGeom>
          <a:ln w="12700">
            <a:solidFill>
              <a:srgbClr val="000000"/>
            </a:solidFill>
          </a:ln>
        </p:spPr>
        <p:txBody>
          <a:bodyPr wrap="square" lIns="0" tIns="0" rIns="0" bIns="0" rtlCol="0">
            <a:noAutofit/>
          </a:bodyPr>
          <a:lstStyle/>
          <a:p>
            <a:endParaRPr/>
          </a:p>
        </p:txBody>
      </p:sp>
      <p:sp>
        <p:nvSpPr>
          <p:cNvPr id="1241" name="object 1241"/>
          <p:cNvSpPr/>
          <p:nvPr/>
        </p:nvSpPr>
        <p:spPr>
          <a:xfrm>
            <a:off x="9153526" y="3060701"/>
            <a:ext cx="66675" cy="28575"/>
          </a:xfrm>
          <a:custGeom>
            <a:avLst/>
            <a:gdLst/>
            <a:ahLst/>
            <a:cxnLst/>
            <a:rect l="l" t="t" r="r" b="b"/>
            <a:pathLst>
              <a:path w="66675" h="28575">
                <a:moveTo>
                  <a:pt x="11175" y="28575"/>
                </a:moveTo>
                <a:lnTo>
                  <a:pt x="46100" y="25400"/>
                </a:lnTo>
                <a:lnTo>
                  <a:pt x="66675" y="0"/>
                </a:lnTo>
                <a:lnTo>
                  <a:pt x="11175" y="1650"/>
                </a:lnTo>
                <a:lnTo>
                  <a:pt x="0" y="17525"/>
                </a:lnTo>
                <a:lnTo>
                  <a:pt x="11175" y="28575"/>
                </a:lnTo>
                <a:close/>
              </a:path>
            </a:pathLst>
          </a:custGeom>
          <a:solidFill>
            <a:srgbClr val="FF9F40"/>
          </a:solidFill>
        </p:spPr>
        <p:txBody>
          <a:bodyPr wrap="square" lIns="0" tIns="0" rIns="0" bIns="0" rtlCol="0">
            <a:noAutofit/>
          </a:bodyPr>
          <a:lstStyle/>
          <a:p>
            <a:endParaRPr/>
          </a:p>
        </p:txBody>
      </p:sp>
      <p:sp>
        <p:nvSpPr>
          <p:cNvPr id="1242" name="object 1242"/>
          <p:cNvSpPr/>
          <p:nvPr/>
        </p:nvSpPr>
        <p:spPr>
          <a:xfrm>
            <a:off x="9132951" y="3022600"/>
            <a:ext cx="103124" cy="46100"/>
          </a:xfrm>
          <a:custGeom>
            <a:avLst/>
            <a:gdLst/>
            <a:ahLst/>
            <a:cxnLst/>
            <a:rect l="l" t="t" r="r" b="b"/>
            <a:pathLst>
              <a:path w="103124" h="46100">
                <a:moveTo>
                  <a:pt x="19050" y="46100"/>
                </a:moveTo>
                <a:lnTo>
                  <a:pt x="73025" y="39750"/>
                </a:lnTo>
                <a:lnTo>
                  <a:pt x="103124" y="0"/>
                </a:lnTo>
                <a:lnTo>
                  <a:pt x="19050" y="4825"/>
                </a:lnTo>
                <a:lnTo>
                  <a:pt x="0" y="30225"/>
                </a:lnTo>
                <a:lnTo>
                  <a:pt x="19050" y="46100"/>
                </a:lnTo>
                <a:close/>
              </a:path>
            </a:pathLst>
          </a:custGeom>
          <a:solidFill>
            <a:srgbClr val="FFFFFF"/>
          </a:solidFill>
        </p:spPr>
        <p:txBody>
          <a:bodyPr wrap="square" lIns="0" tIns="0" rIns="0" bIns="0" rtlCol="0">
            <a:noAutofit/>
          </a:bodyPr>
          <a:lstStyle/>
          <a:p>
            <a:endParaRPr/>
          </a:p>
        </p:txBody>
      </p:sp>
      <p:sp>
        <p:nvSpPr>
          <p:cNvPr id="1243" name="object 1243"/>
          <p:cNvSpPr/>
          <p:nvPr/>
        </p:nvSpPr>
        <p:spPr>
          <a:xfrm>
            <a:off x="9132951" y="3022600"/>
            <a:ext cx="103124" cy="46100"/>
          </a:xfrm>
          <a:custGeom>
            <a:avLst/>
            <a:gdLst/>
            <a:ahLst/>
            <a:cxnLst/>
            <a:rect l="l" t="t" r="r" b="b"/>
            <a:pathLst>
              <a:path w="103124" h="46100">
                <a:moveTo>
                  <a:pt x="19050" y="46100"/>
                </a:moveTo>
                <a:lnTo>
                  <a:pt x="0" y="30225"/>
                </a:lnTo>
                <a:lnTo>
                  <a:pt x="19050" y="4825"/>
                </a:lnTo>
                <a:lnTo>
                  <a:pt x="103124" y="0"/>
                </a:lnTo>
                <a:lnTo>
                  <a:pt x="73025" y="39750"/>
                </a:lnTo>
                <a:lnTo>
                  <a:pt x="19050" y="46100"/>
                </a:lnTo>
              </a:path>
            </a:pathLst>
          </a:custGeom>
          <a:ln w="12700">
            <a:solidFill>
              <a:srgbClr val="000000"/>
            </a:solidFill>
          </a:ln>
        </p:spPr>
        <p:txBody>
          <a:bodyPr wrap="square" lIns="0" tIns="0" rIns="0" bIns="0" rtlCol="0">
            <a:noAutofit/>
          </a:bodyPr>
          <a:lstStyle/>
          <a:p>
            <a:endParaRPr/>
          </a:p>
        </p:txBody>
      </p:sp>
      <p:sp>
        <p:nvSpPr>
          <p:cNvPr id="1244" name="object 1244"/>
          <p:cNvSpPr/>
          <p:nvPr/>
        </p:nvSpPr>
        <p:spPr>
          <a:xfrm>
            <a:off x="9132951" y="3052826"/>
            <a:ext cx="25400" cy="25400"/>
          </a:xfrm>
          <a:custGeom>
            <a:avLst/>
            <a:gdLst/>
            <a:ahLst/>
            <a:cxnLst/>
            <a:rect l="l" t="t" r="r" b="b"/>
            <a:pathLst>
              <a:path w="25400" h="25400">
                <a:moveTo>
                  <a:pt x="6350" y="25400"/>
                </a:moveTo>
                <a:lnTo>
                  <a:pt x="25400" y="14224"/>
                </a:lnTo>
                <a:lnTo>
                  <a:pt x="0" y="0"/>
                </a:lnTo>
                <a:lnTo>
                  <a:pt x="6350" y="25400"/>
                </a:lnTo>
                <a:close/>
              </a:path>
            </a:pathLst>
          </a:custGeom>
          <a:solidFill>
            <a:srgbClr val="DFDFDF"/>
          </a:solidFill>
        </p:spPr>
        <p:txBody>
          <a:bodyPr wrap="square" lIns="0" tIns="0" rIns="0" bIns="0" rtlCol="0">
            <a:noAutofit/>
          </a:bodyPr>
          <a:lstStyle/>
          <a:p>
            <a:endParaRPr/>
          </a:p>
        </p:txBody>
      </p:sp>
      <p:sp>
        <p:nvSpPr>
          <p:cNvPr id="1245" name="object 1245"/>
          <p:cNvSpPr/>
          <p:nvPr/>
        </p:nvSpPr>
        <p:spPr>
          <a:xfrm>
            <a:off x="9132951" y="3052826"/>
            <a:ext cx="25400" cy="25400"/>
          </a:xfrm>
          <a:custGeom>
            <a:avLst/>
            <a:gdLst/>
            <a:ahLst/>
            <a:cxnLst/>
            <a:rect l="l" t="t" r="r" b="b"/>
            <a:pathLst>
              <a:path w="25400" h="25400">
                <a:moveTo>
                  <a:pt x="6350" y="25400"/>
                </a:moveTo>
                <a:lnTo>
                  <a:pt x="25400" y="14224"/>
                </a:lnTo>
                <a:lnTo>
                  <a:pt x="0" y="0"/>
                </a:lnTo>
                <a:lnTo>
                  <a:pt x="6350" y="25400"/>
                </a:lnTo>
              </a:path>
            </a:pathLst>
          </a:custGeom>
          <a:ln w="12700">
            <a:solidFill>
              <a:srgbClr val="000000"/>
            </a:solidFill>
          </a:ln>
        </p:spPr>
        <p:txBody>
          <a:bodyPr wrap="square" lIns="0" tIns="0" rIns="0" bIns="0" rtlCol="0">
            <a:noAutofit/>
          </a:bodyPr>
          <a:lstStyle/>
          <a:p>
            <a:endParaRPr/>
          </a:p>
        </p:txBody>
      </p:sp>
      <p:sp>
        <p:nvSpPr>
          <p:cNvPr id="1246" name="object 1246"/>
          <p:cNvSpPr/>
          <p:nvPr/>
        </p:nvSpPr>
        <p:spPr>
          <a:xfrm>
            <a:off x="9196451" y="3027427"/>
            <a:ext cx="25400" cy="36449"/>
          </a:xfrm>
          <a:custGeom>
            <a:avLst/>
            <a:gdLst/>
            <a:ahLst/>
            <a:cxnLst/>
            <a:rect l="l" t="t" r="r" b="b"/>
            <a:pathLst>
              <a:path w="25400" h="36449">
                <a:moveTo>
                  <a:pt x="25400" y="0"/>
                </a:moveTo>
                <a:lnTo>
                  <a:pt x="0" y="36449"/>
                </a:lnTo>
              </a:path>
            </a:pathLst>
          </a:custGeom>
          <a:ln w="12700">
            <a:solidFill>
              <a:srgbClr val="000000"/>
            </a:solidFill>
          </a:ln>
        </p:spPr>
        <p:txBody>
          <a:bodyPr wrap="square" lIns="0" tIns="0" rIns="0" bIns="0" rtlCol="0">
            <a:noAutofit/>
          </a:bodyPr>
          <a:lstStyle/>
          <a:p>
            <a:endParaRPr/>
          </a:p>
        </p:txBody>
      </p:sp>
      <p:sp>
        <p:nvSpPr>
          <p:cNvPr id="1247" name="object 1247"/>
          <p:cNvSpPr/>
          <p:nvPr/>
        </p:nvSpPr>
        <p:spPr>
          <a:xfrm>
            <a:off x="9177401" y="3027427"/>
            <a:ext cx="25400" cy="36449"/>
          </a:xfrm>
          <a:custGeom>
            <a:avLst/>
            <a:gdLst/>
            <a:ahLst/>
            <a:cxnLst/>
            <a:rect l="l" t="t" r="r" b="b"/>
            <a:pathLst>
              <a:path w="25400" h="36449">
                <a:moveTo>
                  <a:pt x="25400" y="0"/>
                </a:moveTo>
                <a:lnTo>
                  <a:pt x="0" y="36449"/>
                </a:lnTo>
              </a:path>
            </a:pathLst>
          </a:custGeom>
          <a:ln w="12700">
            <a:solidFill>
              <a:srgbClr val="000000"/>
            </a:solidFill>
          </a:ln>
        </p:spPr>
        <p:txBody>
          <a:bodyPr wrap="square" lIns="0" tIns="0" rIns="0" bIns="0" rtlCol="0">
            <a:noAutofit/>
          </a:bodyPr>
          <a:lstStyle/>
          <a:p>
            <a:endParaRPr/>
          </a:p>
        </p:txBody>
      </p:sp>
      <p:sp>
        <p:nvSpPr>
          <p:cNvPr id="1248" name="object 1248"/>
          <p:cNvSpPr/>
          <p:nvPr/>
        </p:nvSpPr>
        <p:spPr>
          <a:xfrm>
            <a:off x="9166226" y="3032125"/>
            <a:ext cx="15875" cy="20700"/>
          </a:xfrm>
          <a:custGeom>
            <a:avLst/>
            <a:gdLst/>
            <a:ahLst/>
            <a:cxnLst/>
            <a:rect l="l" t="t" r="r" b="b"/>
            <a:pathLst>
              <a:path w="15875" h="20700">
                <a:moveTo>
                  <a:pt x="15875" y="0"/>
                </a:moveTo>
                <a:lnTo>
                  <a:pt x="0" y="20700"/>
                </a:lnTo>
              </a:path>
            </a:pathLst>
          </a:custGeom>
          <a:ln w="12700">
            <a:solidFill>
              <a:srgbClr val="000000"/>
            </a:solidFill>
          </a:ln>
        </p:spPr>
        <p:txBody>
          <a:bodyPr wrap="square" lIns="0" tIns="0" rIns="0" bIns="0" rtlCol="0">
            <a:noAutofit/>
          </a:bodyPr>
          <a:lstStyle/>
          <a:p>
            <a:endParaRPr/>
          </a:p>
        </p:txBody>
      </p:sp>
      <p:sp>
        <p:nvSpPr>
          <p:cNvPr id="1249" name="object 1249"/>
          <p:cNvSpPr/>
          <p:nvPr/>
        </p:nvSpPr>
        <p:spPr>
          <a:xfrm>
            <a:off x="9147175" y="3032125"/>
            <a:ext cx="14350" cy="20700"/>
          </a:xfrm>
          <a:custGeom>
            <a:avLst/>
            <a:gdLst/>
            <a:ahLst/>
            <a:cxnLst/>
            <a:rect l="l" t="t" r="r" b="b"/>
            <a:pathLst>
              <a:path w="14350" h="20700">
                <a:moveTo>
                  <a:pt x="14350" y="0"/>
                </a:moveTo>
                <a:lnTo>
                  <a:pt x="0" y="20700"/>
                </a:lnTo>
              </a:path>
            </a:pathLst>
          </a:custGeom>
          <a:ln w="12700">
            <a:solidFill>
              <a:srgbClr val="000000"/>
            </a:solidFill>
          </a:ln>
        </p:spPr>
        <p:txBody>
          <a:bodyPr wrap="square" lIns="0" tIns="0" rIns="0" bIns="0" rtlCol="0">
            <a:noAutofit/>
          </a:bodyPr>
          <a:lstStyle/>
          <a:p>
            <a:endParaRPr/>
          </a:p>
        </p:txBody>
      </p:sp>
      <p:sp>
        <p:nvSpPr>
          <p:cNvPr id="1250" name="object 1250"/>
          <p:cNvSpPr/>
          <p:nvPr/>
        </p:nvSpPr>
        <p:spPr>
          <a:xfrm>
            <a:off x="8947150" y="2970277"/>
            <a:ext cx="25400" cy="28575"/>
          </a:xfrm>
          <a:custGeom>
            <a:avLst/>
            <a:gdLst/>
            <a:ahLst/>
            <a:cxnLst/>
            <a:rect l="l" t="t" r="r" b="b"/>
            <a:pathLst>
              <a:path w="25400" h="28575">
                <a:moveTo>
                  <a:pt x="25400" y="0"/>
                </a:moveTo>
                <a:lnTo>
                  <a:pt x="6350" y="4699"/>
                </a:lnTo>
                <a:lnTo>
                  <a:pt x="0" y="11049"/>
                </a:lnTo>
                <a:lnTo>
                  <a:pt x="3175" y="17399"/>
                </a:lnTo>
                <a:lnTo>
                  <a:pt x="14350" y="23749"/>
                </a:lnTo>
                <a:lnTo>
                  <a:pt x="22225" y="28575"/>
                </a:lnTo>
              </a:path>
            </a:pathLst>
          </a:custGeom>
          <a:ln w="12700">
            <a:solidFill>
              <a:srgbClr val="000000"/>
            </a:solidFill>
          </a:ln>
        </p:spPr>
        <p:txBody>
          <a:bodyPr wrap="square" lIns="0" tIns="0" rIns="0" bIns="0" rtlCol="0">
            <a:noAutofit/>
          </a:bodyPr>
          <a:lstStyle/>
          <a:p>
            <a:endParaRPr/>
          </a:p>
        </p:txBody>
      </p:sp>
      <p:sp>
        <p:nvSpPr>
          <p:cNvPr id="1251" name="object 1251"/>
          <p:cNvSpPr/>
          <p:nvPr/>
        </p:nvSpPr>
        <p:spPr>
          <a:xfrm>
            <a:off x="8931275" y="2962275"/>
            <a:ext cx="25400" cy="39750"/>
          </a:xfrm>
          <a:custGeom>
            <a:avLst/>
            <a:gdLst/>
            <a:ahLst/>
            <a:cxnLst/>
            <a:rect l="l" t="t" r="r" b="b"/>
            <a:pathLst>
              <a:path w="25400" h="39750">
                <a:moveTo>
                  <a:pt x="25400" y="0"/>
                </a:moveTo>
                <a:lnTo>
                  <a:pt x="11049" y="6350"/>
                </a:lnTo>
                <a:lnTo>
                  <a:pt x="1524" y="14350"/>
                </a:lnTo>
                <a:lnTo>
                  <a:pt x="0" y="19050"/>
                </a:lnTo>
                <a:lnTo>
                  <a:pt x="0" y="25400"/>
                </a:lnTo>
                <a:lnTo>
                  <a:pt x="6350" y="31750"/>
                </a:lnTo>
                <a:lnTo>
                  <a:pt x="20700" y="39750"/>
                </a:lnTo>
              </a:path>
            </a:pathLst>
          </a:custGeom>
          <a:ln w="12700">
            <a:solidFill>
              <a:srgbClr val="000000"/>
            </a:solidFill>
          </a:ln>
        </p:spPr>
        <p:txBody>
          <a:bodyPr wrap="square" lIns="0" tIns="0" rIns="0" bIns="0" rtlCol="0">
            <a:noAutofit/>
          </a:bodyPr>
          <a:lstStyle/>
          <a:p>
            <a:endParaRPr/>
          </a:p>
        </p:txBody>
      </p:sp>
      <p:sp>
        <p:nvSpPr>
          <p:cNvPr id="1252" name="object 1252"/>
          <p:cNvSpPr/>
          <p:nvPr/>
        </p:nvSpPr>
        <p:spPr>
          <a:xfrm>
            <a:off x="9039225" y="2773426"/>
            <a:ext cx="25400" cy="25400"/>
          </a:xfrm>
          <a:custGeom>
            <a:avLst/>
            <a:gdLst/>
            <a:ahLst/>
            <a:cxnLst/>
            <a:rect l="l" t="t" r="r" b="b"/>
            <a:pathLst>
              <a:path w="25400" h="25400">
                <a:moveTo>
                  <a:pt x="1524" y="22225"/>
                </a:moveTo>
                <a:lnTo>
                  <a:pt x="1524" y="20574"/>
                </a:lnTo>
                <a:lnTo>
                  <a:pt x="3175" y="17399"/>
                </a:lnTo>
                <a:lnTo>
                  <a:pt x="6350" y="15875"/>
                </a:lnTo>
                <a:lnTo>
                  <a:pt x="9525" y="14224"/>
                </a:lnTo>
                <a:lnTo>
                  <a:pt x="12700" y="12700"/>
                </a:lnTo>
                <a:lnTo>
                  <a:pt x="20700" y="12700"/>
                </a:lnTo>
                <a:lnTo>
                  <a:pt x="23875" y="9525"/>
                </a:lnTo>
                <a:lnTo>
                  <a:pt x="25400" y="6350"/>
                </a:lnTo>
                <a:lnTo>
                  <a:pt x="25400" y="3175"/>
                </a:lnTo>
                <a:lnTo>
                  <a:pt x="23875" y="3175"/>
                </a:lnTo>
                <a:lnTo>
                  <a:pt x="22225" y="0"/>
                </a:lnTo>
                <a:lnTo>
                  <a:pt x="12700" y="0"/>
                </a:lnTo>
                <a:lnTo>
                  <a:pt x="9525" y="1524"/>
                </a:lnTo>
                <a:lnTo>
                  <a:pt x="7874" y="3175"/>
                </a:lnTo>
                <a:lnTo>
                  <a:pt x="6350" y="6350"/>
                </a:lnTo>
                <a:lnTo>
                  <a:pt x="4699" y="7874"/>
                </a:lnTo>
                <a:lnTo>
                  <a:pt x="3175" y="12700"/>
                </a:lnTo>
                <a:lnTo>
                  <a:pt x="1524" y="15875"/>
                </a:lnTo>
                <a:lnTo>
                  <a:pt x="0" y="20574"/>
                </a:lnTo>
                <a:lnTo>
                  <a:pt x="0" y="25400"/>
                </a:lnTo>
                <a:lnTo>
                  <a:pt x="1524" y="22225"/>
                </a:lnTo>
                <a:close/>
              </a:path>
            </a:pathLst>
          </a:custGeom>
          <a:solidFill>
            <a:srgbClr val="C0FFFF"/>
          </a:solidFill>
        </p:spPr>
        <p:txBody>
          <a:bodyPr wrap="square" lIns="0" tIns="0" rIns="0" bIns="0" rtlCol="0">
            <a:noAutofit/>
          </a:bodyPr>
          <a:lstStyle/>
          <a:p>
            <a:endParaRPr/>
          </a:p>
        </p:txBody>
      </p:sp>
      <p:sp>
        <p:nvSpPr>
          <p:cNvPr id="1253" name="object 1253"/>
          <p:cNvSpPr/>
          <p:nvPr/>
        </p:nvSpPr>
        <p:spPr>
          <a:xfrm>
            <a:off x="9039225" y="2773426"/>
            <a:ext cx="25400" cy="25400"/>
          </a:xfrm>
          <a:custGeom>
            <a:avLst/>
            <a:gdLst/>
            <a:ahLst/>
            <a:cxnLst/>
            <a:rect l="l" t="t" r="r" b="b"/>
            <a:pathLst>
              <a:path w="25400" h="25400">
                <a:moveTo>
                  <a:pt x="0" y="25400"/>
                </a:moveTo>
                <a:lnTo>
                  <a:pt x="0" y="20574"/>
                </a:lnTo>
                <a:lnTo>
                  <a:pt x="1524" y="15875"/>
                </a:lnTo>
                <a:lnTo>
                  <a:pt x="3175" y="12700"/>
                </a:lnTo>
                <a:lnTo>
                  <a:pt x="4699" y="7874"/>
                </a:lnTo>
                <a:lnTo>
                  <a:pt x="6350" y="6350"/>
                </a:lnTo>
                <a:lnTo>
                  <a:pt x="7874" y="3175"/>
                </a:lnTo>
                <a:lnTo>
                  <a:pt x="9525" y="1524"/>
                </a:lnTo>
                <a:lnTo>
                  <a:pt x="12700" y="0"/>
                </a:lnTo>
                <a:lnTo>
                  <a:pt x="14350" y="0"/>
                </a:lnTo>
                <a:lnTo>
                  <a:pt x="17525" y="0"/>
                </a:lnTo>
                <a:lnTo>
                  <a:pt x="19050" y="0"/>
                </a:lnTo>
                <a:lnTo>
                  <a:pt x="22225" y="0"/>
                </a:lnTo>
                <a:lnTo>
                  <a:pt x="22225" y="1524"/>
                </a:lnTo>
                <a:lnTo>
                  <a:pt x="23875" y="1524"/>
                </a:lnTo>
                <a:lnTo>
                  <a:pt x="23875" y="3175"/>
                </a:lnTo>
                <a:lnTo>
                  <a:pt x="25400" y="3175"/>
                </a:lnTo>
                <a:lnTo>
                  <a:pt x="25400" y="6350"/>
                </a:lnTo>
                <a:lnTo>
                  <a:pt x="25400" y="7874"/>
                </a:lnTo>
                <a:lnTo>
                  <a:pt x="23875" y="9525"/>
                </a:lnTo>
                <a:lnTo>
                  <a:pt x="22225" y="11049"/>
                </a:lnTo>
                <a:lnTo>
                  <a:pt x="20700" y="12700"/>
                </a:lnTo>
                <a:lnTo>
                  <a:pt x="19050" y="12700"/>
                </a:lnTo>
                <a:lnTo>
                  <a:pt x="17525" y="12700"/>
                </a:lnTo>
                <a:lnTo>
                  <a:pt x="15875" y="12700"/>
                </a:lnTo>
                <a:lnTo>
                  <a:pt x="12700" y="12700"/>
                </a:lnTo>
                <a:lnTo>
                  <a:pt x="11049" y="12700"/>
                </a:lnTo>
                <a:lnTo>
                  <a:pt x="9525" y="14224"/>
                </a:lnTo>
                <a:lnTo>
                  <a:pt x="7874" y="15875"/>
                </a:lnTo>
                <a:lnTo>
                  <a:pt x="6350" y="15875"/>
                </a:lnTo>
                <a:lnTo>
                  <a:pt x="3175" y="17399"/>
                </a:lnTo>
                <a:lnTo>
                  <a:pt x="1524" y="20574"/>
                </a:lnTo>
                <a:lnTo>
                  <a:pt x="1524" y="22225"/>
                </a:lnTo>
                <a:lnTo>
                  <a:pt x="0" y="25400"/>
                </a:lnTo>
              </a:path>
            </a:pathLst>
          </a:custGeom>
          <a:ln w="12700">
            <a:solidFill>
              <a:srgbClr val="000000"/>
            </a:solidFill>
          </a:ln>
        </p:spPr>
        <p:txBody>
          <a:bodyPr wrap="square" lIns="0" tIns="0" rIns="0" bIns="0" rtlCol="0">
            <a:noAutofit/>
          </a:bodyPr>
          <a:lstStyle/>
          <a:p>
            <a:endParaRPr/>
          </a:p>
        </p:txBody>
      </p:sp>
      <p:sp>
        <p:nvSpPr>
          <p:cNvPr id="1254" name="object 1254"/>
          <p:cNvSpPr/>
          <p:nvPr/>
        </p:nvSpPr>
        <p:spPr>
          <a:xfrm>
            <a:off x="9075801" y="2798826"/>
            <a:ext cx="25400" cy="25400"/>
          </a:xfrm>
          <a:custGeom>
            <a:avLst/>
            <a:gdLst/>
            <a:ahLst/>
            <a:cxnLst/>
            <a:rect l="l" t="t" r="r" b="b"/>
            <a:pathLst>
              <a:path w="25400" h="25400">
                <a:moveTo>
                  <a:pt x="0" y="20574"/>
                </a:moveTo>
                <a:lnTo>
                  <a:pt x="0" y="25400"/>
                </a:lnTo>
                <a:lnTo>
                  <a:pt x="1524" y="22225"/>
                </a:lnTo>
                <a:lnTo>
                  <a:pt x="1524" y="20574"/>
                </a:lnTo>
                <a:lnTo>
                  <a:pt x="3175" y="17399"/>
                </a:lnTo>
                <a:lnTo>
                  <a:pt x="6350" y="15875"/>
                </a:lnTo>
                <a:lnTo>
                  <a:pt x="7874" y="14224"/>
                </a:lnTo>
                <a:lnTo>
                  <a:pt x="11049" y="12700"/>
                </a:lnTo>
                <a:lnTo>
                  <a:pt x="19050" y="12700"/>
                </a:lnTo>
                <a:lnTo>
                  <a:pt x="22225" y="11049"/>
                </a:lnTo>
                <a:lnTo>
                  <a:pt x="25400" y="7874"/>
                </a:lnTo>
                <a:lnTo>
                  <a:pt x="25400" y="3175"/>
                </a:lnTo>
                <a:lnTo>
                  <a:pt x="22225" y="0"/>
                </a:lnTo>
                <a:lnTo>
                  <a:pt x="12700" y="0"/>
                </a:lnTo>
                <a:lnTo>
                  <a:pt x="9525" y="1524"/>
                </a:lnTo>
                <a:lnTo>
                  <a:pt x="6350" y="4699"/>
                </a:lnTo>
                <a:lnTo>
                  <a:pt x="4699" y="7874"/>
                </a:lnTo>
                <a:lnTo>
                  <a:pt x="3175" y="11049"/>
                </a:lnTo>
                <a:lnTo>
                  <a:pt x="1524" y="15875"/>
                </a:lnTo>
                <a:lnTo>
                  <a:pt x="0" y="20574"/>
                </a:lnTo>
                <a:close/>
              </a:path>
            </a:pathLst>
          </a:custGeom>
          <a:solidFill>
            <a:srgbClr val="C0FFFF"/>
          </a:solidFill>
        </p:spPr>
        <p:txBody>
          <a:bodyPr wrap="square" lIns="0" tIns="0" rIns="0" bIns="0" rtlCol="0">
            <a:noAutofit/>
          </a:bodyPr>
          <a:lstStyle/>
          <a:p>
            <a:endParaRPr/>
          </a:p>
        </p:txBody>
      </p:sp>
      <p:sp>
        <p:nvSpPr>
          <p:cNvPr id="1255" name="object 1255"/>
          <p:cNvSpPr/>
          <p:nvPr/>
        </p:nvSpPr>
        <p:spPr>
          <a:xfrm>
            <a:off x="9075801" y="2798826"/>
            <a:ext cx="25400" cy="25400"/>
          </a:xfrm>
          <a:custGeom>
            <a:avLst/>
            <a:gdLst/>
            <a:ahLst/>
            <a:cxnLst/>
            <a:rect l="l" t="t" r="r" b="b"/>
            <a:pathLst>
              <a:path w="25400" h="25400">
                <a:moveTo>
                  <a:pt x="0" y="25400"/>
                </a:moveTo>
                <a:lnTo>
                  <a:pt x="0" y="20574"/>
                </a:lnTo>
                <a:lnTo>
                  <a:pt x="1524" y="15875"/>
                </a:lnTo>
                <a:lnTo>
                  <a:pt x="3175" y="11049"/>
                </a:lnTo>
                <a:lnTo>
                  <a:pt x="4699" y="7874"/>
                </a:lnTo>
                <a:lnTo>
                  <a:pt x="6350" y="4699"/>
                </a:lnTo>
                <a:lnTo>
                  <a:pt x="7874" y="3175"/>
                </a:lnTo>
                <a:lnTo>
                  <a:pt x="9525" y="1524"/>
                </a:lnTo>
                <a:lnTo>
                  <a:pt x="12700" y="0"/>
                </a:lnTo>
                <a:lnTo>
                  <a:pt x="14224" y="0"/>
                </a:lnTo>
                <a:lnTo>
                  <a:pt x="17399" y="0"/>
                </a:lnTo>
                <a:lnTo>
                  <a:pt x="19050" y="0"/>
                </a:lnTo>
                <a:lnTo>
                  <a:pt x="22225" y="0"/>
                </a:lnTo>
                <a:lnTo>
                  <a:pt x="23749" y="1524"/>
                </a:lnTo>
                <a:lnTo>
                  <a:pt x="25400" y="3175"/>
                </a:lnTo>
                <a:lnTo>
                  <a:pt x="25400" y="4699"/>
                </a:lnTo>
                <a:lnTo>
                  <a:pt x="25400" y="7874"/>
                </a:lnTo>
                <a:lnTo>
                  <a:pt x="23749" y="9525"/>
                </a:lnTo>
                <a:lnTo>
                  <a:pt x="22225" y="11049"/>
                </a:lnTo>
                <a:lnTo>
                  <a:pt x="20574" y="12700"/>
                </a:lnTo>
                <a:lnTo>
                  <a:pt x="19050" y="12700"/>
                </a:lnTo>
                <a:lnTo>
                  <a:pt x="17399" y="12700"/>
                </a:lnTo>
                <a:lnTo>
                  <a:pt x="15875" y="12700"/>
                </a:lnTo>
                <a:lnTo>
                  <a:pt x="14224" y="12700"/>
                </a:lnTo>
                <a:lnTo>
                  <a:pt x="11049" y="12700"/>
                </a:lnTo>
                <a:lnTo>
                  <a:pt x="9525" y="14224"/>
                </a:lnTo>
                <a:lnTo>
                  <a:pt x="7874" y="14224"/>
                </a:lnTo>
                <a:lnTo>
                  <a:pt x="6350" y="15875"/>
                </a:lnTo>
                <a:lnTo>
                  <a:pt x="3175" y="17399"/>
                </a:lnTo>
                <a:lnTo>
                  <a:pt x="1524" y="20574"/>
                </a:lnTo>
                <a:lnTo>
                  <a:pt x="1524" y="22225"/>
                </a:lnTo>
                <a:lnTo>
                  <a:pt x="0" y="25400"/>
                </a:lnTo>
              </a:path>
            </a:pathLst>
          </a:custGeom>
          <a:ln w="12700">
            <a:solidFill>
              <a:srgbClr val="000000"/>
            </a:solidFill>
          </a:ln>
        </p:spPr>
        <p:txBody>
          <a:bodyPr wrap="square" lIns="0" tIns="0" rIns="0" bIns="0" rtlCol="0">
            <a:noAutofit/>
          </a:bodyPr>
          <a:lstStyle/>
          <a:p>
            <a:endParaRPr/>
          </a:p>
        </p:txBody>
      </p:sp>
      <p:sp>
        <p:nvSpPr>
          <p:cNvPr id="1256" name="object 1256"/>
          <p:cNvSpPr/>
          <p:nvPr/>
        </p:nvSpPr>
        <p:spPr>
          <a:xfrm>
            <a:off x="9102725" y="2832100"/>
            <a:ext cx="25400" cy="25400"/>
          </a:xfrm>
          <a:custGeom>
            <a:avLst/>
            <a:gdLst/>
            <a:ahLst/>
            <a:cxnLst/>
            <a:rect l="l" t="t" r="r" b="b"/>
            <a:pathLst>
              <a:path w="25400" h="25400">
                <a:moveTo>
                  <a:pt x="0" y="25400"/>
                </a:moveTo>
                <a:lnTo>
                  <a:pt x="4699" y="20700"/>
                </a:lnTo>
                <a:lnTo>
                  <a:pt x="12700" y="20700"/>
                </a:lnTo>
                <a:lnTo>
                  <a:pt x="15875" y="22225"/>
                </a:lnTo>
                <a:lnTo>
                  <a:pt x="17525" y="25400"/>
                </a:lnTo>
                <a:lnTo>
                  <a:pt x="19050" y="25400"/>
                </a:lnTo>
                <a:lnTo>
                  <a:pt x="22225" y="23875"/>
                </a:lnTo>
                <a:lnTo>
                  <a:pt x="23875" y="20700"/>
                </a:lnTo>
                <a:lnTo>
                  <a:pt x="23875" y="19050"/>
                </a:lnTo>
                <a:lnTo>
                  <a:pt x="25400" y="15875"/>
                </a:lnTo>
                <a:lnTo>
                  <a:pt x="25400" y="8000"/>
                </a:lnTo>
                <a:lnTo>
                  <a:pt x="23875" y="6350"/>
                </a:lnTo>
                <a:lnTo>
                  <a:pt x="23875" y="3175"/>
                </a:lnTo>
                <a:lnTo>
                  <a:pt x="22225" y="0"/>
                </a:lnTo>
                <a:lnTo>
                  <a:pt x="14350" y="0"/>
                </a:lnTo>
                <a:lnTo>
                  <a:pt x="11049" y="1650"/>
                </a:lnTo>
                <a:lnTo>
                  <a:pt x="9525" y="4825"/>
                </a:lnTo>
                <a:lnTo>
                  <a:pt x="7874" y="8000"/>
                </a:lnTo>
                <a:lnTo>
                  <a:pt x="4699" y="9525"/>
                </a:lnTo>
                <a:lnTo>
                  <a:pt x="0" y="25400"/>
                </a:lnTo>
                <a:close/>
              </a:path>
            </a:pathLst>
          </a:custGeom>
          <a:solidFill>
            <a:srgbClr val="C0FFFF"/>
          </a:solidFill>
        </p:spPr>
        <p:txBody>
          <a:bodyPr wrap="square" lIns="0" tIns="0" rIns="0" bIns="0" rtlCol="0">
            <a:noAutofit/>
          </a:bodyPr>
          <a:lstStyle/>
          <a:p>
            <a:endParaRPr/>
          </a:p>
        </p:txBody>
      </p:sp>
      <p:sp>
        <p:nvSpPr>
          <p:cNvPr id="1257" name="object 1257"/>
          <p:cNvSpPr/>
          <p:nvPr/>
        </p:nvSpPr>
        <p:spPr>
          <a:xfrm>
            <a:off x="9102725" y="2832100"/>
            <a:ext cx="25400" cy="25400"/>
          </a:xfrm>
          <a:custGeom>
            <a:avLst/>
            <a:gdLst/>
            <a:ahLst/>
            <a:cxnLst/>
            <a:rect l="l" t="t" r="r" b="b"/>
            <a:pathLst>
              <a:path w="25400" h="25400">
                <a:moveTo>
                  <a:pt x="0" y="25400"/>
                </a:moveTo>
                <a:lnTo>
                  <a:pt x="4699" y="9525"/>
                </a:lnTo>
                <a:lnTo>
                  <a:pt x="7874" y="8000"/>
                </a:lnTo>
                <a:lnTo>
                  <a:pt x="7874" y="6350"/>
                </a:lnTo>
                <a:lnTo>
                  <a:pt x="9525" y="4825"/>
                </a:lnTo>
                <a:lnTo>
                  <a:pt x="11049" y="1650"/>
                </a:lnTo>
                <a:lnTo>
                  <a:pt x="12700" y="1650"/>
                </a:lnTo>
                <a:lnTo>
                  <a:pt x="14350" y="0"/>
                </a:lnTo>
                <a:lnTo>
                  <a:pt x="15875" y="0"/>
                </a:lnTo>
                <a:lnTo>
                  <a:pt x="17525" y="0"/>
                </a:lnTo>
                <a:lnTo>
                  <a:pt x="19050" y="0"/>
                </a:lnTo>
                <a:lnTo>
                  <a:pt x="22225" y="0"/>
                </a:lnTo>
                <a:lnTo>
                  <a:pt x="22225" y="1650"/>
                </a:lnTo>
                <a:lnTo>
                  <a:pt x="23875" y="3175"/>
                </a:lnTo>
                <a:lnTo>
                  <a:pt x="23875" y="6350"/>
                </a:lnTo>
                <a:lnTo>
                  <a:pt x="25400" y="8000"/>
                </a:lnTo>
                <a:lnTo>
                  <a:pt x="25400" y="12700"/>
                </a:lnTo>
                <a:lnTo>
                  <a:pt x="25400" y="15875"/>
                </a:lnTo>
                <a:lnTo>
                  <a:pt x="23875" y="19050"/>
                </a:lnTo>
                <a:lnTo>
                  <a:pt x="23875" y="20700"/>
                </a:lnTo>
                <a:lnTo>
                  <a:pt x="22225" y="23875"/>
                </a:lnTo>
                <a:lnTo>
                  <a:pt x="19050" y="25400"/>
                </a:lnTo>
                <a:lnTo>
                  <a:pt x="17525" y="25400"/>
                </a:lnTo>
                <a:lnTo>
                  <a:pt x="15875" y="22225"/>
                </a:lnTo>
                <a:lnTo>
                  <a:pt x="12700" y="20700"/>
                </a:lnTo>
                <a:lnTo>
                  <a:pt x="11049" y="20700"/>
                </a:lnTo>
                <a:lnTo>
                  <a:pt x="7874" y="20700"/>
                </a:lnTo>
                <a:lnTo>
                  <a:pt x="4699" y="20700"/>
                </a:lnTo>
                <a:lnTo>
                  <a:pt x="0" y="25400"/>
                </a:lnTo>
              </a:path>
            </a:pathLst>
          </a:custGeom>
          <a:ln w="12700">
            <a:solidFill>
              <a:srgbClr val="000000"/>
            </a:solidFill>
          </a:ln>
        </p:spPr>
        <p:txBody>
          <a:bodyPr wrap="square" lIns="0" tIns="0" rIns="0" bIns="0" rtlCol="0">
            <a:noAutofit/>
          </a:bodyPr>
          <a:lstStyle/>
          <a:p>
            <a:endParaRPr/>
          </a:p>
        </p:txBody>
      </p:sp>
      <p:sp>
        <p:nvSpPr>
          <p:cNvPr id="1258" name="object 1258"/>
          <p:cNvSpPr/>
          <p:nvPr/>
        </p:nvSpPr>
        <p:spPr>
          <a:xfrm>
            <a:off x="8928100" y="2782951"/>
            <a:ext cx="25400" cy="25400"/>
          </a:xfrm>
          <a:custGeom>
            <a:avLst/>
            <a:gdLst/>
            <a:ahLst/>
            <a:cxnLst/>
            <a:rect l="l" t="t" r="r" b="b"/>
            <a:pathLst>
              <a:path w="25400" h="25400">
                <a:moveTo>
                  <a:pt x="0" y="4699"/>
                </a:moveTo>
                <a:lnTo>
                  <a:pt x="0" y="7874"/>
                </a:lnTo>
                <a:lnTo>
                  <a:pt x="1524" y="11049"/>
                </a:lnTo>
                <a:lnTo>
                  <a:pt x="4699" y="12700"/>
                </a:lnTo>
                <a:lnTo>
                  <a:pt x="11049" y="12700"/>
                </a:lnTo>
                <a:lnTo>
                  <a:pt x="14350" y="14224"/>
                </a:lnTo>
                <a:lnTo>
                  <a:pt x="17525" y="15875"/>
                </a:lnTo>
                <a:lnTo>
                  <a:pt x="20700" y="17399"/>
                </a:lnTo>
                <a:lnTo>
                  <a:pt x="22225" y="19050"/>
                </a:lnTo>
                <a:lnTo>
                  <a:pt x="22225" y="22225"/>
                </a:lnTo>
                <a:lnTo>
                  <a:pt x="25400" y="25400"/>
                </a:lnTo>
                <a:lnTo>
                  <a:pt x="23875" y="20574"/>
                </a:lnTo>
                <a:lnTo>
                  <a:pt x="22225" y="15875"/>
                </a:lnTo>
                <a:lnTo>
                  <a:pt x="20700" y="11049"/>
                </a:lnTo>
                <a:lnTo>
                  <a:pt x="19050" y="7874"/>
                </a:lnTo>
                <a:lnTo>
                  <a:pt x="17525" y="4699"/>
                </a:lnTo>
                <a:lnTo>
                  <a:pt x="14350" y="1524"/>
                </a:lnTo>
                <a:lnTo>
                  <a:pt x="11049" y="0"/>
                </a:lnTo>
                <a:lnTo>
                  <a:pt x="3175" y="0"/>
                </a:lnTo>
                <a:lnTo>
                  <a:pt x="0" y="1524"/>
                </a:lnTo>
                <a:lnTo>
                  <a:pt x="0" y="4699"/>
                </a:lnTo>
                <a:close/>
              </a:path>
            </a:pathLst>
          </a:custGeom>
          <a:solidFill>
            <a:srgbClr val="C0FFFF"/>
          </a:solidFill>
        </p:spPr>
        <p:txBody>
          <a:bodyPr wrap="square" lIns="0" tIns="0" rIns="0" bIns="0" rtlCol="0">
            <a:noAutofit/>
          </a:bodyPr>
          <a:lstStyle/>
          <a:p>
            <a:endParaRPr/>
          </a:p>
        </p:txBody>
      </p:sp>
      <p:sp>
        <p:nvSpPr>
          <p:cNvPr id="1259" name="object 1259"/>
          <p:cNvSpPr/>
          <p:nvPr/>
        </p:nvSpPr>
        <p:spPr>
          <a:xfrm>
            <a:off x="8928100" y="2782951"/>
            <a:ext cx="25400" cy="25400"/>
          </a:xfrm>
          <a:custGeom>
            <a:avLst/>
            <a:gdLst/>
            <a:ahLst/>
            <a:cxnLst/>
            <a:rect l="l" t="t" r="r" b="b"/>
            <a:pathLst>
              <a:path w="25400" h="25400">
                <a:moveTo>
                  <a:pt x="25400" y="25400"/>
                </a:moveTo>
                <a:lnTo>
                  <a:pt x="23875" y="20574"/>
                </a:lnTo>
                <a:lnTo>
                  <a:pt x="22225" y="15875"/>
                </a:lnTo>
                <a:lnTo>
                  <a:pt x="20700" y="11049"/>
                </a:lnTo>
                <a:lnTo>
                  <a:pt x="19050" y="7874"/>
                </a:lnTo>
                <a:lnTo>
                  <a:pt x="17525" y="4699"/>
                </a:lnTo>
                <a:lnTo>
                  <a:pt x="15875" y="3175"/>
                </a:lnTo>
                <a:lnTo>
                  <a:pt x="14350" y="1524"/>
                </a:lnTo>
                <a:lnTo>
                  <a:pt x="11049" y="0"/>
                </a:lnTo>
                <a:lnTo>
                  <a:pt x="9525" y="0"/>
                </a:lnTo>
                <a:lnTo>
                  <a:pt x="6350" y="0"/>
                </a:lnTo>
                <a:lnTo>
                  <a:pt x="3175" y="0"/>
                </a:lnTo>
                <a:lnTo>
                  <a:pt x="1524" y="0"/>
                </a:lnTo>
                <a:lnTo>
                  <a:pt x="0" y="1524"/>
                </a:lnTo>
                <a:lnTo>
                  <a:pt x="0" y="3175"/>
                </a:lnTo>
                <a:lnTo>
                  <a:pt x="0" y="4699"/>
                </a:lnTo>
                <a:lnTo>
                  <a:pt x="0" y="7874"/>
                </a:lnTo>
                <a:lnTo>
                  <a:pt x="0" y="9525"/>
                </a:lnTo>
                <a:lnTo>
                  <a:pt x="1524" y="11049"/>
                </a:lnTo>
                <a:lnTo>
                  <a:pt x="3175" y="12700"/>
                </a:lnTo>
                <a:lnTo>
                  <a:pt x="4699" y="12700"/>
                </a:lnTo>
                <a:lnTo>
                  <a:pt x="6350" y="12700"/>
                </a:lnTo>
                <a:lnTo>
                  <a:pt x="7874" y="12700"/>
                </a:lnTo>
                <a:lnTo>
                  <a:pt x="11049" y="12700"/>
                </a:lnTo>
                <a:lnTo>
                  <a:pt x="12700" y="12700"/>
                </a:lnTo>
                <a:lnTo>
                  <a:pt x="14350" y="14224"/>
                </a:lnTo>
                <a:lnTo>
                  <a:pt x="15875" y="14224"/>
                </a:lnTo>
                <a:lnTo>
                  <a:pt x="17525" y="15875"/>
                </a:lnTo>
                <a:lnTo>
                  <a:pt x="20700" y="17399"/>
                </a:lnTo>
                <a:lnTo>
                  <a:pt x="22225" y="19050"/>
                </a:lnTo>
                <a:lnTo>
                  <a:pt x="22225" y="22225"/>
                </a:lnTo>
                <a:lnTo>
                  <a:pt x="25400" y="25400"/>
                </a:lnTo>
              </a:path>
            </a:pathLst>
          </a:custGeom>
          <a:ln w="12700">
            <a:solidFill>
              <a:srgbClr val="000000"/>
            </a:solidFill>
          </a:ln>
        </p:spPr>
        <p:txBody>
          <a:bodyPr wrap="square" lIns="0" tIns="0" rIns="0" bIns="0" rtlCol="0">
            <a:noAutofit/>
          </a:bodyPr>
          <a:lstStyle/>
          <a:p>
            <a:endParaRPr/>
          </a:p>
        </p:txBody>
      </p:sp>
      <p:sp>
        <p:nvSpPr>
          <p:cNvPr id="1260" name="object 1260"/>
          <p:cNvSpPr/>
          <p:nvPr/>
        </p:nvSpPr>
        <p:spPr>
          <a:xfrm>
            <a:off x="2656332" y="3482340"/>
            <a:ext cx="934212" cy="300228"/>
          </a:xfrm>
          <a:prstGeom prst="rect">
            <a:avLst/>
          </a:prstGeom>
          <a:blipFill>
            <a:blip r:embed="rId10" cstate="print"/>
            <a:stretch>
              <a:fillRect/>
            </a:stretch>
          </a:blipFill>
        </p:spPr>
        <p:txBody>
          <a:bodyPr wrap="square" lIns="0" tIns="0" rIns="0" bIns="0" rtlCol="0">
            <a:noAutofit/>
          </a:bodyPr>
          <a:lstStyle/>
          <a:p>
            <a:endParaRPr/>
          </a:p>
        </p:txBody>
      </p:sp>
      <p:sp>
        <p:nvSpPr>
          <p:cNvPr id="1261" name="object 1261"/>
          <p:cNvSpPr/>
          <p:nvPr/>
        </p:nvSpPr>
        <p:spPr>
          <a:xfrm>
            <a:off x="3343656" y="3482340"/>
            <a:ext cx="297180" cy="300228"/>
          </a:xfrm>
          <a:prstGeom prst="rect">
            <a:avLst/>
          </a:prstGeom>
          <a:blipFill>
            <a:blip r:embed="rId11" cstate="print"/>
            <a:stretch>
              <a:fillRect/>
            </a:stretch>
          </a:blipFill>
        </p:spPr>
        <p:txBody>
          <a:bodyPr wrap="square" lIns="0" tIns="0" rIns="0" bIns="0" rtlCol="0">
            <a:noAutofit/>
          </a:bodyPr>
          <a:lstStyle/>
          <a:p>
            <a:endParaRPr/>
          </a:p>
        </p:txBody>
      </p:sp>
      <p:sp>
        <p:nvSpPr>
          <p:cNvPr id="1262" name="object 1262"/>
          <p:cNvSpPr/>
          <p:nvPr/>
        </p:nvSpPr>
        <p:spPr>
          <a:xfrm>
            <a:off x="9201132" y="1657182"/>
            <a:ext cx="68451" cy="110061"/>
          </a:xfrm>
          <a:custGeom>
            <a:avLst/>
            <a:gdLst/>
            <a:ahLst/>
            <a:cxnLst/>
            <a:rect l="l" t="t" r="r" b="b"/>
            <a:pathLst>
              <a:path w="68451" h="110061">
                <a:moveTo>
                  <a:pt x="34225" y="0"/>
                </a:moveTo>
                <a:lnTo>
                  <a:pt x="30753" y="246"/>
                </a:lnTo>
                <a:lnTo>
                  <a:pt x="27281" y="1233"/>
                </a:lnTo>
                <a:lnTo>
                  <a:pt x="20832" y="4441"/>
                </a:lnTo>
                <a:lnTo>
                  <a:pt x="17856" y="6662"/>
                </a:lnTo>
                <a:lnTo>
                  <a:pt x="15128" y="9377"/>
                </a:lnTo>
                <a:lnTo>
                  <a:pt x="12400" y="12585"/>
                </a:lnTo>
                <a:lnTo>
                  <a:pt x="10168" y="16040"/>
                </a:lnTo>
                <a:lnTo>
                  <a:pt x="7936" y="19988"/>
                </a:lnTo>
                <a:lnTo>
                  <a:pt x="5952" y="24184"/>
                </a:lnTo>
                <a:lnTo>
                  <a:pt x="4216" y="28872"/>
                </a:lnTo>
                <a:lnTo>
                  <a:pt x="2728" y="33561"/>
                </a:lnTo>
                <a:lnTo>
                  <a:pt x="1488" y="38743"/>
                </a:lnTo>
                <a:lnTo>
                  <a:pt x="744" y="43926"/>
                </a:lnTo>
                <a:lnTo>
                  <a:pt x="248" y="49355"/>
                </a:lnTo>
                <a:lnTo>
                  <a:pt x="0" y="55030"/>
                </a:lnTo>
                <a:lnTo>
                  <a:pt x="248" y="60706"/>
                </a:lnTo>
                <a:lnTo>
                  <a:pt x="744" y="66135"/>
                </a:lnTo>
                <a:lnTo>
                  <a:pt x="1488" y="71318"/>
                </a:lnTo>
                <a:lnTo>
                  <a:pt x="2728" y="76500"/>
                </a:lnTo>
                <a:lnTo>
                  <a:pt x="4216" y="81189"/>
                </a:lnTo>
                <a:lnTo>
                  <a:pt x="5952" y="85877"/>
                </a:lnTo>
                <a:lnTo>
                  <a:pt x="7936" y="90073"/>
                </a:lnTo>
                <a:lnTo>
                  <a:pt x="10168" y="94021"/>
                </a:lnTo>
                <a:lnTo>
                  <a:pt x="12400" y="97476"/>
                </a:lnTo>
                <a:lnTo>
                  <a:pt x="15128" y="100684"/>
                </a:lnTo>
                <a:lnTo>
                  <a:pt x="17856" y="103398"/>
                </a:lnTo>
                <a:lnTo>
                  <a:pt x="20832" y="105619"/>
                </a:lnTo>
                <a:lnTo>
                  <a:pt x="24057" y="107594"/>
                </a:lnTo>
                <a:lnTo>
                  <a:pt x="30753" y="109815"/>
                </a:lnTo>
                <a:lnTo>
                  <a:pt x="34225" y="110061"/>
                </a:lnTo>
                <a:lnTo>
                  <a:pt x="37697" y="109815"/>
                </a:lnTo>
                <a:lnTo>
                  <a:pt x="44393" y="107594"/>
                </a:lnTo>
                <a:lnTo>
                  <a:pt x="47618" y="105619"/>
                </a:lnTo>
                <a:lnTo>
                  <a:pt x="50594" y="103398"/>
                </a:lnTo>
                <a:lnTo>
                  <a:pt x="53322" y="100684"/>
                </a:lnTo>
                <a:lnTo>
                  <a:pt x="56050" y="97476"/>
                </a:lnTo>
                <a:lnTo>
                  <a:pt x="58530" y="94021"/>
                </a:lnTo>
                <a:lnTo>
                  <a:pt x="60514" y="90073"/>
                </a:lnTo>
                <a:lnTo>
                  <a:pt x="62498" y="85877"/>
                </a:lnTo>
                <a:lnTo>
                  <a:pt x="64234" y="81189"/>
                </a:lnTo>
                <a:lnTo>
                  <a:pt x="65722" y="76500"/>
                </a:lnTo>
                <a:lnTo>
                  <a:pt x="66963" y="71318"/>
                </a:lnTo>
                <a:lnTo>
                  <a:pt x="67707" y="66135"/>
                </a:lnTo>
                <a:lnTo>
                  <a:pt x="68203" y="60706"/>
                </a:lnTo>
                <a:lnTo>
                  <a:pt x="68451" y="55030"/>
                </a:lnTo>
                <a:lnTo>
                  <a:pt x="68203" y="49355"/>
                </a:lnTo>
                <a:lnTo>
                  <a:pt x="67707" y="43926"/>
                </a:lnTo>
                <a:lnTo>
                  <a:pt x="66963" y="38743"/>
                </a:lnTo>
                <a:lnTo>
                  <a:pt x="65722" y="33561"/>
                </a:lnTo>
                <a:lnTo>
                  <a:pt x="64234" y="28872"/>
                </a:lnTo>
                <a:lnTo>
                  <a:pt x="62498" y="24184"/>
                </a:lnTo>
                <a:lnTo>
                  <a:pt x="60514" y="19988"/>
                </a:lnTo>
                <a:lnTo>
                  <a:pt x="58530" y="16040"/>
                </a:lnTo>
                <a:lnTo>
                  <a:pt x="56050" y="12585"/>
                </a:lnTo>
                <a:lnTo>
                  <a:pt x="53322" y="9377"/>
                </a:lnTo>
                <a:lnTo>
                  <a:pt x="50594" y="6662"/>
                </a:lnTo>
                <a:lnTo>
                  <a:pt x="47618" y="4441"/>
                </a:lnTo>
                <a:lnTo>
                  <a:pt x="44393" y="2467"/>
                </a:lnTo>
                <a:lnTo>
                  <a:pt x="37697" y="246"/>
                </a:lnTo>
                <a:lnTo>
                  <a:pt x="34225" y="0"/>
                </a:lnTo>
                <a:close/>
              </a:path>
            </a:pathLst>
          </a:custGeom>
          <a:solidFill>
            <a:srgbClr val="000000"/>
          </a:solidFill>
        </p:spPr>
        <p:txBody>
          <a:bodyPr wrap="square" lIns="0" tIns="0" rIns="0" bIns="0" rtlCol="0">
            <a:noAutofit/>
          </a:bodyPr>
          <a:lstStyle/>
          <a:p>
            <a:endParaRPr/>
          </a:p>
        </p:txBody>
      </p:sp>
      <p:sp>
        <p:nvSpPr>
          <p:cNvPr id="1263" name="object 1263"/>
          <p:cNvSpPr/>
          <p:nvPr/>
        </p:nvSpPr>
        <p:spPr>
          <a:xfrm>
            <a:off x="9235358" y="1655453"/>
            <a:ext cx="35961" cy="56758"/>
          </a:xfrm>
          <a:custGeom>
            <a:avLst/>
            <a:gdLst/>
            <a:ahLst/>
            <a:cxnLst/>
            <a:rect l="l" t="t" r="r" b="b"/>
            <a:pathLst>
              <a:path w="35961" h="56758">
                <a:moveTo>
                  <a:pt x="0" y="0"/>
                </a:moveTo>
                <a:lnTo>
                  <a:pt x="0" y="3454"/>
                </a:lnTo>
                <a:lnTo>
                  <a:pt x="3224" y="3701"/>
                </a:lnTo>
                <a:lnTo>
                  <a:pt x="6448" y="4688"/>
                </a:lnTo>
                <a:lnTo>
                  <a:pt x="9424" y="5675"/>
                </a:lnTo>
                <a:lnTo>
                  <a:pt x="12400" y="7650"/>
                </a:lnTo>
                <a:lnTo>
                  <a:pt x="15128" y="9624"/>
                </a:lnTo>
                <a:lnTo>
                  <a:pt x="17856" y="12338"/>
                </a:lnTo>
                <a:lnTo>
                  <a:pt x="20336" y="15300"/>
                </a:lnTo>
                <a:lnTo>
                  <a:pt x="22817" y="18754"/>
                </a:lnTo>
                <a:lnTo>
                  <a:pt x="24801" y="22456"/>
                </a:lnTo>
                <a:lnTo>
                  <a:pt x="26785" y="26651"/>
                </a:lnTo>
                <a:lnTo>
                  <a:pt x="28273" y="31093"/>
                </a:lnTo>
                <a:lnTo>
                  <a:pt x="29761" y="35782"/>
                </a:lnTo>
                <a:lnTo>
                  <a:pt x="31001" y="40717"/>
                </a:lnTo>
                <a:lnTo>
                  <a:pt x="31745" y="45900"/>
                </a:lnTo>
                <a:lnTo>
                  <a:pt x="32241" y="51082"/>
                </a:lnTo>
                <a:lnTo>
                  <a:pt x="32489" y="56758"/>
                </a:lnTo>
                <a:lnTo>
                  <a:pt x="35961" y="56758"/>
                </a:lnTo>
                <a:lnTo>
                  <a:pt x="35713" y="51082"/>
                </a:lnTo>
                <a:lnTo>
                  <a:pt x="35217" y="45406"/>
                </a:lnTo>
                <a:lnTo>
                  <a:pt x="34473" y="40224"/>
                </a:lnTo>
                <a:lnTo>
                  <a:pt x="33233" y="34795"/>
                </a:lnTo>
                <a:lnTo>
                  <a:pt x="31745" y="30106"/>
                </a:lnTo>
                <a:lnTo>
                  <a:pt x="29761" y="25171"/>
                </a:lnTo>
                <a:lnTo>
                  <a:pt x="27777" y="20975"/>
                </a:lnTo>
                <a:lnTo>
                  <a:pt x="25793" y="16780"/>
                </a:lnTo>
                <a:lnTo>
                  <a:pt x="23313" y="13325"/>
                </a:lnTo>
                <a:lnTo>
                  <a:pt x="20336" y="9871"/>
                </a:lnTo>
                <a:lnTo>
                  <a:pt x="17608" y="7156"/>
                </a:lnTo>
                <a:lnTo>
                  <a:pt x="14384" y="4688"/>
                </a:lnTo>
                <a:lnTo>
                  <a:pt x="10912" y="2714"/>
                </a:lnTo>
                <a:lnTo>
                  <a:pt x="7440" y="1233"/>
                </a:lnTo>
                <a:lnTo>
                  <a:pt x="3720" y="246"/>
                </a:lnTo>
                <a:lnTo>
                  <a:pt x="0" y="0"/>
                </a:lnTo>
                <a:close/>
              </a:path>
            </a:pathLst>
          </a:custGeom>
          <a:solidFill>
            <a:srgbClr val="000000"/>
          </a:solidFill>
        </p:spPr>
        <p:txBody>
          <a:bodyPr wrap="square" lIns="0" tIns="0" rIns="0" bIns="0" rtlCol="0">
            <a:noAutofit/>
          </a:bodyPr>
          <a:lstStyle/>
          <a:p>
            <a:endParaRPr/>
          </a:p>
        </p:txBody>
      </p:sp>
      <p:sp>
        <p:nvSpPr>
          <p:cNvPr id="1264" name="object 1264"/>
          <p:cNvSpPr/>
          <p:nvPr/>
        </p:nvSpPr>
        <p:spPr>
          <a:xfrm>
            <a:off x="9235358" y="1712212"/>
            <a:ext cx="35961" cy="56758"/>
          </a:xfrm>
          <a:custGeom>
            <a:avLst/>
            <a:gdLst/>
            <a:ahLst/>
            <a:cxnLst/>
            <a:rect l="l" t="t" r="r" b="b"/>
            <a:pathLst>
              <a:path w="35961" h="56758">
                <a:moveTo>
                  <a:pt x="3720" y="56511"/>
                </a:moveTo>
                <a:lnTo>
                  <a:pt x="7440" y="55524"/>
                </a:lnTo>
                <a:lnTo>
                  <a:pt x="10912" y="54043"/>
                </a:lnTo>
                <a:lnTo>
                  <a:pt x="14384" y="52069"/>
                </a:lnTo>
                <a:lnTo>
                  <a:pt x="17608" y="49601"/>
                </a:lnTo>
                <a:lnTo>
                  <a:pt x="20336" y="46887"/>
                </a:lnTo>
                <a:lnTo>
                  <a:pt x="23313" y="43432"/>
                </a:lnTo>
                <a:lnTo>
                  <a:pt x="25793" y="39977"/>
                </a:lnTo>
                <a:lnTo>
                  <a:pt x="27777" y="35782"/>
                </a:lnTo>
                <a:lnTo>
                  <a:pt x="29761" y="31587"/>
                </a:lnTo>
                <a:lnTo>
                  <a:pt x="31745" y="26651"/>
                </a:lnTo>
                <a:lnTo>
                  <a:pt x="33233" y="21963"/>
                </a:lnTo>
                <a:lnTo>
                  <a:pt x="34473" y="16533"/>
                </a:lnTo>
                <a:lnTo>
                  <a:pt x="35217" y="11351"/>
                </a:lnTo>
                <a:lnTo>
                  <a:pt x="35713" y="5675"/>
                </a:lnTo>
                <a:lnTo>
                  <a:pt x="35961" y="0"/>
                </a:lnTo>
                <a:lnTo>
                  <a:pt x="32489" y="0"/>
                </a:lnTo>
                <a:lnTo>
                  <a:pt x="32241" y="5675"/>
                </a:lnTo>
                <a:lnTo>
                  <a:pt x="31745" y="10858"/>
                </a:lnTo>
                <a:lnTo>
                  <a:pt x="31001" y="16040"/>
                </a:lnTo>
                <a:lnTo>
                  <a:pt x="29761" y="20975"/>
                </a:lnTo>
                <a:lnTo>
                  <a:pt x="28273" y="25664"/>
                </a:lnTo>
                <a:lnTo>
                  <a:pt x="26785" y="30106"/>
                </a:lnTo>
                <a:lnTo>
                  <a:pt x="24801" y="34301"/>
                </a:lnTo>
                <a:lnTo>
                  <a:pt x="22817" y="38003"/>
                </a:lnTo>
                <a:lnTo>
                  <a:pt x="20336" y="41458"/>
                </a:lnTo>
                <a:lnTo>
                  <a:pt x="17856" y="44419"/>
                </a:lnTo>
                <a:lnTo>
                  <a:pt x="15128" y="47134"/>
                </a:lnTo>
                <a:lnTo>
                  <a:pt x="12400" y="49108"/>
                </a:lnTo>
                <a:lnTo>
                  <a:pt x="9424" y="51082"/>
                </a:lnTo>
                <a:lnTo>
                  <a:pt x="6448" y="52069"/>
                </a:lnTo>
                <a:lnTo>
                  <a:pt x="3224" y="53056"/>
                </a:lnTo>
                <a:lnTo>
                  <a:pt x="0" y="53303"/>
                </a:lnTo>
                <a:lnTo>
                  <a:pt x="0" y="56758"/>
                </a:lnTo>
                <a:lnTo>
                  <a:pt x="3720" y="56511"/>
                </a:lnTo>
                <a:close/>
              </a:path>
            </a:pathLst>
          </a:custGeom>
          <a:solidFill>
            <a:srgbClr val="000000"/>
          </a:solidFill>
        </p:spPr>
        <p:txBody>
          <a:bodyPr wrap="square" lIns="0" tIns="0" rIns="0" bIns="0" rtlCol="0">
            <a:noAutofit/>
          </a:bodyPr>
          <a:lstStyle/>
          <a:p>
            <a:endParaRPr/>
          </a:p>
        </p:txBody>
      </p:sp>
      <p:sp>
        <p:nvSpPr>
          <p:cNvPr id="1265" name="object 1265"/>
          <p:cNvSpPr/>
          <p:nvPr/>
        </p:nvSpPr>
        <p:spPr>
          <a:xfrm>
            <a:off x="9199396" y="1712212"/>
            <a:ext cx="35961" cy="56758"/>
          </a:xfrm>
          <a:custGeom>
            <a:avLst/>
            <a:gdLst/>
            <a:ahLst/>
            <a:cxnLst/>
            <a:rect l="l" t="t" r="r" b="b"/>
            <a:pathLst>
              <a:path w="35961" h="56758">
                <a:moveTo>
                  <a:pt x="3472" y="0"/>
                </a:moveTo>
                <a:lnTo>
                  <a:pt x="0" y="0"/>
                </a:lnTo>
                <a:lnTo>
                  <a:pt x="248" y="5675"/>
                </a:lnTo>
                <a:lnTo>
                  <a:pt x="744" y="11351"/>
                </a:lnTo>
                <a:lnTo>
                  <a:pt x="1488" y="16533"/>
                </a:lnTo>
                <a:lnTo>
                  <a:pt x="2728" y="21963"/>
                </a:lnTo>
                <a:lnTo>
                  <a:pt x="4216" y="26651"/>
                </a:lnTo>
                <a:lnTo>
                  <a:pt x="6200" y="31587"/>
                </a:lnTo>
                <a:lnTo>
                  <a:pt x="8184" y="35782"/>
                </a:lnTo>
                <a:lnTo>
                  <a:pt x="10416" y="39977"/>
                </a:lnTo>
                <a:lnTo>
                  <a:pt x="12648" y="43432"/>
                </a:lnTo>
                <a:lnTo>
                  <a:pt x="15624" y="46887"/>
                </a:lnTo>
                <a:lnTo>
                  <a:pt x="18352" y="49601"/>
                </a:lnTo>
                <a:lnTo>
                  <a:pt x="21576" y="52069"/>
                </a:lnTo>
                <a:lnTo>
                  <a:pt x="25049" y="54043"/>
                </a:lnTo>
                <a:lnTo>
                  <a:pt x="28521" y="55524"/>
                </a:lnTo>
                <a:lnTo>
                  <a:pt x="32241" y="56511"/>
                </a:lnTo>
                <a:lnTo>
                  <a:pt x="35961" y="56758"/>
                </a:lnTo>
                <a:lnTo>
                  <a:pt x="35961" y="53303"/>
                </a:lnTo>
                <a:lnTo>
                  <a:pt x="32737" y="53056"/>
                </a:lnTo>
                <a:lnTo>
                  <a:pt x="29513" y="52069"/>
                </a:lnTo>
                <a:lnTo>
                  <a:pt x="26537" y="51082"/>
                </a:lnTo>
                <a:lnTo>
                  <a:pt x="23561" y="49108"/>
                </a:lnTo>
                <a:lnTo>
                  <a:pt x="20832" y="47134"/>
                </a:lnTo>
                <a:lnTo>
                  <a:pt x="18104" y="44419"/>
                </a:lnTo>
                <a:lnTo>
                  <a:pt x="15624" y="41458"/>
                </a:lnTo>
                <a:lnTo>
                  <a:pt x="13392" y="38003"/>
                </a:lnTo>
                <a:lnTo>
                  <a:pt x="11160" y="34301"/>
                </a:lnTo>
                <a:lnTo>
                  <a:pt x="9176" y="30106"/>
                </a:lnTo>
                <a:lnTo>
                  <a:pt x="7688" y="25664"/>
                </a:lnTo>
                <a:lnTo>
                  <a:pt x="6200" y="20975"/>
                </a:lnTo>
                <a:lnTo>
                  <a:pt x="4960" y="16040"/>
                </a:lnTo>
                <a:lnTo>
                  <a:pt x="4216" y="10858"/>
                </a:lnTo>
                <a:lnTo>
                  <a:pt x="3720" y="5675"/>
                </a:lnTo>
                <a:lnTo>
                  <a:pt x="3472" y="0"/>
                </a:lnTo>
                <a:close/>
              </a:path>
            </a:pathLst>
          </a:custGeom>
          <a:solidFill>
            <a:srgbClr val="000000"/>
          </a:solidFill>
        </p:spPr>
        <p:txBody>
          <a:bodyPr wrap="square" lIns="0" tIns="0" rIns="0" bIns="0" rtlCol="0">
            <a:noAutofit/>
          </a:bodyPr>
          <a:lstStyle/>
          <a:p>
            <a:endParaRPr/>
          </a:p>
        </p:txBody>
      </p:sp>
      <p:sp>
        <p:nvSpPr>
          <p:cNvPr id="1266" name="object 1266"/>
          <p:cNvSpPr/>
          <p:nvPr/>
        </p:nvSpPr>
        <p:spPr>
          <a:xfrm>
            <a:off x="9199396" y="1655453"/>
            <a:ext cx="35961" cy="56758"/>
          </a:xfrm>
          <a:custGeom>
            <a:avLst/>
            <a:gdLst/>
            <a:ahLst/>
            <a:cxnLst/>
            <a:rect l="l" t="t" r="r" b="b"/>
            <a:pathLst>
              <a:path w="35961" h="56758">
                <a:moveTo>
                  <a:pt x="4216" y="30106"/>
                </a:moveTo>
                <a:lnTo>
                  <a:pt x="2728" y="34795"/>
                </a:lnTo>
                <a:lnTo>
                  <a:pt x="1488" y="40224"/>
                </a:lnTo>
                <a:lnTo>
                  <a:pt x="744" y="45406"/>
                </a:lnTo>
                <a:lnTo>
                  <a:pt x="248" y="51082"/>
                </a:lnTo>
                <a:lnTo>
                  <a:pt x="0" y="56758"/>
                </a:lnTo>
                <a:lnTo>
                  <a:pt x="3472" y="56758"/>
                </a:lnTo>
                <a:lnTo>
                  <a:pt x="3720" y="51082"/>
                </a:lnTo>
                <a:lnTo>
                  <a:pt x="4216" y="45900"/>
                </a:lnTo>
                <a:lnTo>
                  <a:pt x="4960" y="40717"/>
                </a:lnTo>
                <a:lnTo>
                  <a:pt x="6200" y="35782"/>
                </a:lnTo>
                <a:lnTo>
                  <a:pt x="7688" y="31093"/>
                </a:lnTo>
                <a:lnTo>
                  <a:pt x="9176" y="26651"/>
                </a:lnTo>
                <a:lnTo>
                  <a:pt x="11160" y="22456"/>
                </a:lnTo>
                <a:lnTo>
                  <a:pt x="13392" y="18754"/>
                </a:lnTo>
                <a:lnTo>
                  <a:pt x="15624" y="15300"/>
                </a:lnTo>
                <a:lnTo>
                  <a:pt x="18104" y="12338"/>
                </a:lnTo>
                <a:lnTo>
                  <a:pt x="20832" y="9624"/>
                </a:lnTo>
                <a:lnTo>
                  <a:pt x="23561" y="7650"/>
                </a:lnTo>
                <a:lnTo>
                  <a:pt x="26537" y="5675"/>
                </a:lnTo>
                <a:lnTo>
                  <a:pt x="29513" y="4688"/>
                </a:lnTo>
                <a:lnTo>
                  <a:pt x="32737" y="3701"/>
                </a:lnTo>
                <a:lnTo>
                  <a:pt x="35961" y="3454"/>
                </a:lnTo>
                <a:lnTo>
                  <a:pt x="35961" y="0"/>
                </a:lnTo>
                <a:lnTo>
                  <a:pt x="32241" y="246"/>
                </a:lnTo>
                <a:lnTo>
                  <a:pt x="28521" y="1233"/>
                </a:lnTo>
                <a:lnTo>
                  <a:pt x="25049" y="2714"/>
                </a:lnTo>
                <a:lnTo>
                  <a:pt x="21576" y="4688"/>
                </a:lnTo>
                <a:lnTo>
                  <a:pt x="18352" y="7156"/>
                </a:lnTo>
                <a:lnTo>
                  <a:pt x="15624" y="9871"/>
                </a:lnTo>
                <a:lnTo>
                  <a:pt x="12648" y="13325"/>
                </a:lnTo>
                <a:lnTo>
                  <a:pt x="10416" y="16780"/>
                </a:lnTo>
                <a:lnTo>
                  <a:pt x="8184" y="20975"/>
                </a:lnTo>
                <a:lnTo>
                  <a:pt x="6200" y="25171"/>
                </a:lnTo>
                <a:lnTo>
                  <a:pt x="4216" y="30106"/>
                </a:lnTo>
                <a:close/>
              </a:path>
            </a:pathLst>
          </a:custGeom>
          <a:solidFill>
            <a:srgbClr val="000000"/>
          </a:solidFill>
        </p:spPr>
        <p:txBody>
          <a:bodyPr wrap="square" lIns="0" tIns="0" rIns="0" bIns="0" rtlCol="0">
            <a:noAutofit/>
          </a:bodyPr>
          <a:lstStyle/>
          <a:p>
            <a:endParaRPr/>
          </a:p>
        </p:txBody>
      </p:sp>
      <p:sp>
        <p:nvSpPr>
          <p:cNvPr id="1267" name="object 1267"/>
          <p:cNvSpPr/>
          <p:nvPr/>
        </p:nvSpPr>
        <p:spPr>
          <a:xfrm>
            <a:off x="9235606" y="1763542"/>
            <a:ext cx="23313" cy="3701"/>
          </a:xfrm>
          <a:custGeom>
            <a:avLst/>
            <a:gdLst/>
            <a:ahLst/>
            <a:cxnLst/>
            <a:rect l="l" t="t" r="r" b="b"/>
            <a:pathLst>
              <a:path w="23313" h="3701">
                <a:moveTo>
                  <a:pt x="23313" y="3701"/>
                </a:moveTo>
                <a:lnTo>
                  <a:pt x="11160" y="0"/>
                </a:lnTo>
                <a:lnTo>
                  <a:pt x="0" y="3701"/>
                </a:lnTo>
                <a:lnTo>
                  <a:pt x="23313" y="3701"/>
                </a:lnTo>
                <a:close/>
              </a:path>
            </a:pathLst>
          </a:custGeom>
          <a:solidFill>
            <a:srgbClr val="000000"/>
          </a:solidFill>
        </p:spPr>
        <p:txBody>
          <a:bodyPr wrap="square" lIns="0" tIns="0" rIns="0" bIns="0" rtlCol="0">
            <a:noAutofit/>
          </a:bodyPr>
          <a:lstStyle/>
          <a:p>
            <a:endParaRPr/>
          </a:p>
        </p:txBody>
      </p:sp>
      <p:sp>
        <p:nvSpPr>
          <p:cNvPr id="1268" name="object 1268"/>
          <p:cNvSpPr/>
          <p:nvPr/>
        </p:nvSpPr>
        <p:spPr>
          <a:xfrm>
            <a:off x="9235110" y="1657427"/>
            <a:ext cx="22817" cy="3948"/>
          </a:xfrm>
          <a:custGeom>
            <a:avLst/>
            <a:gdLst/>
            <a:ahLst/>
            <a:cxnLst/>
            <a:rect l="l" t="t" r="r" b="b"/>
            <a:pathLst>
              <a:path w="22817" h="3948">
                <a:moveTo>
                  <a:pt x="22817" y="0"/>
                </a:moveTo>
                <a:lnTo>
                  <a:pt x="0" y="0"/>
                </a:lnTo>
                <a:lnTo>
                  <a:pt x="11656" y="3948"/>
                </a:lnTo>
                <a:lnTo>
                  <a:pt x="22817" y="0"/>
                </a:lnTo>
                <a:close/>
              </a:path>
            </a:pathLst>
          </a:custGeom>
          <a:solidFill>
            <a:srgbClr val="000000"/>
          </a:solidFill>
        </p:spPr>
        <p:txBody>
          <a:bodyPr wrap="square" lIns="0" tIns="0" rIns="0" bIns="0" rtlCol="0">
            <a:noAutofit/>
          </a:bodyPr>
          <a:lstStyle/>
          <a:p>
            <a:endParaRPr/>
          </a:p>
        </p:txBody>
      </p:sp>
      <p:sp>
        <p:nvSpPr>
          <p:cNvPr id="1269" name="object 1269"/>
          <p:cNvSpPr/>
          <p:nvPr/>
        </p:nvSpPr>
        <p:spPr>
          <a:xfrm>
            <a:off x="9235110" y="1656195"/>
            <a:ext cx="24057" cy="2467"/>
          </a:xfrm>
          <a:custGeom>
            <a:avLst/>
            <a:gdLst/>
            <a:ahLst/>
            <a:cxnLst/>
            <a:rect l="l" t="t" r="r" b="b"/>
            <a:pathLst>
              <a:path w="24057" h="2467">
                <a:moveTo>
                  <a:pt x="22321" y="0"/>
                </a:moveTo>
                <a:lnTo>
                  <a:pt x="0" y="0"/>
                </a:lnTo>
                <a:lnTo>
                  <a:pt x="0" y="2467"/>
                </a:lnTo>
                <a:lnTo>
                  <a:pt x="22817" y="2467"/>
                </a:lnTo>
                <a:lnTo>
                  <a:pt x="23254" y="2177"/>
                </a:lnTo>
                <a:lnTo>
                  <a:pt x="23561" y="1974"/>
                </a:lnTo>
                <a:lnTo>
                  <a:pt x="24057" y="1233"/>
                </a:lnTo>
                <a:lnTo>
                  <a:pt x="23561" y="493"/>
                </a:lnTo>
                <a:lnTo>
                  <a:pt x="22817" y="0"/>
                </a:lnTo>
                <a:lnTo>
                  <a:pt x="22321" y="0"/>
                </a:lnTo>
                <a:close/>
              </a:path>
            </a:pathLst>
          </a:custGeom>
          <a:solidFill>
            <a:srgbClr val="000000"/>
          </a:solidFill>
        </p:spPr>
        <p:txBody>
          <a:bodyPr wrap="square" lIns="0" tIns="0" rIns="0" bIns="0" rtlCol="0">
            <a:noAutofit/>
          </a:bodyPr>
          <a:lstStyle/>
          <a:p>
            <a:endParaRPr/>
          </a:p>
        </p:txBody>
      </p:sp>
      <p:sp>
        <p:nvSpPr>
          <p:cNvPr id="1270" name="object 1270"/>
          <p:cNvSpPr/>
          <p:nvPr/>
        </p:nvSpPr>
        <p:spPr>
          <a:xfrm>
            <a:off x="9245525" y="1656194"/>
            <a:ext cx="11904" cy="6416"/>
          </a:xfrm>
          <a:custGeom>
            <a:avLst/>
            <a:gdLst/>
            <a:ahLst/>
            <a:cxnLst/>
            <a:rect l="l" t="t" r="r" b="b"/>
            <a:pathLst>
              <a:path w="11904" h="6416">
                <a:moveTo>
                  <a:pt x="744" y="3948"/>
                </a:moveTo>
                <a:lnTo>
                  <a:pt x="0" y="4688"/>
                </a:lnTo>
                <a:lnTo>
                  <a:pt x="248" y="5429"/>
                </a:lnTo>
                <a:lnTo>
                  <a:pt x="744" y="6416"/>
                </a:lnTo>
                <a:lnTo>
                  <a:pt x="1736" y="6416"/>
                </a:lnTo>
                <a:lnTo>
                  <a:pt x="1736" y="3948"/>
                </a:lnTo>
                <a:lnTo>
                  <a:pt x="11904" y="0"/>
                </a:lnTo>
                <a:lnTo>
                  <a:pt x="744" y="3948"/>
                </a:lnTo>
                <a:close/>
              </a:path>
            </a:pathLst>
          </a:custGeom>
          <a:solidFill>
            <a:srgbClr val="000000"/>
          </a:solidFill>
        </p:spPr>
        <p:txBody>
          <a:bodyPr wrap="square" lIns="0" tIns="0" rIns="0" bIns="0" rtlCol="0">
            <a:noAutofit/>
          </a:bodyPr>
          <a:lstStyle/>
          <a:p>
            <a:endParaRPr/>
          </a:p>
        </p:txBody>
      </p:sp>
      <p:sp>
        <p:nvSpPr>
          <p:cNvPr id="1271" name="object 1271"/>
          <p:cNvSpPr/>
          <p:nvPr/>
        </p:nvSpPr>
        <p:spPr>
          <a:xfrm>
            <a:off x="9247261" y="1656194"/>
            <a:ext cx="11160" cy="6416"/>
          </a:xfrm>
          <a:custGeom>
            <a:avLst/>
            <a:gdLst/>
            <a:ahLst/>
            <a:cxnLst/>
            <a:rect l="l" t="t" r="r" b="b"/>
            <a:pathLst>
              <a:path w="11160" h="6416">
                <a:moveTo>
                  <a:pt x="0" y="3948"/>
                </a:moveTo>
                <a:lnTo>
                  <a:pt x="0" y="6416"/>
                </a:lnTo>
                <a:lnTo>
                  <a:pt x="11160" y="2467"/>
                </a:lnTo>
                <a:lnTo>
                  <a:pt x="10168" y="0"/>
                </a:lnTo>
                <a:lnTo>
                  <a:pt x="0" y="3948"/>
                </a:lnTo>
                <a:close/>
              </a:path>
            </a:pathLst>
          </a:custGeom>
          <a:solidFill>
            <a:srgbClr val="000000"/>
          </a:solidFill>
        </p:spPr>
        <p:txBody>
          <a:bodyPr wrap="square" lIns="0" tIns="0" rIns="0" bIns="0" rtlCol="0">
            <a:noAutofit/>
          </a:bodyPr>
          <a:lstStyle/>
          <a:p>
            <a:endParaRPr/>
          </a:p>
        </p:txBody>
      </p:sp>
      <p:sp>
        <p:nvSpPr>
          <p:cNvPr id="1272" name="object 1272"/>
          <p:cNvSpPr/>
          <p:nvPr/>
        </p:nvSpPr>
        <p:spPr>
          <a:xfrm>
            <a:off x="9233869" y="1656194"/>
            <a:ext cx="12400" cy="6416"/>
          </a:xfrm>
          <a:custGeom>
            <a:avLst/>
            <a:gdLst/>
            <a:ahLst/>
            <a:cxnLst/>
            <a:rect l="l" t="t" r="r" b="b"/>
            <a:pathLst>
              <a:path w="12400" h="6416">
                <a:moveTo>
                  <a:pt x="744" y="2467"/>
                </a:moveTo>
                <a:lnTo>
                  <a:pt x="12400" y="6416"/>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1273" name="object 1273"/>
          <p:cNvSpPr/>
          <p:nvPr/>
        </p:nvSpPr>
        <p:spPr>
          <a:xfrm>
            <a:off x="9235109" y="1656194"/>
            <a:ext cx="12152" cy="6416"/>
          </a:xfrm>
          <a:custGeom>
            <a:avLst/>
            <a:gdLst/>
            <a:ahLst/>
            <a:cxnLst/>
            <a:rect l="l" t="t" r="r" b="b"/>
            <a:pathLst>
              <a:path w="12152" h="6416">
                <a:moveTo>
                  <a:pt x="496" y="0"/>
                </a:moveTo>
                <a:lnTo>
                  <a:pt x="0" y="0"/>
                </a:lnTo>
                <a:lnTo>
                  <a:pt x="0" y="2467"/>
                </a:lnTo>
                <a:lnTo>
                  <a:pt x="11160" y="6416"/>
                </a:lnTo>
                <a:lnTo>
                  <a:pt x="12152" y="3948"/>
                </a:lnTo>
                <a:lnTo>
                  <a:pt x="496" y="0"/>
                </a:lnTo>
                <a:close/>
              </a:path>
            </a:pathLst>
          </a:custGeom>
          <a:solidFill>
            <a:srgbClr val="000000"/>
          </a:solidFill>
        </p:spPr>
        <p:txBody>
          <a:bodyPr wrap="square" lIns="0" tIns="0" rIns="0" bIns="0" rtlCol="0">
            <a:noAutofit/>
          </a:bodyPr>
          <a:lstStyle/>
          <a:p>
            <a:endParaRPr/>
          </a:p>
        </p:txBody>
      </p:sp>
      <p:sp>
        <p:nvSpPr>
          <p:cNvPr id="1274" name="object 1274"/>
          <p:cNvSpPr/>
          <p:nvPr/>
        </p:nvSpPr>
        <p:spPr>
          <a:xfrm>
            <a:off x="9235606" y="1766010"/>
            <a:ext cx="24553" cy="2467"/>
          </a:xfrm>
          <a:custGeom>
            <a:avLst/>
            <a:gdLst/>
            <a:ahLst/>
            <a:cxnLst/>
            <a:rect l="l" t="t" r="r" b="b"/>
            <a:pathLst>
              <a:path w="24553" h="2467">
                <a:moveTo>
                  <a:pt x="24553" y="1233"/>
                </a:moveTo>
                <a:lnTo>
                  <a:pt x="24057" y="493"/>
                </a:lnTo>
                <a:lnTo>
                  <a:pt x="23545" y="154"/>
                </a:lnTo>
                <a:lnTo>
                  <a:pt x="23313" y="0"/>
                </a:lnTo>
                <a:lnTo>
                  <a:pt x="0" y="0"/>
                </a:lnTo>
                <a:lnTo>
                  <a:pt x="0" y="2467"/>
                </a:lnTo>
                <a:lnTo>
                  <a:pt x="23313" y="2467"/>
                </a:lnTo>
                <a:lnTo>
                  <a:pt x="24057" y="1974"/>
                </a:lnTo>
                <a:lnTo>
                  <a:pt x="24553" y="1233"/>
                </a:lnTo>
                <a:close/>
              </a:path>
            </a:pathLst>
          </a:custGeom>
          <a:solidFill>
            <a:srgbClr val="000000"/>
          </a:solidFill>
        </p:spPr>
        <p:txBody>
          <a:bodyPr wrap="square" lIns="0" tIns="0" rIns="0" bIns="0" rtlCol="0">
            <a:noAutofit/>
          </a:bodyPr>
          <a:lstStyle/>
          <a:p>
            <a:endParaRPr/>
          </a:p>
        </p:txBody>
      </p:sp>
      <p:sp>
        <p:nvSpPr>
          <p:cNvPr id="1275" name="object 1275"/>
          <p:cNvSpPr/>
          <p:nvPr/>
        </p:nvSpPr>
        <p:spPr>
          <a:xfrm>
            <a:off x="9246517" y="1764776"/>
            <a:ext cx="12152" cy="3701"/>
          </a:xfrm>
          <a:custGeom>
            <a:avLst/>
            <a:gdLst/>
            <a:ahLst/>
            <a:cxnLst/>
            <a:rect l="l" t="t" r="r" b="b"/>
            <a:pathLst>
              <a:path w="12152" h="3701">
                <a:moveTo>
                  <a:pt x="12152" y="3701"/>
                </a:moveTo>
                <a:lnTo>
                  <a:pt x="744" y="0"/>
                </a:lnTo>
                <a:lnTo>
                  <a:pt x="0" y="0"/>
                </a:lnTo>
                <a:lnTo>
                  <a:pt x="12152" y="3701"/>
                </a:lnTo>
                <a:close/>
              </a:path>
            </a:pathLst>
          </a:custGeom>
          <a:solidFill>
            <a:srgbClr val="000000"/>
          </a:solidFill>
        </p:spPr>
        <p:txBody>
          <a:bodyPr wrap="square" lIns="0" tIns="0" rIns="0" bIns="0" rtlCol="0">
            <a:noAutofit/>
          </a:bodyPr>
          <a:lstStyle/>
          <a:p>
            <a:endParaRPr/>
          </a:p>
        </p:txBody>
      </p:sp>
      <p:sp>
        <p:nvSpPr>
          <p:cNvPr id="1276" name="object 1276"/>
          <p:cNvSpPr/>
          <p:nvPr/>
        </p:nvSpPr>
        <p:spPr>
          <a:xfrm>
            <a:off x="9245773" y="1762308"/>
            <a:ext cx="13392" cy="6169"/>
          </a:xfrm>
          <a:custGeom>
            <a:avLst/>
            <a:gdLst/>
            <a:ahLst/>
            <a:cxnLst/>
            <a:rect l="l" t="t" r="r" b="b"/>
            <a:pathLst>
              <a:path w="13392" h="6169">
                <a:moveTo>
                  <a:pt x="12896" y="6169"/>
                </a:moveTo>
                <a:lnTo>
                  <a:pt x="13392" y="3701"/>
                </a:lnTo>
                <a:lnTo>
                  <a:pt x="1240" y="0"/>
                </a:lnTo>
                <a:lnTo>
                  <a:pt x="248" y="246"/>
                </a:lnTo>
                <a:lnTo>
                  <a:pt x="0" y="987"/>
                </a:lnTo>
                <a:lnTo>
                  <a:pt x="0" y="1974"/>
                </a:lnTo>
                <a:lnTo>
                  <a:pt x="744" y="2467"/>
                </a:lnTo>
                <a:lnTo>
                  <a:pt x="1488" y="2467"/>
                </a:lnTo>
                <a:lnTo>
                  <a:pt x="12896" y="6169"/>
                </a:lnTo>
                <a:close/>
              </a:path>
            </a:pathLst>
          </a:custGeom>
          <a:solidFill>
            <a:srgbClr val="000000"/>
          </a:solidFill>
        </p:spPr>
        <p:txBody>
          <a:bodyPr wrap="square" lIns="0" tIns="0" rIns="0" bIns="0" rtlCol="0">
            <a:noAutofit/>
          </a:bodyPr>
          <a:lstStyle/>
          <a:p>
            <a:endParaRPr/>
          </a:p>
        </p:txBody>
      </p:sp>
      <p:sp>
        <p:nvSpPr>
          <p:cNvPr id="1277" name="object 1277"/>
          <p:cNvSpPr/>
          <p:nvPr/>
        </p:nvSpPr>
        <p:spPr>
          <a:xfrm>
            <a:off x="9235109" y="1762308"/>
            <a:ext cx="11160" cy="3701"/>
          </a:xfrm>
          <a:custGeom>
            <a:avLst/>
            <a:gdLst/>
            <a:ahLst/>
            <a:cxnLst/>
            <a:rect l="l" t="t" r="r" b="b"/>
            <a:pathLst>
              <a:path w="11160" h="3701">
                <a:moveTo>
                  <a:pt x="0" y="3701"/>
                </a:moveTo>
                <a:lnTo>
                  <a:pt x="496" y="3701"/>
                </a:lnTo>
                <a:lnTo>
                  <a:pt x="11160" y="0"/>
                </a:lnTo>
                <a:lnTo>
                  <a:pt x="0" y="3701"/>
                </a:lnTo>
                <a:close/>
              </a:path>
            </a:pathLst>
          </a:custGeom>
          <a:solidFill>
            <a:srgbClr val="000000"/>
          </a:solidFill>
        </p:spPr>
        <p:txBody>
          <a:bodyPr wrap="square" lIns="0" tIns="0" rIns="0" bIns="0" rtlCol="0">
            <a:noAutofit/>
          </a:bodyPr>
          <a:lstStyle/>
          <a:p>
            <a:endParaRPr/>
          </a:p>
        </p:txBody>
      </p:sp>
      <p:sp>
        <p:nvSpPr>
          <p:cNvPr id="1278" name="object 1278"/>
          <p:cNvSpPr/>
          <p:nvPr/>
        </p:nvSpPr>
        <p:spPr>
          <a:xfrm>
            <a:off x="9234365" y="1762308"/>
            <a:ext cx="12896" cy="6169"/>
          </a:xfrm>
          <a:custGeom>
            <a:avLst/>
            <a:gdLst/>
            <a:ahLst/>
            <a:cxnLst/>
            <a:rect l="l" t="t" r="r" b="b"/>
            <a:pathLst>
              <a:path w="12896" h="6169">
                <a:moveTo>
                  <a:pt x="248" y="5182"/>
                </a:moveTo>
                <a:lnTo>
                  <a:pt x="744" y="6169"/>
                </a:lnTo>
                <a:lnTo>
                  <a:pt x="1736" y="6169"/>
                </a:lnTo>
                <a:lnTo>
                  <a:pt x="12896" y="2467"/>
                </a:lnTo>
                <a:lnTo>
                  <a:pt x="11904" y="0"/>
                </a:lnTo>
                <a:lnTo>
                  <a:pt x="1240" y="3701"/>
                </a:lnTo>
                <a:lnTo>
                  <a:pt x="744" y="3701"/>
                </a:lnTo>
                <a:lnTo>
                  <a:pt x="0" y="4441"/>
                </a:lnTo>
                <a:lnTo>
                  <a:pt x="248" y="5182"/>
                </a:lnTo>
                <a:close/>
              </a:path>
            </a:pathLst>
          </a:custGeom>
          <a:solidFill>
            <a:srgbClr val="000000"/>
          </a:solidFill>
        </p:spPr>
        <p:txBody>
          <a:bodyPr wrap="square" lIns="0" tIns="0" rIns="0" bIns="0" rtlCol="0">
            <a:noAutofit/>
          </a:bodyPr>
          <a:lstStyle/>
          <a:p>
            <a:endParaRPr/>
          </a:p>
        </p:txBody>
      </p:sp>
      <p:sp>
        <p:nvSpPr>
          <p:cNvPr id="1279" name="object 1279"/>
          <p:cNvSpPr/>
          <p:nvPr/>
        </p:nvSpPr>
        <p:spPr>
          <a:xfrm>
            <a:off x="9223701" y="1657182"/>
            <a:ext cx="68451" cy="110061"/>
          </a:xfrm>
          <a:custGeom>
            <a:avLst/>
            <a:gdLst/>
            <a:ahLst/>
            <a:cxnLst/>
            <a:rect l="l" t="t" r="r" b="b"/>
            <a:pathLst>
              <a:path w="68451" h="110061">
                <a:moveTo>
                  <a:pt x="34225" y="0"/>
                </a:moveTo>
                <a:lnTo>
                  <a:pt x="30753" y="246"/>
                </a:lnTo>
                <a:lnTo>
                  <a:pt x="27281" y="1233"/>
                </a:lnTo>
                <a:lnTo>
                  <a:pt x="20832" y="4441"/>
                </a:lnTo>
                <a:lnTo>
                  <a:pt x="17856" y="6662"/>
                </a:lnTo>
                <a:lnTo>
                  <a:pt x="15128" y="9377"/>
                </a:lnTo>
                <a:lnTo>
                  <a:pt x="12400" y="12585"/>
                </a:lnTo>
                <a:lnTo>
                  <a:pt x="10168" y="16040"/>
                </a:lnTo>
                <a:lnTo>
                  <a:pt x="7936" y="19988"/>
                </a:lnTo>
                <a:lnTo>
                  <a:pt x="5952" y="24184"/>
                </a:lnTo>
                <a:lnTo>
                  <a:pt x="4216" y="28872"/>
                </a:lnTo>
                <a:lnTo>
                  <a:pt x="2728" y="33561"/>
                </a:lnTo>
                <a:lnTo>
                  <a:pt x="1488" y="38743"/>
                </a:lnTo>
                <a:lnTo>
                  <a:pt x="744" y="43926"/>
                </a:lnTo>
                <a:lnTo>
                  <a:pt x="248" y="49355"/>
                </a:lnTo>
                <a:lnTo>
                  <a:pt x="0" y="55030"/>
                </a:lnTo>
                <a:lnTo>
                  <a:pt x="248" y="60706"/>
                </a:lnTo>
                <a:lnTo>
                  <a:pt x="744" y="66135"/>
                </a:lnTo>
                <a:lnTo>
                  <a:pt x="1488" y="71318"/>
                </a:lnTo>
                <a:lnTo>
                  <a:pt x="2728" y="76500"/>
                </a:lnTo>
                <a:lnTo>
                  <a:pt x="4216" y="81189"/>
                </a:lnTo>
                <a:lnTo>
                  <a:pt x="5952" y="85877"/>
                </a:lnTo>
                <a:lnTo>
                  <a:pt x="7936" y="90073"/>
                </a:lnTo>
                <a:lnTo>
                  <a:pt x="10168" y="94021"/>
                </a:lnTo>
                <a:lnTo>
                  <a:pt x="12400" y="97476"/>
                </a:lnTo>
                <a:lnTo>
                  <a:pt x="15128" y="100684"/>
                </a:lnTo>
                <a:lnTo>
                  <a:pt x="17856" y="103398"/>
                </a:lnTo>
                <a:lnTo>
                  <a:pt x="20832" y="105619"/>
                </a:lnTo>
                <a:lnTo>
                  <a:pt x="24057" y="107594"/>
                </a:lnTo>
                <a:lnTo>
                  <a:pt x="30753" y="109815"/>
                </a:lnTo>
                <a:lnTo>
                  <a:pt x="34225" y="110061"/>
                </a:lnTo>
                <a:lnTo>
                  <a:pt x="37697" y="109815"/>
                </a:lnTo>
                <a:lnTo>
                  <a:pt x="44393" y="107594"/>
                </a:lnTo>
                <a:lnTo>
                  <a:pt x="47618" y="105619"/>
                </a:lnTo>
                <a:lnTo>
                  <a:pt x="50594" y="103398"/>
                </a:lnTo>
                <a:lnTo>
                  <a:pt x="53322" y="100684"/>
                </a:lnTo>
                <a:lnTo>
                  <a:pt x="56050" y="97476"/>
                </a:lnTo>
                <a:lnTo>
                  <a:pt x="58530" y="94021"/>
                </a:lnTo>
                <a:lnTo>
                  <a:pt x="60514" y="90073"/>
                </a:lnTo>
                <a:lnTo>
                  <a:pt x="62498" y="85877"/>
                </a:lnTo>
                <a:lnTo>
                  <a:pt x="64234" y="81189"/>
                </a:lnTo>
                <a:lnTo>
                  <a:pt x="65722" y="76500"/>
                </a:lnTo>
                <a:lnTo>
                  <a:pt x="66963" y="71318"/>
                </a:lnTo>
                <a:lnTo>
                  <a:pt x="67707" y="66135"/>
                </a:lnTo>
                <a:lnTo>
                  <a:pt x="68203" y="60706"/>
                </a:lnTo>
                <a:lnTo>
                  <a:pt x="68451" y="55030"/>
                </a:lnTo>
                <a:lnTo>
                  <a:pt x="68203" y="49355"/>
                </a:lnTo>
                <a:lnTo>
                  <a:pt x="67707" y="43926"/>
                </a:lnTo>
                <a:lnTo>
                  <a:pt x="66963" y="38743"/>
                </a:lnTo>
                <a:lnTo>
                  <a:pt x="65722" y="33561"/>
                </a:lnTo>
                <a:lnTo>
                  <a:pt x="64234" y="28872"/>
                </a:lnTo>
                <a:lnTo>
                  <a:pt x="62498" y="24184"/>
                </a:lnTo>
                <a:lnTo>
                  <a:pt x="60514" y="19988"/>
                </a:lnTo>
                <a:lnTo>
                  <a:pt x="58530" y="16040"/>
                </a:lnTo>
                <a:lnTo>
                  <a:pt x="56050" y="12585"/>
                </a:lnTo>
                <a:lnTo>
                  <a:pt x="53322" y="9377"/>
                </a:lnTo>
                <a:lnTo>
                  <a:pt x="50594" y="6662"/>
                </a:lnTo>
                <a:lnTo>
                  <a:pt x="47618" y="4441"/>
                </a:lnTo>
                <a:lnTo>
                  <a:pt x="44393" y="2467"/>
                </a:lnTo>
                <a:lnTo>
                  <a:pt x="37697" y="246"/>
                </a:lnTo>
                <a:lnTo>
                  <a:pt x="34225" y="0"/>
                </a:lnTo>
                <a:close/>
              </a:path>
            </a:pathLst>
          </a:custGeom>
          <a:solidFill>
            <a:srgbClr val="000000"/>
          </a:solidFill>
        </p:spPr>
        <p:txBody>
          <a:bodyPr wrap="square" lIns="0" tIns="0" rIns="0" bIns="0" rtlCol="0">
            <a:noAutofit/>
          </a:bodyPr>
          <a:lstStyle/>
          <a:p>
            <a:endParaRPr/>
          </a:p>
        </p:txBody>
      </p:sp>
      <p:sp>
        <p:nvSpPr>
          <p:cNvPr id="1280" name="object 1280"/>
          <p:cNvSpPr/>
          <p:nvPr/>
        </p:nvSpPr>
        <p:spPr>
          <a:xfrm>
            <a:off x="9257927" y="1655453"/>
            <a:ext cx="35961" cy="56758"/>
          </a:xfrm>
          <a:custGeom>
            <a:avLst/>
            <a:gdLst/>
            <a:ahLst/>
            <a:cxnLst/>
            <a:rect l="l" t="t" r="r" b="b"/>
            <a:pathLst>
              <a:path w="35961" h="56758">
                <a:moveTo>
                  <a:pt x="0" y="0"/>
                </a:moveTo>
                <a:lnTo>
                  <a:pt x="0" y="3454"/>
                </a:lnTo>
                <a:lnTo>
                  <a:pt x="3224" y="3701"/>
                </a:lnTo>
                <a:lnTo>
                  <a:pt x="6448" y="4688"/>
                </a:lnTo>
                <a:lnTo>
                  <a:pt x="9424" y="5675"/>
                </a:lnTo>
                <a:lnTo>
                  <a:pt x="12400" y="7650"/>
                </a:lnTo>
                <a:lnTo>
                  <a:pt x="15128" y="9624"/>
                </a:lnTo>
                <a:lnTo>
                  <a:pt x="17856" y="12338"/>
                </a:lnTo>
                <a:lnTo>
                  <a:pt x="20336" y="15300"/>
                </a:lnTo>
                <a:lnTo>
                  <a:pt x="22817" y="18754"/>
                </a:lnTo>
                <a:lnTo>
                  <a:pt x="24801" y="22456"/>
                </a:lnTo>
                <a:lnTo>
                  <a:pt x="26785" y="26651"/>
                </a:lnTo>
                <a:lnTo>
                  <a:pt x="28273" y="31093"/>
                </a:lnTo>
                <a:lnTo>
                  <a:pt x="29761" y="35782"/>
                </a:lnTo>
                <a:lnTo>
                  <a:pt x="31001" y="40717"/>
                </a:lnTo>
                <a:lnTo>
                  <a:pt x="31745" y="45900"/>
                </a:lnTo>
                <a:lnTo>
                  <a:pt x="32241" y="51082"/>
                </a:lnTo>
                <a:lnTo>
                  <a:pt x="32489" y="56758"/>
                </a:lnTo>
                <a:lnTo>
                  <a:pt x="35961" y="56758"/>
                </a:lnTo>
                <a:lnTo>
                  <a:pt x="35713" y="51082"/>
                </a:lnTo>
                <a:lnTo>
                  <a:pt x="35217" y="45406"/>
                </a:lnTo>
                <a:lnTo>
                  <a:pt x="34473" y="40224"/>
                </a:lnTo>
                <a:lnTo>
                  <a:pt x="33233" y="34795"/>
                </a:lnTo>
                <a:lnTo>
                  <a:pt x="31745" y="30106"/>
                </a:lnTo>
                <a:lnTo>
                  <a:pt x="29761" y="25171"/>
                </a:lnTo>
                <a:lnTo>
                  <a:pt x="27777" y="20975"/>
                </a:lnTo>
                <a:lnTo>
                  <a:pt x="25793" y="16780"/>
                </a:lnTo>
                <a:lnTo>
                  <a:pt x="23313" y="13325"/>
                </a:lnTo>
                <a:lnTo>
                  <a:pt x="20336" y="9871"/>
                </a:lnTo>
                <a:lnTo>
                  <a:pt x="17608" y="7156"/>
                </a:lnTo>
                <a:lnTo>
                  <a:pt x="14384" y="4688"/>
                </a:lnTo>
                <a:lnTo>
                  <a:pt x="10912" y="2714"/>
                </a:lnTo>
                <a:lnTo>
                  <a:pt x="7440" y="1233"/>
                </a:lnTo>
                <a:lnTo>
                  <a:pt x="3720" y="246"/>
                </a:lnTo>
                <a:lnTo>
                  <a:pt x="0" y="0"/>
                </a:lnTo>
                <a:close/>
              </a:path>
            </a:pathLst>
          </a:custGeom>
          <a:solidFill>
            <a:srgbClr val="000000"/>
          </a:solidFill>
        </p:spPr>
        <p:txBody>
          <a:bodyPr wrap="square" lIns="0" tIns="0" rIns="0" bIns="0" rtlCol="0">
            <a:noAutofit/>
          </a:bodyPr>
          <a:lstStyle/>
          <a:p>
            <a:endParaRPr/>
          </a:p>
        </p:txBody>
      </p:sp>
      <p:sp>
        <p:nvSpPr>
          <p:cNvPr id="1281" name="object 1281"/>
          <p:cNvSpPr/>
          <p:nvPr/>
        </p:nvSpPr>
        <p:spPr>
          <a:xfrm>
            <a:off x="9257927" y="1712212"/>
            <a:ext cx="35961" cy="56758"/>
          </a:xfrm>
          <a:custGeom>
            <a:avLst/>
            <a:gdLst/>
            <a:ahLst/>
            <a:cxnLst/>
            <a:rect l="l" t="t" r="r" b="b"/>
            <a:pathLst>
              <a:path w="35961" h="56758">
                <a:moveTo>
                  <a:pt x="3720" y="56511"/>
                </a:moveTo>
                <a:lnTo>
                  <a:pt x="7440" y="55524"/>
                </a:lnTo>
                <a:lnTo>
                  <a:pt x="10912" y="54043"/>
                </a:lnTo>
                <a:lnTo>
                  <a:pt x="14384" y="52069"/>
                </a:lnTo>
                <a:lnTo>
                  <a:pt x="17608" y="49601"/>
                </a:lnTo>
                <a:lnTo>
                  <a:pt x="20336" y="46887"/>
                </a:lnTo>
                <a:lnTo>
                  <a:pt x="23313" y="43432"/>
                </a:lnTo>
                <a:lnTo>
                  <a:pt x="25793" y="39977"/>
                </a:lnTo>
                <a:lnTo>
                  <a:pt x="27777" y="35782"/>
                </a:lnTo>
                <a:lnTo>
                  <a:pt x="29761" y="31587"/>
                </a:lnTo>
                <a:lnTo>
                  <a:pt x="31745" y="26651"/>
                </a:lnTo>
                <a:lnTo>
                  <a:pt x="33233" y="21963"/>
                </a:lnTo>
                <a:lnTo>
                  <a:pt x="34473" y="16533"/>
                </a:lnTo>
                <a:lnTo>
                  <a:pt x="35217" y="11351"/>
                </a:lnTo>
                <a:lnTo>
                  <a:pt x="35713" y="5675"/>
                </a:lnTo>
                <a:lnTo>
                  <a:pt x="35961" y="0"/>
                </a:lnTo>
                <a:lnTo>
                  <a:pt x="32489" y="0"/>
                </a:lnTo>
                <a:lnTo>
                  <a:pt x="32241" y="5675"/>
                </a:lnTo>
                <a:lnTo>
                  <a:pt x="31745" y="10858"/>
                </a:lnTo>
                <a:lnTo>
                  <a:pt x="31001" y="16040"/>
                </a:lnTo>
                <a:lnTo>
                  <a:pt x="29761" y="20975"/>
                </a:lnTo>
                <a:lnTo>
                  <a:pt x="28273" y="25664"/>
                </a:lnTo>
                <a:lnTo>
                  <a:pt x="26785" y="30106"/>
                </a:lnTo>
                <a:lnTo>
                  <a:pt x="24801" y="34301"/>
                </a:lnTo>
                <a:lnTo>
                  <a:pt x="22817" y="38003"/>
                </a:lnTo>
                <a:lnTo>
                  <a:pt x="20336" y="41458"/>
                </a:lnTo>
                <a:lnTo>
                  <a:pt x="17856" y="44419"/>
                </a:lnTo>
                <a:lnTo>
                  <a:pt x="15128" y="47134"/>
                </a:lnTo>
                <a:lnTo>
                  <a:pt x="12400" y="49108"/>
                </a:lnTo>
                <a:lnTo>
                  <a:pt x="9424" y="51082"/>
                </a:lnTo>
                <a:lnTo>
                  <a:pt x="6448" y="52069"/>
                </a:lnTo>
                <a:lnTo>
                  <a:pt x="3224" y="53056"/>
                </a:lnTo>
                <a:lnTo>
                  <a:pt x="0" y="53303"/>
                </a:lnTo>
                <a:lnTo>
                  <a:pt x="0" y="56758"/>
                </a:lnTo>
                <a:lnTo>
                  <a:pt x="3720" y="56511"/>
                </a:lnTo>
                <a:close/>
              </a:path>
            </a:pathLst>
          </a:custGeom>
          <a:solidFill>
            <a:srgbClr val="000000"/>
          </a:solidFill>
        </p:spPr>
        <p:txBody>
          <a:bodyPr wrap="square" lIns="0" tIns="0" rIns="0" bIns="0" rtlCol="0">
            <a:noAutofit/>
          </a:bodyPr>
          <a:lstStyle/>
          <a:p>
            <a:endParaRPr/>
          </a:p>
        </p:txBody>
      </p:sp>
      <p:sp>
        <p:nvSpPr>
          <p:cNvPr id="1282" name="object 1282"/>
          <p:cNvSpPr/>
          <p:nvPr/>
        </p:nvSpPr>
        <p:spPr>
          <a:xfrm>
            <a:off x="9221965" y="1712212"/>
            <a:ext cx="35961" cy="56758"/>
          </a:xfrm>
          <a:custGeom>
            <a:avLst/>
            <a:gdLst/>
            <a:ahLst/>
            <a:cxnLst/>
            <a:rect l="l" t="t" r="r" b="b"/>
            <a:pathLst>
              <a:path w="35961" h="56758">
                <a:moveTo>
                  <a:pt x="3472" y="0"/>
                </a:moveTo>
                <a:lnTo>
                  <a:pt x="0" y="0"/>
                </a:lnTo>
                <a:lnTo>
                  <a:pt x="248" y="5675"/>
                </a:lnTo>
                <a:lnTo>
                  <a:pt x="744" y="11351"/>
                </a:lnTo>
                <a:lnTo>
                  <a:pt x="1488" y="16533"/>
                </a:lnTo>
                <a:lnTo>
                  <a:pt x="2728" y="21963"/>
                </a:lnTo>
                <a:lnTo>
                  <a:pt x="4216" y="26651"/>
                </a:lnTo>
                <a:lnTo>
                  <a:pt x="6200" y="31587"/>
                </a:lnTo>
                <a:lnTo>
                  <a:pt x="8184" y="35782"/>
                </a:lnTo>
                <a:lnTo>
                  <a:pt x="10416" y="39977"/>
                </a:lnTo>
                <a:lnTo>
                  <a:pt x="12648" y="43432"/>
                </a:lnTo>
                <a:lnTo>
                  <a:pt x="15624" y="46887"/>
                </a:lnTo>
                <a:lnTo>
                  <a:pt x="18352" y="49601"/>
                </a:lnTo>
                <a:lnTo>
                  <a:pt x="21576" y="52069"/>
                </a:lnTo>
                <a:lnTo>
                  <a:pt x="25049" y="54043"/>
                </a:lnTo>
                <a:lnTo>
                  <a:pt x="28521" y="55524"/>
                </a:lnTo>
                <a:lnTo>
                  <a:pt x="32241" y="56511"/>
                </a:lnTo>
                <a:lnTo>
                  <a:pt x="35961" y="56758"/>
                </a:lnTo>
                <a:lnTo>
                  <a:pt x="35961" y="53303"/>
                </a:lnTo>
                <a:lnTo>
                  <a:pt x="32737" y="53056"/>
                </a:lnTo>
                <a:lnTo>
                  <a:pt x="29513" y="52069"/>
                </a:lnTo>
                <a:lnTo>
                  <a:pt x="26537" y="51082"/>
                </a:lnTo>
                <a:lnTo>
                  <a:pt x="23561" y="49108"/>
                </a:lnTo>
                <a:lnTo>
                  <a:pt x="20832" y="47134"/>
                </a:lnTo>
                <a:lnTo>
                  <a:pt x="18104" y="44419"/>
                </a:lnTo>
                <a:lnTo>
                  <a:pt x="15624" y="41458"/>
                </a:lnTo>
                <a:lnTo>
                  <a:pt x="13392" y="38003"/>
                </a:lnTo>
                <a:lnTo>
                  <a:pt x="11160" y="34301"/>
                </a:lnTo>
                <a:lnTo>
                  <a:pt x="9176" y="30106"/>
                </a:lnTo>
                <a:lnTo>
                  <a:pt x="7688" y="25664"/>
                </a:lnTo>
                <a:lnTo>
                  <a:pt x="6200" y="20975"/>
                </a:lnTo>
                <a:lnTo>
                  <a:pt x="4960" y="16040"/>
                </a:lnTo>
                <a:lnTo>
                  <a:pt x="4216" y="10858"/>
                </a:lnTo>
                <a:lnTo>
                  <a:pt x="3720" y="5675"/>
                </a:lnTo>
                <a:lnTo>
                  <a:pt x="3472" y="0"/>
                </a:lnTo>
                <a:close/>
              </a:path>
            </a:pathLst>
          </a:custGeom>
          <a:solidFill>
            <a:srgbClr val="000000"/>
          </a:solidFill>
        </p:spPr>
        <p:txBody>
          <a:bodyPr wrap="square" lIns="0" tIns="0" rIns="0" bIns="0" rtlCol="0">
            <a:noAutofit/>
          </a:bodyPr>
          <a:lstStyle/>
          <a:p>
            <a:endParaRPr/>
          </a:p>
        </p:txBody>
      </p:sp>
      <p:sp>
        <p:nvSpPr>
          <p:cNvPr id="1283" name="object 1283"/>
          <p:cNvSpPr/>
          <p:nvPr/>
        </p:nvSpPr>
        <p:spPr>
          <a:xfrm>
            <a:off x="9221965" y="1655453"/>
            <a:ext cx="35961" cy="56758"/>
          </a:xfrm>
          <a:custGeom>
            <a:avLst/>
            <a:gdLst/>
            <a:ahLst/>
            <a:cxnLst/>
            <a:rect l="l" t="t" r="r" b="b"/>
            <a:pathLst>
              <a:path w="35961" h="56758">
                <a:moveTo>
                  <a:pt x="4216" y="30106"/>
                </a:moveTo>
                <a:lnTo>
                  <a:pt x="2728" y="34795"/>
                </a:lnTo>
                <a:lnTo>
                  <a:pt x="1488" y="40224"/>
                </a:lnTo>
                <a:lnTo>
                  <a:pt x="744" y="45406"/>
                </a:lnTo>
                <a:lnTo>
                  <a:pt x="248" y="51082"/>
                </a:lnTo>
                <a:lnTo>
                  <a:pt x="0" y="56758"/>
                </a:lnTo>
                <a:lnTo>
                  <a:pt x="3472" y="56758"/>
                </a:lnTo>
                <a:lnTo>
                  <a:pt x="3720" y="51082"/>
                </a:lnTo>
                <a:lnTo>
                  <a:pt x="4216" y="45900"/>
                </a:lnTo>
                <a:lnTo>
                  <a:pt x="4960" y="40717"/>
                </a:lnTo>
                <a:lnTo>
                  <a:pt x="6200" y="35782"/>
                </a:lnTo>
                <a:lnTo>
                  <a:pt x="7688" y="31093"/>
                </a:lnTo>
                <a:lnTo>
                  <a:pt x="9176" y="26651"/>
                </a:lnTo>
                <a:lnTo>
                  <a:pt x="11160" y="22456"/>
                </a:lnTo>
                <a:lnTo>
                  <a:pt x="13392" y="18754"/>
                </a:lnTo>
                <a:lnTo>
                  <a:pt x="15624" y="15300"/>
                </a:lnTo>
                <a:lnTo>
                  <a:pt x="18104" y="12338"/>
                </a:lnTo>
                <a:lnTo>
                  <a:pt x="20832" y="9624"/>
                </a:lnTo>
                <a:lnTo>
                  <a:pt x="23561" y="7650"/>
                </a:lnTo>
                <a:lnTo>
                  <a:pt x="26537" y="5675"/>
                </a:lnTo>
                <a:lnTo>
                  <a:pt x="29513" y="4688"/>
                </a:lnTo>
                <a:lnTo>
                  <a:pt x="32737" y="3701"/>
                </a:lnTo>
                <a:lnTo>
                  <a:pt x="35961" y="3454"/>
                </a:lnTo>
                <a:lnTo>
                  <a:pt x="35961" y="0"/>
                </a:lnTo>
                <a:lnTo>
                  <a:pt x="32241" y="246"/>
                </a:lnTo>
                <a:lnTo>
                  <a:pt x="28521" y="1233"/>
                </a:lnTo>
                <a:lnTo>
                  <a:pt x="25049" y="2714"/>
                </a:lnTo>
                <a:lnTo>
                  <a:pt x="21576" y="4688"/>
                </a:lnTo>
                <a:lnTo>
                  <a:pt x="18352" y="7156"/>
                </a:lnTo>
                <a:lnTo>
                  <a:pt x="15624" y="9871"/>
                </a:lnTo>
                <a:lnTo>
                  <a:pt x="12648" y="13325"/>
                </a:lnTo>
                <a:lnTo>
                  <a:pt x="10416" y="16780"/>
                </a:lnTo>
                <a:lnTo>
                  <a:pt x="8184" y="20975"/>
                </a:lnTo>
                <a:lnTo>
                  <a:pt x="6200" y="25171"/>
                </a:lnTo>
                <a:lnTo>
                  <a:pt x="4216" y="30106"/>
                </a:lnTo>
                <a:close/>
              </a:path>
            </a:pathLst>
          </a:custGeom>
          <a:solidFill>
            <a:srgbClr val="000000"/>
          </a:solidFill>
        </p:spPr>
        <p:txBody>
          <a:bodyPr wrap="square" lIns="0" tIns="0" rIns="0" bIns="0" rtlCol="0">
            <a:noAutofit/>
          </a:bodyPr>
          <a:lstStyle/>
          <a:p>
            <a:endParaRPr/>
          </a:p>
        </p:txBody>
      </p:sp>
      <p:sp>
        <p:nvSpPr>
          <p:cNvPr id="1284" name="object 1284"/>
          <p:cNvSpPr/>
          <p:nvPr/>
        </p:nvSpPr>
        <p:spPr>
          <a:xfrm>
            <a:off x="9228413" y="1657922"/>
            <a:ext cx="68451" cy="110061"/>
          </a:xfrm>
          <a:custGeom>
            <a:avLst/>
            <a:gdLst/>
            <a:ahLst/>
            <a:cxnLst/>
            <a:rect l="l" t="t" r="r" b="b"/>
            <a:pathLst>
              <a:path w="68451" h="110061">
                <a:moveTo>
                  <a:pt x="34225" y="0"/>
                </a:moveTo>
                <a:lnTo>
                  <a:pt x="30753" y="246"/>
                </a:lnTo>
                <a:lnTo>
                  <a:pt x="27281" y="1233"/>
                </a:lnTo>
                <a:lnTo>
                  <a:pt x="20832" y="4441"/>
                </a:lnTo>
                <a:lnTo>
                  <a:pt x="17856" y="6662"/>
                </a:lnTo>
                <a:lnTo>
                  <a:pt x="15128" y="9377"/>
                </a:lnTo>
                <a:lnTo>
                  <a:pt x="12400" y="12585"/>
                </a:lnTo>
                <a:lnTo>
                  <a:pt x="10168" y="16040"/>
                </a:lnTo>
                <a:lnTo>
                  <a:pt x="7936" y="19988"/>
                </a:lnTo>
                <a:lnTo>
                  <a:pt x="5952" y="24184"/>
                </a:lnTo>
                <a:lnTo>
                  <a:pt x="4216" y="28872"/>
                </a:lnTo>
                <a:lnTo>
                  <a:pt x="2728" y="33561"/>
                </a:lnTo>
                <a:lnTo>
                  <a:pt x="1488" y="38743"/>
                </a:lnTo>
                <a:lnTo>
                  <a:pt x="744" y="43926"/>
                </a:lnTo>
                <a:lnTo>
                  <a:pt x="248" y="49355"/>
                </a:lnTo>
                <a:lnTo>
                  <a:pt x="0" y="55030"/>
                </a:lnTo>
                <a:lnTo>
                  <a:pt x="248" y="60706"/>
                </a:lnTo>
                <a:lnTo>
                  <a:pt x="744" y="66135"/>
                </a:lnTo>
                <a:lnTo>
                  <a:pt x="1488" y="71318"/>
                </a:lnTo>
                <a:lnTo>
                  <a:pt x="2728" y="76500"/>
                </a:lnTo>
                <a:lnTo>
                  <a:pt x="4216" y="81189"/>
                </a:lnTo>
                <a:lnTo>
                  <a:pt x="5952" y="85877"/>
                </a:lnTo>
                <a:lnTo>
                  <a:pt x="7936" y="90073"/>
                </a:lnTo>
                <a:lnTo>
                  <a:pt x="10168" y="94021"/>
                </a:lnTo>
                <a:lnTo>
                  <a:pt x="12400" y="97476"/>
                </a:lnTo>
                <a:lnTo>
                  <a:pt x="15128" y="100684"/>
                </a:lnTo>
                <a:lnTo>
                  <a:pt x="17856" y="103398"/>
                </a:lnTo>
                <a:lnTo>
                  <a:pt x="20832" y="105619"/>
                </a:lnTo>
                <a:lnTo>
                  <a:pt x="24057" y="107594"/>
                </a:lnTo>
                <a:lnTo>
                  <a:pt x="30753" y="109815"/>
                </a:lnTo>
                <a:lnTo>
                  <a:pt x="34225" y="110061"/>
                </a:lnTo>
                <a:lnTo>
                  <a:pt x="37697" y="109815"/>
                </a:lnTo>
                <a:lnTo>
                  <a:pt x="44393" y="107594"/>
                </a:lnTo>
                <a:lnTo>
                  <a:pt x="47618" y="105619"/>
                </a:lnTo>
                <a:lnTo>
                  <a:pt x="50594" y="103398"/>
                </a:lnTo>
                <a:lnTo>
                  <a:pt x="53322" y="100684"/>
                </a:lnTo>
                <a:lnTo>
                  <a:pt x="56050" y="97476"/>
                </a:lnTo>
                <a:lnTo>
                  <a:pt x="58530" y="94021"/>
                </a:lnTo>
                <a:lnTo>
                  <a:pt x="60514" y="90073"/>
                </a:lnTo>
                <a:lnTo>
                  <a:pt x="62498" y="85877"/>
                </a:lnTo>
                <a:lnTo>
                  <a:pt x="64234" y="81189"/>
                </a:lnTo>
                <a:lnTo>
                  <a:pt x="65722" y="76500"/>
                </a:lnTo>
                <a:lnTo>
                  <a:pt x="66963" y="71318"/>
                </a:lnTo>
                <a:lnTo>
                  <a:pt x="67707" y="66135"/>
                </a:lnTo>
                <a:lnTo>
                  <a:pt x="68203" y="60706"/>
                </a:lnTo>
                <a:lnTo>
                  <a:pt x="68451" y="55030"/>
                </a:lnTo>
                <a:lnTo>
                  <a:pt x="68203" y="49355"/>
                </a:lnTo>
                <a:lnTo>
                  <a:pt x="67707" y="43926"/>
                </a:lnTo>
                <a:lnTo>
                  <a:pt x="66963" y="38743"/>
                </a:lnTo>
                <a:lnTo>
                  <a:pt x="65722" y="33561"/>
                </a:lnTo>
                <a:lnTo>
                  <a:pt x="64234" y="28872"/>
                </a:lnTo>
                <a:lnTo>
                  <a:pt x="62498" y="24184"/>
                </a:lnTo>
                <a:lnTo>
                  <a:pt x="60514" y="19988"/>
                </a:lnTo>
                <a:lnTo>
                  <a:pt x="58530" y="16040"/>
                </a:lnTo>
                <a:lnTo>
                  <a:pt x="56050" y="12585"/>
                </a:lnTo>
                <a:lnTo>
                  <a:pt x="53322" y="9377"/>
                </a:lnTo>
                <a:lnTo>
                  <a:pt x="50594" y="6662"/>
                </a:lnTo>
                <a:lnTo>
                  <a:pt x="47618" y="4441"/>
                </a:lnTo>
                <a:lnTo>
                  <a:pt x="44393" y="2467"/>
                </a:lnTo>
                <a:lnTo>
                  <a:pt x="37697" y="246"/>
                </a:lnTo>
                <a:lnTo>
                  <a:pt x="34225" y="0"/>
                </a:lnTo>
                <a:close/>
              </a:path>
            </a:pathLst>
          </a:custGeom>
          <a:solidFill>
            <a:srgbClr val="000000"/>
          </a:solidFill>
        </p:spPr>
        <p:txBody>
          <a:bodyPr wrap="square" lIns="0" tIns="0" rIns="0" bIns="0" rtlCol="0">
            <a:noAutofit/>
          </a:bodyPr>
          <a:lstStyle/>
          <a:p>
            <a:endParaRPr/>
          </a:p>
        </p:txBody>
      </p:sp>
      <p:sp>
        <p:nvSpPr>
          <p:cNvPr id="1285" name="object 1285"/>
          <p:cNvSpPr/>
          <p:nvPr/>
        </p:nvSpPr>
        <p:spPr>
          <a:xfrm>
            <a:off x="9262639" y="1656194"/>
            <a:ext cx="35961" cy="56758"/>
          </a:xfrm>
          <a:custGeom>
            <a:avLst/>
            <a:gdLst/>
            <a:ahLst/>
            <a:cxnLst/>
            <a:rect l="l" t="t" r="r" b="b"/>
            <a:pathLst>
              <a:path w="35961" h="56758">
                <a:moveTo>
                  <a:pt x="0" y="0"/>
                </a:moveTo>
                <a:lnTo>
                  <a:pt x="0" y="3454"/>
                </a:lnTo>
                <a:lnTo>
                  <a:pt x="3224" y="3701"/>
                </a:lnTo>
                <a:lnTo>
                  <a:pt x="6448" y="4688"/>
                </a:lnTo>
                <a:lnTo>
                  <a:pt x="9424" y="5675"/>
                </a:lnTo>
                <a:lnTo>
                  <a:pt x="12400" y="7650"/>
                </a:lnTo>
                <a:lnTo>
                  <a:pt x="15128" y="9624"/>
                </a:lnTo>
                <a:lnTo>
                  <a:pt x="17856" y="12338"/>
                </a:lnTo>
                <a:lnTo>
                  <a:pt x="20336" y="15300"/>
                </a:lnTo>
                <a:lnTo>
                  <a:pt x="22817" y="18754"/>
                </a:lnTo>
                <a:lnTo>
                  <a:pt x="24801" y="22456"/>
                </a:lnTo>
                <a:lnTo>
                  <a:pt x="26785" y="26651"/>
                </a:lnTo>
                <a:lnTo>
                  <a:pt x="28273" y="31093"/>
                </a:lnTo>
                <a:lnTo>
                  <a:pt x="29761" y="35782"/>
                </a:lnTo>
                <a:lnTo>
                  <a:pt x="31001" y="40717"/>
                </a:lnTo>
                <a:lnTo>
                  <a:pt x="31745" y="45900"/>
                </a:lnTo>
                <a:lnTo>
                  <a:pt x="32241" y="51082"/>
                </a:lnTo>
                <a:lnTo>
                  <a:pt x="32489" y="56758"/>
                </a:lnTo>
                <a:lnTo>
                  <a:pt x="35961" y="56758"/>
                </a:lnTo>
                <a:lnTo>
                  <a:pt x="35713" y="51082"/>
                </a:lnTo>
                <a:lnTo>
                  <a:pt x="35217" y="45406"/>
                </a:lnTo>
                <a:lnTo>
                  <a:pt x="34473" y="40224"/>
                </a:lnTo>
                <a:lnTo>
                  <a:pt x="33233" y="34795"/>
                </a:lnTo>
                <a:lnTo>
                  <a:pt x="31745" y="30106"/>
                </a:lnTo>
                <a:lnTo>
                  <a:pt x="29761" y="25171"/>
                </a:lnTo>
                <a:lnTo>
                  <a:pt x="27777" y="20975"/>
                </a:lnTo>
                <a:lnTo>
                  <a:pt x="25793" y="16780"/>
                </a:lnTo>
                <a:lnTo>
                  <a:pt x="23313" y="13325"/>
                </a:lnTo>
                <a:lnTo>
                  <a:pt x="20336" y="9871"/>
                </a:lnTo>
                <a:lnTo>
                  <a:pt x="17608" y="7156"/>
                </a:lnTo>
                <a:lnTo>
                  <a:pt x="14384" y="4688"/>
                </a:lnTo>
                <a:lnTo>
                  <a:pt x="10912" y="2714"/>
                </a:lnTo>
                <a:lnTo>
                  <a:pt x="7440" y="1233"/>
                </a:lnTo>
                <a:lnTo>
                  <a:pt x="3720" y="246"/>
                </a:lnTo>
                <a:lnTo>
                  <a:pt x="0" y="0"/>
                </a:lnTo>
                <a:close/>
              </a:path>
            </a:pathLst>
          </a:custGeom>
          <a:solidFill>
            <a:srgbClr val="000000"/>
          </a:solidFill>
        </p:spPr>
        <p:txBody>
          <a:bodyPr wrap="square" lIns="0" tIns="0" rIns="0" bIns="0" rtlCol="0">
            <a:noAutofit/>
          </a:bodyPr>
          <a:lstStyle/>
          <a:p>
            <a:endParaRPr/>
          </a:p>
        </p:txBody>
      </p:sp>
      <p:sp>
        <p:nvSpPr>
          <p:cNvPr id="1286" name="object 1286"/>
          <p:cNvSpPr/>
          <p:nvPr/>
        </p:nvSpPr>
        <p:spPr>
          <a:xfrm>
            <a:off x="9262639" y="1712952"/>
            <a:ext cx="35961" cy="56758"/>
          </a:xfrm>
          <a:custGeom>
            <a:avLst/>
            <a:gdLst/>
            <a:ahLst/>
            <a:cxnLst/>
            <a:rect l="l" t="t" r="r" b="b"/>
            <a:pathLst>
              <a:path w="35961" h="56758">
                <a:moveTo>
                  <a:pt x="3720" y="56511"/>
                </a:moveTo>
                <a:lnTo>
                  <a:pt x="7440" y="55524"/>
                </a:lnTo>
                <a:lnTo>
                  <a:pt x="10912" y="54043"/>
                </a:lnTo>
                <a:lnTo>
                  <a:pt x="14384" y="52069"/>
                </a:lnTo>
                <a:lnTo>
                  <a:pt x="17608" y="49601"/>
                </a:lnTo>
                <a:lnTo>
                  <a:pt x="20336" y="46887"/>
                </a:lnTo>
                <a:lnTo>
                  <a:pt x="23313" y="43432"/>
                </a:lnTo>
                <a:lnTo>
                  <a:pt x="25793" y="39977"/>
                </a:lnTo>
                <a:lnTo>
                  <a:pt x="27777" y="35782"/>
                </a:lnTo>
                <a:lnTo>
                  <a:pt x="29761" y="31587"/>
                </a:lnTo>
                <a:lnTo>
                  <a:pt x="31745" y="26651"/>
                </a:lnTo>
                <a:lnTo>
                  <a:pt x="33233" y="21963"/>
                </a:lnTo>
                <a:lnTo>
                  <a:pt x="34473" y="16533"/>
                </a:lnTo>
                <a:lnTo>
                  <a:pt x="35217" y="11351"/>
                </a:lnTo>
                <a:lnTo>
                  <a:pt x="35713" y="5675"/>
                </a:lnTo>
                <a:lnTo>
                  <a:pt x="35961" y="0"/>
                </a:lnTo>
                <a:lnTo>
                  <a:pt x="32489" y="0"/>
                </a:lnTo>
                <a:lnTo>
                  <a:pt x="32241" y="5675"/>
                </a:lnTo>
                <a:lnTo>
                  <a:pt x="31745" y="10858"/>
                </a:lnTo>
                <a:lnTo>
                  <a:pt x="31001" y="16040"/>
                </a:lnTo>
                <a:lnTo>
                  <a:pt x="29761" y="20975"/>
                </a:lnTo>
                <a:lnTo>
                  <a:pt x="28273" y="25664"/>
                </a:lnTo>
                <a:lnTo>
                  <a:pt x="26785" y="30106"/>
                </a:lnTo>
                <a:lnTo>
                  <a:pt x="24801" y="34301"/>
                </a:lnTo>
                <a:lnTo>
                  <a:pt x="22817" y="38003"/>
                </a:lnTo>
                <a:lnTo>
                  <a:pt x="20336" y="41458"/>
                </a:lnTo>
                <a:lnTo>
                  <a:pt x="17856" y="44419"/>
                </a:lnTo>
                <a:lnTo>
                  <a:pt x="15128" y="47134"/>
                </a:lnTo>
                <a:lnTo>
                  <a:pt x="12400" y="49108"/>
                </a:lnTo>
                <a:lnTo>
                  <a:pt x="9424" y="51082"/>
                </a:lnTo>
                <a:lnTo>
                  <a:pt x="6448" y="52069"/>
                </a:lnTo>
                <a:lnTo>
                  <a:pt x="3224" y="53056"/>
                </a:lnTo>
                <a:lnTo>
                  <a:pt x="0" y="53303"/>
                </a:lnTo>
                <a:lnTo>
                  <a:pt x="0" y="56758"/>
                </a:lnTo>
                <a:lnTo>
                  <a:pt x="3720" y="56511"/>
                </a:lnTo>
                <a:close/>
              </a:path>
            </a:pathLst>
          </a:custGeom>
          <a:solidFill>
            <a:srgbClr val="000000"/>
          </a:solidFill>
        </p:spPr>
        <p:txBody>
          <a:bodyPr wrap="square" lIns="0" tIns="0" rIns="0" bIns="0" rtlCol="0">
            <a:noAutofit/>
          </a:bodyPr>
          <a:lstStyle/>
          <a:p>
            <a:endParaRPr/>
          </a:p>
        </p:txBody>
      </p:sp>
      <p:sp>
        <p:nvSpPr>
          <p:cNvPr id="1287" name="object 1287"/>
          <p:cNvSpPr/>
          <p:nvPr/>
        </p:nvSpPr>
        <p:spPr>
          <a:xfrm>
            <a:off x="9226677" y="1712952"/>
            <a:ext cx="35961" cy="56758"/>
          </a:xfrm>
          <a:custGeom>
            <a:avLst/>
            <a:gdLst/>
            <a:ahLst/>
            <a:cxnLst/>
            <a:rect l="l" t="t" r="r" b="b"/>
            <a:pathLst>
              <a:path w="35961" h="56758">
                <a:moveTo>
                  <a:pt x="3472" y="0"/>
                </a:moveTo>
                <a:lnTo>
                  <a:pt x="0" y="0"/>
                </a:lnTo>
                <a:lnTo>
                  <a:pt x="248" y="5675"/>
                </a:lnTo>
                <a:lnTo>
                  <a:pt x="744" y="11351"/>
                </a:lnTo>
                <a:lnTo>
                  <a:pt x="1488" y="16533"/>
                </a:lnTo>
                <a:lnTo>
                  <a:pt x="2728" y="21963"/>
                </a:lnTo>
                <a:lnTo>
                  <a:pt x="4216" y="26651"/>
                </a:lnTo>
                <a:lnTo>
                  <a:pt x="6200" y="31587"/>
                </a:lnTo>
                <a:lnTo>
                  <a:pt x="8184" y="35782"/>
                </a:lnTo>
                <a:lnTo>
                  <a:pt x="10416" y="39977"/>
                </a:lnTo>
                <a:lnTo>
                  <a:pt x="12648" y="43432"/>
                </a:lnTo>
                <a:lnTo>
                  <a:pt x="15624" y="46887"/>
                </a:lnTo>
                <a:lnTo>
                  <a:pt x="18352" y="49601"/>
                </a:lnTo>
                <a:lnTo>
                  <a:pt x="21576" y="52069"/>
                </a:lnTo>
                <a:lnTo>
                  <a:pt x="25049" y="54043"/>
                </a:lnTo>
                <a:lnTo>
                  <a:pt x="28521" y="55524"/>
                </a:lnTo>
                <a:lnTo>
                  <a:pt x="32241" y="56511"/>
                </a:lnTo>
                <a:lnTo>
                  <a:pt x="35961" y="56758"/>
                </a:lnTo>
                <a:lnTo>
                  <a:pt x="35961" y="53303"/>
                </a:lnTo>
                <a:lnTo>
                  <a:pt x="32737" y="53056"/>
                </a:lnTo>
                <a:lnTo>
                  <a:pt x="29513" y="52069"/>
                </a:lnTo>
                <a:lnTo>
                  <a:pt x="26537" y="51082"/>
                </a:lnTo>
                <a:lnTo>
                  <a:pt x="23561" y="49108"/>
                </a:lnTo>
                <a:lnTo>
                  <a:pt x="20832" y="47134"/>
                </a:lnTo>
                <a:lnTo>
                  <a:pt x="18104" y="44419"/>
                </a:lnTo>
                <a:lnTo>
                  <a:pt x="15624" y="41458"/>
                </a:lnTo>
                <a:lnTo>
                  <a:pt x="13392" y="38003"/>
                </a:lnTo>
                <a:lnTo>
                  <a:pt x="11160" y="34301"/>
                </a:lnTo>
                <a:lnTo>
                  <a:pt x="9176" y="30106"/>
                </a:lnTo>
                <a:lnTo>
                  <a:pt x="7688" y="25664"/>
                </a:lnTo>
                <a:lnTo>
                  <a:pt x="6200" y="20975"/>
                </a:lnTo>
                <a:lnTo>
                  <a:pt x="4960" y="16040"/>
                </a:lnTo>
                <a:lnTo>
                  <a:pt x="4216" y="10858"/>
                </a:lnTo>
                <a:lnTo>
                  <a:pt x="3720" y="5675"/>
                </a:lnTo>
                <a:lnTo>
                  <a:pt x="3472" y="0"/>
                </a:lnTo>
                <a:close/>
              </a:path>
            </a:pathLst>
          </a:custGeom>
          <a:solidFill>
            <a:srgbClr val="000000"/>
          </a:solidFill>
        </p:spPr>
        <p:txBody>
          <a:bodyPr wrap="square" lIns="0" tIns="0" rIns="0" bIns="0" rtlCol="0">
            <a:noAutofit/>
          </a:bodyPr>
          <a:lstStyle/>
          <a:p>
            <a:endParaRPr/>
          </a:p>
        </p:txBody>
      </p:sp>
      <p:sp>
        <p:nvSpPr>
          <p:cNvPr id="1288" name="object 1288"/>
          <p:cNvSpPr/>
          <p:nvPr/>
        </p:nvSpPr>
        <p:spPr>
          <a:xfrm>
            <a:off x="9226677" y="1656194"/>
            <a:ext cx="35961" cy="56758"/>
          </a:xfrm>
          <a:custGeom>
            <a:avLst/>
            <a:gdLst/>
            <a:ahLst/>
            <a:cxnLst/>
            <a:rect l="l" t="t" r="r" b="b"/>
            <a:pathLst>
              <a:path w="35961" h="56758">
                <a:moveTo>
                  <a:pt x="4216" y="30106"/>
                </a:moveTo>
                <a:lnTo>
                  <a:pt x="2728" y="34795"/>
                </a:lnTo>
                <a:lnTo>
                  <a:pt x="1488" y="40224"/>
                </a:lnTo>
                <a:lnTo>
                  <a:pt x="744" y="45406"/>
                </a:lnTo>
                <a:lnTo>
                  <a:pt x="248" y="51082"/>
                </a:lnTo>
                <a:lnTo>
                  <a:pt x="0" y="56758"/>
                </a:lnTo>
                <a:lnTo>
                  <a:pt x="3472" y="56758"/>
                </a:lnTo>
                <a:lnTo>
                  <a:pt x="3720" y="51082"/>
                </a:lnTo>
                <a:lnTo>
                  <a:pt x="4216" y="45900"/>
                </a:lnTo>
                <a:lnTo>
                  <a:pt x="4960" y="40717"/>
                </a:lnTo>
                <a:lnTo>
                  <a:pt x="6200" y="35782"/>
                </a:lnTo>
                <a:lnTo>
                  <a:pt x="7688" y="31093"/>
                </a:lnTo>
                <a:lnTo>
                  <a:pt x="9176" y="26651"/>
                </a:lnTo>
                <a:lnTo>
                  <a:pt x="11160" y="22456"/>
                </a:lnTo>
                <a:lnTo>
                  <a:pt x="13392" y="18754"/>
                </a:lnTo>
                <a:lnTo>
                  <a:pt x="15624" y="15300"/>
                </a:lnTo>
                <a:lnTo>
                  <a:pt x="18104" y="12338"/>
                </a:lnTo>
                <a:lnTo>
                  <a:pt x="20832" y="9624"/>
                </a:lnTo>
                <a:lnTo>
                  <a:pt x="23561" y="7650"/>
                </a:lnTo>
                <a:lnTo>
                  <a:pt x="26537" y="5675"/>
                </a:lnTo>
                <a:lnTo>
                  <a:pt x="29513" y="4688"/>
                </a:lnTo>
                <a:lnTo>
                  <a:pt x="32737" y="3701"/>
                </a:lnTo>
                <a:lnTo>
                  <a:pt x="35961" y="3454"/>
                </a:lnTo>
                <a:lnTo>
                  <a:pt x="35961" y="0"/>
                </a:lnTo>
                <a:lnTo>
                  <a:pt x="32241" y="246"/>
                </a:lnTo>
                <a:lnTo>
                  <a:pt x="28521" y="1233"/>
                </a:lnTo>
                <a:lnTo>
                  <a:pt x="25049" y="2714"/>
                </a:lnTo>
                <a:lnTo>
                  <a:pt x="21576" y="4688"/>
                </a:lnTo>
                <a:lnTo>
                  <a:pt x="18352" y="7156"/>
                </a:lnTo>
                <a:lnTo>
                  <a:pt x="15624" y="9871"/>
                </a:lnTo>
                <a:lnTo>
                  <a:pt x="12648" y="13325"/>
                </a:lnTo>
                <a:lnTo>
                  <a:pt x="10416" y="16780"/>
                </a:lnTo>
                <a:lnTo>
                  <a:pt x="8184" y="20975"/>
                </a:lnTo>
                <a:lnTo>
                  <a:pt x="6200" y="25171"/>
                </a:lnTo>
                <a:lnTo>
                  <a:pt x="4216" y="30106"/>
                </a:lnTo>
                <a:close/>
              </a:path>
            </a:pathLst>
          </a:custGeom>
          <a:solidFill>
            <a:srgbClr val="000000"/>
          </a:solidFill>
        </p:spPr>
        <p:txBody>
          <a:bodyPr wrap="square" lIns="0" tIns="0" rIns="0" bIns="0" rtlCol="0">
            <a:noAutofit/>
          </a:bodyPr>
          <a:lstStyle/>
          <a:p>
            <a:endParaRPr/>
          </a:p>
        </p:txBody>
      </p:sp>
      <p:sp>
        <p:nvSpPr>
          <p:cNvPr id="1289" name="object 1289"/>
          <p:cNvSpPr/>
          <p:nvPr/>
        </p:nvSpPr>
        <p:spPr>
          <a:xfrm>
            <a:off x="9262887" y="1764035"/>
            <a:ext cx="23313" cy="3701"/>
          </a:xfrm>
          <a:custGeom>
            <a:avLst/>
            <a:gdLst/>
            <a:ahLst/>
            <a:cxnLst/>
            <a:rect l="l" t="t" r="r" b="b"/>
            <a:pathLst>
              <a:path w="23313" h="3701">
                <a:moveTo>
                  <a:pt x="23313" y="3701"/>
                </a:moveTo>
                <a:lnTo>
                  <a:pt x="11160" y="0"/>
                </a:lnTo>
                <a:lnTo>
                  <a:pt x="0" y="3701"/>
                </a:lnTo>
                <a:lnTo>
                  <a:pt x="23313" y="3701"/>
                </a:lnTo>
                <a:close/>
              </a:path>
            </a:pathLst>
          </a:custGeom>
          <a:solidFill>
            <a:srgbClr val="000000"/>
          </a:solidFill>
        </p:spPr>
        <p:txBody>
          <a:bodyPr wrap="square" lIns="0" tIns="0" rIns="0" bIns="0" rtlCol="0">
            <a:noAutofit/>
          </a:bodyPr>
          <a:lstStyle/>
          <a:p>
            <a:endParaRPr/>
          </a:p>
        </p:txBody>
      </p:sp>
      <p:sp>
        <p:nvSpPr>
          <p:cNvPr id="1290" name="object 1290"/>
          <p:cNvSpPr/>
          <p:nvPr/>
        </p:nvSpPr>
        <p:spPr>
          <a:xfrm>
            <a:off x="9262391" y="1657921"/>
            <a:ext cx="22817" cy="3948"/>
          </a:xfrm>
          <a:custGeom>
            <a:avLst/>
            <a:gdLst/>
            <a:ahLst/>
            <a:cxnLst/>
            <a:rect l="l" t="t" r="r" b="b"/>
            <a:pathLst>
              <a:path w="22817" h="3948">
                <a:moveTo>
                  <a:pt x="22817" y="0"/>
                </a:moveTo>
                <a:lnTo>
                  <a:pt x="0" y="0"/>
                </a:lnTo>
                <a:lnTo>
                  <a:pt x="11656" y="3948"/>
                </a:lnTo>
                <a:lnTo>
                  <a:pt x="22817" y="0"/>
                </a:lnTo>
                <a:close/>
              </a:path>
            </a:pathLst>
          </a:custGeom>
          <a:solidFill>
            <a:srgbClr val="000000"/>
          </a:solidFill>
        </p:spPr>
        <p:txBody>
          <a:bodyPr wrap="square" lIns="0" tIns="0" rIns="0" bIns="0" rtlCol="0">
            <a:noAutofit/>
          </a:bodyPr>
          <a:lstStyle/>
          <a:p>
            <a:endParaRPr/>
          </a:p>
        </p:txBody>
      </p:sp>
      <p:sp>
        <p:nvSpPr>
          <p:cNvPr id="1291" name="object 1291"/>
          <p:cNvSpPr/>
          <p:nvPr/>
        </p:nvSpPr>
        <p:spPr>
          <a:xfrm>
            <a:off x="9262391" y="1656688"/>
            <a:ext cx="24057" cy="2467"/>
          </a:xfrm>
          <a:custGeom>
            <a:avLst/>
            <a:gdLst/>
            <a:ahLst/>
            <a:cxnLst/>
            <a:rect l="l" t="t" r="r" b="b"/>
            <a:pathLst>
              <a:path w="24057" h="2467">
                <a:moveTo>
                  <a:pt x="22321" y="0"/>
                </a:moveTo>
                <a:lnTo>
                  <a:pt x="0" y="0"/>
                </a:lnTo>
                <a:lnTo>
                  <a:pt x="0" y="2467"/>
                </a:lnTo>
                <a:lnTo>
                  <a:pt x="22817" y="2467"/>
                </a:lnTo>
                <a:lnTo>
                  <a:pt x="23254" y="2177"/>
                </a:lnTo>
                <a:lnTo>
                  <a:pt x="23561" y="1974"/>
                </a:lnTo>
                <a:lnTo>
                  <a:pt x="24057" y="1233"/>
                </a:lnTo>
                <a:lnTo>
                  <a:pt x="23561" y="493"/>
                </a:lnTo>
                <a:lnTo>
                  <a:pt x="22817" y="0"/>
                </a:lnTo>
                <a:lnTo>
                  <a:pt x="22321" y="0"/>
                </a:lnTo>
                <a:close/>
              </a:path>
            </a:pathLst>
          </a:custGeom>
          <a:solidFill>
            <a:srgbClr val="000000"/>
          </a:solidFill>
        </p:spPr>
        <p:txBody>
          <a:bodyPr wrap="square" lIns="0" tIns="0" rIns="0" bIns="0" rtlCol="0">
            <a:noAutofit/>
          </a:bodyPr>
          <a:lstStyle/>
          <a:p>
            <a:endParaRPr/>
          </a:p>
        </p:txBody>
      </p:sp>
      <p:sp>
        <p:nvSpPr>
          <p:cNvPr id="1292" name="object 1292"/>
          <p:cNvSpPr/>
          <p:nvPr/>
        </p:nvSpPr>
        <p:spPr>
          <a:xfrm>
            <a:off x="9272806" y="1656687"/>
            <a:ext cx="11904" cy="6416"/>
          </a:xfrm>
          <a:custGeom>
            <a:avLst/>
            <a:gdLst/>
            <a:ahLst/>
            <a:cxnLst/>
            <a:rect l="l" t="t" r="r" b="b"/>
            <a:pathLst>
              <a:path w="11904" h="6416">
                <a:moveTo>
                  <a:pt x="744" y="3948"/>
                </a:moveTo>
                <a:lnTo>
                  <a:pt x="0" y="4688"/>
                </a:lnTo>
                <a:lnTo>
                  <a:pt x="248" y="5429"/>
                </a:lnTo>
                <a:lnTo>
                  <a:pt x="744" y="6416"/>
                </a:lnTo>
                <a:lnTo>
                  <a:pt x="1736" y="6416"/>
                </a:lnTo>
                <a:lnTo>
                  <a:pt x="1736" y="3948"/>
                </a:lnTo>
                <a:lnTo>
                  <a:pt x="11904" y="0"/>
                </a:lnTo>
                <a:lnTo>
                  <a:pt x="744" y="3948"/>
                </a:lnTo>
                <a:close/>
              </a:path>
            </a:pathLst>
          </a:custGeom>
          <a:solidFill>
            <a:srgbClr val="000000"/>
          </a:solidFill>
        </p:spPr>
        <p:txBody>
          <a:bodyPr wrap="square" lIns="0" tIns="0" rIns="0" bIns="0" rtlCol="0">
            <a:noAutofit/>
          </a:bodyPr>
          <a:lstStyle/>
          <a:p>
            <a:endParaRPr/>
          </a:p>
        </p:txBody>
      </p:sp>
      <p:sp>
        <p:nvSpPr>
          <p:cNvPr id="1293" name="object 1293"/>
          <p:cNvSpPr/>
          <p:nvPr/>
        </p:nvSpPr>
        <p:spPr>
          <a:xfrm>
            <a:off x="9274543" y="1656687"/>
            <a:ext cx="11160" cy="6416"/>
          </a:xfrm>
          <a:custGeom>
            <a:avLst/>
            <a:gdLst/>
            <a:ahLst/>
            <a:cxnLst/>
            <a:rect l="l" t="t" r="r" b="b"/>
            <a:pathLst>
              <a:path w="11160" h="6416">
                <a:moveTo>
                  <a:pt x="0" y="3948"/>
                </a:moveTo>
                <a:lnTo>
                  <a:pt x="0" y="6416"/>
                </a:lnTo>
                <a:lnTo>
                  <a:pt x="11160" y="2467"/>
                </a:lnTo>
                <a:lnTo>
                  <a:pt x="10168" y="0"/>
                </a:lnTo>
                <a:lnTo>
                  <a:pt x="0" y="3948"/>
                </a:lnTo>
                <a:close/>
              </a:path>
            </a:pathLst>
          </a:custGeom>
          <a:solidFill>
            <a:srgbClr val="000000"/>
          </a:solidFill>
        </p:spPr>
        <p:txBody>
          <a:bodyPr wrap="square" lIns="0" tIns="0" rIns="0" bIns="0" rtlCol="0">
            <a:noAutofit/>
          </a:bodyPr>
          <a:lstStyle/>
          <a:p>
            <a:endParaRPr/>
          </a:p>
        </p:txBody>
      </p:sp>
      <p:sp>
        <p:nvSpPr>
          <p:cNvPr id="1294" name="object 1294"/>
          <p:cNvSpPr/>
          <p:nvPr/>
        </p:nvSpPr>
        <p:spPr>
          <a:xfrm>
            <a:off x="9261150" y="1656687"/>
            <a:ext cx="12400" cy="6416"/>
          </a:xfrm>
          <a:custGeom>
            <a:avLst/>
            <a:gdLst/>
            <a:ahLst/>
            <a:cxnLst/>
            <a:rect l="l" t="t" r="r" b="b"/>
            <a:pathLst>
              <a:path w="12400" h="6416">
                <a:moveTo>
                  <a:pt x="744" y="2467"/>
                </a:moveTo>
                <a:lnTo>
                  <a:pt x="12400" y="6416"/>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1295" name="object 1295"/>
          <p:cNvSpPr/>
          <p:nvPr/>
        </p:nvSpPr>
        <p:spPr>
          <a:xfrm>
            <a:off x="9262390" y="1656687"/>
            <a:ext cx="12152" cy="6416"/>
          </a:xfrm>
          <a:custGeom>
            <a:avLst/>
            <a:gdLst/>
            <a:ahLst/>
            <a:cxnLst/>
            <a:rect l="l" t="t" r="r" b="b"/>
            <a:pathLst>
              <a:path w="12152" h="6416">
                <a:moveTo>
                  <a:pt x="496" y="0"/>
                </a:moveTo>
                <a:lnTo>
                  <a:pt x="0" y="0"/>
                </a:lnTo>
                <a:lnTo>
                  <a:pt x="0" y="2467"/>
                </a:lnTo>
                <a:lnTo>
                  <a:pt x="11160" y="6416"/>
                </a:lnTo>
                <a:lnTo>
                  <a:pt x="12152" y="3948"/>
                </a:lnTo>
                <a:lnTo>
                  <a:pt x="496" y="0"/>
                </a:lnTo>
                <a:close/>
              </a:path>
            </a:pathLst>
          </a:custGeom>
          <a:solidFill>
            <a:srgbClr val="000000"/>
          </a:solidFill>
        </p:spPr>
        <p:txBody>
          <a:bodyPr wrap="square" lIns="0" tIns="0" rIns="0" bIns="0" rtlCol="0">
            <a:noAutofit/>
          </a:bodyPr>
          <a:lstStyle/>
          <a:p>
            <a:endParaRPr/>
          </a:p>
        </p:txBody>
      </p:sp>
      <p:sp>
        <p:nvSpPr>
          <p:cNvPr id="1296" name="object 1296"/>
          <p:cNvSpPr/>
          <p:nvPr/>
        </p:nvSpPr>
        <p:spPr>
          <a:xfrm>
            <a:off x="9262887" y="1766503"/>
            <a:ext cx="24553" cy="2467"/>
          </a:xfrm>
          <a:custGeom>
            <a:avLst/>
            <a:gdLst/>
            <a:ahLst/>
            <a:cxnLst/>
            <a:rect l="l" t="t" r="r" b="b"/>
            <a:pathLst>
              <a:path w="24553" h="2467">
                <a:moveTo>
                  <a:pt x="24553" y="1233"/>
                </a:moveTo>
                <a:lnTo>
                  <a:pt x="24057" y="493"/>
                </a:lnTo>
                <a:lnTo>
                  <a:pt x="23545" y="154"/>
                </a:lnTo>
                <a:lnTo>
                  <a:pt x="23313" y="0"/>
                </a:lnTo>
                <a:lnTo>
                  <a:pt x="0" y="0"/>
                </a:lnTo>
                <a:lnTo>
                  <a:pt x="0" y="2467"/>
                </a:lnTo>
                <a:lnTo>
                  <a:pt x="23313" y="2467"/>
                </a:lnTo>
                <a:lnTo>
                  <a:pt x="24057" y="1974"/>
                </a:lnTo>
                <a:lnTo>
                  <a:pt x="24553" y="1233"/>
                </a:lnTo>
                <a:close/>
              </a:path>
            </a:pathLst>
          </a:custGeom>
          <a:solidFill>
            <a:srgbClr val="000000"/>
          </a:solidFill>
        </p:spPr>
        <p:txBody>
          <a:bodyPr wrap="square" lIns="0" tIns="0" rIns="0" bIns="0" rtlCol="0">
            <a:noAutofit/>
          </a:bodyPr>
          <a:lstStyle/>
          <a:p>
            <a:endParaRPr/>
          </a:p>
        </p:txBody>
      </p:sp>
      <p:sp>
        <p:nvSpPr>
          <p:cNvPr id="1297" name="object 1297"/>
          <p:cNvSpPr/>
          <p:nvPr/>
        </p:nvSpPr>
        <p:spPr>
          <a:xfrm>
            <a:off x="9273798" y="1765269"/>
            <a:ext cx="12152" cy="3701"/>
          </a:xfrm>
          <a:custGeom>
            <a:avLst/>
            <a:gdLst/>
            <a:ahLst/>
            <a:cxnLst/>
            <a:rect l="l" t="t" r="r" b="b"/>
            <a:pathLst>
              <a:path w="12152" h="3701">
                <a:moveTo>
                  <a:pt x="12152" y="3701"/>
                </a:moveTo>
                <a:lnTo>
                  <a:pt x="744" y="0"/>
                </a:lnTo>
                <a:lnTo>
                  <a:pt x="0" y="0"/>
                </a:lnTo>
                <a:lnTo>
                  <a:pt x="12152" y="3701"/>
                </a:lnTo>
                <a:close/>
              </a:path>
            </a:pathLst>
          </a:custGeom>
          <a:solidFill>
            <a:srgbClr val="000000"/>
          </a:solidFill>
        </p:spPr>
        <p:txBody>
          <a:bodyPr wrap="square" lIns="0" tIns="0" rIns="0" bIns="0" rtlCol="0">
            <a:noAutofit/>
          </a:bodyPr>
          <a:lstStyle/>
          <a:p>
            <a:endParaRPr/>
          </a:p>
        </p:txBody>
      </p:sp>
      <p:sp>
        <p:nvSpPr>
          <p:cNvPr id="1298" name="object 1298"/>
          <p:cNvSpPr/>
          <p:nvPr/>
        </p:nvSpPr>
        <p:spPr>
          <a:xfrm>
            <a:off x="9273054" y="1762802"/>
            <a:ext cx="13392" cy="6169"/>
          </a:xfrm>
          <a:custGeom>
            <a:avLst/>
            <a:gdLst/>
            <a:ahLst/>
            <a:cxnLst/>
            <a:rect l="l" t="t" r="r" b="b"/>
            <a:pathLst>
              <a:path w="13392" h="6169">
                <a:moveTo>
                  <a:pt x="12896" y="6169"/>
                </a:moveTo>
                <a:lnTo>
                  <a:pt x="13392" y="3701"/>
                </a:lnTo>
                <a:lnTo>
                  <a:pt x="1240" y="0"/>
                </a:lnTo>
                <a:lnTo>
                  <a:pt x="248" y="246"/>
                </a:lnTo>
                <a:lnTo>
                  <a:pt x="0" y="987"/>
                </a:lnTo>
                <a:lnTo>
                  <a:pt x="0" y="1974"/>
                </a:lnTo>
                <a:lnTo>
                  <a:pt x="744" y="2467"/>
                </a:lnTo>
                <a:lnTo>
                  <a:pt x="1488" y="2467"/>
                </a:lnTo>
                <a:lnTo>
                  <a:pt x="12896" y="6169"/>
                </a:lnTo>
                <a:close/>
              </a:path>
            </a:pathLst>
          </a:custGeom>
          <a:solidFill>
            <a:srgbClr val="000000"/>
          </a:solidFill>
        </p:spPr>
        <p:txBody>
          <a:bodyPr wrap="square" lIns="0" tIns="0" rIns="0" bIns="0" rtlCol="0">
            <a:noAutofit/>
          </a:bodyPr>
          <a:lstStyle/>
          <a:p>
            <a:endParaRPr/>
          </a:p>
        </p:txBody>
      </p:sp>
      <p:sp>
        <p:nvSpPr>
          <p:cNvPr id="1299" name="object 1299"/>
          <p:cNvSpPr/>
          <p:nvPr/>
        </p:nvSpPr>
        <p:spPr>
          <a:xfrm>
            <a:off x="9262390" y="1762802"/>
            <a:ext cx="11160" cy="3701"/>
          </a:xfrm>
          <a:custGeom>
            <a:avLst/>
            <a:gdLst/>
            <a:ahLst/>
            <a:cxnLst/>
            <a:rect l="l" t="t" r="r" b="b"/>
            <a:pathLst>
              <a:path w="11160" h="3701">
                <a:moveTo>
                  <a:pt x="0" y="3701"/>
                </a:moveTo>
                <a:lnTo>
                  <a:pt x="496" y="3701"/>
                </a:lnTo>
                <a:lnTo>
                  <a:pt x="11160" y="0"/>
                </a:lnTo>
                <a:lnTo>
                  <a:pt x="0" y="3701"/>
                </a:lnTo>
                <a:close/>
              </a:path>
            </a:pathLst>
          </a:custGeom>
          <a:solidFill>
            <a:srgbClr val="000000"/>
          </a:solidFill>
        </p:spPr>
        <p:txBody>
          <a:bodyPr wrap="square" lIns="0" tIns="0" rIns="0" bIns="0" rtlCol="0">
            <a:noAutofit/>
          </a:bodyPr>
          <a:lstStyle/>
          <a:p>
            <a:endParaRPr/>
          </a:p>
        </p:txBody>
      </p:sp>
      <p:sp>
        <p:nvSpPr>
          <p:cNvPr id="1300" name="object 1300"/>
          <p:cNvSpPr/>
          <p:nvPr/>
        </p:nvSpPr>
        <p:spPr>
          <a:xfrm>
            <a:off x="9261646" y="1762802"/>
            <a:ext cx="12896" cy="6169"/>
          </a:xfrm>
          <a:custGeom>
            <a:avLst/>
            <a:gdLst/>
            <a:ahLst/>
            <a:cxnLst/>
            <a:rect l="l" t="t" r="r" b="b"/>
            <a:pathLst>
              <a:path w="12896" h="6169">
                <a:moveTo>
                  <a:pt x="248" y="5182"/>
                </a:moveTo>
                <a:lnTo>
                  <a:pt x="744" y="6169"/>
                </a:lnTo>
                <a:lnTo>
                  <a:pt x="1736" y="6169"/>
                </a:lnTo>
                <a:lnTo>
                  <a:pt x="12896" y="2467"/>
                </a:lnTo>
                <a:lnTo>
                  <a:pt x="11904" y="0"/>
                </a:lnTo>
                <a:lnTo>
                  <a:pt x="1240" y="3701"/>
                </a:lnTo>
                <a:lnTo>
                  <a:pt x="744" y="3701"/>
                </a:lnTo>
                <a:lnTo>
                  <a:pt x="0" y="4441"/>
                </a:lnTo>
                <a:lnTo>
                  <a:pt x="248" y="5182"/>
                </a:lnTo>
                <a:close/>
              </a:path>
            </a:pathLst>
          </a:custGeom>
          <a:solidFill>
            <a:srgbClr val="000000"/>
          </a:solidFill>
        </p:spPr>
        <p:txBody>
          <a:bodyPr wrap="square" lIns="0" tIns="0" rIns="0" bIns="0" rtlCol="0">
            <a:noAutofit/>
          </a:bodyPr>
          <a:lstStyle/>
          <a:p>
            <a:endParaRPr/>
          </a:p>
        </p:txBody>
      </p:sp>
      <p:sp>
        <p:nvSpPr>
          <p:cNvPr id="1301" name="object 1301"/>
          <p:cNvSpPr/>
          <p:nvPr/>
        </p:nvSpPr>
        <p:spPr>
          <a:xfrm>
            <a:off x="9250982" y="1657922"/>
            <a:ext cx="68451" cy="110061"/>
          </a:xfrm>
          <a:custGeom>
            <a:avLst/>
            <a:gdLst/>
            <a:ahLst/>
            <a:cxnLst/>
            <a:rect l="l" t="t" r="r" b="b"/>
            <a:pathLst>
              <a:path w="68451" h="110061">
                <a:moveTo>
                  <a:pt x="34225" y="0"/>
                </a:moveTo>
                <a:lnTo>
                  <a:pt x="30753" y="246"/>
                </a:lnTo>
                <a:lnTo>
                  <a:pt x="27281" y="1233"/>
                </a:lnTo>
                <a:lnTo>
                  <a:pt x="20832" y="4441"/>
                </a:lnTo>
                <a:lnTo>
                  <a:pt x="17856" y="6662"/>
                </a:lnTo>
                <a:lnTo>
                  <a:pt x="15128" y="9377"/>
                </a:lnTo>
                <a:lnTo>
                  <a:pt x="12400" y="12585"/>
                </a:lnTo>
                <a:lnTo>
                  <a:pt x="10168" y="16040"/>
                </a:lnTo>
                <a:lnTo>
                  <a:pt x="7936" y="19988"/>
                </a:lnTo>
                <a:lnTo>
                  <a:pt x="5952" y="24184"/>
                </a:lnTo>
                <a:lnTo>
                  <a:pt x="4216" y="28872"/>
                </a:lnTo>
                <a:lnTo>
                  <a:pt x="2728" y="33561"/>
                </a:lnTo>
                <a:lnTo>
                  <a:pt x="1488" y="38743"/>
                </a:lnTo>
                <a:lnTo>
                  <a:pt x="744" y="43926"/>
                </a:lnTo>
                <a:lnTo>
                  <a:pt x="248" y="49355"/>
                </a:lnTo>
                <a:lnTo>
                  <a:pt x="0" y="55030"/>
                </a:lnTo>
                <a:lnTo>
                  <a:pt x="248" y="60706"/>
                </a:lnTo>
                <a:lnTo>
                  <a:pt x="744" y="66135"/>
                </a:lnTo>
                <a:lnTo>
                  <a:pt x="1488" y="71318"/>
                </a:lnTo>
                <a:lnTo>
                  <a:pt x="2728" y="76500"/>
                </a:lnTo>
                <a:lnTo>
                  <a:pt x="4216" y="81189"/>
                </a:lnTo>
                <a:lnTo>
                  <a:pt x="5952" y="85877"/>
                </a:lnTo>
                <a:lnTo>
                  <a:pt x="7936" y="90073"/>
                </a:lnTo>
                <a:lnTo>
                  <a:pt x="10168" y="94021"/>
                </a:lnTo>
                <a:lnTo>
                  <a:pt x="12400" y="97476"/>
                </a:lnTo>
                <a:lnTo>
                  <a:pt x="15128" y="100684"/>
                </a:lnTo>
                <a:lnTo>
                  <a:pt x="17856" y="103398"/>
                </a:lnTo>
                <a:lnTo>
                  <a:pt x="20832" y="105619"/>
                </a:lnTo>
                <a:lnTo>
                  <a:pt x="24057" y="107594"/>
                </a:lnTo>
                <a:lnTo>
                  <a:pt x="30753" y="109815"/>
                </a:lnTo>
                <a:lnTo>
                  <a:pt x="34225" y="110061"/>
                </a:lnTo>
                <a:lnTo>
                  <a:pt x="37697" y="109815"/>
                </a:lnTo>
                <a:lnTo>
                  <a:pt x="44393" y="107594"/>
                </a:lnTo>
                <a:lnTo>
                  <a:pt x="47618" y="105619"/>
                </a:lnTo>
                <a:lnTo>
                  <a:pt x="50594" y="103398"/>
                </a:lnTo>
                <a:lnTo>
                  <a:pt x="53322" y="100684"/>
                </a:lnTo>
                <a:lnTo>
                  <a:pt x="56050" y="97476"/>
                </a:lnTo>
                <a:lnTo>
                  <a:pt x="58530" y="94021"/>
                </a:lnTo>
                <a:lnTo>
                  <a:pt x="60514" y="90073"/>
                </a:lnTo>
                <a:lnTo>
                  <a:pt x="62498" y="85877"/>
                </a:lnTo>
                <a:lnTo>
                  <a:pt x="64234" y="81189"/>
                </a:lnTo>
                <a:lnTo>
                  <a:pt x="65722" y="76500"/>
                </a:lnTo>
                <a:lnTo>
                  <a:pt x="66963" y="71318"/>
                </a:lnTo>
                <a:lnTo>
                  <a:pt x="67707" y="66135"/>
                </a:lnTo>
                <a:lnTo>
                  <a:pt x="68203" y="60706"/>
                </a:lnTo>
                <a:lnTo>
                  <a:pt x="68451" y="55030"/>
                </a:lnTo>
                <a:lnTo>
                  <a:pt x="68203" y="49355"/>
                </a:lnTo>
                <a:lnTo>
                  <a:pt x="67707" y="43926"/>
                </a:lnTo>
                <a:lnTo>
                  <a:pt x="66963" y="38743"/>
                </a:lnTo>
                <a:lnTo>
                  <a:pt x="65722" y="33561"/>
                </a:lnTo>
                <a:lnTo>
                  <a:pt x="64234" y="28872"/>
                </a:lnTo>
                <a:lnTo>
                  <a:pt x="62498" y="24184"/>
                </a:lnTo>
                <a:lnTo>
                  <a:pt x="60514" y="19988"/>
                </a:lnTo>
                <a:lnTo>
                  <a:pt x="58530" y="16040"/>
                </a:lnTo>
                <a:lnTo>
                  <a:pt x="56050" y="12585"/>
                </a:lnTo>
                <a:lnTo>
                  <a:pt x="53322" y="9377"/>
                </a:lnTo>
                <a:lnTo>
                  <a:pt x="50594" y="6662"/>
                </a:lnTo>
                <a:lnTo>
                  <a:pt x="47618" y="4441"/>
                </a:lnTo>
                <a:lnTo>
                  <a:pt x="44393" y="2467"/>
                </a:lnTo>
                <a:lnTo>
                  <a:pt x="37697" y="246"/>
                </a:lnTo>
                <a:lnTo>
                  <a:pt x="34225" y="0"/>
                </a:lnTo>
                <a:close/>
              </a:path>
            </a:pathLst>
          </a:custGeom>
          <a:solidFill>
            <a:srgbClr val="000000"/>
          </a:solidFill>
        </p:spPr>
        <p:txBody>
          <a:bodyPr wrap="square" lIns="0" tIns="0" rIns="0" bIns="0" rtlCol="0">
            <a:noAutofit/>
          </a:bodyPr>
          <a:lstStyle/>
          <a:p>
            <a:endParaRPr/>
          </a:p>
        </p:txBody>
      </p:sp>
      <p:sp>
        <p:nvSpPr>
          <p:cNvPr id="1302" name="object 1302"/>
          <p:cNvSpPr/>
          <p:nvPr/>
        </p:nvSpPr>
        <p:spPr>
          <a:xfrm>
            <a:off x="9285208" y="1656194"/>
            <a:ext cx="35961" cy="56758"/>
          </a:xfrm>
          <a:custGeom>
            <a:avLst/>
            <a:gdLst/>
            <a:ahLst/>
            <a:cxnLst/>
            <a:rect l="l" t="t" r="r" b="b"/>
            <a:pathLst>
              <a:path w="35961" h="56758">
                <a:moveTo>
                  <a:pt x="0" y="0"/>
                </a:moveTo>
                <a:lnTo>
                  <a:pt x="0" y="3454"/>
                </a:lnTo>
                <a:lnTo>
                  <a:pt x="3224" y="3701"/>
                </a:lnTo>
                <a:lnTo>
                  <a:pt x="6448" y="4688"/>
                </a:lnTo>
                <a:lnTo>
                  <a:pt x="9424" y="5675"/>
                </a:lnTo>
                <a:lnTo>
                  <a:pt x="12400" y="7650"/>
                </a:lnTo>
                <a:lnTo>
                  <a:pt x="15128" y="9624"/>
                </a:lnTo>
                <a:lnTo>
                  <a:pt x="17856" y="12338"/>
                </a:lnTo>
                <a:lnTo>
                  <a:pt x="20336" y="15300"/>
                </a:lnTo>
                <a:lnTo>
                  <a:pt x="22817" y="18754"/>
                </a:lnTo>
                <a:lnTo>
                  <a:pt x="24801" y="22456"/>
                </a:lnTo>
                <a:lnTo>
                  <a:pt x="26785" y="26651"/>
                </a:lnTo>
                <a:lnTo>
                  <a:pt x="28273" y="31093"/>
                </a:lnTo>
                <a:lnTo>
                  <a:pt x="29761" y="35782"/>
                </a:lnTo>
                <a:lnTo>
                  <a:pt x="31001" y="40717"/>
                </a:lnTo>
                <a:lnTo>
                  <a:pt x="31745" y="45900"/>
                </a:lnTo>
                <a:lnTo>
                  <a:pt x="32241" y="51082"/>
                </a:lnTo>
                <a:lnTo>
                  <a:pt x="32489" y="56758"/>
                </a:lnTo>
                <a:lnTo>
                  <a:pt x="35961" y="56758"/>
                </a:lnTo>
                <a:lnTo>
                  <a:pt x="35713" y="51082"/>
                </a:lnTo>
                <a:lnTo>
                  <a:pt x="35217" y="45406"/>
                </a:lnTo>
                <a:lnTo>
                  <a:pt x="34473" y="40224"/>
                </a:lnTo>
                <a:lnTo>
                  <a:pt x="33233" y="34795"/>
                </a:lnTo>
                <a:lnTo>
                  <a:pt x="31745" y="30106"/>
                </a:lnTo>
                <a:lnTo>
                  <a:pt x="29761" y="25171"/>
                </a:lnTo>
                <a:lnTo>
                  <a:pt x="27777" y="20975"/>
                </a:lnTo>
                <a:lnTo>
                  <a:pt x="25793" y="16780"/>
                </a:lnTo>
                <a:lnTo>
                  <a:pt x="23313" y="13325"/>
                </a:lnTo>
                <a:lnTo>
                  <a:pt x="20336" y="9871"/>
                </a:lnTo>
                <a:lnTo>
                  <a:pt x="17608" y="7156"/>
                </a:lnTo>
                <a:lnTo>
                  <a:pt x="14384" y="4688"/>
                </a:lnTo>
                <a:lnTo>
                  <a:pt x="10912" y="2714"/>
                </a:lnTo>
                <a:lnTo>
                  <a:pt x="7440" y="1233"/>
                </a:lnTo>
                <a:lnTo>
                  <a:pt x="3720" y="246"/>
                </a:lnTo>
                <a:lnTo>
                  <a:pt x="0" y="0"/>
                </a:lnTo>
                <a:close/>
              </a:path>
            </a:pathLst>
          </a:custGeom>
          <a:solidFill>
            <a:srgbClr val="000000"/>
          </a:solidFill>
        </p:spPr>
        <p:txBody>
          <a:bodyPr wrap="square" lIns="0" tIns="0" rIns="0" bIns="0" rtlCol="0">
            <a:noAutofit/>
          </a:bodyPr>
          <a:lstStyle/>
          <a:p>
            <a:endParaRPr/>
          </a:p>
        </p:txBody>
      </p:sp>
      <p:sp>
        <p:nvSpPr>
          <p:cNvPr id="1303" name="object 1303"/>
          <p:cNvSpPr/>
          <p:nvPr/>
        </p:nvSpPr>
        <p:spPr>
          <a:xfrm>
            <a:off x="9285208" y="1712952"/>
            <a:ext cx="35961" cy="56758"/>
          </a:xfrm>
          <a:custGeom>
            <a:avLst/>
            <a:gdLst/>
            <a:ahLst/>
            <a:cxnLst/>
            <a:rect l="l" t="t" r="r" b="b"/>
            <a:pathLst>
              <a:path w="35961" h="56758">
                <a:moveTo>
                  <a:pt x="3720" y="56511"/>
                </a:moveTo>
                <a:lnTo>
                  <a:pt x="7440" y="55524"/>
                </a:lnTo>
                <a:lnTo>
                  <a:pt x="10912" y="54043"/>
                </a:lnTo>
                <a:lnTo>
                  <a:pt x="14384" y="52069"/>
                </a:lnTo>
                <a:lnTo>
                  <a:pt x="17608" y="49601"/>
                </a:lnTo>
                <a:lnTo>
                  <a:pt x="20336" y="46887"/>
                </a:lnTo>
                <a:lnTo>
                  <a:pt x="23313" y="43432"/>
                </a:lnTo>
                <a:lnTo>
                  <a:pt x="25793" y="39977"/>
                </a:lnTo>
                <a:lnTo>
                  <a:pt x="27777" y="35782"/>
                </a:lnTo>
                <a:lnTo>
                  <a:pt x="29761" y="31587"/>
                </a:lnTo>
                <a:lnTo>
                  <a:pt x="31745" y="26651"/>
                </a:lnTo>
                <a:lnTo>
                  <a:pt x="33233" y="21963"/>
                </a:lnTo>
                <a:lnTo>
                  <a:pt x="34473" y="16533"/>
                </a:lnTo>
                <a:lnTo>
                  <a:pt x="35217" y="11351"/>
                </a:lnTo>
                <a:lnTo>
                  <a:pt x="35713" y="5675"/>
                </a:lnTo>
                <a:lnTo>
                  <a:pt x="35961" y="0"/>
                </a:lnTo>
                <a:lnTo>
                  <a:pt x="32489" y="0"/>
                </a:lnTo>
                <a:lnTo>
                  <a:pt x="32241" y="5675"/>
                </a:lnTo>
                <a:lnTo>
                  <a:pt x="31745" y="10858"/>
                </a:lnTo>
                <a:lnTo>
                  <a:pt x="31001" y="16040"/>
                </a:lnTo>
                <a:lnTo>
                  <a:pt x="29761" y="20975"/>
                </a:lnTo>
                <a:lnTo>
                  <a:pt x="28273" y="25664"/>
                </a:lnTo>
                <a:lnTo>
                  <a:pt x="26785" y="30106"/>
                </a:lnTo>
                <a:lnTo>
                  <a:pt x="24801" y="34301"/>
                </a:lnTo>
                <a:lnTo>
                  <a:pt x="22817" y="38003"/>
                </a:lnTo>
                <a:lnTo>
                  <a:pt x="20336" y="41458"/>
                </a:lnTo>
                <a:lnTo>
                  <a:pt x="17856" y="44419"/>
                </a:lnTo>
                <a:lnTo>
                  <a:pt x="15128" y="47134"/>
                </a:lnTo>
                <a:lnTo>
                  <a:pt x="12400" y="49108"/>
                </a:lnTo>
                <a:lnTo>
                  <a:pt x="9424" y="51082"/>
                </a:lnTo>
                <a:lnTo>
                  <a:pt x="6448" y="52069"/>
                </a:lnTo>
                <a:lnTo>
                  <a:pt x="3224" y="53056"/>
                </a:lnTo>
                <a:lnTo>
                  <a:pt x="0" y="53303"/>
                </a:lnTo>
                <a:lnTo>
                  <a:pt x="0" y="56758"/>
                </a:lnTo>
                <a:lnTo>
                  <a:pt x="3720" y="56511"/>
                </a:lnTo>
                <a:close/>
              </a:path>
            </a:pathLst>
          </a:custGeom>
          <a:solidFill>
            <a:srgbClr val="000000"/>
          </a:solidFill>
        </p:spPr>
        <p:txBody>
          <a:bodyPr wrap="square" lIns="0" tIns="0" rIns="0" bIns="0" rtlCol="0">
            <a:noAutofit/>
          </a:bodyPr>
          <a:lstStyle/>
          <a:p>
            <a:endParaRPr/>
          </a:p>
        </p:txBody>
      </p:sp>
      <p:sp>
        <p:nvSpPr>
          <p:cNvPr id="1304" name="object 1304"/>
          <p:cNvSpPr/>
          <p:nvPr/>
        </p:nvSpPr>
        <p:spPr>
          <a:xfrm>
            <a:off x="9249246" y="1712952"/>
            <a:ext cx="35961" cy="56758"/>
          </a:xfrm>
          <a:custGeom>
            <a:avLst/>
            <a:gdLst/>
            <a:ahLst/>
            <a:cxnLst/>
            <a:rect l="l" t="t" r="r" b="b"/>
            <a:pathLst>
              <a:path w="35961" h="56758">
                <a:moveTo>
                  <a:pt x="3472" y="0"/>
                </a:moveTo>
                <a:lnTo>
                  <a:pt x="0" y="0"/>
                </a:lnTo>
                <a:lnTo>
                  <a:pt x="248" y="5675"/>
                </a:lnTo>
                <a:lnTo>
                  <a:pt x="744" y="11351"/>
                </a:lnTo>
                <a:lnTo>
                  <a:pt x="1488" y="16533"/>
                </a:lnTo>
                <a:lnTo>
                  <a:pt x="2728" y="21963"/>
                </a:lnTo>
                <a:lnTo>
                  <a:pt x="4216" y="26651"/>
                </a:lnTo>
                <a:lnTo>
                  <a:pt x="6200" y="31587"/>
                </a:lnTo>
                <a:lnTo>
                  <a:pt x="8184" y="35782"/>
                </a:lnTo>
                <a:lnTo>
                  <a:pt x="10416" y="39977"/>
                </a:lnTo>
                <a:lnTo>
                  <a:pt x="12648" y="43432"/>
                </a:lnTo>
                <a:lnTo>
                  <a:pt x="15624" y="46887"/>
                </a:lnTo>
                <a:lnTo>
                  <a:pt x="18352" y="49601"/>
                </a:lnTo>
                <a:lnTo>
                  <a:pt x="21576" y="52069"/>
                </a:lnTo>
                <a:lnTo>
                  <a:pt x="25049" y="54043"/>
                </a:lnTo>
                <a:lnTo>
                  <a:pt x="28521" y="55524"/>
                </a:lnTo>
                <a:lnTo>
                  <a:pt x="32241" y="56511"/>
                </a:lnTo>
                <a:lnTo>
                  <a:pt x="35961" y="56758"/>
                </a:lnTo>
                <a:lnTo>
                  <a:pt x="35961" y="53303"/>
                </a:lnTo>
                <a:lnTo>
                  <a:pt x="32737" y="53056"/>
                </a:lnTo>
                <a:lnTo>
                  <a:pt x="29513" y="52069"/>
                </a:lnTo>
                <a:lnTo>
                  <a:pt x="26537" y="51082"/>
                </a:lnTo>
                <a:lnTo>
                  <a:pt x="23561" y="49108"/>
                </a:lnTo>
                <a:lnTo>
                  <a:pt x="20832" y="47134"/>
                </a:lnTo>
                <a:lnTo>
                  <a:pt x="18104" y="44419"/>
                </a:lnTo>
                <a:lnTo>
                  <a:pt x="15624" y="41458"/>
                </a:lnTo>
                <a:lnTo>
                  <a:pt x="13392" y="38003"/>
                </a:lnTo>
                <a:lnTo>
                  <a:pt x="11160" y="34301"/>
                </a:lnTo>
                <a:lnTo>
                  <a:pt x="9176" y="30106"/>
                </a:lnTo>
                <a:lnTo>
                  <a:pt x="7688" y="25664"/>
                </a:lnTo>
                <a:lnTo>
                  <a:pt x="6200" y="20975"/>
                </a:lnTo>
                <a:lnTo>
                  <a:pt x="4960" y="16040"/>
                </a:lnTo>
                <a:lnTo>
                  <a:pt x="4216" y="10858"/>
                </a:lnTo>
                <a:lnTo>
                  <a:pt x="3720" y="5675"/>
                </a:lnTo>
                <a:lnTo>
                  <a:pt x="3472" y="0"/>
                </a:lnTo>
                <a:close/>
              </a:path>
            </a:pathLst>
          </a:custGeom>
          <a:solidFill>
            <a:srgbClr val="000000"/>
          </a:solidFill>
        </p:spPr>
        <p:txBody>
          <a:bodyPr wrap="square" lIns="0" tIns="0" rIns="0" bIns="0" rtlCol="0">
            <a:noAutofit/>
          </a:bodyPr>
          <a:lstStyle/>
          <a:p>
            <a:endParaRPr/>
          </a:p>
        </p:txBody>
      </p:sp>
      <p:sp>
        <p:nvSpPr>
          <p:cNvPr id="1305" name="object 1305"/>
          <p:cNvSpPr/>
          <p:nvPr/>
        </p:nvSpPr>
        <p:spPr>
          <a:xfrm>
            <a:off x="9249246" y="1656194"/>
            <a:ext cx="35961" cy="56758"/>
          </a:xfrm>
          <a:custGeom>
            <a:avLst/>
            <a:gdLst/>
            <a:ahLst/>
            <a:cxnLst/>
            <a:rect l="l" t="t" r="r" b="b"/>
            <a:pathLst>
              <a:path w="35961" h="56758">
                <a:moveTo>
                  <a:pt x="4216" y="30106"/>
                </a:moveTo>
                <a:lnTo>
                  <a:pt x="2728" y="34795"/>
                </a:lnTo>
                <a:lnTo>
                  <a:pt x="1488" y="40224"/>
                </a:lnTo>
                <a:lnTo>
                  <a:pt x="744" y="45406"/>
                </a:lnTo>
                <a:lnTo>
                  <a:pt x="248" y="51082"/>
                </a:lnTo>
                <a:lnTo>
                  <a:pt x="0" y="56758"/>
                </a:lnTo>
                <a:lnTo>
                  <a:pt x="3472" y="56758"/>
                </a:lnTo>
                <a:lnTo>
                  <a:pt x="3720" y="51082"/>
                </a:lnTo>
                <a:lnTo>
                  <a:pt x="4216" y="45900"/>
                </a:lnTo>
                <a:lnTo>
                  <a:pt x="4960" y="40717"/>
                </a:lnTo>
                <a:lnTo>
                  <a:pt x="6200" y="35782"/>
                </a:lnTo>
                <a:lnTo>
                  <a:pt x="7688" y="31093"/>
                </a:lnTo>
                <a:lnTo>
                  <a:pt x="9176" y="26651"/>
                </a:lnTo>
                <a:lnTo>
                  <a:pt x="11160" y="22456"/>
                </a:lnTo>
                <a:lnTo>
                  <a:pt x="13392" y="18754"/>
                </a:lnTo>
                <a:lnTo>
                  <a:pt x="15624" y="15300"/>
                </a:lnTo>
                <a:lnTo>
                  <a:pt x="18104" y="12338"/>
                </a:lnTo>
                <a:lnTo>
                  <a:pt x="20832" y="9624"/>
                </a:lnTo>
                <a:lnTo>
                  <a:pt x="23561" y="7650"/>
                </a:lnTo>
                <a:lnTo>
                  <a:pt x="26537" y="5675"/>
                </a:lnTo>
                <a:lnTo>
                  <a:pt x="29513" y="4688"/>
                </a:lnTo>
                <a:lnTo>
                  <a:pt x="32737" y="3701"/>
                </a:lnTo>
                <a:lnTo>
                  <a:pt x="35961" y="3454"/>
                </a:lnTo>
                <a:lnTo>
                  <a:pt x="35961" y="0"/>
                </a:lnTo>
                <a:lnTo>
                  <a:pt x="32241" y="246"/>
                </a:lnTo>
                <a:lnTo>
                  <a:pt x="28521" y="1233"/>
                </a:lnTo>
                <a:lnTo>
                  <a:pt x="25049" y="2714"/>
                </a:lnTo>
                <a:lnTo>
                  <a:pt x="21576" y="4688"/>
                </a:lnTo>
                <a:lnTo>
                  <a:pt x="18352" y="7156"/>
                </a:lnTo>
                <a:lnTo>
                  <a:pt x="15624" y="9871"/>
                </a:lnTo>
                <a:lnTo>
                  <a:pt x="12648" y="13325"/>
                </a:lnTo>
                <a:lnTo>
                  <a:pt x="10416" y="16780"/>
                </a:lnTo>
                <a:lnTo>
                  <a:pt x="8184" y="20975"/>
                </a:lnTo>
                <a:lnTo>
                  <a:pt x="6200" y="25171"/>
                </a:lnTo>
                <a:lnTo>
                  <a:pt x="4216" y="30106"/>
                </a:lnTo>
                <a:close/>
              </a:path>
            </a:pathLst>
          </a:custGeom>
          <a:solidFill>
            <a:srgbClr val="000000"/>
          </a:solidFill>
        </p:spPr>
        <p:txBody>
          <a:bodyPr wrap="square" lIns="0" tIns="0" rIns="0" bIns="0" rtlCol="0">
            <a:noAutofit/>
          </a:bodyPr>
          <a:lstStyle/>
          <a:p>
            <a:endParaRPr/>
          </a:p>
        </p:txBody>
      </p:sp>
      <p:sp>
        <p:nvSpPr>
          <p:cNvPr id="1306" name="object 1306"/>
          <p:cNvSpPr/>
          <p:nvPr/>
        </p:nvSpPr>
        <p:spPr>
          <a:xfrm>
            <a:off x="9119041" y="1656440"/>
            <a:ext cx="71923" cy="115984"/>
          </a:xfrm>
          <a:custGeom>
            <a:avLst/>
            <a:gdLst/>
            <a:ahLst/>
            <a:cxnLst/>
            <a:rect l="l" t="t" r="r" b="b"/>
            <a:pathLst>
              <a:path w="71923" h="115984">
                <a:moveTo>
                  <a:pt x="35961" y="0"/>
                </a:moveTo>
                <a:lnTo>
                  <a:pt x="32241" y="246"/>
                </a:lnTo>
                <a:lnTo>
                  <a:pt x="28769" y="1233"/>
                </a:lnTo>
                <a:lnTo>
                  <a:pt x="22072" y="4688"/>
                </a:lnTo>
                <a:lnTo>
                  <a:pt x="18848" y="7156"/>
                </a:lnTo>
                <a:lnTo>
                  <a:pt x="15872" y="9871"/>
                </a:lnTo>
                <a:lnTo>
                  <a:pt x="13144" y="13325"/>
                </a:lnTo>
                <a:lnTo>
                  <a:pt x="10664" y="17027"/>
                </a:lnTo>
                <a:lnTo>
                  <a:pt x="8184" y="21222"/>
                </a:lnTo>
                <a:lnTo>
                  <a:pt x="6200" y="25664"/>
                </a:lnTo>
                <a:lnTo>
                  <a:pt x="4464" y="30353"/>
                </a:lnTo>
                <a:lnTo>
                  <a:pt x="2728" y="35535"/>
                </a:lnTo>
                <a:lnTo>
                  <a:pt x="1736" y="40717"/>
                </a:lnTo>
                <a:lnTo>
                  <a:pt x="744" y="46393"/>
                </a:lnTo>
                <a:lnTo>
                  <a:pt x="248" y="52069"/>
                </a:lnTo>
                <a:lnTo>
                  <a:pt x="0" y="57992"/>
                </a:lnTo>
                <a:lnTo>
                  <a:pt x="248" y="63914"/>
                </a:lnTo>
                <a:lnTo>
                  <a:pt x="744" y="69590"/>
                </a:lnTo>
                <a:lnTo>
                  <a:pt x="1736" y="75266"/>
                </a:lnTo>
                <a:lnTo>
                  <a:pt x="2728" y="80695"/>
                </a:lnTo>
                <a:lnTo>
                  <a:pt x="4464" y="85631"/>
                </a:lnTo>
                <a:lnTo>
                  <a:pt x="6200" y="90319"/>
                </a:lnTo>
                <a:lnTo>
                  <a:pt x="8184" y="95008"/>
                </a:lnTo>
                <a:lnTo>
                  <a:pt x="10664" y="98957"/>
                </a:lnTo>
                <a:lnTo>
                  <a:pt x="13144" y="102658"/>
                </a:lnTo>
                <a:lnTo>
                  <a:pt x="15872" y="106113"/>
                </a:lnTo>
                <a:lnTo>
                  <a:pt x="18848" y="109074"/>
                </a:lnTo>
                <a:lnTo>
                  <a:pt x="22072" y="111542"/>
                </a:lnTo>
                <a:lnTo>
                  <a:pt x="28769" y="114750"/>
                </a:lnTo>
                <a:lnTo>
                  <a:pt x="35961" y="115984"/>
                </a:lnTo>
                <a:lnTo>
                  <a:pt x="39681" y="115737"/>
                </a:lnTo>
                <a:lnTo>
                  <a:pt x="46626" y="113270"/>
                </a:lnTo>
                <a:lnTo>
                  <a:pt x="53074" y="109074"/>
                </a:lnTo>
                <a:lnTo>
                  <a:pt x="56050" y="106113"/>
                </a:lnTo>
                <a:lnTo>
                  <a:pt x="58778" y="102658"/>
                </a:lnTo>
                <a:lnTo>
                  <a:pt x="61506" y="98957"/>
                </a:lnTo>
                <a:lnTo>
                  <a:pt x="63738" y="95008"/>
                </a:lnTo>
                <a:lnTo>
                  <a:pt x="65722" y="90319"/>
                </a:lnTo>
                <a:lnTo>
                  <a:pt x="67459" y="85631"/>
                </a:lnTo>
                <a:lnTo>
                  <a:pt x="69195" y="80695"/>
                </a:lnTo>
                <a:lnTo>
                  <a:pt x="70187" y="75266"/>
                </a:lnTo>
                <a:lnTo>
                  <a:pt x="71179" y="69590"/>
                </a:lnTo>
                <a:lnTo>
                  <a:pt x="71675" y="63914"/>
                </a:lnTo>
                <a:lnTo>
                  <a:pt x="71923" y="57992"/>
                </a:lnTo>
                <a:lnTo>
                  <a:pt x="71675" y="52069"/>
                </a:lnTo>
                <a:lnTo>
                  <a:pt x="71179" y="46393"/>
                </a:lnTo>
                <a:lnTo>
                  <a:pt x="70187" y="40717"/>
                </a:lnTo>
                <a:lnTo>
                  <a:pt x="69195" y="35535"/>
                </a:lnTo>
                <a:lnTo>
                  <a:pt x="67459" y="30353"/>
                </a:lnTo>
                <a:lnTo>
                  <a:pt x="65722" y="25664"/>
                </a:lnTo>
                <a:lnTo>
                  <a:pt x="63738" y="21222"/>
                </a:lnTo>
                <a:lnTo>
                  <a:pt x="61506" y="17027"/>
                </a:lnTo>
                <a:lnTo>
                  <a:pt x="58778" y="13325"/>
                </a:lnTo>
                <a:lnTo>
                  <a:pt x="56050" y="9871"/>
                </a:lnTo>
                <a:lnTo>
                  <a:pt x="53074" y="7156"/>
                </a:lnTo>
                <a:lnTo>
                  <a:pt x="49850" y="4688"/>
                </a:lnTo>
                <a:lnTo>
                  <a:pt x="43153" y="1233"/>
                </a:lnTo>
                <a:lnTo>
                  <a:pt x="39681" y="246"/>
                </a:lnTo>
                <a:lnTo>
                  <a:pt x="35961" y="0"/>
                </a:lnTo>
                <a:close/>
              </a:path>
            </a:pathLst>
          </a:custGeom>
          <a:solidFill>
            <a:srgbClr val="000000"/>
          </a:solidFill>
        </p:spPr>
        <p:txBody>
          <a:bodyPr wrap="square" lIns="0" tIns="0" rIns="0" bIns="0" rtlCol="0">
            <a:noAutofit/>
          </a:bodyPr>
          <a:lstStyle/>
          <a:p>
            <a:endParaRPr/>
          </a:p>
        </p:txBody>
      </p:sp>
      <p:sp>
        <p:nvSpPr>
          <p:cNvPr id="1307" name="object 1307"/>
          <p:cNvSpPr/>
          <p:nvPr/>
        </p:nvSpPr>
        <p:spPr>
          <a:xfrm>
            <a:off x="9155002" y="1654714"/>
            <a:ext cx="37697" cy="59719"/>
          </a:xfrm>
          <a:custGeom>
            <a:avLst/>
            <a:gdLst/>
            <a:ahLst/>
            <a:cxnLst/>
            <a:rect l="l" t="t" r="r" b="b"/>
            <a:pathLst>
              <a:path w="37697" h="59719">
                <a:moveTo>
                  <a:pt x="3472" y="3701"/>
                </a:moveTo>
                <a:lnTo>
                  <a:pt x="6696" y="4688"/>
                </a:lnTo>
                <a:lnTo>
                  <a:pt x="9920" y="5922"/>
                </a:lnTo>
                <a:lnTo>
                  <a:pt x="12896" y="7896"/>
                </a:lnTo>
                <a:lnTo>
                  <a:pt x="16120" y="10117"/>
                </a:lnTo>
                <a:lnTo>
                  <a:pt x="18848" y="12832"/>
                </a:lnTo>
                <a:lnTo>
                  <a:pt x="21328" y="16040"/>
                </a:lnTo>
                <a:lnTo>
                  <a:pt x="24057" y="19742"/>
                </a:lnTo>
                <a:lnTo>
                  <a:pt x="26289" y="23690"/>
                </a:lnTo>
                <a:lnTo>
                  <a:pt x="28273" y="28132"/>
                </a:lnTo>
                <a:lnTo>
                  <a:pt x="29761" y="32574"/>
                </a:lnTo>
                <a:lnTo>
                  <a:pt x="31497" y="37756"/>
                </a:lnTo>
                <a:lnTo>
                  <a:pt x="32489" y="42692"/>
                </a:lnTo>
                <a:lnTo>
                  <a:pt x="33481" y="48368"/>
                </a:lnTo>
                <a:lnTo>
                  <a:pt x="33977" y="53797"/>
                </a:lnTo>
                <a:lnTo>
                  <a:pt x="34225" y="59719"/>
                </a:lnTo>
                <a:lnTo>
                  <a:pt x="37697" y="59719"/>
                </a:lnTo>
                <a:lnTo>
                  <a:pt x="37449" y="53797"/>
                </a:lnTo>
                <a:lnTo>
                  <a:pt x="36953" y="47874"/>
                </a:lnTo>
                <a:lnTo>
                  <a:pt x="35961" y="42198"/>
                </a:lnTo>
                <a:lnTo>
                  <a:pt x="34969" y="36769"/>
                </a:lnTo>
                <a:lnTo>
                  <a:pt x="33233" y="31587"/>
                </a:lnTo>
                <a:lnTo>
                  <a:pt x="31249" y="26651"/>
                </a:lnTo>
                <a:lnTo>
                  <a:pt x="29265" y="22209"/>
                </a:lnTo>
                <a:lnTo>
                  <a:pt x="27033" y="17767"/>
                </a:lnTo>
                <a:lnTo>
                  <a:pt x="24305" y="14066"/>
                </a:lnTo>
                <a:lnTo>
                  <a:pt x="21328" y="10364"/>
                </a:lnTo>
                <a:lnTo>
                  <a:pt x="18104" y="7650"/>
                </a:lnTo>
                <a:lnTo>
                  <a:pt x="14880" y="4935"/>
                </a:lnTo>
                <a:lnTo>
                  <a:pt x="11408" y="2961"/>
                </a:lnTo>
                <a:lnTo>
                  <a:pt x="7688" y="1233"/>
                </a:lnTo>
                <a:lnTo>
                  <a:pt x="3968" y="246"/>
                </a:lnTo>
                <a:lnTo>
                  <a:pt x="0" y="0"/>
                </a:lnTo>
                <a:lnTo>
                  <a:pt x="0" y="3454"/>
                </a:lnTo>
                <a:lnTo>
                  <a:pt x="3472" y="3701"/>
                </a:lnTo>
                <a:close/>
              </a:path>
            </a:pathLst>
          </a:custGeom>
          <a:solidFill>
            <a:srgbClr val="000000"/>
          </a:solidFill>
        </p:spPr>
        <p:txBody>
          <a:bodyPr wrap="square" lIns="0" tIns="0" rIns="0" bIns="0" rtlCol="0">
            <a:noAutofit/>
          </a:bodyPr>
          <a:lstStyle/>
          <a:p>
            <a:endParaRPr/>
          </a:p>
        </p:txBody>
      </p:sp>
      <p:sp>
        <p:nvSpPr>
          <p:cNvPr id="1308" name="object 1308"/>
          <p:cNvSpPr/>
          <p:nvPr/>
        </p:nvSpPr>
        <p:spPr>
          <a:xfrm>
            <a:off x="9155002" y="1714434"/>
            <a:ext cx="37697" cy="59719"/>
          </a:xfrm>
          <a:custGeom>
            <a:avLst/>
            <a:gdLst/>
            <a:ahLst/>
            <a:cxnLst/>
            <a:rect l="l" t="t" r="r" b="b"/>
            <a:pathLst>
              <a:path w="37697" h="59719">
                <a:moveTo>
                  <a:pt x="3968" y="59472"/>
                </a:moveTo>
                <a:lnTo>
                  <a:pt x="7688" y="58485"/>
                </a:lnTo>
                <a:lnTo>
                  <a:pt x="11408" y="56758"/>
                </a:lnTo>
                <a:lnTo>
                  <a:pt x="14880" y="55030"/>
                </a:lnTo>
                <a:lnTo>
                  <a:pt x="18352" y="52316"/>
                </a:lnTo>
                <a:lnTo>
                  <a:pt x="21328" y="49355"/>
                </a:lnTo>
                <a:lnTo>
                  <a:pt x="24305" y="45653"/>
                </a:lnTo>
                <a:lnTo>
                  <a:pt x="27033" y="41951"/>
                </a:lnTo>
                <a:lnTo>
                  <a:pt x="29265" y="37756"/>
                </a:lnTo>
                <a:lnTo>
                  <a:pt x="31249" y="33067"/>
                </a:lnTo>
                <a:lnTo>
                  <a:pt x="33233" y="28132"/>
                </a:lnTo>
                <a:lnTo>
                  <a:pt x="34969" y="23196"/>
                </a:lnTo>
                <a:lnTo>
                  <a:pt x="35961" y="17521"/>
                </a:lnTo>
                <a:lnTo>
                  <a:pt x="36953" y="11845"/>
                </a:lnTo>
                <a:lnTo>
                  <a:pt x="37449" y="5922"/>
                </a:lnTo>
                <a:lnTo>
                  <a:pt x="37697" y="0"/>
                </a:lnTo>
                <a:lnTo>
                  <a:pt x="34225" y="0"/>
                </a:lnTo>
                <a:lnTo>
                  <a:pt x="33977" y="5922"/>
                </a:lnTo>
                <a:lnTo>
                  <a:pt x="33481" y="11351"/>
                </a:lnTo>
                <a:lnTo>
                  <a:pt x="32489" y="17027"/>
                </a:lnTo>
                <a:lnTo>
                  <a:pt x="31497" y="22209"/>
                </a:lnTo>
                <a:lnTo>
                  <a:pt x="29761" y="27145"/>
                </a:lnTo>
                <a:lnTo>
                  <a:pt x="28273" y="31587"/>
                </a:lnTo>
                <a:lnTo>
                  <a:pt x="26289" y="36276"/>
                </a:lnTo>
                <a:lnTo>
                  <a:pt x="24057" y="39977"/>
                </a:lnTo>
                <a:lnTo>
                  <a:pt x="21328" y="43679"/>
                </a:lnTo>
                <a:lnTo>
                  <a:pt x="18848" y="46887"/>
                </a:lnTo>
                <a:lnTo>
                  <a:pt x="15872" y="49848"/>
                </a:lnTo>
                <a:lnTo>
                  <a:pt x="12896" y="52069"/>
                </a:lnTo>
                <a:lnTo>
                  <a:pt x="9920" y="53797"/>
                </a:lnTo>
                <a:lnTo>
                  <a:pt x="6696" y="55030"/>
                </a:lnTo>
                <a:lnTo>
                  <a:pt x="3472" y="56018"/>
                </a:lnTo>
                <a:lnTo>
                  <a:pt x="0" y="56264"/>
                </a:lnTo>
                <a:lnTo>
                  <a:pt x="0" y="59719"/>
                </a:lnTo>
                <a:lnTo>
                  <a:pt x="3968" y="59472"/>
                </a:lnTo>
                <a:close/>
              </a:path>
            </a:pathLst>
          </a:custGeom>
          <a:solidFill>
            <a:srgbClr val="000000"/>
          </a:solidFill>
        </p:spPr>
        <p:txBody>
          <a:bodyPr wrap="square" lIns="0" tIns="0" rIns="0" bIns="0" rtlCol="0">
            <a:noAutofit/>
          </a:bodyPr>
          <a:lstStyle/>
          <a:p>
            <a:endParaRPr/>
          </a:p>
        </p:txBody>
      </p:sp>
      <p:sp>
        <p:nvSpPr>
          <p:cNvPr id="1309" name="object 1309"/>
          <p:cNvSpPr/>
          <p:nvPr/>
        </p:nvSpPr>
        <p:spPr>
          <a:xfrm>
            <a:off x="9117304" y="1714434"/>
            <a:ext cx="37697" cy="59719"/>
          </a:xfrm>
          <a:custGeom>
            <a:avLst/>
            <a:gdLst/>
            <a:ahLst/>
            <a:cxnLst/>
            <a:rect l="l" t="t" r="r" b="b"/>
            <a:pathLst>
              <a:path w="37697" h="59719">
                <a:moveTo>
                  <a:pt x="3472" y="0"/>
                </a:moveTo>
                <a:lnTo>
                  <a:pt x="0" y="0"/>
                </a:lnTo>
                <a:lnTo>
                  <a:pt x="248" y="5922"/>
                </a:lnTo>
                <a:lnTo>
                  <a:pt x="744" y="11845"/>
                </a:lnTo>
                <a:lnTo>
                  <a:pt x="1736" y="17521"/>
                </a:lnTo>
                <a:lnTo>
                  <a:pt x="2728" y="23196"/>
                </a:lnTo>
                <a:lnTo>
                  <a:pt x="4464" y="28132"/>
                </a:lnTo>
                <a:lnTo>
                  <a:pt x="6448" y="33067"/>
                </a:lnTo>
                <a:lnTo>
                  <a:pt x="8432" y="37756"/>
                </a:lnTo>
                <a:lnTo>
                  <a:pt x="10912" y="41951"/>
                </a:lnTo>
                <a:lnTo>
                  <a:pt x="13392" y="45653"/>
                </a:lnTo>
                <a:lnTo>
                  <a:pt x="16368" y="49355"/>
                </a:lnTo>
                <a:lnTo>
                  <a:pt x="19344" y="52316"/>
                </a:lnTo>
                <a:lnTo>
                  <a:pt x="22817" y="55030"/>
                </a:lnTo>
                <a:lnTo>
                  <a:pt x="26289" y="56758"/>
                </a:lnTo>
                <a:lnTo>
                  <a:pt x="30009" y="58485"/>
                </a:lnTo>
                <a:lnTo>
                  <a:pt x="33729" y="59472"/>
                </a:lnTo>
                <a:lnTo>
                  <a:pt x="37697" y="59719"/>
                </a:lnTo>
                <a:lnTo>
                  <a:pt x="37697" y="56264"/>
                </a:lnTo>
                <a:lnTo>
                  <a:pt x="34225" y="56018"/>
                </a:lnTo>
                <a:lnTo>
                  <a:pt x="31001" y="55030"/>
                </a:lnTo>
                <a:lnTo>
                  <a:pt x="27777" y="53797"/>
                </a:lnTo>
                <a:lnTo>
                  <a:pt x="24801" y="52069"/>
                </a:lnTo>
                <a:lnTo>
                  <a:pt x="21824" y="49848"/>
                </a:lnTo>
                <a:lnTo>
                  <a:pt x="18848" y="46887"/>
                </a:lnTo>
                <a:lnTo>
                  <a:pt x="16368" y="43679"/>
                </a:lnTo>
                <a:lnTo>
                  <a:pt x="13888" y="39977"/>
                </a:lnTo>
                <a:lnTo>
                  <a:pt x="11408" y="36276"/>
                </a:lnTo>
                <a:lnTo>
                  <a:pt x="9424" y="31587"/>
                </a:lnTo>
                <a:lnTo>
                  <a:pt x="7936" y="27145"/>
                </a:lnTo>
                <a:lnTo>
                  <a:pt x="6200" y="22209"/>
                </a:lnTo>
                <a:lnTo>
                  <a:pt x="5208" y="17027"/>
                </a:lnTo>
                <a:lnTo>
                  <a:pt x="4216" y="11351"/>
                </a:lnTo>
                <a:lnTo>
                  <a:pt x="3720" y="5922"/>
                </a:lnTo>
                <a:lnTo>
                  <a:pt x="3472" y="0"/>
                </a:lnTo>
                <a:close/>
              </a:path>
            </a:pathLst>
          </a:custGeom>
          <a:solidFill>
            <a:srgbClr val="000000"/>
          </a:solidFill>
        </p:spPr>
        <p:txBody>
          <a:bodyPr wrap="square" lIns="0" tIns="0" rIns="0" bIns="0" rtlCol="0">
            <a:noAutofit/>
          </a:bodyPr>
          <a:lstStyle/>
          <a:p>
            <a:endParaRPr/>
          </a:p>
        </p:txBody>
      </p:sp>
      <p:sp>
        <p:nvSpPr>
          <p:cNvPr id="1310" name="object 1310"/>
          <p:cNvSpPr/>
          <p:nvPr/>
        </p:nvSpPr>
        <p:spPr>
          <a:xfrm>
            <a:off x="9117304" y="1654714"/>
            <a:ext cx="37697" cy="59719"/>
          </a:xfrm>
          <a:custGeom>
            <a:avLst/>
            <a:gdLst/>
            <a:ahLst/>
            <a:cxnLst/>
            <a:rect l="l" t="t" r="r" b="b"/>
            <a:pathLst>
              <a:path w="37697" h="59719">
                <a:moveTo>
                  <a:pt x="4464" y="31587"/>
                </a:moveTo>
                <a:lnTo>
                  <a:pt x="2728" y="36769"/>
                </a:lnTo>
                <a:lnTo>
                  <a:pt x="1736" y="42198"/>
                </a:lnTo>
                <a:lnTo>
                  <a:pt x="744" y="47874"/>
                </a:lnTo>
                <a:lnTo>
                  <a:pt x="248" y="53797"/>
                </a:lnTo>
                <a:lnTo>
                  <a:pt x="0" y="59719"/>
                </a:lnTo>
                <a:lnTo>
                  <a:pt x="3472" y="59719"/>
                </a:lnTo>
                <a:lnTo>
                  <a:pt x="3720" y="53797"/>
                </a:lnTo>
                <a:lnTo>
                  <a:pt x="4216" y="48368"/>
                </a:lnTo>
                <a:lnTo>
                  <a:pt x="5208" y="42692"/>
                </a:lnTo>
                <a:lnTo>
                  <a:pt x="6200" y="37756"/>
                </a:lnTo>
                <a:lnTo>
                  <a:pt x="7936" y="32574"/>
                </a:lnTo>
                <a:lnTo>
                  <a:pt x="9424" y="28132"/>
                </a:lnTo>
                <a:lnTo>
                  <a:pt x="11408" y="23690"/>
                </a:lnTo>
                <a:lnTo>
                  <a:pt x="13888" y="19742"/>
                </a:lnTo>
                <a:lnTo>
                  <a:pt x="16368" y="16040"/>
                </a:lnTo>
                <a:lnTo>
                  <a:pt x="18848" y="12832"/>
                </a:lnTo>
                <a:lnTo>
                  <a:pt x="21576" y="10117"/>
                </a:lnTo>
                <a:lnTo>
                  <a:pt x="24801" y="7896"/>
                </a:lnTo>
                <a:lnTo>
                  <a:pt x="27777" y="5922"/>
                </a:lnTo>
                <a:lnTo>
                  <a:pt x="31001" y="4688"/>
                </a:lnTo>
                <a:lnTo>
                  <a:pt x="34225" y="3701"/>
                </a:lnTo>
                <a:lnTo>
                  <a:pt x="37697" y="3454"/>
                </a:lnTo>
                <a:lnTo>
                  <a:pt x="37697" y="0"/>
                </a:lnTo>
                <a:lnTo>
                  <a:pt x="33729" y="246"/>
                </a:lnTo>
                <a:lnTo>
                  <a:pt x="30009" y="1233"/>
                </a:lnTo>
                <a:lnTo>
                  <a:pt x="26289" y="2961"/>
                </a:lnTo>
                <a:lnTo>
                  <a:pt x="22817" y="4935"/>
                </a:lnTo>
                <a:lnTo>
                  <a:pt x="19592" y="7650"/>
                </a:lnTo>
                <a:lnTo>
                  <a:pt x="16368" y="10364"/>
                </a:lnTo>
                <a:lnTo>
                  <a:pt x="13392" y="14066"/>
                </a:lnTo>
                <a:lnTo>
                  <a:pt x="10912" y="17767"/>
                </a:lnTo>
                <a:lnTo>
                  <a:pt x="8432" y="22209"/>
                </a:lnTo>
                <a:lnTo>
                  <a:pt x="6448" y="26651"/>
                </a:lnTo>
                <a:lnTo>
                  <a:pt x="4464" y="31587"/>
                </a:lnTo>
                <a:close/>
              </a:path>
            </a:pathLst>
          </a:custGeom>
          <a:solidFill>
            <a:srgbClr val="000000"/>
          </a:solidFill>
        </p:spPr>
        <p:txBody>
          <a:bodyPr wrap="square" lIns="0" tIns="0" rIns="0" bIns="0" rtlCol="0">
            <a:noAutofit/>
          </a:bodyPr>
          <a:lstStyle/>
          <a:p>
            <a:endParaRPr/>
          </a:p>
        </p:txBody>
      </p:sp>
      <p:sp>
        <p:nvSpPr>
          <p:cNvPr id="1311" name="object 1311"/>
          <p:cNvSpPr/>
          <p:nvPr/>
        </p:nvSpPr>
        <p:spPr>
          <a:xfrm>
            <a:off x="9155498" y="1768476"/>
            <a:ext cx="24305" cy="3948"/>
          </a:xfrm>
          <a:custGeom>
            <a:avLst/>
            <a:gdLst/>
            <a:ahLst/>
            <a:cxnLst/>
            <a:rect l="l" t="t" r="r" b="b"/>
            <a:pathLst>
              <a:path w="24305" h="3948">
                <a:moveTo>
                  <a:pt x="24305" y="3948"/>
                </a:moveTo>
                <a:lnTo>
                  <a:pt x="11408" y="0"/>
                </a:lnTo>
                <a:lnTo>
                  <a:pt x="0" y="3948"/>
                </a:lnTo>
                <a:lnTo>
                  <a:pt x="24305" y="3948"/>
                </a:lnTo>
                <a:close/>
              </a:path>
            </a:pathLst>
          </a:custGeom>
          <a:solidFill>
            <a:srgbClr val="000000"/>
          </a:solidFill>
        </p:spPr>
        <p:txBody>
          <a:bodyPr wrap="square" lIns="0" tIns="0" rIns="0" bIns="0" rtlCol="0">
            <a:noAutofit/>
          </a:bodyPr>
          <a:lstStyle/>
          <a:p>
            <a:endParaRPr/>
          </a:p>
        </p:txBody>
      </p:sp>
      <p:sp>
        <p:nvSpPr>
          <p:cNvPr id="1312" name="object 1312"/>
          <p:cNvSpPr/>
          <p:nvPr/>
        </p:nvSpPr>
        <p:spPr>
          <a:xfrm>
            <a:off x="9154754" y="1656687"/>
            <a:ext cx="24057" cy="3948"/>
          </a:xfrm>
          <a:custGeom>
            <a:avLst/>
            <a:gdLst/>
            <a:ahLst/>
            <a:cxnLst/>
            <a:rect l="l" t="t" r="r" b="b"/>
            <a:pathLst>
              <a:path w="24057" h="3948">
                <a:moveTo>
                  <a:pt x="24057" y="0"/>
                </a:moveTo>
                <a:lnTo>
                  <a:pt x="0" y="0"/>
                </a:lnTo>
                <a:lnTo>
                  <a:pt x="12152" y="3948"/>
                </a:lnTo>
                <a:lnTo>
                  <a:pt x="24057" y="0"/>
                </a:lnTo>
                <a:close/>
              </a:path>
            </a:pathLst>
          </a:custGeom>
          <a:solidFill>
            <a:srgbClr val="000000"/>
          </a:solidFill>
        </p:spPr>
        <p:txBody>
          <a:bodyPr wrap="square" lIns="0" tIns="0" rIns="0" bIns="0" rtlCol="0">
            <a:noAutofit/>
          </a:bodyPr>
          <a:lstStyle/>
          <a:p>
            <a:endParaRPr/>
          </a:p>
        </p:txBody>
      </p:sp>
      <p:sp>
        <p:nvSpPr>
          <p:cNvPr id="1313" name="object 1313"/>
          <p:cNvSpPr/>
          <p:nvPr/>
        </p:nvSpPr>
        <p:spPr>
          <a:xfrm>
            <a:off x="9154754" y="1655454"/>
            <a:ext cx="25297" cy="2467"/>
          </a:xfrm>
          <a:custGeom>
            <a:avLst/>
            <a:gdLst/>
            <a:ahLst/>
            <a:cxnLst/>
            <a:rect l="l" t="t" r="r" b="b"/>
            <a:pathLst>
              <a:path w="25297" h="2467">
                <a:moveTo>
                  <a:pt x="23561" y="0"/>
                </a:moveTo>
                <a:lnTo>
                  <a:pt x="0" y="0"/>
                </a:lnTo>
                <a:lnTo>
                  <a:pt x="0" y="2467"/>
                </a:lnTo>
                <a:lnTo>
                  <a:pt x="24057" y="2467"/>
                </a:lnTo>
                <a:lnTo>
                  <a:pt x="24494" y="2177"/>
                </a:lnTo>
                <a:lnTo>
                  <a:pt x="24801" y="1974"/>
                </a:lnTo>
                <a:lnTo>
                  <a:pt x="25297" y="1233"/>
                </a:lnTo>
                <a:lnTo>
                  <a:pt x="24801" y="493"/>
                </a:lnTo>
                <a:lnTo>
                  <a:pt x="24057" y="0"/>
                </a:lnTo>
                <a:lnTo>
                  <a:pt x="23561" y="0"/>
                </a:lnTo>
                <a:close/>
              </a:path>
            </a:pathLst>
          </a:custGeom>
          <a:solidFill>
            <a:srgbClr val="000000"/>
          </a:solidFill>
        </p:spPr>
        <p:txBody>
          <a:bodyPr wrap="square" lIns="0" tIns="0" rIns="0" bIns="0" rtlCol="0">
            <a:noAutofit/>
          </a:bodyPr>
          <a:lstStyle/>
          <a:p>
            <a:endParaRPr/>
          </a:p>
        </p:txBody>
      </p:sp>
      <p:sp>
        <p:nvSpPr>
          <p:cNvPr id="1314" name="object 1314"/>
          <p:cNvSpPr/>
          <p:nvPr/>
        </p:nvSpPr>
        <p:spPr>
          <a:xfrm>
            <a:off x="9165666" y="1655453"/>
            <a:ext cx="12648" cy="6416"/>
          </a:xfrm>
          <a:custGeom>
            <a:avLst/>
            <a:gdLst/>
            <a:ahLst/>
            <a:cxnLst/>
            <a:rect l="l" t="t" r="r" b="b"/>
            <a:pathLst>
              <a:path w="12648" h="6416">
                <a:moveTo>
                  <a:pt x="744" y="3948"/>
                </a:moveTo>
                <a:lnTo>
                  <a:pt x="0" y="4688"/>
                </a:lnTo>
                <a:lnTo>
                  <a:pt x="248" y="5429"/>
                </a:lnTo>
                <a:lnTo>
                  <a:pt x="744" y="6416"/>
                </a:lnTo>
                <a:lnTo>
                  <a:pt x="1736" y="6416"/>
                </a:lnTo>
                <a:lnTo>
                  <a:pt x="1736" y="3948"/>
                </a:lnTo>
                <a:lnTo>
                  <a:pt x="12648" y="0"/>
                </a:lnTo>
                <a:lnTo>
                  <a:pt x="744" y="3948"/>
                </a:lnTo>
                <a:close/>
              </a:path>
            </a:pathLst>
          </a:custGeom>
          <a:solidFill>
            <a:srgbClr val="000000"/>
          </a:solidFill>
        </p:spPr>
        <p:txBody>
          <a:bodyPr wrap="square" lIns="0" tIns="0" rIns="0" bIns="0" rtlCol="0">
            <a:noAutofit/>
          </a:bodyPr>
          <a:lstStyle/>
          <a:p>
            <a:endParaRPr/>
          </a:p>
        </p:txBody>
      </p:sp>
      <p:sp>
        <p:nvSpPr>
          <p:cNvPr id="1315" name="object 1315"/>
          <p:cNvSpPr/>
          <p:nvPr/>
        </p:nvSpPr>
        <p:spPr>
          <a:xfrm>
            <a:off x="9167402" y="1655453"/>
            <a:ext cx="11904" cy="6416"/>
          </a:xfrm>
          <a:custGeom>
            <a:avLst/>
            <a:gdLst/>
            <a:ahLst/>
            <a:cxnLst/>
            <a:rect l="l" t="t" r="r" b="b"/>
            <a:pathLst>
              <a:path w="11904" h="6416">
                <a:moveTo>
                  <a:pt x="0" y="3948"/>
                </a:moveTo>
                <a:lnTo>
                  <a:pt x="0" y="6416"/>
                </a:lnTo>
                <a:lnTo>
                  <a:pt x="11904" y="2467"/>
                </a:lnTo>
                <a:lnTo>
                  <a:pt x="10912" y="0"/>
                </a:lnTo>
                <a:lnTo>
                  <a:pt x="0" y="3948"/>
                </a:lnTo>
                <a:close/>
              </a:path>
            </a:pathLst>
          </a:custGeom>
          <a:solidFill>
            <a:srgbClr val="000000"/>
          </a:solidFill>
        </p:spPr>
        <p:txBody>
          <a:bodyPr wrap="square" lIns="0" tIns="0" rIns="0" bIns="0" rtlCol="0">
            <a:noAutofit/>
          </a:bodyPr>
          <a:lstStyle/>
          <a:p>
            <a:endParaRPr/>
          </a:p>
        </p:txBody>
      </p:sp>
      <p:sp>
        <p:nvSpPr>
          <p:cNvPr id="1316" name="object 1316"/>
          <p:cNvSpPr/>
          <p:nvPr/>
        </p:nvSpPr>
        <p:spPr>
          <a:xfrm>
            <a:off x="9153513" y="1655453"/>
            <a:ext cx="12896" cy="6416"/>
          </a:xfrm>
          <a:custGeom>
            <a:avLst/>
            <a:gdLst/>
            <a:ahLst/>
            <a:cxnLst/>
            <a:rect l="l" t="t" r="r" b="b"/>
            <a:pathLst>
              <a:path w="12896" h="6416">
                <a:moveTo>
                  <a:pt x="744" y="2467"/>
                </a:moveTo>
                <a:lnTo>
                  <a:pt x="12896" y="6416"/>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1317" name="object 1317"/>
          <p:cNvSpPr/>
          <p:nvPr/>
        </p:nvSpPr>
        <p:spPr>
          <a:xfrm>
            <a:off x="9154753" y="1655453"/>
            <a:ext cx="12648" cy="6416"/>
          </a:xfrm>
          <a:custGeom>
            <a:avLst/>
            <a:gdLst/>
            <a:ahLst/>
            <a:cxnLst/>
            <a:rect l="l" t="t" r="r" b="b"/>
            <a:pathLst>
              <a:path w="12648" h="6416">
                <a:moveTo>
                  <a:pt x="496" y="0"/>
                </a:moveTo>
                <a:lnTo>
                  <a:pt x="0" y="0"/>
                </a:lnTo>
                <a:lnTo>
                  <a:pt x="0" y="2467"/>
                </a:lnTo>
                <a:lnTo>
                  <a:pt x="11656" y="6416"/>
                </a:lnTo>
                <a:lnTo>
                  <a:pt x="12648" y="3948"/>
                </a:lnTo>
                <a:lnTo>
                  <a:pt x="496" y="0"/>
                </a:lnTo>
                <a:close/>
              </a:path>
            </a:pathLst>
          </a:custGeom>
          <a:solidFill>
            <a:srgbClr val="000000"/>
          </a:solidFill>
        </p:spPr>
        <p:txBody>
          <a:bodyPr wrap="square" lIns="0" tIns="0" rIns="0" bIns="0" rtlCol="0">
            <a:noAutofit/>
          </a:bodyPr>
          <a:lstStyle/>
          <a:p>
            <a:endParaRPr/>
          </a:p>
        </p:txBody>
      </p:sp>
      <p:sp>
        <p:nvSpPr>
          <p:cNvPr id="1318" name="object 1318"/>
          <p:cNvSpPr/>
          <p:nvPr/>
        </p:nvSpPr>
        <p:spPr>
          <a:xfrm>
            <a:off x="9155498" y="1771192"/>
            <a:ext cx="25545" cy="2467"/>
          </a:xfrm>
          <a:custGeom>
            <a:avLst/>
            <a:gdLst/>
            <a:ahLst/>
            <a:cxnLst/>
            <a:rect l="l" t="t" r="r" b="b"/>
            <a:pathLst>
              <a:path w="25545" h="2467">
                <a:moveTo>
                  <a:pt x="25545" y="1233"/>
                </a:moveTo>
                <a:lnTo>
                  <a:pt x="25049" y="493"/>
                </a:lnTo>
                <a:lnTo>
                  <a:pt x="24537" y="154"/>
                </a:lnTo>
                <a:lnTo>
                  <a:pt x="24305" y="0"/>
                </a:lnTo>
                <a:lnTo>
                  <a:pt x="0" y="0"/>
                </a:lnTo>
                <a:lnTo>
                  <a:pt x="0" y="2467"/>
                </a:lnTo>
                <a:lnTo>
                  <a:pt x="24305" y="2467"/>
                </a:lnTo>
                <a:lnTo>
                  <a:pt x="25049" y="1974"/>
                </a:lnTo>
                <a:lnTo>
                  <a:pt x="25545" y="1233"/>
                </a:lnTo>
                <a:close/>
              </a:path>
            </a:pathLst>
          </a:custGeom>
          <a:solidFill>
            <a:srgbClr val="000000"/>
          </a:solidFill>
        </p:spPr>
        <p:txBody>
          <a:bodyPr wrap="square" lIns="0" tIns="0" rIns="0" bIns="0" rtlCol="0">
            <a:noAutofit/>
          </a:bodyPr>
          <a:lstStyle/>
          <a:p>
            <a:endParaRPr/>
          </a:p>
        </p:txBody>
      </p:sp>
      <p:sp>
        <p:nvSpPr>
          <p:cNvPr id="1319" name="object 1319"/>
          <p:cNvSpPr/>
          <p:nvPr/>
        </p:nvSpPr>
        <p:spPr>
          <a:xfrm>
            <a:off x="9166658" y="1769710"/>
            <a:ext cx="12896" cy="3948"/>
          </a:xfrm>
          <a:custGeom>
            <a:avLst/>
            <a:gdLst/>
            <a:ahLst/>
            <a:cxnLst/>
            <a:rect l="l" t="t" r="r" b="b"/>
            <a:pathLst>
              <a:path w="12896" h="3948">
                <a:moveTo>
                  <a:pt x="12896" y="3948"/>
                </a:moveTo>
                <a:lnTo>
                  <a:pt x="744" y="0"/>
                </a:lnTo>
                <a:lnTo>
                  <a:pt x="0" y="0"/>
                </a:lnTo>
                <a:lnTo>
                  <a:pt x="12896" y="3948"/>
                </a:lnTo>
                <a:close/>
              </a:path>
            </a:pathLst>
          </a:custGeom>
          <a:solidFill>
            <a:srgbClr val="000000"/>
          </a:solidFill>
        </p:spPr>
        <p:txBody>
          <a:bodyPr wrap="square" lIns="0" tIns="0" rIns="0" bIns="0" rtlCol="0">
            <a:noAutofit/>
          </a:bodyPr>
          <a:lstStyle/>
          <a:p>
            <a:endParaRPr/>
          </a:p>
        </p:txBody>
      </p:sp>
      <p:sp>
        <p:nvSpPr>
          <p:cNvPr id="1320" name="object 1320"/>
          <p:cNvSpPr/>
          <p:nvPr/>
        </p:nvSpPr>
        <p:spPr>
          <a:xfrm>
            <a:off x="9165914" y="1767243"/>
            <a:ext cx="14136" cy="6416"/>
          </a:xfrm>
          <a:custGeom>
            <a:avLst/>
            <a:gdLst/>
            <a:ahLst/>
            <a:cxnLst/>
            <a:rect l="l" t="t" r="r" b="b"/>
            <a:pathLst>
              <a:path w="14136" h="6416">
                <a:moveTo>
                  <a:pt x="13640" y="6416"/>
                </a:moveTo>
                <a:lnTo>
                  <a:pt x="14136" y="3948"/>
                </a:lnTo>
                <a:lnTo>
                  <a:pt x="1240" y="0"/>
                </a:lnTo>
                <a:lnTo>
                  <a:pt x="248" y="246"/>
                </a:lnTo>
                <a:lnTo>
                  <a:pt x="0" y="987"/>
                </a:lnTo>
                <a:lnTo>
                  <a:pt x="0" y="1974"/>
                </a:lnTo>
                <a:lnTo>
                  <a:pt x="744" y="2467"/>
                </a:lnTo>
                <a:lnTo>
                  <a:pt x="1488" y="2467"/>
                </a:lnTo>
                <a:lnTo>
                  <a:pt x="13640" y="6416"/>
                </a:lnTo>
                <a:close/>
              </a:path>
            </a:pathLst>
          </a:custGeom>
          <a:solidFill>
            <a:srgbClr val="000000"/>
          </a:solidFill>
        </p:spPr>
        <p:txBody>
          <a:bodyPr wrap="square" lIns="0" tIns="0" rIns="0" bIns="0" rtlCol="0">
            <a:noAutofit/>
          </a:bodyPr>
          <a:lstStyle/>
          <a:p>
            <a:endParaRPr/>
          </a:p>
        </p:txBody>
      </p:sp>
      <p:sp>
        <p:nvSpPr>
          <p:cNvPr id="1321" name="object 1321"/>
          <p:cNvSpPr/>
          <p:nvPr/>
        </p:nvSpPr>
        <p:spPr>
          <a:xfrm>
            <a:off x="9155001" y="1767243"/>
            <a:ext cx="11408" cy="3948"/>
          </a:xfrm>
          <a:custGeom>
            <a:avLst/>
            <a:gdLst/>
            <a:ahLst/>
            <a:cxnLst/>
            <a:rect l="l" t="t" r="r" b="b"/>
            <a:pathLst>
              <a:path w="11408" h="3948">
                <a:moveTo>
                  <a:pt x="0" y="3948"/>
                </a:moveTo>
                <a:lnTo>
                  <a:pt x="496" y="3948"/>
                </a:lnTo>
                <a:lnTo>
                  <a:pt x="11408" y="0"/>
                </a:lnTo>
                <a:lnTo>
                  <a:pt x="0" y="3948"/>
                </a:lnTo>
                <a:close/>
              </a:path>
            </a:pathLst>
          </a:custGeom>
          <a:solidFill>
            <a:srgbClr val="000000"/>
          </a:solidFill>
        </p:spPr>
        <p:txBody>
          <a:bodyPr wrap="square" lIns="0" tIns="0" rIns="0" bIns="0" rtlCol="0">
            <a:noAutofit/>
          </a:bodyPr>
          <a:lstStyle/>
          <a:p>
            <a:endParaRPr/>
          </a:p>
        </p:txBody>
      </p:sp>
      <p:sp>
        <p:nvSpPr>
          <p:cNvPr id="1322" name="object 1322"/>
          <p:cNvSpPr/>
          <p:nvPr/>
        </p:nvSpPr>
        <p:spPr>
          <a:xfrm>
            <a:off x="9154257" y="1767243"/>
            <a:ext cx="13144" cy="6416"/>
          </a:xfrm>
          <a:custGeom>
            <a:avLst/>
            <a:gdLst/>
            <a:ahLst/>
            <a:cxnLst/>
            <a:rect l="l" t="t" r="r" b="b"/>
            <a:pathLst>
              <a:path w="13144" h="6416">
                <a:moveTo>
                  <a:pt x="248" y="5429"/>
                </a:moveTo>
                <a:lnTo>
                  <a:pt x="744" y="6416"/>
                </a:lnTo>
                <a:lnTo>
                  <a:pt x="1736" y="6416"/>
                </a:lnTo>
                <a:lnTo>
                  <a:pt x="13144" y="2467"/>
                </a:lnTo>
                <a:lnTo>
                  <a:pt x="12152" y="0"/>
                </a:lnTo>
                <a:lnTo>
                  <a:pt x="1240" y="3948"/>
                </a:lnTo>
                <a:lnTo>
                  <a:pt x="744" y="3948"/>
                </a:lnTo>
                <a:lnTo>
                  <a:pt x="0" y="4688"/>
                </a:lnTo>
                <a:lnTo>
                  <a:pt x="248" y="5429"/>
                </a:lnTo>
                <a:close/>
              </a:path>
            </a:pathLst>
          </a:custGeom>
          <a:solidFill>
            <a:srgbClr val="000000"/>
          </a:solidFill>
        </p:spPr>
        <p:txBody>
          <a:bodyPr wrap="square" lIns="0" tIns="0" rIns="0" bIns="0" rtlCol="0">
            <a:noAutofit/>
          </a:bodyPr>
          <a:lstStyle/>
          <a:p>
            <a:endParaRPr/>
          </a:p>
        </p:txBody>
      </p:sp>
      <p:sp>
        <p:nvSpPr>
          <p:cNvPr id="1323" name="object 1323"/>
          <p:cNvSpPr/>
          <p:nvPr/>
        </p:nvSpPr>
        <p:spPr>
          <a:xfrm>
            <a:off x="9142850" y="1656440"/>
            <a:ext cx="71923" cy="115984"/>
          </a:xfrm>
          <a:custGeom>
            <a:avLst/>
            <a:gdLst/>
            <a:ahLst/>
            <a:cxnLst/>
            <a:rect l="l" t="t" r="r" b="b"/>
            <a:pathLst>
              <a:path w="71923" h="115984">
                <a:moveTo>
                  <a:pt x="35961" y="0"/>
                </a:moveTo>
                <a:lnTo>
                  <a:pt x="32241" y="246"/>
                </a:lnTo>
                <a:lnTo>
                  <a:pt x="28769" y="1233"/>
                </a:lnTo>
                <a:lnTo>
                  <a:pt x="22072" y="4688"/>
                </a:lnTo>
                <a:lnTo>
                  <a:pt x="18848" y="7156"/>
                </a:lnTo>
                <a:lnTo>
                  <a:pt x="15872" y="9871"/>
                </a:lnTo>
                <a:lnTo>
                  <a:pt x="13144" y="13325"/>
                </a:lnTo>
                <a:lnTo>
                  <a:pt x="10664" y="17027"/>
                </a:lnTo>
                <a:lnTo>
                  <a:pt x="8184" y="21222"/>
                </a:lnTo>
                <a:lnTo>
                  <a:pt x="6200" y="25664"/>
                </a:lnTo>
                <a:lnTo>
                  <a:pt x="4464" y="30353"/>
                </a:lnTo>
                <a:lnTo>
                  <a:pt x="2728" y="35535"/>
                </a:lnTo>
                <a:lnTo>
                  <a:pt x="1736" y="40717"/>
                </a:lnTo>
                <a:lnTo>
                  <a:pt x="744" y="46393"/>
                </a:lnTo>
                <a:lnTo>
                  <a:pt x="248" y="52069"/>
                </a:lnTo>
                <a:lnTo>
                  <a:pt x="0" y="57992"/>
                </a:lnTo>
                <a:lnTo>
                  <a:pt x="248" y="63914"/>
                </a:lnTo>
                <a:lnTo>
                  <a:pt x="744" y="69590"/>
                </a:lnTo>
                <a:lnTo>
                  <a:pt x="1736" y="75266"/>
                </a:lnTo>
                <a:lnTo>
                  <a:pt x="2728" y="80695"/>
                </a:lnTo>
                <a:lnTo>
                  <a:pt x="4464" y="85631"/>
                </a:lnTo>
                <a:lnTo>
                  <a:pt x="6200" y="90319"/>
                </a:lnTo>
                <a:lnTo>
                  <a:pt x="8184" y="95008"/>
                </a:lnTo>
                <a:lnTo>
                  <a:pt x="10664" y="98957"/>
                </a:lnTo>
                <a:lnTo>
                  <a:pt x="13144" y="102658"/>
                </a:lnTo>
                <a:lnTo>
                  <a:pt x="15872" y="106113"/>
                </a:lnTo>
                <a:lnTo>
                  <a:pt x="18848" y="109074"/>
                </a:lnTo>
                <a:lnTo>
                  <a:pt x="22072" y="111542"/>
                </a:lnTo>
                <a:lnTo>
                  <a:pt x="28769" y="114750"/>
                </a:lnTo>
                <a:lnTo>
                  <a:pt x="35961" y="115984"/>
                </a:lnTo>
                <a:lnTo>
                  <a:pt x="39681" y="115737"/>
                </a:lnTo>
                <a:lnTo>
                  <a:pt x="46626" y="113270"/>
                </a:lnTo>
                <a:lnTo>
                  <a:pt x="53074" y="109074"/>
                </a:lnTo>
                <a:lnTo>
                  <a:pt x="56050" y="106113"/>
                </a:lnTo>
                <a:lnTo>
                  <a:pt x="58778" y="102658"/>
                </a:lnTo>
                <a:lnTo>
                  <a:pt x="61506" y="98957"/>
                </a:lnTo>
                <a:lnTo>
                  <a:pt x="63738" y="95008"/>
                </a:lnTo>
                <a:lnTo>
                  <a:pt x="65722" y="90319"/>
                </a:lnTo>
                <a:lnTo>
                  <a:pt x="67459" y="85631"/>
                </a:lnTo>
                <a:lnTo>
                  <a:pt x="69195" y="80695"/>
                </a:lnTo>
                <a:lnTo>
                  <a:pt x="70187" y="75266"/>
                </a:lnTo>
                <a:lnTo>
                  <a:pt x="71179" y="69590"/>
                </a:lnTo>
                <a:lnTo>
                  <a:pt x="71675" y="63914"/>
                </a:lnTo>
                <a:lnTo>
                  <a:pt x="71923" y="57992"/>
                </a:lnTo>
                <a:lnTo>
                  <a:pt x="71675" y="52069"/>
                </a:lnTo>
                <a:lnTo>
                  <a:pt x="71179" y="46393"/>
                </a:lnTo>
                <a:lnTo>
                  <a:pt x="70187" y="40717"/>
                </a:lnTo>
                <a:lnTo>
                  <a:pt x="69195" y="35535"/>
                </a:lnTo>
                <a:lnTo>
                  <a:pt x="67459" y="30353"/>
                </a:lnTo>
                <a:lnTo>
                  <a:pt x="65722" y="25664"/>
                </a:lnTo>
                <a:lnTo>
                  <a:pt x="63738" y="21222"/>
                </a:lnTo>
                <a:lnTo>
                  <a:pt x="61506" y="17027"/>
                </a:lnTo>
                <a:lnTo>
                  <a:pt x="58778" y="13325"/>
                </a:lnTo>
                <a:lnTo>
                  <a:pt x="56050" y="9871"/>
                </a:lnTo>
                <a:lnTo>
                  <a:pt x="53074" y="7156"/>
                </a:lnTo>
                <a:lnTo>
                  <a:pt x="49850" y="4688"/>
                </a:lnTo>
                <a:lnTo>
                  <a:pt x="43153" y="1233"/>
                </a:lnTo>
                <a:lnTo>
                  <a:pt x="39681" y="246"/>
                </a:lnTo>
                <a:lnTo>
                  <a:pt x="35961" y="0"/>
                </a:lnTo>
                <a:close/>
              </a:path>
            </a:pathLst>
          </a:custGeom>
          <a:solidFill>
            <a:srgbClr val="000000"/>
          </a:solidFill>
        </p:spPr>
        <p:txBody>
          <a:bodyPr wrap="square" lIns="0" tIns="0" rIns="0" bIns="0" rtlCol="0">
            <a:noAutofit/>
          </a:bodyPr>
          <a:lstStyle/>
          <a:p>
            <a:endParaRPr/>
          </a:p>
        </p:txBody>
      </p:sp>
      <p:sp>
        <p:nvSpPr>
          <p:cNvPr id="1324" name="object 1324"/>
          <p:cNvSpPr/>
          <p:nvPr/>
        </p:nvSpPr>
        <p:spPr>
          <a:xfrm>
            <a:off x="9178811" y="1654714"/>
            <a:ext cx="37697" cy="59719"/>
          </a:xfrm>
          <a:custGeom>
            <a:avLst/>
            <a:gdLst/>
            <a:ahLst/>
            <a:cxnLst/>
            <a:rect l="l" t="t" r="r" b="b"/>
            <a:pathLst>
              <a:path w="37697" h="59719">
                <a:moveTo>
                  <a:pt x="3472" y="3701"/>
                </a:moveTo>
                <a:lnTo>
                  <a:pt x="6696" y="4688"/>
                </a:lnTo>
                <a:lnTo>
                  <a:pt x="9920" y="5922"/>
                </a:lnTo>
                <a:lnTo>
                  <a:pt x="12896" y="7896"/>
                </a:lnTo>
                <a:lnTo>
                  <a:pt x="16120" y="10117"/>
                </a:lnTo>
                <a:lnTo>
                  <a:pt x="18848" y="12832"/>
                </a:lnTo>
                <a:lnTo>
                  <a:pt x="21328" y="16040"/>
                </a:lnTo>
                <a:lnTo>
                  <a:pt x="24057" y="19742"/>
                </a:lnTo>
                <a:lnTo>
                  <a:pt x="26289" y="23690"/>
                </a:lnTo>
                <a:lnTo>
                  <a:pt x="28273" y="28132"/>
                </a:lnTo>
                <a:lnTo>
                  <a:pt x="29761" y="32574"/>
                </a:lnTo>
                <a:lnTo>
                  <a:pt x="31497" y="37756"/>
                </a:lnTo>
                <a:lnTo>
                  <a:pt x="32489" y="42692"/>
                </a:lnTo>
                <a:lnTo>
                  <a:pt x="33481" y="48368"/>
                </a:lnTo>
                <a:lnTo>
                  <a:pt x="33977" y="53797"/>
                </a:lnTo>
                <a:lnTo>
                  <a:pt x="34225" y="59719"/>
                </a:lnTo>
                <a:lnTo>
                  <a:pt x="37697" y="59719"/>
                </a:lnTo>
                <a:lnTo>
                  <a:pt x="37449" y="53797"/>
                </a:lnTo>
                <a:lnTo>
                  <a:pt x="36953" y="47874"/>
                </a:lnTo>
                <a:lnTo>
                  <a:pt x="35961" y="42198"/>
                </a:lnTo>
                <a:lnTo>
                  <a:pt x="34969" y="36769"/>
                </a:lnTo>
                <a:lnTo>
                  <a:pt x="33233" y="31587"/>
                </a:lnTo>
                <a:lnTo>
                  <a:pt x="31249" y="26651"/>
                </a:lnTo>
                <a:lnTo>
                  <a:pt x="29265" y="22209"/>
                </a:lnTo>
                <a:lnTo>
                  <a:pt x="27033" y="17767"/>
                </a:lnTo>
                <a:lnTo>
                  <a:pt x="24305" y="14066"/>
                </a:lnTo>
                <a:lnTo>
                  <a:pt x="21328" y="10364"/>
                </a:lnTo>
                <a:lnTo>
                  <a:pt x="18104" y="7650"/>
                </a:lnTo>
                <a:lnTo>
                  <a:pt x="14880" y="4935"/>
                </a:lnTo>
                <a:lnTo>
                  <a:pt x="11408" y="2961"/>
                </a:lnTo>
                <a:lnTo>
                  <a:pt x="7688" y="1233"/>
                </a:lnTo>
                <a:lnTo>
                  <a:pt x="3968" y="246"/>
                </a:lnTo>
                <a:lnTo>
                  <a:pt x="0" y="0"/>
                </a:lnTo>
                <a:lnTo>
                  <a:pt x="0" y="3454"/>
                </a:lnTo>
                <a:lnTo>
                  <a:pt x="3472" y="3701"/>
                </a:lnTo>
                <a:close/>
              </a:path>
            </a:pathLst>
          </a:custGeom>
          <a:solidFill>
            <a:srgbClr val="000000"/>
          </a:solidFill>
        </p:spPr>
        <p:txBody>
          <a:bodyPr wrap="square" lIns="0" tIns="0" rIns="0" bIns="0" rtlCol="0">
            <a:noAutofit/>
          </a:bodyPr>
          <a:lstStyle/>
          <a:p>
            <a:endParaRPr/>
          </a:p>
        </p:txBody>
      </p:sp>
      <p:sp>
        <p:nvSpPr>
          <p:cNvPr id="1325" name="object 1325"/>
          <p:cNvSpPr/>
          <p:nvPr/>
        </p:nvSpPr>
        <p:spPr>
          <a:xfrm>
            <a:off x="9178811" y="1714434"/>
            <a:ext cx="37697" cy="59719"/>
          </a:xfrm>
          <a:custGeom>
            <a:avLst/>
            <a:gdLst/>
            <a:ahLst/>
            <a:cxnLst/>
            <a:rect l="l" t="t" r="r" b="b"/>
            <a:pathLst>
              <a:path w="37697" h="59719">
                <a:moveTo>
                  <a:pt x="3968" y="59472"/>
                </a:moveTo>
                <a:lnTo>
                  <a:pt x="7688" y="58485"/>
                </a:lnTo>
                <a:lnTo>
                  <a:pt x="11408" y="56758"/>
                </a:lnTo>
                <a:lnTo>
                  <a:pt x="14880" y="55030"/>
                </a:lnTo>
                <a:lnTo>
                  <a:pt x="18352" y="52316"/>
                </a:lnTo>
                <a:lnTo>
                  <a:pt x="21328" y="49355"/>
                </a:lnTo>
                <a:lnTo>
                  <a:pt x="24305" y="45653"/>
                </a:lnTo>
                <a:lnTo>
                  <a:pt x="27033" y="41951"/>
                </a:lnTo>
                <a:lnTo>
                  <a:pt x="29265" y="37756"/>
                </a:lnTo>
                <a:lnTo>
                  <a:pt x="31249" y="33067"/>
                </a:lnTo>
                <a:lnTo>
                  <a:pt x="33233" y="28132"/>
                </a:lnTo>
                <a:lnTo>
                  <a:pt x="34969" y="23196"/>
                </a:lnTo>
                <a:lnTo>
                  <a:pt x="35961" y="17521"/>
                </a:lnTo>
                <a:lnTo>
                  <a:pt x="36953" y="11845"/>
                </a:lnTo>
                <a:lnTo>
                  <a:pt x="37449" y="5922"/>
                </a:lnTo>
                <a:lnTo>
                  <a:pt x="37697" y="0"/>
                </a:lnTo>
                <a:lnTo>
                  <a:pt x="34225" y="0"/>
                </a:lnTo>
                <a:lnTo>
                  <a:pt x="33977" y="5922"/>
                </a:lnTo>
                <a:lnTo>
                  <a:pt x="33481" y="11351"/>
                </a:lnTo>
                <a:lnTo>
                  <a:pt x="32489" y="17027"/>
                </a:lnTo>
                <a:lnTo>
                  <a:pt x="31497" y="22209"/>
                </a:lnTo>
                <a:lnTo>
                  <a:pt x="29761" y="27145"/>
                </a:lnTo>
                <a:lnTo>
                  <a:pt x="28273" y="31587"/>
                </a:lnTo>
                <a:lnTo>
                  <a:pt x="26289" y="36276"/>
                </a:lnTo>
                <a:lnTo>
                  <a:pt x="24057" y="39977"/>
                </a:lnTo>
                <a:lnTo>
                  <a:pt x="21328" y="43679"/>
                </a:lnTo>
                <a:lnTo>
                  <a:pt x="18848" y="46887"/>
                </a:lnTo>
                <a:lnTo>
                  <a:pt x="15872" y="49848"/>
                </a:lnTo>
                <a:lnTo>
                  <a:pt x="12896" y="52069"/>
                </a:lnTo>
                <a:lnTo>
                  <a:pt x="9920" y="53797"/>
                </a:lnTo>
                <a:lnTo>
                  <a:pt x="6696" y="55030"/>
                </a:lnTo>
                <a:lnTo>
                  <a:pt x="3472" y="56018"/>
                </a:lnTo>
                <a:lnTo>
                  <a:pt x="0" y="56264"/>
                </a:lnTo>
                <a:lnTo>
                  <a:pt x="0" y="59719"/>
                </a:lnTo>
                <a:lnTo>
                  <a:pt x="3968" y="59472"/>
                </a:lnTo>
                <a:close/>
              </a:path>
            </a:pathLst>
          </a:custGeom>
          <a:solidFill>
            <a:srgbClr val="000000"/>
          </a:solidFill>
        </p:spPr>
        <p:txBody>
          <a:bodyPr wrap="square" lIns="0" tIns="0" rIns="0" bIns="0" rtlCol="0">
            <a:noAutofit/>
          </a:bodyPr>
          <a:lstStyle/>
          <a:p>
            <a:endParaRPr/>
          </a:p>
        </p:txBody>
      </p:sp>
      <p:sp>
        <p:nvSpPr>
          <p:cNvPr id="1326" name="object 1326"/>
          <p:cNvSpPr/>
          <p:nvPr/>
        </p:nvSpPr>
        <p:spPr>
          <a:xfrm>
            <a:off x="9141113" y="1714434"/>
            <a:ext cx="37697" cy="59719"/>
          </a:xfrm>
          <a:custGeom>
            <a:avLst/>
            <a:gdLst/>
            <a:ahLst/>
            <a:cxnLst/>
            <a:rect l="l" t="t" r="r" b="b"/>
            <a:pathLst>
              <a:path w="37697" h="59719">
                <a:moveTo>
                  <a:pt x="3472" y="0"/>
                </a:moveTo>
                <a:lnTo>
                  <a:pt x="0" y="0"/>
                </a:lnTo>
                <a:lnTo>
                  <a:pt x="248" y="5922"/>
                </a:lnTo>
                <a:lnTo>
                  <a:pt x="744" y="11845"/>
                </a:lnTo>
                <a:lnTo>
                  <a:pt x="1736" y="17521"/>
                </a:lnTo>
                <a:lnTo>
                  <a:pt x="2728" y="23196"/>
                </a:lnTo>
                <a:lnTo>
                  <a:pt x="4464" y="28132"/>
                </a:lnTo>
                <a:lnTo>
                  <a:pt x="6448" y="33067"/>
                </a:lnTo>
                <a:lnTo>
                  <a:pt x="8432" y="37756"/>
                </a:lnTo>
                <a:lnTo>
                  <a:pt x="10912" y="41951"/>
                </a:lnTo>
                <a:lnTo>
                  <a:pt x="13392" y="45653"/>
                </a:lnTo>
                <a:lnTo>
                  <a:pt x="16368" y="49355"/>
                </a:lnTo>
                <a:lnTo>
                  <a:pt x="19344" y="52316"/>
                </a:lnTo>
                <a:lnTo>
                  <a:pt x="22817" y="55030"/>
                </a:lnTo>
                <a:lnTo>
                  <a:pt x="26289" y="56758"/>
                </a:lnTo>
                <a:lnTo>
                  <a:pt x="30009" y="58485"/>
                </a:lnTo>
                <a:lnTo>
                  <a:pt x="33729" y="59472"/>
                </a:lnTo>
                <a:lnTo>
                  <a:pt x="37697" y="59719"/>
                </a:lnTo>
                <a:lnTo>
                  <a:pt x="37697" y="56264"/>
                </a:lnTo>
                <a:lnTo>
                  <a:pt x="34225" y="56018"/>
                </a:lnTo>
                <a:lnTo>
                  <a:pt x="31001" y="55030"/>
                </a:lnTo>
                <a:lnTo>
                  <a:pt x="27777" y="53797"/>
                </a:lnTo>
                <a:lnTo>
                  <a:pt x="24801" y="52069"/>
                </a:lnTo>
                <a:lnTo>
                  <a:pt x="21824" y="49848"/>
                </a:lnTo>
                <a:lnTo>
                  <a:pt x="18848" y="46887"/>
                </a:lnTo>
                <a:lnTo>
                  <a:pt x="16368" y="43679"/>
                </a:lnTo>
                <a:lnTo>
                  <a:pt x="13888" y="39977"/>
                </a:lnTo>
                <a:lnTo>
                  <a:pt x="11408" y="36276"/>
                </a:lnTo>
                <a:lnTo>
                  <a:pt x="9424" y="31587"/>
                </a:lnTo>
                <a:lnTo>
                  <a:pt x="7936" y="27145"/>
                </a:lnTo>
                <a:lnTo>
                  <a:pt x="6200" y="22209"/>
                </a:lnTo>
                <a:lnTo>
                  <a:pt x="5208" y="17027"/>
                </a:lnTo>
                <a:lnTo>
                  <a:pt x="4216" y="11351"/>
                </a:lnTo>
                <a:lnTo>
                  <a:pt x="3720" y="5922"/>
                </a:lnTo>
                <a:lnTo>
                  <a:pt x="3472" y="0"/>
                </a:lnTo>
                <a:close/>
              </a:path>
            </a:pathLst>
          </a:custGeom>
          <a:solidFill>
            <a:srgbClr val="000000"/>
          </a:solidFill>
        </p:spPr>
        <p:txBody>
          <a:bodyPr wrap="square" lIns="0" tIns="0" rIns="0" bIns="0" rtlCol="0">
            <a:noAutofit/>
          </a:bodyPr>
          <a:lstStyle/>
          <a:p>
            <a:endParaRPr/>
          </a:p>
        </p:txBody>
      </p:sp>
      <p:sp>
        <p:nvSpPr>
          <p:cNvPr id="1327" name="object 1327"/>
          <p:cNvSpPr/>
          <p:nvPr/>
        </p:nvSpPr>
        <p:spPr>
          <a:xfrm>
            <a:off x="9141113" y="1654714"/>
            <a:ext cx="37697" cy="59719"/>
          </a:xfrm>
          <a:custGeom>
            <a:avLst/>
            <a:gdLst/>
            <a:ahLst/>
            <a:cxnLst/>
            <a:rect l="l" t="t" r="r" b="b"/>
            <a:pathLst>
              <a:path w="37697" h="59719">
                <a:moveTo>
                  <a:pt x="4464" y="31587"/>
                </a:moveTo>
                <a:lnTo>
                  <a:pt x="2728" y="36769"/>
                </a:lnTo>
                <a:lnTo>
                  <a:pt x="1736" y="42198"/>
                </a:lnTo>
                <a:lnTo>
                  <a:pt x="744" y="47874"/>
                </a:lnTo>
                <a:lnTo>
                  <a:pt x="248" y="53797"/>
                </a:lnTo>
                <a:lnTo>
                  <a:pt x="0" y="59719"/>
                </a:lnTo>
                <a:lnTo>
                  <a:pt x="3472" y="59719"/>
                </a:lnTo>
                <a:lnTo>
                  <a:pt x="3720" y="53797"/>
                </a:lnTo>
                <a:lnTo>
                  <a:pt x="4216" y="48368"/>
                </a:lnTo>
                <a:lnTo>
                  <a:pt x="5208" y="42692"/>
                </a:lnTo>
                <a:lnTo>
                  <a:pt x="6200" y="37756"/>
                </a:lnTo>
                <a:lnTo>
                  <a:pt x="7936" y="32574"/>
                </a:lnTo>
                <a:lnTo>
                  <a:pt x="9424" y="28132"/>
                </a:lnTo>
                <a:lnTo>
                  <a:pt x="11408" y="23690"/>
                </a:lnTo>
                <a:lnTo>
                  <a:pt x="13888" y="19742"/>
                </a:lnTo>
                <a:lnTo>
                  <a:pt x="16368" y="16040"/>
                </a:lnTo>
                <a:lnTo>
                  <a:pt x="18848" y="12832"/>
                </a:lnTo>
                <a:lnTo>
                  <a:pt x="21576" y="10117"/>
                </a:lnTo>
                <a:lnTo>
                  <a:pt x="24801" y="7896"/>
                </a:lnTo>
                <a:lnTo>
                  <a:pt x="27777" y="5922"/>
                </a:lnTo>
                <a:lnTo>
                  <a:pt x="31001" y="4688"/>
                </a:lnTo>
                <a:lnTo>
                  <a:pt x="34225" y="3701"/>
                </a:lnTo>
                <a:lnTo>
                  <a:pt x="37697" y="3454"/>
                </a:lnTo>
                <a:lnTo>
                  <a:pt x="37697" y="0"/>
                </a:lnTo>
                <a:lnTo>
                  <a:pt x="33729" y="246"/>
                </a:lnTo>
                <a:lnTo>
                  <a:pt x="30009" y="1233"/>
                </a:lnTo>
                <a:lnTo>
                  <a:pt x="26289" y="2961"/>
                </a:lnTo>
                <a:lnTo>
                  <a:pt x="22817" y="4935"/>
                </a:lnTo>
                <a:lnTo>
                  <a:pt x="19592" y="7650"/>
                </a:lnTo>
                <a:lnTo>
                  <a:pt x="16368" y="10364"/>
                </a:lnTo>
                <a:lnTo>
                  <a:pt x="13392" y="14066"/>
                </a:lnTo>
                <a:lnTo>
                  <a:pt x="10912" y="17767"/>
                </a:lnTo>
                <a:lnTo>
                  <a:pt x="8432" y="22209"/>
                </a:lnTo>
                <a:lnTo>
                  <a:pt x="6448" y="26651"/>
                </a:lnTo>
                <a:lnTo>
                  <a:pt x="4464" y="31587"/>
                </a:lnTo>
                <a:close/>
              </a:path>
            </a:pathLst>
          </a:custGeom>
          <a:solidFill>
            <a:srgbClr val="000000"/>
          </a:solidFill>
        </p:spPr>
        <p:txBody>
          <a:bodyPr wrap="square" lIns="0" tIns="0" rIns="0" bIns="0" rtlCol="0">
            <a:noAutofit/>
          </a:bodyPr>
          <a:lstStyle/>
          <a:p>
            <a:endParaRPr/>
          </a:p>
        </p:txBody>
      </p:sp>
      <p:sp>
        <p:nvSpPr>
          <p:cNvPr id="1328" name="object 1328"/>
          <p:cNvSpPr/>
          <p:nvPr/>
        </p:nvSpPr>
        <p:spPr>
          <a:xfrm>
            <a:off x="9147810" y="1657181"/>
            <a:ext cx="71923" cy="115984"/>
          </a:xfrm>
          <a:custGeom>
            <a:avLst/>
            <a:gdLst/>
            <a:ahLst/>
            <a:cxnLst/>
            <a:rect l="l" t="t" r="r" b="b"/>
            <a:pathLst>
              <a:path w="71923" h="115984">
                <a:moveTo>
                  <a:pt x="35961" y="0"/>
                </a:moveTo>
                <a:lnTo>
                  <a:pt x="32241" y="246"/>
                </a:lnTo>
                <a:lnTo>
                  <a:pt x="28769" y="1233"/>
                </a:lnTo>
                <a:lnTo>
                  <a:pt x="22072" y="4688"/>
                </a:lnTo>
                <a:lnTo>
                  <a:pt x="18848" y="7156"/>
                </a:lnTo>
                <a:lnTo>
                  <a:pt x="15872" y="9871"/>
                </a:lnTo>
                <a:lnTo>
                  <a:pt x="13144" y="13325"/>
                </a:lnTo>
                <a:lnTo>
                  <a:pt x="10664" y="17027"/>
                </a:lnTo>
                <a:lnTo>
                  <a:pt x="8184" y="21222"/>
                </a:lnTo>
                <a:lnTo>
                  <a:pt x="6200" y="25664"/>
                </a:lnTo>
                <a:lnTo>
                  <a:pt x="4464" y="30353"/>
                </a:lnTo>
                <a:lnTo>
                  <a:pt x="2728" y="35535"/>
                </a:lnTo>
                <a:lnTo>
                  <a:pt x="1736" y="40717"/>
                </a:lnTo>
                <a:lnTo>
                  <a:pt x="744" y="46393"/>
                </a:lnTo>
                <a:lnTo>
                  <a:pt x="248" y="52069"/>
                </a:lnTo>
                <a:lnTo>
                  <a:pt x="0" y="57992"/>
                </a:lnTo>
                <a:lnTo>
                  <a:pt x="248" y="63914"/>
                </a:lnTo>
                <a:lnTo>
                  <a:pt x="744" y="69590"/>
                </a:lnTo>
                <a:lnTo>
                  <a:pt x="1736" y="75266"/>
                </a:lnTo>
                <a:lnTo>
                  <a:pt x="2728" y="80695"/>
                </a:lnTo>
                <a:lnTo>
                  <a:pt x="4464" y="85631"/>
                </a:lnTo>
                <a:lnTo>
                  <a:pt x="6200" y="90319"/>
                </a:lnTo>
                <a:lnTo>
                  <a:pt x="8184" y="95008"/>
                </a:lnTo>
                <a:lnTo>
                  <a:pt x="10664" y="98957"/>
                </a:lnTo>
                <a:lnTo>
                  <a:pt x="13144" y="102658"/>
                </a:lnTo>
                <a:lnTo>
                  <a:pt x="15872" y="106113"/>
                </a:lnTo>
                <a:lnTo>
                  <a:pt x="18848" y="109074"/>
                </a:lnTo>
                <a:lnTo>
                  <a:pt x="22072" y="111542"/>
                </a:lnTo>
                <a:lnTo>
                  <a:pt x="28769" y="114750"/>
                </a:lnTo>
                <a:lnTo>
                  <a:pt x="35961" y="115984"/>
                </a:lnTo>
                <a:lnTo>
                  <a:pt x="39681" y="115737"/>
                </a:lnTo>
                <a:lnTo>
                  <a:pt x="46626" y="113270"/>
                </a:lnTo>
                <a:lnTo>
                  <a:pt x="53074" y="109074"/>
                </a:lnTo>
                <a:lnTo>
                  <a:pt x="56050" y="106113"/>
                </a:lnTo>
                <a:lnTo>
                  <a:pt x="58778" y="102658"/>
                </a:lnTo>
                <a:lnTo>
                  <a:pt x="61506" y="98957"/>
                </a:lnTo>
                <a:lnTo>
                  <a:pt x="63738" y="95008"/>
                </a:lnTo>
                <a:lnTo>
                  <a:pt x="65722" y="90319"/>
                </a:lnTo>
                <a:lnTo>
                  <a:pt x="67459" y="85631"/>
                </a:lnTo>
                <a:lnTo>
                  <a:pt x="69195" y="80695"/>
                </a:lnTo>
                <a:lnTo>
                  <a:pt x="70187" y="75266"/>
                </a:lnTo>
                <a:lnTo>
                  <a:pt x="71179" y="69590"/>
                </a:lnTo>
                <a:lnTo>
                  <a:pt x="71675" y="63914"/>
                </a:lnTo>
                <a:lnTo>
                  <a:pt x="71923" y="57992"/>
                </a:lnTo>
                <a:lnTo>
                  <a:pt x="71675" y="52069"/>
                </a:lnTo>
                <a:lnTo>
                  <a:pt x="71179" y="46393"/>
                </a:lnTo>
                <a:lnTo>
                  <a:pt x="70187" y="40717"/>
                </a:lnTo>
                <a:lnTo>
                  <a:pt x="69195" y="35535"/>
                </a:lnTo>
                <a:lnTo>
                  <a:pt x="67459" y="30353"/>
                </a:lnTo>
                <a:lnTo>
                  <a:pt x="65722" y="25664"/>
                </a:lnTo>
                <a:lnTo>
                  <a:pt x="63738" y="21222"/>
                </a:lnTo>
                <a:lnTo>
                  <a:pt x="61506" y="17027"/>
                </a:lnTo>
                <a:lnTo>
                  <a:pt x="58778" y="13325"/>
                </a:lnTo>
                <a:lnTo>
                  <a:pt x="56050" y="9871"/>
                </a:lnTo>
                <a:lnTo>
                  <a:pt x="53074" y="7156"/>
                </a:lnTo>
                <a:lnTo>
                  <a:pt x="49850" y="4688"/>
                </a:lnTo>
                <a:lnTo>
                  <a:pt x="43153" y="1233"/>
                </a:lnTo>
                <a:lnTo>
                  <a:pt x="39681" y="246"/>
                </a:lnTo>
                <a:lnTo>
                  <a:pt x="35961" y="0"/>
                </a:lnTo>
                <a:close/>
              </a:path>
            </a:pathLst>
          </a:custGeom>
          <a:solidFill>
            <a:srgbClr val="000000"/>
          </a:solidFill>
        </p:spPr>
        <p:txBody>
          <a:bodyPr wrap="square" lIns="0" tIns="0" rIns="0" bIns="0" rtlCol="0">
            <a:noAutofit/>
          </a:bodyPr>
          <a:lstStyle/>
          <a:p>
            <a:endParaRPr/>
          </a:p>
        </p:txBody>
      </p:sp>
      <p:sp>
        <p:nvSpPr>
          <p:cNvPr id="1329" name="object 1329"/>
          <p:cNvSpPr/>
          <p:nvPr/>
        </p:nvSpPr>
        <p:spPr>
          <a:xfrm>
            <a:off x="9183771" y="1655454"/>
            <a:ext cx="37697" cy="59719"/>
          </a:xfrm>
          <a:custGeom>
            <a:avLst/>
            <a:gdLst/>
            <a:ahLst/>
            <a:cxnLst/>
            <a:rect l="l" t="t" r="r" b="b"/>
            <a:pathLst>
              <a:path w="37697" h="59719">
                <a:moveTo>
                  <a:pt x="3472" y="3701"/>
                </a:moveTo>
                <a:lnTo>
                  <a:pt x="6696" y="4688"/>
                </a:lnTo>
                <a:lnTo>
                  <a:pt x="9920" y="5922"/>
                </a:lnTo>
                <a:lnTo>
                  <a:pt x="12896" y="7896"/>
                </a:lnTo>
                <a:lnTo>
                  <a:pt x="16120" y="10117"/>
                </a:lnTo>
                <a:lnTo>
                  <a:pt x="18848" y="12832"/>
                </a:lnTo>
                <a:lnTo>
                  <a:pt x="21328" y="16040"/>
                </a:lnTo>
                <a:lnTo>
                  <a:pt x="24057" y="19742"/>
                </a:lnTo>
                <a:lnTo>
                  <a:pt x="26289" y="23690"/>
                </a:lnTo>
                <a:lnTo>
                  <a:pt x="28273" y="28132"/>
                </a:lnTo>
                <a:lnTo>
                  <a:pt x="29761" y="32574"/>
                </a:lnTo>
                <a:lnTo>
                  <a:pt x="31497" y="37756"/>
                </a:lnTo>
                <a:lnTo>
                  <a:pt x="32489" y="42692"/>
                </a:lnTo>
                <a:lnTo>
                  <a:pt x="33481" y="48368"/>
                </a:lnTo>
                <a:lnTo>
                  <a:pt x="33977" y="53797"/>
                </a:lnTo>
                <a:lnTo>
                  <a:pt x="34225" y="59719"/>
                </a:lnTo>
                <a:lnTo>
                  <a:pt x="37697" y="59719"/>
                </a:lnTo>
                <a:lnTo>
                  <a:pt x="37449" y="53797"/>
                </a:lnTo>
                <a:lnTo>
                  <a:pt x="36953" y="47874"/>
                </a:lnTo>
                <a:lnTo>
                  <a:pt x="35961" y="42198"/>
                </a:lnTo>
                <a:lnTo>
                  <a:pt x="34969" y="36769"/>
                </a:lnTo>
                <a:lnTo>
                  <a:pt x="33233" y="31587"/>
                </a:lnTo>
                <a:lnTo>
                  <a:pt x="31249" y="26651"/>
                </a:lnTo>
                <a:lnTo>
                  <a:pt x="29265" y="22209"/>
                </a:lnTo>
                <a:lnTo>
                  <a:pt x="27033" y="17767"/>
                </a:lnTo>
                <a:lnTo>
                  <a:pt x="24305" y="14066"/>
                </a:lnTo>
                <a:lnTo>
                  <a:pt x="21328" y="10364"/>
                </a:lnTo>
                <a:lnTo>
                  <a:pt x="18104" y="7650"/>
                </a:lnTo>
                <a:lnTo>
                  <a:pt x="14880" y="4935"/>
                </a:lnTo>
                <a:lnTo>
                  <a:pt x="11408" y="2961"/>
                </a:lnTo>
                <a:lnTo>
                  <a:pt x="7688" y="1233"/>
                </a:lnTo>
                <a:lnTo>
                  <a:pt x="3968" y="246"/>
                </a:lnTo>
                <a:lnTo>
                  <a:pt x="0" y="0"/>
                </a:lnTo>
                <a:lnTo>
                  <a:pt x="0" y="3454"/>
                </a:lnTo>
                <a:lnTo>
                  <a:pt x="3472" y="3701"/>
                </a:lnTo>
                <a:close/>
              </a:path>
            </a:pathLst>
          </a:custGeom>
          <a:solidFill>
            <a:srgbClr val="000000"/>
          </a:solidFill>
        </p:spPr>
        <p:txBody>
          <a:bodyPr wrap="square" lIns="0" tIns="0" rIns="0" bIns="0" rtlCol="0">
            <a:noAutofit/>
          </a:bodyPr>
          <a:lstStyle/>
          <a:p>
            <a:endParaRPr/>
          </a:p>
        </p:txBody>
      </p:sp>
      <p:sp>
        <p:nvSpPr>
          <p:cNvPr id="1330" name="object 1330"/>
          <p:cNvSpPr/>
          <p:nvPr/>
        </p:nvSpPr>
        <p:spPr>
          <a:xfrm>
            <a:off x="9183771" y="1715174"/>
            <a:ext cx="37697" cy="59719"/>
          </a:xfrm>
          <a:custGeom>
            <a:avLst/>
            <a:gdLst/>
            <a:ahLst/>
            <a:cxnLst/>
            <a:rect l="l" t="t" r="r" b="b"/>
            <a:pathLst>
              <a:path w="37697" h="59719">
                <a:moveTo>
                  <a:pt x="3968" y="59472"/>
                </a:moveTo>
                <a:lnTo>
                  <a:pt x="7688" y="58485"/>
                </a:lnTo>
                <a:lnTo>
                  <a:pt x="11408" y="56758"/>
                </a:lnTo>
                <a:lnTo>
                  <a:pt x="14880" y="55030"/>
                </a:lnTo>
                <a:lnTo>
                  <a:pt x="18352" y="52316"/>
                </a:lnTo>
                <a:lnTo>
                  <a:pt x="21328" y="49355"/>
                </a:lnTo>
                <a:lnTo>
                  <a:pt x="24305" y="45653"/>
                </a:lnTo>
                <a:lnTo>
                  <a:pt x="27033" y="41951"/>
                </a:lnTo>
                <a:lnTo>
                  <a:pt x="29265" y="37756"/>
                </a:lnTo>
                <a:lnTo>
                  <a:pt x="31249" y="33067"/>
                </a:lnTo>
                <a:lnTo>
                  <a:pt x="33233" y="28132"/>
                </a:lnTo>
                <a:lnTo>
                  <a:pt x="34969" y="23196"/>
                </a:lnTo>
                <a:lnTo>
                  <a:pt x="35961" y="17521"/>
                </a:lnTo>
                <a:lnTo>
                  <a:pt x="36953" y="11845"/>
                </a:lnTo>
                <a:lnTo>
                  <a:pt x="37449" y="5922"/>
                </a:lnTo>
                <a:lnTo>
                  <a:pt x="37697" y="0"/>
                </a:lnTo>
                <a:lnTo>
                  <a:pt x="34225" y="0"/>
                </a:lnTo>
                <a:lnTo>
                  <a:pt x="33977" y="5922"/>
                </a:lnTo>
                <a:lnTo>
                  <a:pt x="33481" y="11351"/>
                </a:lnTo>
                <a:lnTo>
                  <a:pt x="32489" y="17027"/>
                </a:lnTo>
                <a:lnTo>
                  <a:pt x="31497" y="22209"/>
                </a:lnTo>
                <a:lnTo>
                  <a:pt x="29761" y="27145"/>
                </a:lnTo>
                <a:lnTo>
                  <a:pt x="28273" y="31587"/>
                </a:lnTo>
                <a:lnTo>
                  <a:pt x="26289" y="36276"/>
                </a:lnTo>
                <a:lnTo>
                  <a:pt x="24057" y="39977"/>
                </a:lnTo>
                <a:lnTo>
                  <a:pt x="21328" y="43679"/>
                </a:lnTo>
                <a:lnTo>
                  <a:pt x="18848" y="46887"/>
                </a:lnTo>
                <a:lnTo>
                  <a:pt x="15872" y="49848"/>
                </a:lnTo>
                <a:lnTo>
                  <a:pt x="12896" y="52069"/>
                </a:lnTo>
                <a:lnTo>
                  <a:pt x="9920" y="53797"/>
                </a:lnTo>
                <a:lnTo>
                  <a:pt x="6696" y="55030"/>
                </a:lnTo>
                <a:lnTo>
                  <a:pt x="3472" y="56018"/>
                </a:lnTo>
                <a:lnTo>
                  <a:pt x="0" y="56264"/>
                </a:lnTo>
                <a:lnTo>
                  <a:pt x="0" y="59719"/>
                </a:lnTo>
                <a:lnTo>
                  <a:pt x="3968" y="59472"/>
                </a:lnTo>
                <a:close/>
              </a:path>
            </a:pathLst>
          </a:custGeom>
          <a:solidFill>
            <a:srgbClr val="000000"/>
          </a:solidFill>
        </p:spPr>
        <p:txBody>
          <a:bodyPr wrap="square" lIns="0" tIns="0" rIns="0" bIns="0" rtlCol="0">
            <a:noAutofit/>
          </a:bodyPr>
          <a:lstStyle/>
          <a:p>
            <a:endParaRPr/>
          </a:p>
        </p:txBody>
      </p:sp>
      <p:sp>
        <p:nvSpPr>
          <p:cNvPr id="1331" name="object 1331"/>
          <p:cNvSpPr/>
          <p:nvPr/>
        </p:nvSpPr>
        <p:spPr>
          <a:xfrm>
            <a:off x="9146074" y="1715174"/>
            <a:ext cx="37697" cy="59719"/>
          </a:xfrm>
          <a:custGeom>
            <a:avLst/>
            <a:gdLst/>
            <a:ahLst/>
            <a:cxnLst/>
            <a:rect l="l" t="t" r="r" b="b"/>
            <a:pathLst>
              <a:path w="37697" h="59719">
                <a:moveTo>
                  <a:pt x="3472" y="0"/>
                </a:moveTo>
                <a:lnTo>
                  <a:pt x="0" y="0"/>
                </a:lnTo>
                <a:lnTo>
                  <a:pt x="248" y="5922"/>
                </a:lnTo>
                <a:lnTo>
                  <a:pt x="744" y="11845"/>
                </a:lnTo>
                <a:lnTo>
                  <a:pt x="1736" y="17521"/>
                </a:lnTo>
                <a:lnTo>
                  <a:pt x="2728" y="23196"/>
                </a:lnTo>
                <a:lnTo>
                  <a:pt x="4464" y="28132"/>
                </a:lnTo>
                <a:lnTo>
                  <a:pt x="6448" y="33067"/>
                </a:lnTo>
                <a:lnTo>
                  <a:pt x="8432" y="37756"/>
                </a:lnTo>
                <a:lnTo>
                  <a:pt x="10912" y="41951"/>
                </a:lnTo>
                <a:lnTo>
                  <a:pt x="13392" y="45653"/>
                </a:lnTo>
                <a:lnTo>
                  <a:pt x="16368" y="49355"/>
                </a:lnTo>
                <a:lnTo>
                  <a:pt x="19344" y="52316"/>
                </a:lnTo>
                <a:lnTo>
                  <a:pt x="22817" y="55030"/>
                </a:lnTo>
                <a:lnTo>
                  <a:pt x="26289" y="56758"/>
                </a:lnTo>
                <a:lnTo>
                  <a:pt x="30009" y="58485"/>
                </a:lnTo>
                <a:lnTo>
                  <a:pt x="33729" y="59472"/>
                </a:lnTo>
                <a:lnTo>
                  <a:pt x="37697" y="59719"/>
                </a:lnTo>
                <a:lnTo>
                  <a:pt x="37697" y="56264"/>
                </a:lnTo>
                <a:lnTo>
                  <a:pt x="34225" y="56018"/>
                </a:lnTo>
                <a:lnTo>
                  <a:pt x="31001" y="55030"/>
                </a:lnTo>
                <a:lnTo>
                  <a:pt x="27777" y="53797"/>
                </a:lnTo>
                <a:lnTo>
                  <a:pt x="24801" y="52069"/>
                </a:lnTo>
                <a:lnTo>
                  <a:pt x="21824" y="49848"/>
                </a:lnTo>
                <a:lnTo>
                  <a:pt x="18848" y="46887"/>
                </a:lnTo>
                <a:lnTo>
                  <a:pt x="16368" y="43679"/>
                </a:lnTo>
                <a:lnTo>
                  <a:pt x="13888" y="39977"/>
                </a:lnTo>
                <a:lnTo>
                  <a:pt x="11408" y="36276"/>
                </a:lnTo>
                <a:lnTo>
                  <a:pt x="9424" y="31587"/>
                </a:lnTo>
                <a:lnTo>
                  <a:pt x="7936" y="27145"/>
                </a:lnTo>
                <a:lnTo>
                  <a:pt x="6200" y="22209"/>
                </a:lnTo>
                <a:lnTo>
                  <a:pt x="5208" y="17027"/>
                </a:lnTo>
                <a:lnTo>
                  <a:pt x="4216" y="11351"/>
                </a:lnTo>
                <a:lnTo>
                  <a:pt x="3720" y="5922"/>
                </a:lnTo>
                <a:lnTo>
                  <a:pt x="3472" y="0"/>
                </a:lnTo>
                <a:close/>
              </a:path>
            </a:pathLst>
          </a:custGeom>
          <a:solidFill>
            <a:srgbClr val="000000"/>
          </a:solidFill>
        </p:spPr>
        <p:txBody>
          <a:bodyPr wrap="square" lIns="0" tIns="0" rIns="0" bIns="0" rtlCol="0">
            <a:noAutofit/>
          </a:bodyPr>
          <a:lstStyle/>
          <a:p>
            <a:endParaRPr/>
          </a:p>
        </p:txBody>
      </p:sp>
      <p:sp>
        <p:nvSpPr>
          <p:cNvPr id="1332" name="object 1332"/>
          <p:cNvSpPr/>
          <p:nvPr/>
        </p:nvSpPr>
        <p:spPr>
          <a:xfrm>
            <a:off x="9146074" y="1655454"/>
            <a:ext cx="37697" cy="59719"/>
          </a:xfrm>
          <a:custGeom>
            <a:avLst/>
            <a:gdLst/>
            <a:ahLst/>
            <a:cxnLst/>
            <a:rect l="l" t="t" r="r" b="b"/>
            <a:pathLst>
              <a:path w="37697" h="59719">
                <a:moveTo>
                  <a:pt x="4464" y="31587"/>
                </a:moveTo>
                <a:lnTo>
                  <a:pt x="2728" y="36769"/>
                </a:lnTo>
                <a:lnTo>
                  <a:pt x="1736" y="42198"/>
                </a:lnTo>
                <a:lnTo>
                  <a:pt x="744" y="47874"/>
                </a:lnTo>
                <a:lnTo>
                  <a:pt x="248" y="53797"/>
                </a:lnTo>
                <a:lnTo>
                  <a:pt x="0" y="59719"/>
                </a:lnTo>
                <a:lnTo>
                  <a:pt x="3472" y="59719"/>
                </a:lnTo>
                <a:lnTo>
                  <a:pt x="3720" y="53797"/>
                </a:lnTo>
                <a:lnTo>
                  <a:pt x="4216" y="48368"/>
                </a:lnTo>
                <a:lnTo>
                  <a:pt x="5208" y="42692"/>
                </a:lnTo>
                <a:lnTo>
                  <a:pt x="6200" y="37756"/>
                </a:lnTo>
                <a:lnTo>
                  <a:pt x="7936" y="32574"/>
                </a:lnTo>
                <a:lnTo>
                  <a:pt x="9424" y="28132"/>
                </a:lnTo>
                <a:lnTo>
                  <a:pt x="11408" y="23690"/>
                </a:lnTo>
                <a:lnTo>
                  <a:pt x="13888" y="19742"/>
                </a:lnTo>
                <a:lnTo>
                  <a:pt x="16368" y="16040"/>
                </a:lnTo>
                <a:lnTo>
                  <a:pt x="18848" y="12832"/>
                </a:lnTo>
                <a:lnTo>
                  <a:pt x="21576" y="10117"/>
                </a:lnTo>
                <a:lnTo>
                  <a:pt x="24801" y="7896"/>
                </a:lnTo>
                <a:lnTo>
                  <a:pt x="27777" y="5922"/>
                </a:lnTo>
                <a:lnTo>
                  <a:pt x="31001" y="4688"/>
                </a:lnTo>
                <a:lnTo>
                  <a:pt x="34225" y="3701"/>
                </a:lnTo>
                <a:lnTo>
                  <a:pt x="37697" y="3454"/>
                </a:lnTo>
                <a:lnTo>
                  <a:pt x="37697" y="0"/>
                </a:lnTo>
                <a:lnTo>
                  <a:pt x="33729" y="246"/>
                </a:lnTo>
                <a:lnTo>
                  <a:pt x="30009" y="1233"/>
                </a:lnTo>
                <a:lnTo>
                  <a:pt x="26289" y="2961"/>
                </a:lnTo>
                <a:lnTo>
                  <a:pt x="22817" y="4935"/>
                </a:lnTo>
                <a:lnTo>
                  <a:pt x="19592" y="7650"/>
                </a:lnTo>
                <a:lnTo>
                  <a:pt x="16368" y="10364"/>
                </a:lnTo>
                <a:lnTo>
                  <a:pt x="13392" y="14066"/>
                </a:lnTo>
                <a:lnTo>
                  <a:pt x="10912" y="17767"/>
                </a:lnTo>
                <a:lnTo>
                  <a:pt x="8432" y="22209"/>
                </a:lnTo>
                <a:lnTo>
                  <a:pt x="6448" y="26651"/>
                </a:lnTo>
                <a:lnTo>
                  <a:pt x="4464" y="31587"/>
                </a:lnTo>
                <a:close/>
              </a:path>
            </a:pathLst>
          </a:custGeom>
          <a:solidFill>
            <a:srgbClr val="000000"/>
          </a:solidFill>
        </p:spPr>
        <p:txBody>
          <a:bodyPr wrap="square" lIns="0" tIns="0" rIns="0" bIns="0" rtlCol="0">
            <a:noAutofit/>
          </a:bodyPr>
          <a:lstStyle/>
          <a:p>
            <a:endParaRPr/>
          </a:p>
        </p:txBody>
      </p:sp>
      <p:sp>
        <p:nvSpPr>
          <p:cNvPr id="1333" name="object 1333"/>
          <p:cNvSpPr/>
          <p:nvPr/>
        </p:nvSpPr>
        <p:spPr>
          <a:xfrm>
            <a:off x="9184267" y="1769217"/>
            <a:ext cx="24305" cy="3948"/>
          </a:xfrm>
          <a:custGeom>
            <a:avLst/>
            <a:gdLst/>
            <a:ahLst/>
            <a:cxnLst/>
            <a:rect l="l" t="t" r="r" b="b"/>
            <a:pathLst>
              <a:path w="24305" h="3948">
                <a:moveTo>
                  <a:pt x="24305" y="3948"/>
                </a:moveTo>
                <a:lnTo>
                  <a:pt x="11408" y="0"/>
                </a:lnTo>
                <a:lnTo>
                  <a:pt x="0" y="3948"/>
                </a:lnTo>
                <a:lnTo>
                  <a:pt x="24305" y="3948"/>
                </a:lnTo>
                <a:close/>
              </a:path>
            </a:pathLst>
          </a:custGeom>
          <a:solidFill>
            <a:srgbClr val="000000"/>
          </a:solidFill>
        </p:spPr>
        <p:txBody>
          <a:bodyPr wrap="square" lIns="0" tIns="0" rIns="0" bIns="0" rtlCol="0">
            <a:noAutofit/>
          </a:bodyPr>
          <a:lstStyle/>
          <a:p>
            <a:endParaRPr/>
          </a:p>
        </p:txBody>
      </p:sp>
      <p:sp>
        <p:nvSpPr>
          <p:cNvPr id="1334" name="object 1334"/>
          <p:cNvSpPr/>
          <p:nvPr/>
        </p:nvSpPr>
        <p:spPr>
          <a:xfrm>
            <a:off x="9183523" y="1657427"/>
            <a:ext cx="24057" cy="3948"/>
          </a:xfrm>
          <a:custGeom>
            <a:avLst/>
            <a:gdLst/>
            <a:ahLst/>
            <a:cxnLst/>
            <a:rect l="l" t="t" r="r" b="b"/>
            <a:pathLst>
              <a:path w="24057" h="3948">
                <a:moveTo>
                  <a:pt x="24057" y="0"/>
                </a:moveTo>
                <a:lnTo>
                  <a:pt x="0" y="0"/>
                </a:lnTo>
                <a:lnTo>
                  <a:pt x="12152" y="3948"/>
                </a:lnTo>
                <a:lnTo>
                  <a:pt x="24057" y="0"/>
                </a:lnTo>
                <a:close/>
              </a:path>
            </a:pathLst>
          </a:custGeom>
          <a:solidFill>
            <a:srgbClr val="000000"/>
          </a:solidFill>
        </p:spPr>
        <p:txBody>
          <a:bodyPr wrap="square" lIns="0" tIns="0" rIns="0" bIns="0" rtlCol="0">
            <a:noAutofit/>
          </a:bodyPr>
          <a:lstStyle/>
          <a:p>
            <a:endParaRPr/>
          </a:p>
        </p:txBody>
      </p:sp>
      <p:sp>
        <p:nvSpPr>
          <p:cNvPr id="1335" name="object 1335"/>
          <p:cNvSpPr/>
          <p:nvPr/>
        </p:nvSpPr>
        <p:spPr>
          <a:xfrm>
            <a:off x="9183523" y="1656195"/>
            <a:ext cx="25297" cy="2467"/>
          </a:xfrm>
          <a:custGeom>
            <a:avLst/>
            <a:gdLst/>
            <a:ahLst/>
            <a:cxnLst/>
            <a:rect l="l" t="t" r="r" b="b"/>
            <a:pathLst>
              <a:path w="25297" h="2467">
                <a:moveTo>
                  <a:pt x="23561" y="0"/>
                </a:moveTo>
                <a:lnTo>
                  <a:pt x="0" y="0"/>
                </a:lnTo>
                <a:lnTo>
                  <a:pt x="0" y="2467"/>
                </a:lnTo>
                <a:lnTo>
                  <a:pt x="24057" y="2467"/>
                </a:lnTo>
                <a:lnTo>
                  <a:pt x="24494" y="2177"/>
                </a:lnTo>
                <a:lnTo>
                  <a:pt x="24801" y="1974"/>
                </a:lnTo>
                <a:lnTo>
                  <a:pt x="25297" y="1233"/>
                </a:lnTo>
                <a:lnTo>
                  <a:pt x="24801" y="493"/>
                </a:lnTo>
                <a:lnTo>
                  <a:pt x="24057" y="0"/>
                </a:lnTo>
                <a:lnTo>
                  <a:pt x="23561" y="0"/>
                </a:lnTo>
                <a:close/>
              </a:path>
            </a:pathLst>
          </a:custGeom>
          <a:solidFill>
            <a:srgbClr val="000000"/>
          </a:solidFill>
        </p:spPr>
        <p:txBody>
          <a:bodyPr wrap="square" lIns="0" tIns="0" rIns="0" bIns="0" rtlCol="0">
            <a:noAutofit/>
          </a:bodyPr>
          <a:lstStyle/>
          <a:p>
            <a:endParaRPr/>
          </a:p>
        </p:txBody>
      </p:sp>
      <p:sp>
        <p:nvSpPr>
          <p:cNvPr id="1336" name="object 1336"/>
          <p:cNvSpPr/>
          <p:nvPr/>
        </p:nvSpPr>
        <p:spPr>
          <a:xfrm>
            <a:off x="9194435" y="1656194"/>
            <a:ext cx="12648" cy="6416"/>
          </a:xfrm>
          <a:custGeom>
            <a:avLst/>
            <a:gdLst/>
            <a:ahLst/>
            <a:cxnLst/>
            <a:rect l="l" t="t" r="r" b="b"/>
            <a:pathLst>
              <a:path w="12648" h="6416">
                <a:moveTo>
                  <a:pt x="744" y="3948"/>
                </a:moveTo>
                <a:lnTo>
                  <a:pt x="0" y="4688"/>
                </a:lnTo>
                <a:lnTo>
                  <a:pt x="248" y="5429"/>
                </a:lnTo>
                <a:lnTo>
                  <a:pt x="744" y="6416"/>
                </a:lnTo>
                <a:lnTo>
                  <a:pt x="1736" y="6416"/>
                </a:lnTo>
                <a:lnTo>
                  <a:pt x="1736" y="3948"/>
                </a:lnTo>
                <a:lnTo>
                  <a:pt x="12648" y="0"/>
                </a:lnTo>
                <a:lnTo>
                  <a:pt x="744" y="3948"/>
                </a:lnTo>
                <a:close/>
              </a:path>
            </a:pathLst>
          </a:custGeom>
          <a:solidFill>
            <a:srgbClr val="000000"/>
          </a:solidFill>
        </p:spPr>
        <p:txBody>
          <a:bodyPr wrap="square" lIns="0" tIns="0" rIns="0" bIns="0" rtlCol="0">
            <a:noAutofit/>
          </a:bodyPr>
          <a:lstStyle/>
          <a:p>
            <a:endParaRPr/>
          </a:p>
        </p:txBody>
      </p:sp>
      <p:sp>
        <p:nvSpPr>
          <p:cNvPr id="1337" name="object 1337"/>
          <p:cNvSpPr/>
          <p:nvPr/>
        </p:nvSpPr>
        <p:spPr>
          <a:xfrm>
            <a:off x="9196171" y="1656194"/>
            <a:ext cx="11904" cy="6416"/>
          </a:xfrm>
          <a:custGeom>
            <a:avLst/>
            <a:gdLst/>
            <a:ahLst/>
            <a:cxnLst/>
            <a:rect l="l" t="t" r="r" b="b"/>
            <a:pathLst>
              <a:path w="11904" h="6416">
                <a:moveTo>
                  <a:pt x="0" y="3948"/>
                </a:moveTo>
                <a:lnTo>
                  <a:pt x="0" y="6416"/>
                </a:lnTo>
                <a:lnTo>
                  <a:pt x="11904" y="2467"/>
                </a:lnTo>
                <a:lnTo>
                  <a:pt x="10912" y="0"/>
                </a:lnTo>
                <a:lnTo>
                  <a:pt x="0" y="3948"/>
                </a:lnTo>
                <a:close/>
              </a:path>
            </a:pathLst>
          </a:custGeom>
          <a:solidFill>
            <a:srgbClr val="000000"/>
          </a:solidFill>
        </p:spPr>
        <p:txBody>
          <a:bodyPr wrap="square" lIns="0" tIns="0" rIns="0" bIns="0" rtlCol="0">
            <a:noAutofit/>
          </a:bodyPr>
          <a:lstStyle/>
          <a:p>
            <a:endParaRPr/>
          </a:p>
        </p:txBody>
      </p:sp>
      <p:sp>
        <p:nvSpPr>
          <p:cNvPr id="1338" name="object 1338"/>
          <p:cNvSpPr/>
          <p:nvPr/>
        </p:nvSpPr>
        <p:spPr>
          <a:xfrm>
            <a:off x="9182282" y="1656194"/>
            <a:ext cx="12896" cy="6416"/>
          </a:xfrm>
          <a:custGeom>
            <a:avLst/>
            <a:gdLst/>
            <a:ahLst/>
            <a:cxnLst/>
            <a:rect l="l" t="t" r="r" b="b"/>
            <a:pathLst>
              <a:path w="12896" h="6416">
                <a:moveTo>
                  <a:pt x="744" y="2467"/>
                </a:moveTo>
                <a:lnTo>
                  <a:pt x="12896" y="6416"/>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1339" name="object 1339"/>
          <p:cNvSpPr/>
          <p:nvPr/>
        </p:nvSpPr>
        <p:spPr>
          <a:xfrm>
            <a:off x="9183522" y="1656194"/>
            <a:ext cx="12648" cy="6416"/>
          </a:xfrm>
          <a:custGeom>
            <a:avLst/>
            <a:gdLst/>
            <a:ahLst/>
            <a:cxnLst/>
            <a:rect l="l" t="t" r="r" b="b"/>
            <a:pathLst>
              <a:path w="12648" h="6416">
                <a:moveTo>
                  <a:pt x="496" y="0"/>
                </a:moveTo>
                <a:lnTo>
                  <a:pt x="0" y="0"/>
                </a:lnTo>
                <a:lnTo>
                  <a:pt x="0" y="2467"/>
                </a:lnTo>
                <a:lnTo>
                  <a:pt x="11656" y="6416"/>
                </a:lnTo>
                <a:lnTo>
                  <a:pt x="12648" y="3948"/>
                </a:lnTo>
                <a:lnTo>
                  <a:pt x="496" y="0"/>
                </a:lnTo>
                <a:close/>
              </a:path>
            </a:pathLst>
          </a:custGeom>
          <a:solidFill>
            <a:srgbClr val="000000"/>
          </a:solidFill>
        </p:spPr>
        <p:txBody>
          <a:bodyPr wrap="square" lIns="0" tIns="0" rIns="0" bIns="0" rtlCol="0">
            <a:noAutofit/>
          </a:bodyPr>
          <a:lstStyle/>
          <a:p>
            <a:endParaRPr/>
          </a:p>
        </p:txBody>
      </p:sp>
      <p:sp>
        <p:nvSpPr>
          <p:cNvPr id="1340" name="object 1340"/>
          <p:cNvSpPr/>
          <p:nvPr/>
        </p:nvSpPr>
        <p:spPr>
          <a:xfrm>
            <a:off x="9184267" y="1771932"/>
            <a:ext cx="25545" cy="2467"/>
          </a:xfrm>
          <a:custGeom>
            <a:avLst/>
            <a:gdLst/>
            <a:ahLst/>
            <a:cxnLst/>
            <a:rect l="l" t="t" r="r" b="b"/>
            <a:pathLst>
              <a:path w="25545" h="2467">
                <a:moveTo>
                  <a:pt x="25545" y="1233"/>
                </a:moveTo>
                <a:lnTo>
                  <a:pt x="25049" y="493"/>
                </a:lnTo>
                <a:lnTo>
                  <a:pt x="24537" y="154"/>
                </a:lnTo>
                <a:lnTo>
                  <a:pt x="24305" y="0"/>
                </a:lnTo>
                <a:lnTo>
                  <a:pt x="0" y="0"/>
                </a:lnTo>
                <a:lnTo>
                  <a:pt x="0" y="2467"/>
                </a:lnTo>
                <a:lnTo>
                  <a:pt x="24305" y="2467"/>
                </a:lnTo>
                <a:lnTo>
                  <a:pt x="25049" y="1974"/>
                </a:lnTo>
                <a:lnTo>
                  <a:pt x="25545" y="1233"/>
                </a:lnTo>
                <a:close/>
              </a:path>
            </a:pathLst>
          </a:custGeom>
          <a:solidFill>
            <a:srgbClr val="000000"/>
          </a:solidFill>
        </p:spPr>
        <p:txBody>
          <a:bodyPr wrap="square" lIns="0" tIns="0" rIns="0" bIns="0" rtlCol="0">
            <a:noAutofit/>
          </a:bodyPr>
          <a:lstStyle/>
          <a:p>
            <a:endParaRPr/>
          </a:p>
        </p:txBody>
      </p:sp>
      <p:sp>
        <p:nvSpPr>
          <p:cNvPr id="1341" name="object 1341"/>
          <p:cNvSpPr/>
          <p:nvPr/>
        </p:nvSpPr>
        <p:spPr>
          <a:xfrm>
            <a:off x="9195427" y="1770451"/>
            <a:ext cx="12896" cy="3948"/>
          </a:xfrm>
          <a:custGeom>
            <a:avLst/>
            <a:gdLst/>
            <a:ahLst/>
            <a:cxnLst/>
            <a:rect l="l" t="t" r="r" b="b"/>
            <a:pathLst>
              <a:path w="12896" h="3948">
                <a:moveTo>
                  <a:pt x="12896" y="3948"/>
                </a:moveTo>
                <a:lnTo>
                  <a:pt x="744" y="0"/>
                </a:lnTo>
                <a:lnTo>
                  <a:pt x="0" y="0"/>
                </a:lnTo>
                <a:lnTo>
                  <a:pt x="12896" y="3948"/>
                </a:lnTo>
                <a:close/>
              </a:path>
            </a:pathLst>
          </a:custGeom>
          <a:solidFill>
            <a:srgbClr val="000000"/>
          </a:solidFill>
        </p:spPr>
        <p:txBody>
          <a:bodyPr wrap="square" lIns="0" tIns="0" rIns="0" bIns="0" rtlCol="0">
            <a:noAutofit/>
          </a:bodyPr>
          <a:lstStyle/>
          <a:p>
            <a:endParaRPr/>
          </a:p>
        </p:txBody>
      </p:sp>
      <p:sp>
        <p:nvSpPr>
          <p:cNvPr id="1342" name="object 1342"/>
          <p:cNvSpPr/>
          <p:nvPr/>
        </p:nvSpPr>
        <p:spPr>
          <a:xfrm>
            <a:off x="9194683" y="1767983"/>
            <a:ext cx="14136" cy="6416"/>
          </a:xfrm>
          <a:custGeom>
            <a:avLst/>
            <a:gdLst/>
            <a:ahLst/>
            <a:cxnLst/>
            <a:rect l="l" t="t" r="r" b="b"/>
            <a:pathLst>
              <a:path w="14136" h="6416">
                <a:moveTo>
                  <a:pt x="13640" y="6416"/>
                </a:moveTo>
                <a:lnTo>
                  <a:pt x="14136" y="3948"/>
                </a:lnTo>
                <a:lnTo>
                  <a:pt x="1240" y="0"/>
                </a:lnTo>
                <a:lnTo>
                  <a:pt x="248" y="246"/>
                </a:lnTo>
                <a:lnTo>
                  <a:pt x="0" y="987"/>
                </a:lnTo>
                <a:lnTo>
                  <a:pt x="0" y="1974"/>
                </a:lnTo>
                <a:lnTo>
                  <a:pt x="744" y="2467"/>
                </a:lnTo>
                <a:lnTo>
                  <a:pt x="1488" y="2467"/>
                </a:lnTo>
                <a:lnTo>
                  <a:pt x="13640" y="6416"/>
                </a:lnTo>
                <a:close/>
              </a:path>
            </a:pathLst>
          </a:custGeom>
          <a:solidFill>
            <a:srgbClr val="000000"/>
          </a:solidFill>
        </p:spPr>
        <p:txBody>
          <a:bodyPr wrap="square" lIns="0" tIns="0" rIns="0" bIns="0" rtlCol="0">
            <a:noAutofit/>
          </a:bodyPr>
          <a:lstStyle/>
          <a:p>
            <a:endParaRPr/>
          </a:p>
        </p:txBody>
      </p:sp>
      <p:sp>
        <p:nvSpPr>
          <p:cNvPr id="1343" name="object 1343"/>
          <p:cNvSpPr/>
          <p:nvPr/>
        </p:nvSpPr>
        <p:spPr>
          <a:xfrm>
            <a:off x="9183770" y="1767983"/>
            <a:ext cx="11408" cy="3948"/>
          </a:xfrm>
          <a:custGeom>
            <a:avLst/>
            <a:gdLst/>
            <a:ahLst/>
            <a:cxnLst/>
            <a:rect l="l" t="t" r="r" b="b"/>
            <a:pathLst>
              <a:path w="11408" h="3948">
                <a:moveTo>
                  <a:pt x="0" y="3948"/>
                </a:moveTo>
                <a:lnTo>
                  <a:pt x="496" y="3948"/>
                </a:lnTo>
                <a:lnTo>
                  <a:pt x="11408" y="0"/>
                </a:lnTo>
                <a:lnTo>
                  <a:pt x="0" y="3948"/>
                </a:lnTo>
                <a:close/>
              </a:path>
            </a:pathLst>
          </a:custGeom>
          <a:solidFill>
            <a:srgbClr val="000000"/>
          </a:solidFill>
        </p:spPr>
        <p:txBody>
          <a:bodyPr wrap="square" lIns="0" tIns="0" rIns="0" bIns="0" rtlCol="0">
            <a:noAutofit/>
          </a:bodyPr>
          <a:lstStyle/>
          <a:p>
            <a:endParaRPr/>
          </a:p>
        </p:txBody>
      </p:sp>
      <p:sp>
        <p:nvSpPr>
          <p:cNvPr id="1344" name="object 1344"/>
          <p:cNvSpPr/>
          <p:nvPr/>
        </p:nvSpPr>
        <p:spPr>
          <a:xfrm>
            <a:off x="9183026" y="1767983"/>
            <a:ext cx="13144" cy="6416"/>
          </a:xfrm>
          <a:custGeom>
            <a:avLst/>
            <a:gdLst/>
            <a:ahLst/>
            <a:cxnLst/>
            <a:rect l="l" t="t" r="r" b="b"/>
            <a:pathLst>
              <a:path w="13144" h="6416">
                <a:moveTo>
                  <a:pt x="248" y="5429"/>
                </a:moveTo>
                <a:lnTo>
                  <a:pt x="744" y="6416"/>
                </a:lnTo>
                <a:lnTo>
                  <a:pt x="1736" y="6416"/>
                </a:lnTo>
                <a:lnTo>
                  <a:pt x="13144" y="2467"/>
                </a:lnTo>
                <a:lnTo>
                  <a:pt x="12152" y="0"/>
                </a:lnTo>
                <a:lnTo>
                  <a:pt x="1240" y="3948"/>
                </a:lnTo>
                <a:lnTo>
                  <a:pt x="744" y="3948"/>
                </a:lnTo>
                <a:lnTo>
                  <a:pt x="0" y="4688"/>
                </a:lnTo>
                <a:lnTo>
                  <a:pt x="248" y="5429"/>
                </a:lnTo>
                <a:close/>
              </a:path>
            </a:pathLst>
          </a:custGeom>
          <a:solidFill>
            <a:srgbClr val="000000"/>
          </a:solidFill>
        </p:spPr>
        <p:txBody>
          <a:bodyPr wrap="square" lIns="0" tIns="0" rIns="0" bIns="0" rtlCol="0">
            <a:noAutofit/>
          </a:bodyPr>
          <a:lstStyle/>
          <a:p>
            <a:endParaRPr/>
          </a:p>
        </p:txBody>
      </p:sp>
      <p:sp>
        <p:nvSpPr>
          <p:cNvPr id="1345" name="object 1345"/>
          <p:cNvSpPr/>
          <p:nvPr/>
        </p:nvSpPr>
        <p:spPr>
          <a:xfrm>
            <a:off x="9171371" y="1657181"/>
            <a:ext cx="71923" cy="115984"/>
          </a:xfrm>
          <a:custGeom>
            <a:avLst/>
            <a:gdLst/>
            <a:ahLst/>
            <a:cxnLst/>
            <a:rect l="l" t="t" r="r" b="b"/>
            <a:pathLst>
              <a:path w="71923" h="115984">
                <a:moveTo>
                  <a:pt x="35961" y="0"/>
                </a:moveTo>
                <a:lnTo>
                  <a:pt x="32241" y="246"/>
                </a:lnTo>
                <a:lnTo>
                  <a:pt x="28769" y="1233"/>
                </a:lnTo>
                <a:lnTo>
                  <a:pt x="22072" y="4688"/>
                </a:lnTo>
                <a:lnTo>
                  <a:pt x="18848" y="7156"/>
                </a:lnTo>
                <a:lnTo>
                  <a:pt x="15872" y="9871"/>
                </a:lnTo>
                <a:lnTo>
                  <a:pt x="13144" y="13325"/>
                </a:lnTo>
                <a:lnTo>
                  <a:pt x="10664" y="17027"/>
                </a:lnTo>
                <a:lnTo>
                  <a:pt x="8184" y="21222"/>
                </a:lnTo>
                <a:lnTo>
                  <a:pt x="6200" y="25664"/>
                </a:lnTo>
                <a:lnTo>
                  <a:pt x="4464" y="30353"/>
                </a:lnTo>
                <a:lnTo>
                  <a:pt x="2728" y="35535"/>
                </a:lnTo>
                <a:lnTo>
                  <a:pt x="1736" y="40717"/>
                </a:lnTo>
                <a:lnTo>
                  <a:pt x="744" y="46393"/>
                </a:lnTo>
                <a:lnTo>
                  <a:pt x="248" y="52069"/>
                </a:lnTo>
                <a:lnTo>
                  <a:pt x="0" y="57992"/>
                </a:lnTo>
                <a:lnTo>
                  <a:pt x="248" y="63914"/>
                </a:lnTo>
                <a:lnTo>
                  <a:pt x="744" y="69590"/>
                </a:lnTo>
                <a:lnTo>
                  <a:pt x="1736" y="75266"/>
                </a:lnTo>
                <a:lnTo>
                  <a:pt x="2728" y="80695"/>
                </a:lnTo>
                <a:lnTo>
                  <a:pt x="4464" y="85631"/>
                </a:lnTo>
                <a:lnTo>
                  <a:pt x="6200" y="90319"/>
                </a:lnTo>
                <a:lnTo>
                  <a:pt x="8184" y="95008"/>
                </a:lnTo>
                <a:lnTo>
                  <a:pt x="10664" y="98957"/>
                </a:lnTo>
                <a:lnTo>
                  <a:pt x="13144" y="102658"/>
                </a:lnTo>
                <a:lnTo>
                  <a:pt x="15872" y="106113"/>
                </a:lnTo>
                <a:lnTo>
                  <a:pt x="18848" y="109074"/>
                </a:lnTo>
                <a:lnTo>
                  <a:pt x="22072" y="111542"/>
                </a:lnTo>
                <a:lnTo>
                  <a:pt x="28769" y="114750"/>
                </a:lnTo>
                <a:lnTo>
                  <a:pt x="35961" y="115984"/>
                </a:lnTo>
                <a:lnTo>
                  <a:pt x="39681" y="115737"/>
                </a:lnTo>
                <a:lnTo>
                  <a:pt x="46626" y="113270"/>
                </a:lnTo>
                <a:lnTo>
                  <a:pt x="53074" y="109074"/>
                </a:lnTo>
                <a:lnTo>
                  <a:pt x="56050" y="106113"/>
                </a:lnTo>
                <a:lnTo>
                  <a:pt x="58778" y="102658"/>
                </a:lnTo>
                <a:lnTo>
                  <a:pt x="61506" y="98957"/>
                </a:lnTo>
                <a:lnTo>
                  <a:pt x="63738" y="95008"/>
                </a:lnTo>
                <a:lnTo>
                  <a:pt x="65722" y="90319"/>
                </a:lnTo>
                <a:lnTo>
                  <a:pt x="67459" y="85631"/>
                </a:lnTo>
                <a:lnTo>
                  <a:pt x="69195" y="80695"/>
                </a:lnTo>
                <a:lnTo>
                  <a:pt x="70187" y="75266"/>
                </a:lnTo>
                <a:lnTo>
                  <a:pt x="71179" y="69590"/>
                </a:lnTo>
                <a:lnTo>
                  <a:pt x="71675" y="63914"/>
                </a:lnTo>
                <a:lnTo>
                  <a:pt x="71923" y="57992"/>
                </a:lnTo>
                <a:lnTo>
                  <a:pt x="71675" y="52069"/>
                </a:lnTo>
                <a:lnTo>
                  <a:pt x="71179" y="46393"/>
                </a:lnTo>
                <a:lnTo>
                  <a:pt x="70187" y="40717"/>
                </a:lnTo>
                <a:lnTo>
                  <a:pt x="69195" y="35535"/>
                </a:lnTo>
                <a:lnTo>
                  <a:pt x="67459" y="30353"/>
                </a:lnTo>
                <a:lnTo>
                  <a:pt x="65722" y="25664"/>
                </a:lnTo>
                <a:lnTo>
                  <a:pt x="63738" y="21222"/>
                </a:lnTo>
                <a:lnTo>
                  <a:pt x="61506" y="17027"/>
                </a:lnTo>
                <a:lnTo>
                  <a:pt x="58778" y="13325"/>
                </a:lnTo>
                <a:lnTo>
                  <a:pt x="56050" y="9871"/>
                </a:lnTo>
                <a:lnTo>
                  <a:pt x="53074" y="7156"/>
                </a:lnTo>
                <a:lnTo>
                  <a:pt x="49850" y="4688"/>
                </a:lnTo>
                <a:lnTo>
                  <a:pt x="43153" y="1233"/>
                </a:lnTo>
                <a:lnTo>
                  <a:pt x="39681" y="246"/>
                </a:lnTo>
                <a:lnTo>
                  <a:pt x="35961" y="0"/>
                </a:lnTo>
                <a:close/>
              </a:path>
            </a:pathLst>
          </a:custGeom>
          <a:solidFill>
            <a:srgbClr val="000000"/>
          </a:solidFill>
        </p:spPr>
        <p:txBody>
          <a:bodyPr wrap="square" lIns="0" tIns="0" rIns="0" bIns="0" rtlCol="0">
            <a:noAutofit/>
          </a:bodyPr>
          <a:lstStyle/>
          <a:p>
            <a:endParaRPr/>
          </a:p>
        </p:txBody>
      </p:sp>
      <p:sp>
        <p:nvSpPr>
          <p:cNvPr id="1346" name="object 1346"/>
          <p:cNvSpPr/>
          <p:nvPr/>
        </p:nvSpPr>
        <p:spPr>
          <a:xfrm>
            <a:off x="9207332" y="1655454"/>
            <a:ext cx="37697" cy="59719"/>
          </a:xfrm>
          <a:custGeom>
            <a:avLst/>
            <a:gdLst/>
            <a:ahLst/>
            <a:cxnLst/>
            <a:rect l="l" t="t" r="r" b="b"/>
            <a:pathLst>
              <a:path w="37697" h="59719">
                <a:moveTo>
                  <a:pt x="3472" y="3701"/>
                </a:moveTo>
                <a:lnTo>
                  <a:pt x="6696" y="4688"/>
                </a:lnTo>
                <a:lnTo>
                  <a:pt x="9920" y="5922"/>
                </a:lnTo>
                <a:lnTo>
                  <a:pt x="12896" y="7896"/>
                </a:lnTo>
                <a:lnTo>
                  <a:pt x="16120" y="10117"/>
                </a:lnTo>
                <a:lnTo>
                  <a:pt x="18848" y="12832"/>
                </a:lnTo>
                <a:lnTo>
                  <a:pt x="21328" y="16040"/>
                </a:lnTo>
                <a:lnTo>
                  <a:pt x="24057" y="19742"/>
                </a:lnTo>
                <a:lnTo>
                  <a:pt x="26289" y="23690"/>
                </a:lnTo>
                <a:lnTo>
                  <a:pt x="28273" y="28132"/>
                </a:lnTo>
                <a:lnTo>
                  <a:pt x="29761" y="32574"/>
                </a:lnTo>
                <a:lnTo>
                  <a:pt x="31497" y="37756"/>
                </a:lnTo>
                <a:lnTo>
                  <a:pt x="32489" y="42692"/>
                </a:lnTo>
                <a:lnTo>
                  <a:pt x="33481" y="48368"/>
                </a:lnTo>
                <a:lnTo>
                  <a:pt x="33977" y="53797"/>
                </a:lnTo>
                <a:lnTo>
                  <a:pt x="34225" y="59719"/>
                </a:lnTo>
                <a:lnTo>
                  <a:pt x="37697" y="59719"/>
                </a:lnTo>
                <a:lnTo>
                  <a:pt x="37449" y="53797"/>
                </a:lnTo>
                <a:lnTo>
                  <a:pt x="36953" y="47874"/>
                </a:lnTo>
                <a:lnTo>
                  <a:pt x="35961" y="42198"/>
                </a:lnTo>
                <a:lnTo>
                  <a:pt x="34969" y="36769"/>
                </a:lnTo>
                <a:lnTo>
                  <a:pt x="33233" y="31587"/>
                </a:lnTo>
                <a:lnTo>
                  <a:pt x="31249" y="26651"/>
                </a:lnTo>
                <a:lnTo>
                  <a:pt x="29265" y="22209"/>
                </a:lnTo>
                <a:lnTo>
                  <a:pt x="27033" y="17767"/>
                </a:lnTo>
                <a:lnTo>
                  <a:pt x="24305" y="14066"/>
                </a:lnTo>
                <a:lnTo>
                  <a:pt x="21328" y="10364"/>
                </a:lnTo>
                <a:lnTo>
                  <a:pt x="18104" y="7650"/>
                </a:lnTo>
                <a:lnTo>
                  <a:pt x="14880" y="4935"/>
                </a:lnTo>
                <a:lnTo>
                  <a:pt x="11408" y="2961"/>
                </a:lnTo>
                <a:lnTo>
                  <a:pt x="7688" y="1233"/>
                </a:lnTo>
                <a:lnTo>
                  <a:pt x="3968" y="246"/>
                </a:lnTo>
                <a:lnTo>
                  <a:pt x="0" y="0"/>
                </a:lnTo>
                <a:lnTo>
                  <a:pt x="0" y="3454"/>
                </a:lnTo>
                <a:lnTo>
                  <a:pt x="3472" y="3701"/>
                </a:lnTo>
                <a:close/>
              </a:path>
            </a:pathLst>
          </a:custGeom>
          <a:solidFill>
            <a:srgbClr val="000000"/>
          </a:solidFill>
        </p:spPr>
        <p:txBody>
          <a:bodyPr wrap="square" lIns="0" tIns="0" rIns="0" bIns="0" rtlCol="0">
            <a:noAutofit/>
          </a:bodyPr>
          <a:lstStyle/>
          <a:p>
            <a:endParaRPr/>
          </a:p>
        </p:txBody>
      </p:sp>
      <p:sp>
        <p:nvSpPr>
          <p:cNvPr id="1347" name="object 1347"/>
          <p:cNvSpPr/>
          <p:nvPr/>
        </p:nvSpPr>
        <p:spPr>
          <a:xfrm>
            <a:off x="9207332" y="1715174"/>
            <a:ext cx="37697" cy="59719"/>
          </a:xfrm>
          <a:custGeom>
            <a:avLst/>
            <a:gdLst/>
            <a:ahLst/>
            <a:cxnLst/>
            <a:rect l="l" t="t" r="r" b="b"/>
            <a:pathLst>
              <a:path w="37697" h="59719">
                <a:moveTo>
                  <a:pt x="3968" y="59472"/>
                </a:moveTo>
                <a:lnTo>
                  <a:pt x="7688" y="58485"/>
                </a:lnTo>
                <a:lnTo>
                  <a:pt x="11408" y="56758"/>
                </a:lnTo>
                <a:lnTo>
                  <a:pt x="14880" y="55030"/>
                </a:lnTo>
                <a:lnTo>
                  <a:pt x="18352" y="52316"/>
                </a:lnTo>
                <a:lnTo>
                  <a:pt x="21328" y="49355"/>
                </a:lnTo>
                <a:lnTo>
                  <a:pt x="24305" y="45653"/>
                </a:lnTo>
                <a:lnTo>
                  <a:pt x="27033" y="41951"/>
                </a:lnTo>
                <a:lnTo>
                  <a:pt x="29265" y="37756"/>
                </a:lnTo>
                <a:lnTo>
                  <a:pt x="31249" y="33067"/>
                </a:lnTo>
                <a:lnTo>
                  <a:pt x="33233" y="28132"/>
                </a:lnTo>
                <a:lnTo>
                  <a:pt x="34969" y="23196"/>
                </a:lnTo>
                <a:lnTo>
                  <a:pt x="35961" y="17521"/>
                </a:lnTo>
                <a:lnTo>
                  <a:pt x="36953" y="11845"/>
                </a:lnTo>
                <a:lnTo>
                  <a:pt x="37449" y="5922"/>
                </a:lnTo>
                <a:lnTo>
                  <a:pt x="37697" y="0"/>
                </a:lnTo>
                <a:lnTo>
                  <a:pt x="34225" y="0"/>
                </a:lnTo>
                <a:lnTo>
                  <a:pt x="33977" y="5922"/>
                </a:lnTo>
                <a:lnTo>
                  <a:pt x="33481" y="11351"/>
                </a:lnTo>
                <a:lnTo>
                  <a:pt x="32489" y="17027"/>
                </a:lnTo>
                <a:lnTo>
                  <a:pt x="31497" y="22209"/>
                </a:lnTo>
                <a:lnTo>
                  <a:pt x="29761" y="27145"/>
                </a:lnTo>
                <a:lnTo>
                  <a:pt x="28273" y="31587"/>
                </a:lnTo>
                <a:lnTo>
                  <a:pt x="26289" y="36276"/>
                </a:lnTo>
                <a:lnTo>
                  <a:pt x="24057" y="39977"/>
                </a:lnTo>
                <a:lnTo>
                  <a:pt x="21328" y="43679"/>
                </a:lnTo>
                <a:lnTo>
                  <a:pt x="18848" y="46887"/>
                </a:lnTo>
                <a:lnTo>
                  <a:pt x="15872" y="49848"/>
                </a:lnTo>
                <a:lnTo>
                  <a:pt x="12896" y="52069"/>
                </a:lnTo>
                <a:lnTo>
                  <a:pt x="9920" y="53797"/>
                </a:lnTo>
                <a:lnTo>
                  <a:pt x="6696" y="55030"/>
                </a:lnTo>
                <a:lnTo>
                  <a:pt x="3472" y="56018"/>
                </a:lnTo>
                <a:lnTo>
                  <a:pt x="0" y="56264"/>
                </a:lnTo>
                <a:lnTo>
                  <a:pt x="0" y="59719"/>
                </a:lnTo>
                <a:lnTo>
                  <a:pt x="3968" y="59472"/>
                </a:lnTo>
                <a:close/>
              </a:path>
            </a:pathLst>
          </a:custGeom>
          <a:solidFill>
            <a:srgbClr val="000000"/>
          </a:solidFill>
        </p:spPr>
        <p:txBody>
          <a:bodyPr wrap="square" lIns="0" tIns="0" rIns="0" bIns="0" rtlCol="0">
            <a:noAutofit/>
          </a:bodyPr>
          <a:lstStyle/>
          <a:p>
            <a:endParaRPr/>
          </a:p>
        </p:txBody>
      </p:sp>
      <p:sp>
        <p:nvSpPr>
          <p:cNvPr id="1348" name="object 1348"/>
          <p:cNvSpPr/>
          <p:nvPr/>
        </p:nvSpPr>
        <p:spPr>
          <a:xfrm>
            <a:off x="9169635" y="1715174"/>
            <a:ext cx="37697" cy="59719"/>
          </a:xfrm>
          <a:custGeom>
            <a:avLst/>
            <a:gdLst/>
            <a:ahLst/>
            <a:cxnLst/>
            <a:rect l="l" t="t" r="r" b="b"/>
            <a:pathLst>
              <a:path w="37697" h="59719">
                <a:moveTo>
                  <a:pt x="3472" y="0"/>
                </a:moveTo>
                <a:lnTo>
                  <a:pt x="0" y="0"/>
                </a:lnTo>
                <a:lnTo>
                  <a:pt x="248" y="5922"/>
                </a:lnTo>
                <a:lnTo>
                  <a:pt x="744" y="11845"/>
                </a:lnTo>
                <a:lnTo>
                  <a:pt x="1736" y="17521"/>
                </a:lnTo>
                <a:lnTo>
                  <a:pt x="2728" y="23196"/>
                </a:lnTo>
                <a:lnTo>
                  <a:pt x="4464" y="28132"/>
                </a:lnTo>
                <a:lnTo>
                  <a:pt x="6448" y="33067"/>
                </a:lnTo>
                <a:lnTo>
                  <a:pt x="8432" y="37756"/>
                </a:lnTo>
                <a:lnTo>
                  <a:pt x="10912" y="41951"/>
                </a:lnTo>
                <a:lnTo>
                  <a:pt x="13392" y="45653"/>
                </a:lnTo>
                <a:lnTo>
                  <a:pt x="16368" y="49355"/>
                </a:lnTo>
                <a:lnTo>
                  <a:pt x="19344" y="52316"/>
                </a:lnTo>
                <a:lnTo>
                  <a:pt x="22817" y="55030"/>
                </a:lnTo>
                <a:lnTo>
                  <a:pt x="26289" y="56758"/>
                </a:lnTo>
                <a:lnTo>
                  <a:pt x="30009" y="58485"/>
                </a:lnTo>
                <a:lnTo>
                  <a:pt x="33729" y="59472"/>
                </a:lnTo>
                <a:lnTo>
                  <a:pt x="37697" y="59719"/>
                </a:lnTo>
                <a:lnTo>
                  <a:pt x="37697" y="56264"/>
                </a:lnTo>
                <a:lnTo>
                  <a:pt x="34225" y="56018"/>
                </a:lnTo>
                <a:lnTo>
                  <a:pt x="31001" y="55030"/>
                </a:lnTo>
                <a:lnTo>
                  <a:pt x="27777" y="53797"/>
                </a:lnTo>
                <a:lnTo>
                  <a:pt x="24801" y="52069"/>
                </a:lnTo>
                <a:lnTo>
                  <a:pt x="21824" y="49848"/>
                </a:lnTo>
                <a:lnTo>
                  <a:pt x="18848" y="46887"/>
                </a:lnTo>
                <a:lnTo>
                  <a:pt x="16368" y="43679"/>
                </a:lnTo>
                <a:lnTo>
                  <a:pt x="13888" y="39977"/>
                </a:lnTo>
                <a:lnTo>
                  <a:pt x="11408" y="36276"/>
                </a:lnTo>
                <a:lnTo>
                  <a:pt x="9424" y="31587"/>
                </a:lnTo>
                <a:lnTo>
                  <a:pt x="7936" y="27145"/>
                </a:lnTo>
                <a:lnTo>
                  <a:pt x="6200" y="22209"/>
                </a:lnTo>
                <a:lnTo>
                  <a:pt x="5208" y="17027"/>
                </a:lnTo>
                <a:lnTo>
                  <a:pt x="4216" y="11351"/>
                </a:lnTo>
                <a:lnTo>
                  <a:pt x="3720" y="5922"/>
                </a:lnTo>
                <a:lnTo>
                  <a:pt x="3472" y="0"/>
                </a:lnTo>
                <a:close/>
              </a:path>
            </a:pathLst>
          </a:custGeom>
          <a:solidFill>
            <a:srgbClr val="000000"/>
          </a:solidFill>
        </p:spPr>
        <p:txBody>
          <a:bodyPr wrap="square" lIns="0" tIns="0" rIns="0" bIns="0" rtlCol="0">
            <a:noAutofit/>
          </a:bodyPr>
          <a:lstStyle/>
          <a:p>
            <a:endParaRPr/>
          </a:p>
        </p:txBody>
      </p:sp>
      <p:sp>
        <p:nvSpPr>
          <p:cNvPr id="1349" name="object 1349"/>
          <p:cNvSpPr/>
          <p:nvPr/>
        </p:nvSpPr>
        <p:spPr>
          <a:xfrm>
            <a:off x="9169635" y="1655454"/>
            <a:ext cx="37697" cy="59719"/>
          </a:xfrm>
          <a:custGeom>
            <a:avLst/>
            <a:gdLst/>
            <a:ahLst/>
            <a:cxnLst/>
            <a:rect l="l" t="t" r="r" b="b"/>
            <a:pathLst>
              <a:path w="37697" h="59719">
                <a:moveTo>
                  <a:pt x="4464" y="31587"/>
                </a:moveTo>
                <a:lnTo>
                  <a:pt x="2728" y="36769"/>
                </a:lnTo>
                <a:lnTo>
                  <a:pt x="1736" y="42198"/>
                </a:lnTo>
                <a:lnTo>
                  <a:pt x="744" y="47874"/>
                </a:lnTo>
                <a:lnTo>
                  <a:pt x="248" y="53797"/>
                </a:lnTo>
                <a:lnTo>
                  <a:pt x="0" y="59719"/>
                </a:lnTo>
                <a:lnTo>
                  <a:pt x="3472" y="59719"/>
                </a:lnTo>
                <a:lnTo>
                  <a:pt x="3720" y="53797"/>
                </a:lnTo>
                <a:lnTo>
                  <a:pt x="4216" y="48368"/>
                </a:lnTo>
                <a:lnTo>
                  <a:pt x="5208" y="42692"/>
                </a:lnTo>
                <a:lnTo>
                  <a:pt x="6200" y="37756"/>
                </a:lnTo>
                <a:lnTo>
                  <a:pt x="7936" y="32574"/>
                </a:lnTo>
                <a:lnTo>
                  <a:pt x="9424" y="28132"/>
                </a:lnTo>
                <a:lnTo>
                  <a:pt x="11408" y="23690"/>
                </a:lnTo>
                <a:lnTo>
                  <a:pt x="13888" y="19742"/>
                </a:lnTo>
                <a:lnTo>
                  <a:pt x="16368" y="16040"/>
                </a:lnTo>
                <a:lnTo>
                  <a:pt x="18848" y="12832"/>
                </a:lnTo>
                <a:lnTo>
                  <a:pt x="21576" y="10117"/>
                </a:lnTo>
                <a:lnTo>
                  <a:pt x="24801" y="7896"/>
                </a:lnTo>
                <a:lnTo>
                  <a:pt x="27777" y="5922"/>
                </a:lnTo>
                <a:lnTo>
                  <a:pt x="31001" y="4688"/>
                </a:lnTo>
                <a:lnTo>
                  <a:pt x="34225" y="3701"/>
                </a:lnTo>
                <a:lnTo>
                  <a:pt x="37697" y="3454"/>
                </a:lnTo>
                <a:lnTo>
                  <a:pt x="37697" y="0"/>
                </a:lnTo>
                <a:lnTo>
                  <a:pt x="33729" y="246"/>
                </a:lnTo>
                <a:lnTo>
                  <a:pt x="30009" y="1233"/>
                </a:lnTo>
                <a:lnTo>
                  <a:pt x="26289" y="2961"/>
                </a:lnTo>
                <a:lnTo>
                  <a:pt x="22817" y="4935"/>
                </a:lnTo>
                <a:lnTo>
                  <a:pt x="19592" y="7650"/>
                </a:lnTo>
                <a:lnTo>
                  <a:pt x="16368" y="10364"/>
                </a:lnTo>
                <a:lnTo>
                  <a:pt x="13392" y="14066"/>
                </a:lnTo>
                <a:lnTo>
                  <a:pt x="10912" y="17767"/>
                </a:lnTo>
                <a:lnTo>
                  <a:pt x="8432" y="22209"/>
                </a:lnTo>
                <a:lnTo>
                  <a:pt x="6448" y="26651"/>
                </a:lnTo>
                <a:lnTo>
                  <a:pt x="4464" y="31587"/>
                </a:lnTo>
                <a:close/>
              </a:path>
            </a:pathLst>
          </a:custGeom>
          <a:solidFill>
            <a:srgbClr val="000000"/>
          </a:solidFill>
        </p:spPr>
        <p:txBody>
          <a:bodyPr wrap="square" lIns="0" tIns="0" rIns="0" bIns="0" rtlCol="0">
            <a:noAutofit/>
          </a:bodyPr>
          <a:lstStyle/>
          <a:p>
            <a:endParaRPr/>
          </a:p>
        </p:txBody>
      </p:sp>
      <p:sp>
        <p:nvSpPr>
          <p:cNvPr id="1350" name="object 1350"/>
          <p:cNvSpPr/>
          <p:nvPr/>
        </p:nvSpPr>
        <p:spPr>
          <a:xfrm>
            <a:off x="8325404" y="1606838"/>
            <a:ext cx="1256424" cy="148558"/>
          </a:xfrm>
          <a:custGeom>
            <a:avLst/>
            <a:gdLst/>
            <a:ahLst/>
            <a:cxnLst/>
            <a:rect l="l" t="t" r="r" b="b"/>
            <a:pathLst>
              <a:path w="1256424" h="148558">
                <a:moveTo>
                  <a:pt x="1134403" y="53303"/>
                </a:moveTo>
                <a:lnTo>
                  <a:pt x="1107865" y="76747"/>
                </a:lnTo>
                <a:lnTo>
                  <a:pt x="730392" y="100437"/>
                </a:lnTo>
                <a:lnTo>
                  <a:pt x="693191" y="65642"/>
                </a:lnTo>
                <a:lnTo>
                  <a:pt x="693191" y="246"/>
                </a:lnTo>
                <a:lnTo>
                  <a:pt x="0" y="0"/>
                </a:lnTo>
                <a:lnTo>
                  <a:pt x="0" y="107100"/>
                </a:lnTo>
                <a:lnTo>
                  <a:pt x="555544" y="107100"/>
                </a:lnTo>
                <a:lnTo>
                  <a:pt x="580594" y="148558"/>
                </a:lnTo>
                <a:lnTo>
                  <a:pt x="918385" y="125855"/>
                </a:lnTo>
                <a:lnTo>
                  <a:pt x="918633" y="95748"/>
                </a:lnTo>
                <a:lnTo>
                  <a:pt x="1087528" y="95748"/>
                </a:lnTo>
                <a:lnTo>
                  <a:pt x="1087528" y="114503"/>
                </a:lnTo>
                <a:lnTo>
                  <a:pt x="1256424" y="103152"/>
                </a:lnTo>
                <a:lnTo>
                  <a:pt x="1256424" y="48121"/>
                </a:lnTo>
                <a:lnTo>
                  <a:pt x="1134403" y="53303"/>
                </a:lnTo>
                <a:close/>
              </a:path>
            </a:pathLst>
          </a:custGeom>
          <a:solidFill>
            <a:srgbClr val="404040"/>
          </a:solidFill>
        </p:spPr>
        <p:txBody>
          <a:bodyPr wrap="square" lIns="0" tIns="0" rIns="0" bIns="0" rtlCol="0">
            <a:noAutofit/>
          </a:bodyPr>
          <a:lstStyle/>
          <a:p>
            <a:endParaRPr/>
          </a:p>
        </p:txBody>
      </p:sp>
      <p:sp>
        <p:nvSpPr>
          <p:cNvPr id="1351" name="object 1351"/>
          <p:cNvSpPr/>
          <p:nvPr/>
        </p:nvSpPr>
        <p:spPr>
          <a:xfrm>
            <a:off x="8324164" y="1606839"/>
            <a:ext cx="2480" cy="108087"/>
          </a:xfrm>
          <a:custGeom>
            <a:avLst/>
            <a:gdLst/>
            <a:ahLst/>
            <a:cxnLst/>
            <a:rect l="l" t="t" r="r" b="b"/>
            <a:pathLst>
              <a:path w="2480" h="108087">
                <a:moveTo>
                  <a:pt x="868" y="107964"/>
                </a:moveTo>
                <a:lnTo>
                  <a:pt x="1240" y="108087"/>
                </a:lnTo>
                <a:lnTo>
                  <a:pt x="1240" y="105866"/>
                </a:lnTo>
                <a:lnTo>
                  <a:pt x="2480" y="0"/>
                </a:lnTo>
                <a:lnTo>
                  <a:pt x="0" y="0"/>
                </a:lnTo>
                <a:lnTo>
                  <a:pt x="0" y="107100"/>
                </a:lnTo>
                <a:lnTo>
                  <a:pt x="496" y="107840"/>
                </a:lnTo>
                <a:lnTo>
                  <a:pt x="868" y="107964"/>
                </a:lnTo>
                <a:close/>
              </a:path>
            </a:pathLst>
          </a:custGeom>
          <a:solidFill>
            <a:srgbClr val="000000"/>
          </a:solidFill>
        </p:spPr>
        <p:txBody>
          <a:bodyPr wrap="square" lIns="0" tIns="0" rIns="0" bIns="0" rtlCol="0">
            <a:noAutofit/>
          </a:bodyPr>
          <a:lstStyle/>
          <a:p>
            <a:endParaRPr/>
          </a:p>
        </p:txBody>
      </p:sp>
      <p:sp>
        <p:nvSpPr>
          <p:cNvPr id="1352" name="object 1352"/>
          <p:cNvSpPr/>
          <p:nvPr/>
        </p:nvSpPr>
        <p:spPr>
          <a:xfrm>
            <a:off x="8325404" y="1606839"/>
            <a:ext cx="1240" cy="108087"/>
          </a:xfrm>
          <a:custGeom>
            <a:avLst/>
            <a:gdLst/>
            <a:ahLst/>
            <a:cxnLst/>
            <a:rect l="l" t="t" r="r" b="b"/>
            <a:pathLst>
              <a:path w="1240" h="108087">
                <a:moveTo>
                  <a:pt x="0" y="105866"/>
                </a:moveTo>
                <a:lnTo>
                  <a:pt x="0" y="108087"/>
                </a:lnTo>
                <a:lnTo>
                  <a:pt x="744" y="107840"/>
                </a:lnTo>
                <a:lnTo>
                  <a:pt x="1240" y="107100"/>
                </a:lnTo>
                <a:lnTo>
                  <a:pt x="1240" y="0"/>
                </a:lnTo>
                <a:lnTo>
                  <a:pt x="0" y="105866"/>
                </a:lnTo>
                <a:close/>
              </a:path>
            </a:pathLst>
          </a:custGeom>
          <a:solidFill>
            <a:srgbClr val="000000"/>
          </a:solidFill>
        </p:spPr>
        <p:txBody>
          <a:bodyPr wrap="square" lIns="0" tIns="0" rIns="0" bIns="0" rtlCol="0">
            <a:noAutofit/>
          </a:bodyPr>
          <a:lstStyle/>
          <a:p>
            <a:endParaRPr/>
          </a:p>
        </p:txBody>
      </p:sp>
      <p:sp>
        <p:nvSpPr>
          <p:cNvPr id="1353" name="object 1353"/>
          <p:cNvSpPr/>
          <p:nvPr/>
        </p:nvSpPr>
        <p:spPr>
          <a:xfrm>
            <a:off x="8879958" y="1713199"/>
            <a:ext cx="27281" cy="43432"/>
          </a:xfrm>
          <a:custGeom>
            <a:avLst/>
            <a:gdLst/>
            <a:ahLst/>
            <a:cxnLst/>
            <a:rect l="l" t="t" r="r" b="b"/>
            <a:pathLst>
              <a:path w="27281" h="43432">
                <a:moveTo>
                  <a:pt x="0" y="1480"/>
                </a:moveTo>
                <a:lnTo>
                  <a:pt x="25049" y="42938"/>
                </a:lnTo>
                <a:lnTo>
                  <a:pt x="26041" y="40964"/>
                </a:lnTo>
                <a:lnTo>
                  <a:pt x="26785" y="43185"/>
                </a:lnTo>
                <a:lnTo>
                  <a:pt x="27281" y="42445"/>
                </a:lnTo>
                <a:lnTo>
                  <a:pt x="27033" y="41458"/>
                </a:lnTo>
                <a:lnTo>
                  <a:pt x="1984" y="0"/>
                </a:lnTo>
                <a:lnTo>
                  <a:pt x="0" y="1480"/>
                </a:lnTo>
                <a:close/>
              </a:path>
              <a:path w="27281" h="43432">
                <a:moveTo>
                  <a:pt x="26041" y="40964"/>
                </a:moveTo>
                <a:lnTo>
                  <a:pt x="25049" y="42938"/>
                </a:lnTo>
                <a:lnTo>
                  <a:pt x="26041" y="43432"/>
                </a:lnTo>
                <a:lnTo>
                  <a:pt x="26785" y="43185"/>
                </a:lnTo>
                <a:lnTo>
                  <a:pt x="26041" y="40964"/>
                </a:lnTo>
                <a:close/>
              </a:path>
            </a:pathLst>
          </a:custGeom>
          <a:solidFill>
            <a:srgbClr val="000000"/>
          </a:solidFill>
        </p:spPr>
        <p:txBody>
          <a:bodyPr wrap="square" lIns="0" tIns="0" rIns="0" bIns="0" rtlCol="0">
            <a:noAutofit/>
          </a:bodyPr>
          <a:lstStyle/>
          <a:p>
            <a:endParaRPr/>
          </a:p>
        </p:txBody>
      </p:sp>
      <p:sp>
        <p:nvSpPr>
          <p:cNvPr id="1354" name="object 1354"/>
          <p:cNvSpPr/>
          <p:nvPr/>
        </p:nvSpPr>
        <p:spPr>
          <a:xfrm>
            <a:off x="8905999" y="1731461"/>
            <a:ext cx="339031" cy="25171"/>
          </a:xfrm>
          <a:custGeom>
            <a:avLst/>
            <a:gdLst/>
            <a:ahLst/>
            <a:cxnLst/>
            <a:rect l="l" t="t" r="r" b="b"/>
            <a:pathLst>
              <a:path w="339031" h="25171">
                <a:moveTo>
                  <a:pt x="338535" y="1974"/>
                </a:moveTo>
                <a:lnTo>
                  <a:pt x="339031" y="1233"/>
                </a:lnTo>
                <a:lnTo>
                  <a:pt x="338535" y="493"/>
                </a:lnTo>
                <a:lnTo>
                  <a:pt x="337791" y="0"/>
                </a:lnTo>
                <a:lnTo>
                  <a:pt x="0" y="22703"/>
                </a:lnTo>
                <a:lnTo>
                  <a:pt x="0" y="25171"/>
                </a:lnTo>
                <a:lnTo>
                  <a:pt x="337791" y="2467"/>
                </a:lnTo>
                <a:lnTo>
                  <a:pt x="336551" y="1233"/>
                </a:lnTo>
                <a:lnTo>
                  <a:pt x="337791" y="2467"/>
                </a:lnTo>
                <a:lnTo>
                  <a:pt x="338535" y="1974"/>
                </a:lnTo>
                <a:close/>
              </a:path>
            </a:pathLst>
          </a:custGeom>
          <a:solidFill>
            <a:srgbClr val="000000"/>
          </a:solidFill>
        </p:spPr>
        <p:txBody>
          <a:bodyPr wrap="square" lIns="0" tIns="0" rIns="0" bIns="0" rtlCol="0">
            <a:noAutofit/>
          </a:bodyPr>
          <a:lstStyle/>
          <a:p>
            <a:endParaRPr/>
          </a:p>
        </p:txBody>
      </p:sp>
      <p:sp>
        <p:nvSpPr>
          <p:cNvPr id="1355" name="object 1355"/>
          <p:cNvSpPr/>
          <p:nvPr/>
        </p:nvSpPr>
        <p:spPr>
          <a:xfrm>
            <a:off x="9242549" y="1701353"/>
            <a:ext cx="2728" cy="31340"/>
          </a:xfrm>
          <a:custGeom>
            <a:avLst/>
            <a:gdLst/>
            <a:ahLst/>
            <a:cxnLst/>
            <a:rect l="l" t="t" r="r" b="b"/>
            <a:pathLst>
              <a:path w="2728" h="31340">
                <a:moveTo>
                  <a:pt x="2232" y="493"/>
                </a:moveTo>
                <a:lnTo>
                  <a:pt x="1488" y="0"/>
                </a:lnTo>
                <a:lnTo>
                  <a:pt x="1488" y="2467"/>
                </a:lnTo>
                <a:lnTo>
                  <a:pt x="248" y="1233"/>
                </a:lnTo>
                <a:lnTo>
                  <a:pt x="0" y="31340"/>
                </a:lnTo>
                <a:lnTo>
                  <a:pt x="2480" y="31340"/>
                </a:lnTo>
                <a:lnTo>
                  <a:pt x="2728" y="1233"/>
                </a:lnTo>
                <a:lnTo>
                  <a:pt x="2232" y="493"/>
                </a:lnTo>
                <a:close/>
              </a:path>
            </a:pathLst>
          </a:custGeom>
          <a:solidFill>
            <a:srgbClr val="000000"/>
          </a:solidFill>
        </p:spPr>
        <p:txBody>
          <a:bodyPr wrap="square" lIns="0" tIns="0" rIns="0" bIns="0" rtlCol="0">
            <a:noAutofit/>
          </a:bodyPr>
          <a:lstStyle/>
          <a:p>
            <a:endParaRPr/>
          </a:p>
        </p:txBody>
      </p:sp>
      <p:sp>
        <p:nvSpPr>
          <p:cNvPr id="1356" name="object 1356"/>
          <p:cNvSpPr/>
          <p:nvPr/>
        </p:nvSpPr>
        <p:spPr>
          <a:xfrm>
            <a:off x="9242797" y="1701354"/>
            <a:ext cx="1240" cy="2467"/>
          </a:xfrm>
          <a:custGeom>
            <a:avLst/>
            <a:gdLst/>
            <a:ahLst/>
            <a:cxnLst/>
            <a:rect l="l" t="t" r="r" b="b"/>
            <a:pathLst>
              <a:path w="1240" h="2467">
                <a:moveTo>
                  <a:pt x="1240" y="0"/>
                </a:moveTo>
                <a:lnTo>
                  <a:pt x="496" y="493"/>
                </a:lnTo>
                <a:lnTo>
                  <a:pt x="0" y="1233"/>
                </a:lnTo>
                <a:lnTo>
                  <a:pt x="1240" y="2467"/>
                </a:lnTo>
                <a:lnTo>
                  <a:pt x="1240" y="0"/>
                </a:lnTo>
                <a:close/>
              </a:path>
            </a:pathLst>
          </a:custGeom>
          <a:solidFill>
            <a:srgbClr val="000000"/>
          </a:solidFill>
        </p:spPr>
        <p:txBody>
          <a:bodyPr wrap="square" lIns="0" tIns="0" rIns="0" bIns="0" rtlCol="0">
            <a:noAutofit/>
          </a:bodyPr>
          <a:lstStyle/>
          <a:p>
            <a:endParaRPr/>
          </a:p>
        </p:txBody>
      </p:sp>
      <p:sp>
        <p:nvSpPr>
          <p:cNvPr id="1357" name="object 1357"/>
          <p:cNvSpPr/>
          <p:nvPr/>
        </p:nvSpPr>
        <p:spPr>
          <a:xfrm>
            <a:off x="9244038" y="1701354"/>
            <a:ext cx="170135" cy="2467"/>
          </a:xfrm>
          <a:custGeom>
            <a:avLst/>
            <a:gdLst/>
            <a:ahLst/>
            <a:cxnLst/>
            <a:rect l="l" t="t" r="r" b="b"/>
            <a:pathLst>
              <a:path w="170135" h="2467">
                <a:moveTo>
                  <a:pt x="168895" y="0"/>
                </a:moveTo>
                <a:lnTo>
                  <a:pt x="0" y="0"/>
                </a:lnTo>
                <a:lnTo>
                  <a:pt x="0" y="2467"/>
                </a:lnTo>
                <a:lnTo>
                  <a:pt x="168895" y="2467"/>
                </a:lnTo>
                <a:lnTo>
                  <a:pt x="169639" y="1974"/>
                </a:lnTo>
                <a:lnTo>
                  <a:pt x="170135" y="1233"/>
                </a:lnTo>
                <a:lnTo>
                  <a:pt x="169639" y="493"/>
                </a:lnTo>
                <a:lnTo>
                  <a:pt x="168895" y="0"/>
                </a:lnTo>
                <a:lnTo>
                  <a:pt x="167655" y="1233"/>
                </a:lnTo>
                <a:lnTo>
                  <a:pt x="168895" y="0"/>
                </a:lnTo>
                <a:close/>
              </a:path>
            </a:pathLst>
          </a:custGeom>
          <a:solidFill>
            <a:srgbClr val="000000"/>
          </a:solidFill>
        </p:spPr>
        <p:txBody>
          <a:bodyPr wrap="square" lIns="0" tIns="0" rIns="0" bIns="0" rtlCol="0">
            <a:noAutofit/>
          </a:bodyPr>
          <a:lstStyle/>
          <a:p>
            <a:endParaRPr/>
          </a:p>
        </p:txBody>
      </p:sp>
      <p:sp>
        <p:nvSpPr>
          <p:cNvPr id="1358" name="object 1358"/>
          <p:cNvSpPr/>
          <p:nvPr/>
        </p:nvSpPr>
        <p:spPr>
          <a:xfrm>
            <a:off x="9411693" y="1702587"/>
            <a:ext cx="2480" cy="19742"/>
          </a:xfrm>
          <a:custGeom>
            <a:avLst/>
            <a:gdLst/>
            <a:ahLst/>
            <a:cxnLst/>
            <a:rect l="l" t="t" r="r" b="b"/>
            <a:pathLst>
              <a:path w="2480" h="19742">
                <a:moveTo>
                  <a:pt x="868" y="19618"/>
                </a:moveTo>
                <a:lnTo>
                  <a:pt x="1240" y="19742"/>
                </a:lnTo>
                <a:lnTo>
                  <a:pt x="1240" y="17521"/>
                </a:lnTo>
                <a:lnTo>
                  <a:pt x="2480" y="0"/>
                </a:lnTo>
                <a:lnTo>
                  <a:pt x="0" y="0"/>
                </a:lnTo>
                <a:lnTo>
                  <a:pt x="0" y="18754"/>
                </a:lnTo>
                <a:lnTo>
                  <a:pt x="496" y="19495"/>
                </a:lnTo>
                <a:lnTo>
                  <a:pt x="868" y="19618"/>
                </a:lnTo>
                <a:close/>
              </a:path>
            </a:pathLst>
          </a:custGeom>
          <a:solidFill>
            <a:srgbClr val="000000"/>
          </a:solidFill>
        </p:spPr>
        <p:txBody>
          <a:bodyPr wrap="square" lIns="0" tIns="0" rIns="0" bIns="0" rtlCol="0">
            <a:noAutofit/>
          </a:bodyPr>
          <a:lstStyle/>
          <a:p>
            <a:endParaRPr/>
          </a:p>
        </p:txBody>
      </p:sp>
      <p:sp>
        <p:nvSpPr>
          <p:cNvPr id="1359" name="object 1359"/>
          <p:cNvSpPr/>
          <p:nvPr/>
        </p:nvSpPr>
        <p:spPr>
          <a:xfrm>
            <a:off x="9412933" y="1702587"/>
            <a:ext cx="1240" cy="19742"/>
          </a:xfrm>
          <a:custGeom>
            <a:avLst/>
            <a:gdLst/>
            <a:ahLst/>
            <a:cxnLst/>
            <a:rect l="l" t="t" r="r" b="b"/>
            <a:pathLst>
              <a:path w="1240" h="19742">
                <a:moveTo>
                  <a:pt x="0" y="17521"/>
                </a:moveTo>
                <a:lnTo>
                  <a:pt x="0" y="19742"/>
                </a:lnTo>
                <a:lnTo>
                  <a:pt x="744" y="19495"/>
                </a:lnTo>
                <a:lnTo>
                  <a:pt x="1240" y="18754"/>
                </a:lnTo>
                <a:lnTo>
                  <a:pt x="1240" y="0"/>
                </a:lnTo>
                <a:lnTo>
                  <a:pt x="0" y="17521"/>
                </a:lnTo>
                <a:close/>
              </a:path>
            </a:pathLst>
          </a:custGeom>
          <a:solidFill>
            <a:srgbClr val="000000"/>
          </a:solidFill>
        </p:spPr>
        <p:txBody>
          <a:bodyPr wrap="square" lIns="0" tIns="0" rIns="0" bIns="0" rtlCol="0">
            <a:noAutofit/>
          </a:bodyPr>
          <a:lstStyle/>
          <a:p>
            <a:endParaRPr/>
          </a:p>
        </p:txBody>
      </p:sp>
      <p:sp>
        <p:nvSpPr>
          <p:cNvPr id="1360" name="object 1360"/>
          <p:cNvSpPr/>
          <p:nvPr/>
        </p:nvSpPr>
        <p:spPr>
          <a:xfrm>
            <a:off x="9412934" y="1708758"/>
            <a:ext cx="170135" cy="13819"/>
          </a:xfrm>
          <a:custGeom>
            <a:avLst/>
            <a:gdLst/>
            <a:ahLst/>
            <a:cxnLst/>
            <a:rect l="l" t="t" r="r" b="b"/>
            <a:pathLst>
              <a:path w="170135" h="13819">
                <a:moveTo>
                  <a:pt x="169639" y="1974"/>
                </a:moveTo>
                <a:lnTo>
                  <a:pt x="170135" y="1233"/>
                </a:lnTo>
                <a:lnTo>
                  <a:pt x="169639" y="493"/>
                </a:lnTo>
                <a:lnTo>
                  <a:pt x="168895" y="0"/>
                </a:lnTo>
                <a:lnTo>
                  <a:pt x="0" y="11351"/>
                </a:lnTo>
                <a:lnTo>
                  <a:pt x="0" y="13819"/>
                </a:lnTo>
                <a:lnTo>
                  <a:pt x="168895" y="2467"/>
                </a:lnTo>
                <a:lnTo>
                  <a:pt x="167655" y="1233"/>
                </a:lnTo>
                <a:lnTo>
                  <a:pt x="168895" y="2467"/>
                </a:lnTo>
                <a:lnTo>
                  <a:pt x="169639" y="1974"/>
                </a:lnTo>
                <a:close/>
              </a:path>
            </a:pathLst>
          </a:custGeom>
          <a:solidFill>
            <a:srgbClr val="000000"/>
          </a:solidFill>
        </p:spPr>
        <p:txBody>
          <a:bodyPr wrap="square" lIns="0" tIns="0" rIns="0" bIns="0" rtlCol="0">
            <a:noAutofit/>
          </a:bodyPr>
          <a:lstStyle/>
          <a:p>
            <a:endParaRPr/>
          </a:p>
        </p:txBody>
      </p:sp>
      <p:sp>
        <p:nvSpPr>
          <p:cNvPr id="1361" name="object 1361"/>
          <p:cNvSpPr/>
          <p:nvPr/>
        </p:nvSpPr>
        <p:spPr>
          <a:xfrm>
            <a:off x="9581084" y="1653727"/>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1362" name="object 1362"/>
          <p:cNvSpPr/>
          <p:nvPr/>
        </p:nvSpPr>
        <p:spPr>
          <a:xfrm>
            <a:off x="9580588" y="1653726"/>
            <a:ext cx="2480" cy="56264"/>
          </a:xfrm>
          <a:custGeom>
            <a:avLst/>
            <a:gdLst/>
            <a:ahLst/>
            <a:cxnLst/>
            <a:rect l="l" t="t" r="r" b="b"/>
            <a:pathLst>
              <a:path w="2480" h="56264">
                <a:moveTo>
                  <a:pt x="496" y="493"/>
                </a:moveTo>
                <a:lnTo>
                  <a:pt x="0" y="1233"/>
                </a:lnTo>
                <a:lnTo>
                  <a:pt x="0" y="56264"/>
                </a:lnTo>
                <a:lnTo>
                  <a:pt x="2480" y="56264"/>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1363" name="object 1363"/>
          <p:cNvSpPr/>
          <p:nvPr/>
        </p:nvSpPr>
        <p:spPr>
          <a:xfrm>
            <a:off x="9458816" y="1653726"/>
            <a:ext cx="123013" cy="7650"/>
          </a:xfrm>
          <a:custGeom>
            <a:avLst/>
            <a:gdLst/>
            <a:ahLst/>
            <a:cxnLst/>
            <a:rect l="l" t="t" r="r" b="b"/>
            <a:pathLst>
              <a:path w="123013" h="7650">
                <a:moveTo>
                  <a:pt x="0" y="6416"/>
                </a:moveTo>
                <a:lnTo>
                  <a:pt x="248" y="7156"/>
                </a:lnTo>
                <a:lnTo>
                  <a:pt x="992" y="7650"/>
                </a:lnTo>
                <a:lnTo>
                  <a:pt x="1736" y="7403"/>
                </a:lnTo>
                <a:lnTo>
                  <a:pt x="123013" y="2467"/>
                </a:lnTo>
                <a:lnTo>
                  <a:pt x="123013" y="0"/>
                </a:lnTo>
                <a:lnTo>
                  <a:pt x="992" y="5182"/>
                </a:lnTo>
                <a:lnTo>
                  <a:pt x="248" y="5675"/>
                </a:lnTo>
                <a:lnTo>
                  <a:pt x="0" y="6416"/>
                </a:lnTo>
                <a:close/>
              </a:path>
            </a:pathLst>
          </a:custGeom>
          <a:solidFill>
            <a:srgbClr val="000000"/>
          </a:solidFill>
        </p:spPr>
        <p:txBody>
          <a:bodyPr wrap="square" lIns="0" tIns="0" rIns="0" bIns="0" rtlCol="0">
            <a:noAutofit/>
          </a:bodyPr>
          <a:lstStyle/>
          <a:p>
            <a:endParaRPr/>
          </a:p>
        </p:txBody>
      </p:sp>
      <p:sp>
        <p:nvSpPr>
          <p:cNvPr id="1364" name="object 1364"/>
          <p:cNvSpPr/>
          <p:nvPr/>
        </p:nvSpPr>
        <p:spPr>
          <a:xfrm>
            <a:off x="9459808" y="1656194"/>
            <a:ext cx="122021" cy="5182"/>
          </a:xfrm>
          <a:custGeom>
            <a:avLst/>
            <a:gdLst/>
            <a:ahLst/>
            <a:cxnLst/>
            <a:rect l="l" t="t" r="r" b="b"/>
            <a:pathLst>
              <a:path w="122021" h="5182">
                <a:moveTo>
                  <a:pt x="122021" y="0"/>
                </a:moveTo>
                <a:lnTo>
                  <a:pt x="744" y="4935"/>
                </a:lnTo>
                <a:lnTo>
                  <a:pt x="0" y="5182"/>
                </a:lnTo>
                <a:lnTo>
                  <a:pt x="122021" y="0"/>
                </a:lnTo>
                <a:close/>
              </a:path>
            </a:pathLst>
          </a:custGeom>
          <a:solidFill>
            <a:srgbClr val="000000"/>
          </a:solidFill>
        </p:spPr>
        <p:txBody>
          <a:bodyPr wrap="square" lIns="0" tIns="0" rIns="0" bIns="0" rtlCol="0">
            <a:noAutofit/>
          </a:bodyPr>
          <a:lstStyle/>
          <a:p>
            <a:endParaRPr/>
          </a:p>
        </p:txBody>
      </p:sp>
      <p:sp>
        <p:nvSpPr>
          <p:cNvPr id="1365" name="object 1365"/>
          <p:cNvSpPr/>
          <p:nvPr/>
        </p:nvSpPr>
        <p:spPr>
          <a:xfrm>
            <a:off x="9432031" y="1659155"/>
            <a:ext cx="28521" cy="25664"/>
          </a:xfrm>
          <a:custGeom>
            <a:avLst/>
            <a:gdLst/>
            <a:ahLst/>
            <a:cxnLst/>
            <a:rect l="l" t="t" r="r" b="b"/>
            <a:pathLst>
              <a:path w="28521" h="25664">
                <a:moveTo>
                  <a:pt x="0" y="24184"/>
                </a:moveTo>
                <a:lnTo>
                  <a:pt x="248" y="25171"/>
                </a:lnTo>
                <a:lnTo>
                  <a:pt x="992" y="25664"/>
                </a:lnTo>
                <a:lnTo>
                  <a:pt x="1984" y="25417"/>
                </a:lnTo>
                <a:lnTo>
                  <a:pt x="28521" y="1974"/>
                </a:lnTo>
                <a:lnTo>
                  <a:pt x="27033" y="0"/>
                </a:lnTo>
                <a:lnTo>
                  <a:pt x="1240" y="23196"/>
                </a:lnTo>
                <a:lnTo>
                  <a:pt x="496" y="23443"/>
                </a:lnTo>
                <a:lnTo>
                  <a:pt x="0" y="24184"/>
                </a:lnTo>
                <a:close/>
              </a:path>
              <a:path w="28521" h="25664">
                <a:moveTo>
                  <a:pt x="1240" y="23196"/>
                </a:moveTo>
                <a:lnTo>
                  <a:pt x="27033" y="0"/>
                </a:lnTo>
                <a:lnTo>
                  <a:pt x="496" y="23443"/>
                </a:lnTo>
                <a:lnTo>
                  <a:pt x="1240" y="23196"/>
                </a:lnTo>
                <a:close/>
              </a:path>
            </a:pathLst>
          </a:custGeom>
          <a:solidFill>
            <a:srgbClr val="000000"/>
          </a:solidFill>
        </p:spPr>
        <p:txBody>
          <a:bodyPr wrap="square" lIns="0" tIns="0" rIns="0" bIns="0" rtlCol="0">
            <a:noAutofit/>
          </a:bodyPr>
          <a:lstStyle/>
          <a:p>
            <a:endParaRPr/>
          </a:p>
        </p:txBody>
      </p:sp>
      <p:sp>
        <p:nvSpPr>
          <p:cNvPr id="1366" name="object 1366"/>
          <p:cNvSpPr/>
          <p:nvPr/>
        </p:nvSpPr>
        <p:spPr>
          <a:xfrm>
            <a:off x="9054806" y="1682352"/>
            <a:ext cx="378465" cy="26158"/>
          </a:xfrm>
          <a:custGeom>
            <a:avLst/>
            <a:gdLst/>
            <a:ahLst/>
            <a:cxnLst/>
            <a:rect l="l" t="t" r="r" b="b"/>
            <a:pathLst>
              <a:path w="378465" h="26158">
                <a:moveTo>
                  <a:pt x="0" y="24924"/>
                </a:moveTo>
                <a:lnTo>
                  <a:pt x="248" y="25664"/>
                </a:lnTo>
                <a:lnTo>
                  <a:pt x="992" y="26158"/>
                </a:lnTo>
                <a:lnTo>
                  <a:pt x="1736" y="23937"/>
                </a:lnTo>
                <a:lnTo>
                  <a:pt x="378465" y="2467"/>
                </a:lnTo>
                <a:lnTo>
                  <a:pt x="378465" y="0"/>
                </a:lnTo>
                <a:lnTo>
                  <a:pt x="992" y="23690"/>
                </a:lnTo>
                <a:lnTo>
                  <a:pt x="248" y="24184"/>
                </a:lnTo>
                <a:lnTo>
                  <a:pt x="0" y="24924"/>
                </a:lnTo>
                <a:close/>
              </a:path>
              <a:path w="378465" h="26158">
                <a:moveTo>
                  <a:pt x="1736" y="23937"/>
                </a:moveTo>
                <a:lnTo>
                  <a:pt x="992" y="26158"/>
                </a:lnTo>
                <a:lnTo>
                  <a:pt x="378465" y="2467"/>
                </a:lnTo>
                <a:lnTo>
                  <a:pt x="1736" y="23937"/>
                </a:lnTo>
                <a:close/>
              </a:path>
            </a:pathLst>
          </a:custGeom>
          <a:solidFill>
            <a:srgbClr val="000000"/>
          </a:solidFill>
        </p:spPr>
        <p:txBody>
          <a:bodyPr wrap="square" lIns="0" tIns="0" rIns="0" bIns="0" rtlCol="0">
            <a:noAutofit/>
          </a:bodyPr>
          <a:lstStyle/>
          <a:p>
            <a:endParaRPr/>
          </a:p>
        </p:txBody>
      </p:sp>
      <p:sp>
        <p:nvSpPr>
          <p:cNvPr id="1367" name="object 1367"/>
          <p:cNvSpPr/>
          <p:nvPr/>
        </p:nvSpPr>
        <p:spPr>
          <a:xfrm>
            <a:off x="9017356" y="1671247"/>
            <a:ext cx="39185" cy="37016"/>
          </a:xfrm>
          <a:custGeom>
            <a:avLst/>
            <a:gdLst/>
            <a:ahLst/>
            <a:cxnLst/>
            <a:rect l="l" t="t" r="r" b="b"/>
            <a:pathLst>
              <a:path w="39185" h="37016">
                <a:moveTo>
                  <a:pt x="39185" y="35042"/>
                </a:moveTo>
                <a:lnTo>
                  <a:pt x="2480" y="1233"/>
                </a:lnTo>
                <a:lnTo>
                  <a:pt x="992" y="0"/>
                </a:lnTo>
                <a:lnTo>
                  <a:pt x="248" y="493"/>
                </a:lnTo>
                <a:lnTo>
                  <a:pt x="0" y="1233"/>
                </a:lnTo>
                <a:lnTo>
                  <a:pt x="496" y="2220"/>
                </a:lnTo>
                <a:lnTo>
                  <a:pt x="37697" y="37016"/>
                </a:lnTo>
                <a:lnTo>
                  <a:pt x="39185" y="35042"/>
                </a:lnTo>
                <a:close/>
              </a:path>
              <a:path w="39185" h="37016">
                <a:moveTo>
                  <a:pt x="2480" y="1233"/>
                </a:moveTo>
                <a:lnTo>
                  <a:pt x="39185" y="35042"/>
                </a:lnTo>
                <a:lnTo>
                  <a:pt x="1984" y="246"/>
                </a:lnTo>
                <a:lnTo>
                  <a:pt x="992" y="0"/>
                </a:lnTo>
                <a:lnTo>
                  <a:pt x="2480" y="1233"/>
                </a:lnTo>
                <a:close/>
              </a:path>
            </a:pathLst>
          </a:custGeom>
          <a:solidFill>
            <a:srgbClr val="000000"/>
          </a:solidFill>
        </p:spPr>
        <p:txBody>
          <a:bodyPr wrap="square" lIns="0" tIns="0" rIns="0" bIns="0" rtlCol="0">
            <a:noAutofit/>
          </a:bodyPr>
          <a:lstStyle/>
          <a:p>
            <a:endParaRPr/>
          </a:p>
        </p:txBody>
      </p:sp>
      <p:sp>
        <p:nvSpPr>
          <p:cNvPr id="1368" name="object 1368"/>
          <p:cNvSpPr/>
          <p:nvPr/>
        </p:nvSpPr>
        <p:spPr>
          <a:xfrm>
            <a:off x="9017851" y="1605852"/>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1369" name="object 1369"/>
          <p:cNvSpPr/>
          <p:nvPr/>
        </p:nvSpPr>
        <p:spPr>
          <a:xfrm>
            <a:off x="9017355" y="1605852"/>
            <a:ext cx="2480" cy="66629"/>
          </a:xfrm>
          <a:custGeom>
            <a:avLst/>
            <a:gdLst/>
            <a:ahLst/>
            <a:cxnLst/>
            <a:rect l="l" t="t" r="r" b="b"/>
            <a:pathLst>
              <a:path w="2480" h="66629">
                <a:moveTo>
                  <a:pt x="496" y="493"/>
                </a:moveTo>
                <a:lnTo>
                  <a:pt x="0" y="1233"/>
                </a:lnTo>
                <a:lnTo>
                  <a:pt x="0" y="66629"/>
                </a:lnTo>
                <a:lnTo>
                  <a:pt x="2480" y="66629"/>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1370" name="object 1370"/>
          <p:cNvSpPr/>
          <p:nvPr/>
        </p:nvSpPr>
        <p:spPr>
          <a:xfrm>
            <a:off x="9296615" y="1684080"/>
            <a:ext cx="105900" cy="33561"/>
          </a:xfrm>
          <a:custGeom>
            <a:avLst/>
            <a:gdLst/>
            <a:ahLst/>
            <a:cxnLst/>
            <a:rect l="l" t="t" r="r" b="b"/>
            <a:pathLst>
              <a:path w="105900" h="33561">
                <a:moveTo>
                  <a:pt x="53074" y="0"/>
                </a:moveTo>
                <a:lnTo>
                  <a:pt x="47618" y="0"/>
                </a:lnTo>
                <a:lnTo>
                  <a:pt x="42409" y="246"/>
                </a:lnTo>
                <a:lnTo>
                  <a:pt x="37201" y="740"/>
                </a:lnTo>
                <a:lnTo>
                  <a:pt x="32489" y="1233"/>
                </a:lnTo>
                <a:lnTo>
                  <a:pt x="27777" y="1974"/>
                </a:lnTo>
                <a:lnTo>
                  <a:pt x="23313" y="2714"/>
                </a:lnTo>
                <a:lnTo>
                  <a:pt x="19344" y="3701"/>
                </a:lnTo>
                <a:lnTo>
                  <a:pt x="15624" y="4935"/>
                </a:lnTo>
                <a:lnTo>
                  <a:pt x="12152" y="6169"/>
                </a:lnTo>
                <a:lnTo>
                  <a:pt x="9176" y="7403"/>
                </a:lnTo>
                <a:lnTo>
                  <a:pt x="6448" y="8637"/>
                </a:lnTo>
                <a:lnTo>
                  <a:pt x="4216" y="10117"/>
                </a:lnTo>
                <a:lnTo>
                  <a:pt x="2480" y="11845"/>
                </a:lnTo>
                <a:lnTo>
                  <a:pt x="248" y="15053"/>
                </a:lnTo>
                <a:lnTo>
                  <a:pt x="0" y="16780"/>
                </a:lnTo>
                <a:lnTo>
                  <a:pt x="248" y="18508"/>
                </a:lnTo>
                <a:lnTo>
                  <a:pt x="2480" y="21716"/>
                </a:lnTo>
                <a:lnTo>
                  <a:pt x="4216" y="23443"/>
                </a:lnTo>
                <a:lnTo>
                  <a:pt x="6448" y="24924"/>
                </a:lnTo>
                <a:lnTo>
                  <a:pt x="9176" y="26158"/>
                </a:lnTo>
                <a:lnTo>
                  <a:pt x="12152" y="27392"/>
                </a:lnTo>
                <a:lnTo>
                  <a:pt x="15624" y="28625"/>
                </a:lnTo>
                <a:lnTo>
                  <a:pt x="19344" y="29859"/>
                </a:lnTo>
                <a:lnTo>
                  <a:pt x="23313" y="30846"/>
                </a:lnTo>
                <a:lnTo>
                  <a:pt x="27777" y="31587"/>
                </a:lnTo>
                <a:lnTo>
                  <a:pt x="32489" y="32327"/>
                </a:lnTo>
                <a:lnTo>
                  <a:pt x="37201" y="32821"/>
                </a:lnTo>
                <a:lnTo>
                  <a:pt x="42409" y="33314"/>
                </a:lnTo>
                <a:lnTo>
                  <a:pt x="47618" y="33561"/>
                </a:lnTo>
                <a:lnTo>
                  <a:pt x="58530" y="33561"/>
                </a:lnTo>
                <a:lnTo>
                  <a:pt x="63738" y="33314"/>
                </a:lnTo>
                <a:lnTo>
                  <a:pt x="68699" y="32821"/>
                </a:lnTo>
                <a:lnTo>
                  <a:pt x="73659" y="32327"/>
                </a:lnTo>
                <a:lnTo>
                  <a:pt x="78123" y="31587"/>
                </a:lnTo>
                <a:lnTo>
                  <a:pt x="82587" y="30846"/>
                </a:lnTo>
                <a:lnTo>
                  <a:pt x="86555" y="29859"/>
                </a:lnTo>
                <a:lnTo>
                  <a:pt x="90276" y="28625"/>
                </a:lnTo>
                <a:lnTo>
                  <a:pt x="93748" y="27392"/>
                </a:lnTo>
                <a:lnTo>
                  <a:pt x="96724" y="26158"/>
                </a:lnTo>
                <a:lnTo>
                  <a:pt x="99452" y="24924"/>
                </a:lnTo>
                <a:lnTo>
                  <a:pt x="101684" y="23443"/>
                </a:lnTo>
                <a:lnTo>
                  <a:pt x="103420" y="21716"/>
                </a:lnTo>
                <a:lnTo>
                  <a:pt x="104908" y="20235"/>
                </a:lnTo>
                <a:lnTo>
                  <a:pt x="105652" y="18508"/>
                </a:lnTo>
                <a:lnTo>
                  <a:pt x="105900" y="16780"/>
                </a:lnTo>
                <a:lnTo>
                  <a:pt x="105652" y="15053"/>
                </a:lnTo>
                <a:lnTo>
                  <a:pt x="104908" y="13325"/>
                </a:lnTo>
                <a:lnTo>
                  <a:pt x="103420" y="11845"/>
                </a:lnTo>
                <a:lnTo>
                  <a:pt x="101684" y="10117"/>
                </a:lnTo>
                <a:lnTo>
                  <a:pt x="99452" y="8637"/>
                </a:lnTo>
                <a:lnTo>
                  <a:pt x="96724" y="7403"/>
                </a:lnTo>
                <a:lnTo>
                  <a:pt x="93748" y="6169"/>
                </a:lnTo>
                <a:lnTo>
                  <a:pt x="90276" y="4935"/>
                </a:lnTo>
                <a:lnTo>
                  <a:pt x="86555" y="3701"/>
                </a:lnTo>
                <a:lnTo>
                  <a:pt x="82587" y="2714"/>
                </a:lnTo>
                <a:lnTo>
                  <a:pt x="78123" y="1974"/>
                </a:lnTo>
                <a:lnTo>
                  <a:pt x="73659" y="1233"/>
                </a:lnTo>
                <a:lnTo>
                  <a:pt x="68699" y="740"/>
                </a:lnTo>
                <a:lnTo>
                  <a:pt x="63738" y="246"/>
                </a:lnTo>
                <a:lnTo>
                  <a:pt x="58530" y="0"/>
                </a:lnTo>
                <a:lnTo>
                  <a:pt x="53074" y="0"/>
                </a:lnTo>
                <a:close/>
              </a:path>
            </a:pathLst>
          </a:custGeom>
          <a:solidFill>
            <a:srgbClr val="000000"/>
          </a:solidFill>
        </p:spPr>
        <p:txBody>
          <a:bodyPr wrap="square" lIns="0" tIns="0" rIns="0" bIns="0" rtlCol="0">
            <a:noAutofit/>
          </a:bodyPr>
          <a:lstStyle/>
          <a:p>
            <a:endParaRPr/>
          </a:p>
        </p:txBody>
      </p:sp>
      <p:sp>
        <p:nvSpPr>
          <p:cNvPr id="1371" name="object 1371"/>
          <p:cNvSpPr/>
          <p:nvPr/>
        </p:nvSpPr>
        <p:spPr>
          <a:xfrm>
            <a:off x="9349690" y="1682845"/>
            <a:ext cx="54066" cy="18014"/>
          </a:xfrm>
          <a:custGeom>
            <a:avLst/>
            <a:gdLst/>
            <a:ahLst/>
            <a:cxnLst/>
            <a:rect l="l" t="t" r="r" b="b"/>
            <a:pathLst>
              <a:path w="54066" h="18014">
                <a:moveTo>
                  <a:pt x="47866" y="12338"/>
                </a:moveTo>
                <a:lnTo>
                  <a:pt x="49354" y="14066"/>
                </a:lnTo>
                <a:lnTo>
                  <a:pt x="50842" y="15300"/>
                </a:lnTo>
                <a:lnTo>
                  <a:pt x="51338" y="16533"/>
                </a:lnTo>
                <a:lnTo>
                  <a:pt x="51586" y="18014"/>
                </a:lnTo>
                <a:lnTo>
                  <a:pt x="54066" y="18014"/>
                </a:lnTo>
                <a:lnTo>
                  <a:pt x="53818" y="16040"/>
                </a:lnTo>
                <a:lnTo>
                  <a:pt x="52826" y="13819"/>
                </a:lnTo>
                <a:lnTo>
                  <a:pt x="51338" y="12092"/>
                </a:lnTo>
                <a:lnTo>
                  <a:pt x="49354" y="10364"/>
                </a:lnTo>
                <a:lnTo>
                  <a:pt x="46874" y="8883"/>
                </a:lnTo>
                <a:lnTo>
                  <a:pt x="44145" y="7403"/>
                </a:lnTo>
                <a:lnTo>
                  <a:pt x="41169" y="6169"/>
                </a:lnTo>
                <a:lnTo>
                  <a:pt x="37697" y="4935"/>
                </a:lnTo>
                <a:lnTo>
                  <a:pt x="33729" y="3701"/>
                </a:lnTo>
                <a:lnTo>
                  <a:pt x="29761" y="2714"/>
                </a:lnTo>
                <a:lnTo>
                  <a:pt x="25297" y="1974"/>
                </a:lnTo>
                <a:lnTo>
                  <a:pt x="20832" y="1233"/>
                </a:lnTo>
                <a:lnTo>
                  <a:pt x="15624" y="740"/>
                </a:lnTo>
                <a:lnTo>
                  <a:pt x="10664" y="246"/>
                </a:lnTo>
                <a:lnTo>
                  <a:pt x="5456" y="0"/>
                </a:lnTo>
                <a:lnTo>
                  <a:pt x="0" y="0"/>
                </a:lnTo>
                <a:lnTo>
                  <a:pt x="0" y="2467"/>
                </a:lnTo>
                <a:lnTo>
                  <a:pt x="5456" y="2467"/>
                </a:lnTo>
                <a:lnTo>
                  <a:pt x="10664" y="2714"/>
                </a:lnTo>
                <a:lnTo>
                  <a:pt x="15624" y="3208"/>
                </a:lnTo>
                <a:lnTo>
                  <a:pt x="20336" y="3701"/>
                </a:lnTo>
                <a:lnTo>
                  <a:pt x="24801" y="4441"/>
                </a:lnTo>
                <a:lnTo>
                  <a:pt x="29265" y="5182"/>
                </a:lnTo>
                <a:lnTo>
                  <a:pt x="33233" y="6169"/>
                </a:lnTo>
                <a:lnTo>
                  <a:pt x="36705" y="7403"/>
                </a:lnTo>
                <a:lnTo>
                  <a:pt x="40177" y="8637"/>
                </a:lnTo>
                <a:lnTo>
                  <a:pt x="43153" y="9871"/>
                </a:lnTo>
                <a:lnTo>
                  <a:pt x="45882" y="10858"/>
                </a:lnTo>
                <a:lnTo>
                  <a:pt x="47866" y="12338"/>
                </a:lnTo>
                <a:close/>
              </a:path>
            </a:pathLst>
          </a:custGeom>
          <a:solidFill>
            <a:srgbClr val="000000"/>
          </a:solidFill>
        </p:spPr>
        <p:txBody>
          <a:bodyPr wrap="square" lIns="0" tIns="0" rIns="0" bIns="0" rtlCol="0">
            <a:noAutofit/>
          </a:bodyPr>
          <a:lstStyle/>
          <a:p>
            <a:endParaRPr/>
          </a:p>
        </p:txBody>
      </p:sp>
      <p:sp>
        <p:nvSpPr>
          <p:cNvPr id="1372" name="object 1372"/>
          <p:cNvSpPr/>
          <p:nvPr/>
        </p:nvSpPr>
        <p:spPr>
          <a:xfrm>
            <a:off x="9349690" y="1700860"/>
            <a:ext cx="54066" cy="18014"/>
          </a:xfrm>
          <a:custGeom>
            <a:avLst/>
            <a:gdLst/>
            <a:ahLst/>
            <a:cxnLst/>
            <a:rect l="l" t="t" r="r" b="b"/>
            <a:pathLst>
              <a:path w="54066" h="18014">
                <a:moveTo>
                  <a:pt x="20832" y="16780"/>
                </a:moveTo>
                <a:lnTo>
                  <a:pt x="25297" y="16040"/>
                </a:lnTo>
                <a:lnTo>
                  <a:pt x="29761" y="15300"/>
                </a:lnTo>
                <a:lnTo>
                  <a:pt x="33729" y="14312"/>
                </a:lnTo>
                <a:lnTo>
                  <a:pt x="37697" y="13079"/>
                </a:lnTo>
                <a:lnTo>
                  <a:pt x="41169" y="11845"/>
                </a:lnTo>
                <a:lnTo>
                  <a:pt x="44145" y="10611"/>
                </a:lnTo>
                <a:lnTo>
                  <a:pt x="46874" y="9130"/>
                </a:lnTo>
                <a:lnTo>
                  <a:pt x="49354" y="7650"/>
                </a:lnTo>
                <a:lnTo>
                  <a:pt x="51338" y="5922"/>
                </a:lnTo>
                <a:lnTo>
                  <a:pt x="52826" y="4195"/>
                </a:lnTo>
                <a:lnTo>
                  <a:pt x="53818" y="1974"/>
                </a:lnTo>
                <a:lnTo>
                  <a:pt x="54066" y="0"/>
                </a:lnTo>
                <a:lnTo>
                  <a:pt x="51586" y="0"/>
                </a:lnTo>
                <a:lnTo>
                  <a:pt x="51338" y="1480"/>
                </a:lnTo>
                <a:lnTo>
                  <a:pt x="50842" y="2714"/>
                </a:lnTo>
                <a:lnTo>
                  <a:pt x="49354" y="3948"/>
                </a:lnTo>
                <a:lnTo>
                  <a:pt x="47866" y="5675"/>
                </a:lnTo>
                <a:lnTo>
                  <a:pt x="45882" y="7156"/>
                </a:lnTo>
                <a:lnTo>
                  <a:pt x="43153" y="8143"/>
                </a:lnTo>
                <a:lnTo>
                  <a:pt x="40177" y="9377"/>
                </a:lnTo>
                <a:lnTo>
                  <a:pt x="36705" y="10611"/>
                </a:lnTo>
                <a:lnTo>
                  <a:pt x="33233" y="11845"/>
                </a:lnTo>
                <a:lnTo>
                  <a:pt x="29265" y="12832"/>
                </a:lnTo>
                <a:lnTo>
                  <a:pt x="24801" y="13572"/>
                </a:lnTo>
                <a:lnTo>
                  <a:pt x="20336" y="14312"/>
                </a:lnTo>
                <a:lnTo>
                  <a:pt x="15624" y="14806"/>
                </a:lnTo>
                <a:lnTo>
                  <a:pt x="10664" y="15300"/>
                </a:lnTo>
                <a:lnTo>
                  <a:pt x="5456" y="15546"/>
                </a:lnTo>
                <a:lnTo>
                  <a:pt x="0" y="15546"/>
                </a:lnTo>
                <a:lnTo>
                  <a:pt x="0" y="18014"/>
                </a:lnTo>
                <a:lnTo>
                  <a:pt x="5456" y="18014"/>
                </a:lnTo>
                <a:lnTo>
                  <a:pt x="10664" y="17767"/>
                </a:lnTo>
                <a:lnTo>
                  <a:pt x="15624" y="17274"/>
                </a:lnTo>
                <a:lnTo>
                  <a:pt x="20832" y="16780"/>
                </a:lnTo>
                <a:close/>
              </a:path>
            </a:pathLst>
          </a:custGeom>
          <a:solidFill>
            <a:srgbClr val="000000"/>
          </a:solidFill>
        </p:spPr>
        <p:txBody>
          <a:bodyPr wrap="square" lIns="0" tIns="0" rIns="0" bIns="0" rtlCol="0">
            <a:noAutofit/>
          </a:bodyPr>
          <a:lstStyle/>
          <a:p>
            <a:endParaRPr/>
          </a:p>
        </p:txBody>
      </p:sp>
      <p:sp>
        <p:nvSpPr>
          <p:cNvPr id="1373" name="object 1373"/>
          <p:cNvSpPr/>
          <p:nvPr/>
        </p:nvSpPr>
        <p:spPr>
          <a:xfrm>
            <a:off x="9295375" y="1700860"/>
            <a:ext cx="54314" cy="18014"/>
          </a:xfrm>
          <a:custGeom>
            <a:avLst/>
            <a:gdLst/>
            <a:ahLst/>
            <a:cxnLst/>
            <a:rect l="l" t="t" r="r" b="b"/>
            <a:pathLst>
              <a:path w="54314" h="18014">
                <a:moveTo>
                  <a:pt x="248" y="1974"/>
                </a:moveTo>
                <a:lnTo>
                  <a:pt x="1240" y="4195"/>
                </a:lnTo>
                <a:lnTo>
                  <a:pt x="2728" y="5922"/>
                </a:lnTo>
                <a:lnTo>
                  <a:pt x="4712" y="7650"/>
                </a:lnTo>
                <a:lnTo>
                  <a:pt x="7192" y="9130"/>
                </a:lnTo>
                <a:lnTo>
                  <a:pt x="9920" y="10611"/>
                </a:lnTo>
                <a:lnTo>
                  <a:pt x="12896" y="11845"/>
                </a:lnTo>
                <a:lnTo>
                  <a:pt x="16368" y="13079"/>
                </a:lnTo>
                <a:lnTo>
                  <a:pt x="20336" y="14312"/>
                </a:lnTo>
                <a:lnTo>
                  <a:pt x="24305" y="15300"/>
                </a:lnTo>
                <a:lnTo>
                  <a:pt x="28769" y="16040"/>
                </a:lnTo>
                <a:lnTo>
                  <a:pt x="33481" y="16780"/>
                </a:lnTo>
                <a:lnTo>
                  <a:pt x="38441" y="17274"/>
                </a:lnTo>
                <a:lnTo>
                  <a:pt x="43649" y="17767"/>
                </a:lnTo>
                <a:lnTo>
                  <a:pt x="48858" y="18014"/>
                </a:lnTo>
                <a:lnTo>
                  <a:pt x="54314" y="18014"/>
                </a:lnTo>
                <a:lnTo>
                  <a:pt x="54314" y="15546"/>
                </a:lnTo>
                <a:lnTo>
                  <a:pt x="48858" y="15546"/>
                </a:lnTo>
                <a:lnTo>
                  <a:pt x="43649" y="15300"/>
                </a:lnTo>
                <a:lnTo>
                  <a:pt x="38441" y="14806"/>
                </a:lnTo>
                <a:lnTo>
                  <a:pt x="33977" y="14312"/>
                </a:lnTo>
                <a:lnTo>
                  <a:pt x="29265" y="13572"/>
                </a:lnTo>
                <a:lnTo>
                  <a:pt x="24801" y="12832"/>
                </a:lnTo>
                <a:lnTo>
                  <a:pt x="20832" y="11845"/>
                </a:lnTo>
                <a:lnTo>
                  <a:pt x="17360" y="10611"/>
                </a:lnTo>
                <a:lnTo>
                  <a:pt x="13888" y="9377"/>
                </a:lnTo>
                <a:lnTo>
                  <a:pt x="10912" y="8143"/>
                </a:lnTo>
                <a:lnTo>
                  <a:pt x="8184" y="7156"/>
                </a:lnTo>
                <a:lnTo>
                  <a:pt x="6200" y="5675"/>
                </a:lnTo>
                <a:lnTo>
                  <a:pt x="4712" y="3948"/>
                </a:lnTo>
                <a:lnTo>
                  <a:pt x="3224" y="2714"/>
                </a:lnTo>
                <a:lnTo>
                  <a:pt x="2728" y="1480"/>
                </a:lnTo>
                <a:lnTo>
                  <a:pt x="2480" y="0"/>
                </a:lnTo>
                <a:lnTo>
                  <a:pt x="0" y="0"/>
                </a:lnTo>
                <a:lnTo>
                  <a:pt x="248" y="1974"/>
                </a:lnTo>
                <a:close/>
              </a:path>
            </a:pathLst>
          </a:custGeom>
          <a:solidFill>
            <a:srgbClr val="000000"/>
          </a:solidFill>
        </p:spPr>
        <p:txBody>
          <a:bodyPr wrap="square" lIns="0" tIns="0" rIns="0" bIns="0" rtlCol="0">
            <a:noAutofit/>
          </a:bodyPr>
          <a:lstStyle/>
          <a:p>
            <a:endParaRPr/>
          </a:p>
        </p:txBody>
      </p:sp>
      <p:sp>
        <p:nvSpPr>
          <p:cNvPr id="1374" name="object 1374"/>
          <p:cNvSpPr/>
          <p:nvPr/>
        </p:nvSpPr>
        <p:spPr>
          <a:xfrm>
            <a:off x="9295375" y="1682845"/>
            <a:ext cx="54314" cy="18014"/>
          </a:xfrm>
          <a:custGeom>
            <a:avLst/>
            <a:gdLst/>
            <a:ahLst/>
            <a:cxnLst/>
            <a:rect l="l" t="t" r="r" b="b"/>
            <a:pathLst>
              <a:path w="54314" h="18014">
                <a:moveTo>
                  <a:pt x="2728" y="12092"/>
                </a:moveTo>
                <a:lnTo>
                  <a:pt x="1240" y="13819"/>
                </a:lnTo>
                <a:lnTo>
                  <a:pt x="248" y="16040"/>
                </a:lnTo>
                <a:lnTo>
                  <a:pt x="0" y="18014"/>
                </a:lnTo>
                <a:lnTo>
                  <a:pt x="2480" y="18014"/>
                </a:lnTo>
                <a:lnTo>
                  <a:pt x="2728" y="16533"/>
                </a:lnTo>
                <a:lnTo>
                  <a:pt x="3224" y="15300"/>
                </a:lnTo>
                <a:lnTo>
                  <a:pt x="4712" y="14066"/>
                </a:lnTo>
                <a:lnTo>
                  <a:pt x="6200" y="12338"/>
                </a:lnTo>
                <a:lnTo>
                  <a:pt x="8184" y="10858"/>
                </a:lnTo>
                <a:lnTo>
                  <a:pt x="10912" y="9871"/>
                </a:lnTo>
                <a:lnTo>
                  <a:pt x="13888" y="8637"/>
                </a:lnTo>
                <a:lnTo>
                  <a:pt x="17360" y="7403"/>
                </a:lnTo>
                <a:lnTo>
                  <a:pt x="20832" y="6169"/>
                </a:lnTo>
                <a:lnTo>
                  <a:pt x="24801" y="5182"/>
                </a:lnTo>
                <a:lnTo>
                  <a:pt x="29265" y="4441"/>
                </a:lnTo>
                <a:lnTo>
                  <a:pt x="33977" y="3701"/>
                </a:lnTo>
                <a:lnTo>
                  <a:pt x="38441" y="3208"/>
                </a:lnTo>
                <a:lnTo>
                  <a:pt x="43649" y="2714"/>
                </a:lnTo>
                <a:lnTo>
                  <a:pt x="48858" y="2467"/>
                </a:lnTo>
                <a:lnTo>
                  <a:pt x="54314" y="2467"/>
                </a:lnTo>
                <a:lnTo>
                  <a:pt x="54314" y="0"/>
                </a:lnTo>
                <a:lnTo>
                  <a:pt x="48858" y="0"/>
                </a:lnTo>
                <a:lnTo>
                  <a:pt x="43649" y="246"/>
                </a:lnTo>
                <a:lnTo>
                  <a:pt x="38441" y="740"/>
                </a:lnTo>
                <a:lnTo>
                  <a:pt x="33481" y="1233"/>
                </a:lnTo>
                <a:lnTo>
                  <a:pt x="28769" y="1974"/>
                </a:lnTo>
                <a:lnTo>
                  <a:pt x="24305" y="2714"/>
                </a:lnTo>
                <a:lnTo>
                  <a:pt x="20336" y="3701"/>
                </a:lnTo>
                <a:lnTo>
                  <a:pt x="16368" y="4935"/>
                </a:lnTo>
                <a:lnTo>
                  <a:pt x="12896" y="6169"/>
                </a:lnTo>
                <a:lnTo>
                  <a:pt x="9920" y="7403"/>
                </a:lnTo>
                <a:lnTo>
                  <a:pt x="7192" y="8883"/>
                </a:lnTo>
                <a:lnTo>
                  <a:pt x="4712" y="10364"/>
                </a:lnTo>
                <a:lnTo>
                  <a:pt x="2728" y="12092"/>
                </a:lnTo>
                <a:close/>
              </a:path>
            </a:pathLst>
          </a:custGeom>
          <a:solidFill>
            <a:srgbClr val="000000"/>
          </a:solidFill>
        </p:spPr>
        <p:txBody>
          <a:bodyPr wrap="square" lIns="0" tIns="0" rIns="0" bIns="0" rtlCol="0">
            <a:noAutofit/>
          </a:bodyPr>
          <a:lstStyle/>
          <a:p>
            <a:endParaRPr/>
          </a:p>
        </p:txBody>
      </p:sp>
      <p:sp>
        <p:nvSpPr>
          <p:cNvPr id="1375" name="object 1375"/>
          <p:cNvSpPr/>
          <p:nvPr/>
        </p:nvSpPr>
        <p:spPr>
          <a:xfrm>
            <a:off x="9470968" y="1664585"/>
            <a:ext cx="68947" cy="118945"/>
          </a:xfrm>
          <a:custGeom>
            <a:avLst/>
            <a:gdLst/>
            <a:ahLst/>
            <a:cxnLst/>
            <a:rect l="l" t="t" r="r" b="b"/>
            <a:pathLst>
              <a:path w="68947" h="118945">
                <a:moveTo>
                  <a:pt x="34473" y="0"/>
                </a:moveTo>
                <a:lnTo>
                  <a:pt x="31001" y="246"/>
                </a:lnTo>
                <a:lnTo>
                  <a:pt x="27529" y="1233"/>
                </a:lnTo>
                <a:lnTo>
                  <a:pt x="21080" y="4688"/>
                </a:lnTo>
                <a:lnTo>
                  <a:pt x="15128" y="10117"/>
                </a:lnTo>
                <a:lnTo>
                  <a:pt x="12400" y="13572"/>
                </a:lnTo>
                <a:lnTo>
                  <a:pt x="10168" y="17521"/>
                </a:lnTo>
                <a:lnTo>
                  <a:pt x="7936" y="21716"/>
                </a:lnTo>
                <a:lnTo>
                  <a:pt x="5952" y="26158"/>
                </a:lnTo>
                <a:lnTo>
                  <a:pt x="4216" y="31093"/>
                </a:lnTo>
                <a:lnTo>
                  <a:pt x="2728" y="36276"/>
                </a:lnTo>
                <a:lnTo>
                  <a:pt x="1488" y="41705"/>
                </a:lnTo>
                <a:lnTo>
                  <a:pt x="744" y="47380"/>
                </a:lnTo>
                <a:lnTo>
                  <a:pt x="248" y="53303"/>
                </a:lnTo>
                <a:lnTo>
                  <a:pt x="0" y="59472"/>
                </a:lnTo>
                <a:lnTo>
                  <a:pt x="248" y="65642"/>
                </a:lnTo>
                <a:lnTo>
                  <a:pt x="744" y="71564"/>
                </a:lnTo>
                <a:lnTo>
                  <a:pt x="1488" y="77240"/>
                </a:lnTo>
                <a:lnTo>
                  <a:pt x="2728" y="82669"/>
                </a:lnTo>
                <a:lnTo>
                  <a:pt x="4216" y="87852"/>
                </a:lnTo>
                <a:lnTo>
                  <a:pt x="5952" y="92787"/>
                </a:lnTo>
                <a:lnTo>
                  <a:pt x="7936" y="97229"/>
                </a:lnTo>
                <a:lnTo>
                  <a:pt x="10168" y="101424"/>
                </a:lnTo>
                <a:lnTo>
                  <a:pt x="12400" y="105373"/>
                </a:lnTo>
                <a:lnTo>
                  <a:pt x="15128" y="108828"/>
                </a:lnTo>
                <a:lnTo>
                  <a:pt x="18104" y="111789"/>
                </a:lnTo>
                <a:lnTo>
                  <a:pt x="24305" y="116231"/>
                </a:lnTo>
                <a:lnTo>
                  <a:pt x="31001" y="118699"/>
                </a:lnTo>
                <a:lnTo>
                  <a:pt x="34473" y="118945"/>
                </a:lnTo>
                <a:lnTo>
                  <a:pt x="37945" y="118699"/>
                </a:lnTo>
                <a:lnTo>
                  <a:pt x="44642" y="116231"/>
                </a:lnTo>
                <a:lnTo>
                  <a:pt x="50842" y="111789"/>
                </a:lnTo>
                <a:lnTo>
                  <a:pt x="53570" y="108828"/>
                </a:lnTo>
                <a:lnTo>
                  <a:pt x="56298" y="105373"/>
                </a:lnTo>
                <a:lnTo>
                  <a:pt x="58778" y="101424"/>
                </a:lnTo>
                <a:lnTo>
                  <a:pt x="61010" y="97229"/>
                </a:lnTo>
                <a:lnTo>
                  <a:pt x="62994" y="92787"/>
                </a:lnTo>
                <a:lnTo>
                  <a:pt x="64730" y="87852"/>
                </a:lnTo>
                <a:lnTo>
                  <a:pt x="66218" y="82669"/>
                </a:lnTo>
                <a:lnTo>
                  <a:pt x="67459" y="77240"/>
                </a:lnTo>
                <a:lnTo>
                  <a:pt x="68203" y="71564"/>
                </a:lnTo>
                <a:lnTo>
                  <a:pt x="68699" y="65642"/>
                </a:lnTo>
                <a:lnTo>
                  <a:pt x="68947" y="59472"/>
                </a:lnTo>
                <a:lnTo>
                  <a:pt x="68699" y="53303"/>
                </a:lnTo>
                <a:lnTo>
                  <a:pt x="68203" y="47380"/>
                </a:lnTo>
                <a:lnTo>
                  <a:pt x="67459" y="41705"/>
                </a:lnTo>
                <a:lnTo>
                  <a:pt x="66218" y="36276"/>
                </a:lnTo>
                <a:lnTo>
                  <a:pt x="64730" y="31093"/>
                </a:lnTo>
                <a:lnTo>
                  <a:pt x="62994" y="26158"/>
                </a:lnTo>
                <a:lnTo>
                  <a:pt x="61010" y="21716"/>
                </a:lnTo>
                <a:lnTo>
                  <a:pt x="58778" y="17521"/>
                </a:lnTo>
                <a:lnTo>
                  <a:pt x="56298" y="13572"/>
                </a:lnTo>
                <a:lnTo>
                  <a:pt x="53570" y="10117"/>
                </a:lnTo>
                <a:lnTo>
                  <a:pt x="50842" y="7156"/>
                </a:lnTo>
                <a:lnTo>
                  <a:pt x="44642" y="2714"/>
                </a:lnTo>
                <a:lnTo>
                  <a:pt x="37945" y="246"/>
                </a:lnTo>
                <a:lnTo>
                  <a:pt x="34473" y="0"/>
                </a:lnTo>
                <a:close/>
              </a:path>
            </a:pathLst>
          </a:custGeom>
          <a:solidFill>
            <a:srgbClr val="000000"/>
          </a:solidFill>
        </p:spPr>
        <p:txBody>
          <a:bodyPr wrap="square" lIns="0" tIns="0" rIns="0" bIns="0" rtlCol="0">
            <a:noAutofit/>
          </a:bodyPr>
          <a:lstStyle/>
          <a:p>
            <a:endParaRPr/>
          </a:p>
        </p:txBody>
      </p:sp>
      <p:sp>
        <p:nvSpPr>
          <p:cNvPr id="1376" name="object 1376"/>
          <p:cNvSpPr/>
          <p:nvPr/>
        </p:nvSpPr>
        <p:spPr>
          <a:xfrm>
            <a:off x="9505442" y="1662856"/>
            <a:ext cx="36209" cy="61200"/>
          </a:xfrm>
          <a:custGeom>
            <a:avLst/>
            <a:gdLst/>
            <a:ahLst/>
            <a:cxnLst/>
            <a:rect l="l" t="t" r="r" b="b"/>
            <a:pathLst>
              <a:path w="36209" h="61200">
                <a:moveTo>
                  <a:pt x="0" y="0"/>
                </a:moveTo>
                <a:lnTo>
                  <a:pt x="0" y="3454"/>
                </a:lnTo>
                <a:lnTo>
                  <a:pt x="3224" y="3701"/>
                </a:lnTo>
                <a:lnTo>
                  <a:pt x="6448" y="4688"/>
                </a:lnTo>
                <a:lnTo>
                  <a:pt x="9424" y="5922"/>
                </a:lnTo>
                <a:lnTo>
                  <a:pt x="12400" y="7896"/>
                </a:lnTo>
                <a:lnTo>
                  <a:pt x="15128" y="10117"/>
                </a:lnTo>
                <a:lnTo>
                  <a:pt x="17856" y="13079"/>
                </a:lnTo>
                <a:lnTo>
                  <a:pt x="20336" y="16287"/>
                </a:lnTo>
                <a:lnTo>
                  <a:pt x="22817" y="19988"/>
                </a:lnTo>
                <a:lnTo>
                  <a:pt x="25049" y="24184"/>
                </a:lnTo>
                <a:lnTo>
                  <a:pt x="27033" y="28625"/>
                </a:lnTo>
                <a:lnTo>
                  <a:pt x="28521" y="33314"/>
                </a:lnTo>
                <a:lnTo>
                  <a:pt x="30009" y="38496"/>
                </a:lnTo>
                <a:lnTo>
                  <a:pt x="31249" y="43679"/>
                </a:lnTo>
                <a:lnTo>
                  <a:pt x="31993" y="49355"/>
                </a:lnTo>
                <a:lnTo>
                  <a:pt x="32489" y="55030"/>
                </a:lnTo>
                <a:lnTo>
                  <a:pt x="32737" y="61200"/>
                </a:lnTo>
                <a:lnTo>
                  <a:pt x="36209" y="61200"/>
                </a:lnTo>
                <a:lnTo>
                  <a:pt x="35961" y="55030"/>
                </a:lnTo>
                <a:lnTo>
                  <a:pt x="35465" y="48861"/>
                </a:lnTo>
                <a:lnTo>
                  <a:pt x="34721" y="43185"/>
                </a:lnTo>
                <a:lnTo>
                  <a:pt x="33481" y="37509"/>
                </a:lnTo>
                <a:lnTo>
                  <a:pt x="31993" y="32327"/>
                </a:lnTo>
                <a:lnTo>
                  <a:pt x="30009" y="27145"/>
                </a:lnTo>
                <a:lnTo>
                  <a:pt x="28025" y="22703"/>
                </a:lnTo>
                <a:lnTo>
                  <a:pt x="25793" y="18508"/>
                </a:lnTo>
                <a:lnTo>
                  <a:pt x="23313" y="14312"/>
                </a:lnTo>
                <a:lnTo>
                  <a:pt x="20336" y="10611"/>
                </a:lnTo>
                <a:lnTo>
                  <a:pt x="17608" y="7650"/>
                </a:lnTo>
                <a:lnTo>
                  <a:pt x="14384" y="4935"/>
                </a:lnTo>
                <a:lnTo>
                  <a:pt x="10912" y="2961"/>
                </a:lnTo>
                <a:lnTo>
                  <a:pt x="7440" y="1233"/>
                </a:lnTo>
                <a:lnTo>
                  <a:pt x="3720" y="246"/>
                </a:lnTo>
                <a:lnTo>
                  <a:pt x="0" y="0"/>
                </a:lnTo>
                <a:close/>
              </a:path>
            </a:pathLst>
          </a:custGeom>
          <a:solidFill>
            <a:srgbClr val="000000"/>
          </a:solidFill>
        </p:spPr>
        <p:txBody>
          <a:bodyPr wrap="square" lIns="0" tIns="0" rIns="0" bIns="0" rtlCol="0">
            <a:noAutofit/>
          </a:bodyPr>
          <a:lstStyle/>
          <a:p>
            <a:endParaRPr/>
          </a:p>
        </p:txBody>
      </p:sp>
      <p:sp>
        <p:nvSpPr>
          <p:cNvPr id="1377" name="object 1377"/>
          <p:cNvSpPr/>
          <p:nvPr/>
        </p:nvSpPr>
        <p:spPr>
          <a:xfrm>
            <a:off x="9505442" y="1724057"/>
            <a:ext cx="36209" cy="61200"/>
          </a:xfrm>
          <a:custGeom>
            <a:avLst/>
            <a:gdLst/>
            <a:ahLst/>
            <a:cxnLst/>
            <a:rect l="l" t="t" r="r" b="b"/>
            <a:pathLst>
              <a:path w="36209" h="61200">
                <a:moveTo>
                  <a:pt x="3720" y="60953"/>
                </a:moveTo>
                <a:lnTo>
                  <a:pt x="7440" y="59966"/>
                </a:lnTo>
                <a:lnTo>
                  <a:pt x="10912" y="58239"/>
                </a:lnTo>
                <a:lnTo>
                  <a:pt x="14384" y="56264"/>
                </a:lnTo>
                <a:lnTo>
                  <a:pt x="17608" y="53550"/>
                </a:lnTo>
                <a:lnTo>
                  <a:pt x="20336" y="50589"/>
                </a:lnTo>
                <a:lnTo>
                  <a:pt x="23313" y="46887"/>
                </a:lnTo>
                <a:lnTo>
                  <a:pt x="25793" y="42692"/>
                </a:lnTo>
                <a:lnTo>
                  <a:pt x="28025" y="38496"/>
                </a:lnTo>
                <a:lnTo>
                  <a:pt x="30009" y="34055"/>
                </a:lnTo>
                <a:lnTo>
                  <a:pt x="31993" y="28872"/>
                </a:lnTo>
                <a:lnTo>
                  <a:pt x="33481" y="23690"/>
                </a:lnTo>
                <a:lnTo>
                  <a:pt x="34721" y="18014"/>
                </a:lnTo>
                <a:lnTo>
                  <a:pt x="35465" y="12338"/>
                </a:lnTo>
                <a:lnTo>
                  <a:pt x="35961" y="6169"/>
                </a:lnTo>
                <a:lnTo>
                  <a:pt x="36209" y="0"/>
                </a:lnTo>
                <a:lnTo>
                  <a:pt x="32737" y="0"/>
                </a:lnTo>
                <a:lnTo>
                  <a:pt x="32489" y="6169"/>
                </a:lnTo>
                <a:lnTo>
                  <a:pt x="31993" y="11845"/>
                </a:lnTo>
                <a:lnTo>
                  <a:pt x="31249" y="17521"/>
                </a:lnTo>
                <a:lnTo>
                  <a:pt x="30009" y="22703"/>
                </a:lnTo>
                <a:lnTo>
                  <a:pt x="28521" y="27885"/>
                </a:lnTo>
                <a:lnTo>
                  <a:pt x="27033" y="32574"/>
                </a:lnTo>
                <a:lnTo>
                  <a:pt x="25049" y="37016"/>
                </a:lnTo>
                <a:lnTo>
                  <a:pt x="22817" y="41211"/>
                </a:lnTo>
                <a:lnTo>
                  <a:pt x="20336" y="44913"/>
                </a:lnTo>
                <a:lnTo>
                  <a:pt x="17856" y="48121"/>
                </a:lnTo>
                <a:lnTo>
                  <a:pt x="15128" y="51082"/>
                </a:lnTo>
                <a:lnTo>
                  <a:pt x="12400" y="53303"/>
                </a:lnTo>
                <a:lnTo>
                  <a:pt x="9424" y="55277"/>
                </a:lnTo>
                <a:lnTo>
                  <a:pt x="6448" y="56511"/>
                </a:lnTo>
                <a:lnTo>
                  <a:pt x="3224" y="57498"/>
                </a:lnTo>
                <a:lnTo>
                  <a:pt x="0" y="57745"/>
                </a:lnTo>
                <a:lnTo>
                  <a:pt x="0" y="61200"/>
                </a:lnTo>
                <a:lnTo>
                  <a:pt x="3720" y="60953"/>
                </a:lnTo>
                <a:close/>
              </a:path>
            </a:pathLst>
          </a:custGeom>
          <a:solidFill>
            <a:srgbClr val="000000"/>
          </a:solidFill>
        </p:spPr>
        <p:txBody>
          <a:bodyPr wrap="square" lIns="0" tIns="0" rIns="0" bIns="0" rtlCol="0">
            <a:noAutofit/>
          </a:bodyPr>
          <a:lstStyle/>
          <a:p>
            <a:endParaRPr/>
          </a:p>
        </p:txBody>
      </p:sp>
      <p:sp>
        <p:nvSpPr>
          <p:cNvPr id="1378" name="object 1378"/>
          <p:cNvSpPr/>
          <p:nvPr/>
        </p:nvSpPr>
        <p:spPr>
          <a:xfrm>
            <a:off x="9469232" y="1724057"/>
            <a:ext cx="36209" cy="61200"/>
          </a:xfrm>
          <a:custGeom>
            <a:avLst/>
            <a:gdLst/>
            <a:ahLst/>
            <a:cxnLst/>
            <a:rect l="l" t="t" r="r" b="b"/>
            <a:pathLst>
              <a:path w="36209" h="61200">
                <a:moveTo>
                  <a:pt x="3472" y="0"/>
                </a:moveTo>
                <a:lnTo>
                  <a:pt x="0" y="0"/>
                </a:lnTo>
                <a:lnTo>
                  <a:pt x="248" y="6169"/>
                </a:lnTo>
                <a:lnTo>
                  <a:pt x="744" y="12338"/>
                </a:lnTo>
                <a:lnTo>
                  <a:pt x="1488" y="18014"/>
                </a:lnTo>
                <a:lnTo>
                  <a:pt x="2728" y="23690"/>
                </a:lnTo>
                <a:lnTo>
                  <a:pt x="4216" y="28872"/>
                </a:lnTo>
                <a:lnTo>
                  <a:pt x="6200" y="34055"/>
                </a:lnTo>
                <a:lnTo>
                  <a:pt x="8184" y="38496"/>
                </a:lnTo>
                <a:lnTo>
                  <a:pt x="10416" y="42692"/>
                </a:lnTo>
                <a:lnTo>
                  <a:pt x="12648" y="46887"/>
                </a:lnTo>
                <a:lnTo>
                  <a:pt x="15624" y="50589"/>
                </a:lnTo>
                <a:lnTo>
                  <a:pt x="18600" y="53550"/>
                </a:lnTo>
                <a:lnTo>
                  <a:pt x="21824" y="56264"/>
                </a:lnTo>
                <a:lnTo>
                  <a:pt x="25297" y="58239"/>
                </a:lnTo>
                <a:lnTo>
                  <a:pt x="28769" y="59966"/>
                </a:lnTo>
                <a:lnTo>
                  <a:pt x="32489" y="60953"/>
                </a:lnTo>
                <a:lnTo>
                  <a:pt x="36209" y="61200"/>
                </a:lnTo>
                <a:lnTo>
                  <a:pt x="36209" y="57745"/>
                </a:lnTo>
                <a:lnTo>
                  <a:pt x="32985" y="57498"/>
                </a:lnTo>
                <a:lnTo>
                  <a:pt x="29761" y="56511"/>
                </a:lnTo>
                <a:lnTo>
                  <a:pt x="26785" y="55277"/>
                </a:lnTo>
                <a:lnTo>
                  <a:pt x="23809" y="53303"/>
                </a:lnTo>
                <a:lnTo>
                  <a:pt x="21080" y="51082"/>
                </a:lnTo>
                <a:lnTo>
                  <a:pt x="18104" y="48121"/>
                </a:lnTo>
                <a:lnTo>
                  <a:pt x="15624" y="44913"/>
                </a:lnTo>
                <a:lnTo>
                  <a:pt x="13392" y="41211"/>
                </a:lnTo>
                <a:lnTo>
                  <a:pt x="11160" y="37016"/>
                </a:lnTo>
                <a:lnTo>
                  <a:pt x="9176" y="32574"/>
                </a:lnTo>
                <a:lnTo>
                  <a:pt x="7688" y="27885"/>
                </a:lnTo>
                <a:lnTo>
                  <a:pt x="6200" y="22703"/>
                </a:lnTo>
                <a:lnTo>
                  <a:pt x="4960" y="17521"/>
                </a:lnTo>
                <a:lnTo>
                  <a:pt x="4216" y="11845"/>
                </a:lnTo>
                <a:lnTo>
                  <a:pt x="3720" y="6169"/>
                </a:lnTo>
                <a:lnTo>
                  <a:pt x="3472" y="0"/>
                </a:lnTo>
                <a:close/>
              </a:path>
            </a:pathLst>
          </a:custGeom>
          <a:solidFill>
            <a:srgbClr val="000000"/>
          </a:solidFill>
        </p:spPr>
        <p:txBody>
          <a:bodyPr wrap="square" lIns="0" tIns="0" rIns="0" bIns="0" rtlCol="0">
            <a:noAutofit/>
          </a:bodyPr>
          <a:lstStyle/>
          <a:p>
            <a:endParaRPr/>
          </a:p>
        </p:txBody>
      </p:sp>
      <p:sp>
        <p:nvSpPr>
          <p:cNvPr id="1379" name="object 1379"/>
          <p:cNvSpPr/>
          <p:nvPr/>
        </p:nvSpPr>
        <p:spPr>
          <a:xfrm>
            <a:off x="9469232" y="1662856"/>
            <a:ext cx="36209" cy="61200"/>
          </a:xfrm>
          <a:custGeom>
            <a:avLst/>
            <a:gdLst/>
            <a:ahLst/>
            <a:cxnLst/>
            <a:rect l="l" t="t" r="r" b="b"/>
            <a:pathLst>
              <a:path w="36209" h="61200">
                <a:moveTo>
                  <a:pt x="4216" y="32327"/>
                </a:moveTo>
                <a:lnTo>
                  <a:pt x="2728" y="37509"/>
                </a:lnTo>
                <a:lnTo>
                  <a:pt x="1488" y="43185"/>
                </a:lnTo>
                <a:lnTo>
                  <a:pt x="744" y="48861"/>
                </a:lnTo>
                <a:lnTo>
                  <a:pt x="248" y="55030"/>
                </a:lnTo>
                <a:lnTo>
                  <a:pt x="0" y="61200"/>
                </a:lnTo>
                <a:lnTo>
                  <a:pt x="3472" y="61200"/>
                </a:lnTo>
                <a:lnTo>
                  <a:pt x="3720" y="55030"/>
                </a:lnTo>
                <a:lnTo>
                  <a:pt x="4216" y="49355"/>
                </a:lnTo>
                <a:lnTo>
                  <a:pt x="4960" y="43679"/>
                </a:lnTo>
                <a:lnTo>
                  <a:pt x="6200" y="38496"/>
                </a:lnTo>
                <a:lnTo>
                  <a:pt x="7688" y="33314"/>
                </a:lnTo>
                <a:lnTo>
                  <a:pt x="9176" y="28625"/>
                </a:lnTo>
                <a:lnTo>
                  <a:pt x="11160" y="24184"/>
                </a:lnTo>
                <a:lnTo>
                  <a:pt x="13392" y="19988"/>
                </a:lnTo>
                <a:lnTo>
                  <a:pt x="15624" y="16287"/>
                </a:lnTo>
                <a:lnTo>
                  <a:pt x="18104" y="13079"/>
                </a:lnTo>
                <a:lnTo>
                  <a:pt x="21080" y="10117"/>
                </a:lnTo>
                <a:lnTo>
                  <a:pt x="23809" y="7896"/>
                </a:lnTo>
                <a:lnTo>
                  <a:pt x="26785" y="5922"/>
                </a:lnTo>
                <a:lnTo>
                  <a:pt x="29761" y="4688"/>
                </a:lnTo>
                <a:lnTo>
                  <a:pt x="32985" y="3701"/>
                </a:lnTo>
                <a:lnTo>
                  <a:pt x="36209" y="3454"/>
                </a:lnTo>
                <a:lnTo>
                  <a:pt x="36209" y="0"/>
                </a:lnTo>
                <a:lnTo>
                  <a:pt x="32489" y="246"/>
                </a:lnTo>
                <a:lnTo>
                  <a:pt x="28769" y="1233"/>
                </a:lnTo>
                <a:lnTo>
                  <a:pt x="25297" y="2961"/>
                </a:lnTo>
                <a:lnTo>
                  <a:pt x="21824" y="4935"/>
                </a:lnTo>
                <a:lnTo>
                  <a:pt x="18600" y="7650"/>
                </a:lnTo>
                <a:lnTo>
                  <a:pt x="15624" y="10611"/>
                </a:lnTo>
                <a:lnTo>
                  <a:pt x="12648" y="14312"/>
                </a:lnTo>
                <a:lnTo>
                  <a:pt x="10416" y="18508"/>
                </a:lnTo>
                <a:lnTo>
                  <a:pt x="8184" y="22703"/>
                </a:lnTo>
                <a:lnTo>
                  <a:pt x="6200" y="27145"/>
                </a:lnTo>
                <a:lnTo>
                  <a:pt x="4216" y="32327"/>
                </a:lnTo>
                <a:close/>
              </a:path>
            </a:pathLst>
          </a:custGeom>
          <a:solidFill>
            <a:srgbClr val="000000"/>
          </a:solidFill>
        </p:spPr>
        <p:txBody>
          <a:bodyPr wrap="square" lIns="0" tIns="0" rIns="0" bIns="0" rtlCol="0">
            <a:noAutofit/>
          </a:bodyPr>
          <a:lstStyle/>
          <a:p>
            <a:endParaRPr/>
          </a:p>
        </p:txBody>
      </p:sp>
      <p:sp>
        <p:nvSpPr>
          <p:cNvPr id="1380" name="object 1380"/>
          <p:cNvSpPr/>
          <p:nvPr/>
        </p:nvSpPr>
        <p:spPr>
          <a:xfrm>
            <a:off x="9505690" y="1779336"/>
            <a:ext cx="23313" cy="4195"/>
          </a:xfrm>
          <a:custGeom>
            <a:avLst/>
            <a:gdLst/>
            <a:ahLst/>
            <a:cxnLst/>
            <a:rect l="l" t="t" r="r" b="b"/>
            <a:pathLst>
              <a:path w="23313" h="4195">
                <a:moveTo>
                  <a:pt x="23313" y="4195"/>
                </a:moveTo>
                <a:lnTo>
                  <a:pt x="11160" y="0"/>
                </a:lnTo>
                <a:lnTo>
                  <a:pt x="0" y="4195"/>
                </a:lnTo>
                <a:lnTo>
                  <a:pt x="23313" y="4195"/>
                </a:lnTo>
                <a:close/>
              </a:path>
            </a:pathLst>
          </a:custGeom>
          <a:solidFill>
            <a:srgbClr val="000000"/>
          </a:solidFill>
        </p:spPr>
        <p:txBody>
          <a:bodyPr wrap="square" lIns="0" tIns="0" rIns="0" bIns="0" rtlCol="0">
            <a:noAutofit/>
          </a:bodyPr>
          <a:lstStyle/>
          <a:p>
            <a:endParaRPr/>
          </a:p>
        </p:txBody>
      </p:sp>
      <p:sp>
        <p:nvSpPr>
          <p:cNvPr id="1381" name="object 1381"/>
          <p:cNvSpPr/>
          <p:nvPr/>
        </p:nvSpPr>
        <p:spPr>
          <a:xfrm>
            <a:off x="9505194" y="1664832"/>
            <a:ext cx="22817" cy="4195"/>
          </a:xfrm>
          <a:custGeom>
            <a:avLst/>
            <a:gdLst/>
            <a:ahLst/>
            <a:cxnLst/>
            <a:rect l="l" t="t" r="r" b="b"/>
            <a:pathLst>
              <a:path w="22817" h="4195">
                <a:moveTo>
                  <a:pt x="22817" y="0"/>
                </a:moveTo>
                <a:lnTo>
                  <a:pt x="0" y="0"/>
                </a:lnTo>
                <a:lnTo>
                  <a:pt x="11656" y="4195"/>
                </a:lnTo>
                <a:lnTo>
                  <a:pt x="22817" y="0"/>
                </a:lnTo>
                <a:close/>
              </a:path>
            </a:pathLst>
          </a:custGeom>
          <a:solidFill>
            <a:srgbClr val="000000"/>
          </a:solidFill>
        </p:spPr>
        <p:txBody>
          <a:bodyPr wrap="square" lIns="0" tIns="0" rIns="0" bIns="0" rtlCol="0">
            <a:noAutofit/>
          </a:bodyPr>
          <a:lstStyle/>
          <a:p>
            <a:endParaRPr/>
          </a:p>
        </p:txBody>
      </p:sp>
      <p:sp>
        <p:nvSpPr>
          <p:cNvPr id="1382" name="object 1382"/>
          <p:cNvSpPr/>
          <p:nvPr/>
        </p:nvSpPr>
        <p:spPr>
          <a:xfrm>
            <a:off x="9505194" y="1663598"/>
            <a:ext cx="24057" cy="2467"/>
          </a:xfrm>
          <a:custGeom>
            <a:avLst/>
            <a:gdLst/>
            <a:ahLst/>
            <a:cxnLst/>
            <a:rect l="l" t="t" r="r" b="b"/>
            <a:pathLst>
              <a:path w="24057" h="2467">
                <a:moveTo>
                  <a:pt x="22321" y="0"/>
                </a:moveTo>
                <a:lnTo>
                  <a:pt x="0" y="0"/>
                </a:lnTo>
                <a:lnTo>
                  <a:pt x="0" y="2467"/>
                </a:lnTo>
                <a:lnTo>
                  <a:pt x="22817" y="2467"/>
                </a:lnTo>
                <a:lnTo>
                  <a:pt x="23254" y="2177"/>
                </a:lnTo>
                <a:lnTo>
                  <a:pt x="23561" y="1974"/>
                </a:lnTo>
                <a:lnTo>
                  <a:pt x="24057" y="1233"/>
                </a:lnTo>
                <a:lnTo>
                  <a:pt x="23561" y="493"/>
                </a:lnTo>
                <a:lnTo>
                  <a:pt x="22817" y="0"/>
                </a:lnTo>
                <a:lnTo>
                  <a:pt x="22321" y="0"/>
                </a:lnTo>
                <a:close/>
              </a:path>
            </a:pathLst>
          </a:custGeom>
          <a:solidFill>
            <a:srgbClr val="000000"/>
          </a:solidFill>
        </p:spPr>
        <p:txBody>
          <a:bodyPr wrap="square" lIns="0" tIns="0" rIns="0" bIns="0" rtlCol="0">
            <a:noAutofit/>
          </a:bodyPr>
          <a:lstStyle/>
          <a:p>
            <a:endParaRPr/>
          </a:p>
        </p:txBody>
      </p:sp>
      <p:sp>
        <p:nvSpPr>
          <p:cNvPr id="1383" name="object 1383"/>
          <p:cNvSpPr/>
          <p:nvPr/>
        </p:nvSpPr>
        <p:spPr>
          <a:xfrm>
            <a:off x="9515609" y="1663597"/>
            <a:ext cx="11904" cy="6662"/>
          </a:xfrm>
          <a:custGeom>
            <a:avLst/>
            <a:gdLst/>
            <a:ahLst/>
            <a:cxnLst/>
            <a:rect l="l" t="t" r="r" b="b"/>
            <a:pathLst>
              <a:path w="11904" h="6662">
                <a:moveTo>
                  <a:pt x="744" y="4195"/>
                </a:moveTo>
                <a:lnTo>
                  <a:pt x="0" y="4935"/>
                </a:lnTo>
                <a:lnTo>
                  <a:pt x="248" y="5675"/>
                </a:lnTo>
                <a:lnTo>
                  <a:pt x="744" y="6662"/>
                </a:lnTo>
                <a:lnTo>
                  <a:pt x="1736" y="6662"/>
                </a:lnTo>
                <a:lnTo>
                  <a:pt x="1736" y="4195"/>
                </a:lnTo>
                <a:lnTo>
                  <a:pt x="11904" y="0"/>
                </a:lnTo>
                <a:lnTo>
                  <a:pt x="744" y="4195"/>
                </a:lnTo>
                <a:close/>
              </a:path>
            </a:pathLst>
          </a:custGeom>
          <a:solidFill>
            <a:srgbClr val="000000"/>
          </a:solidFill>
        </p:spPr>
        <p:txBody>
          <a:bodyPr wrap="square" lIns="0" tIns="0" rIns="0" bIns="0" rtlCol="0">
            <a:noAutofit/>
          </a:bodyPr>
          <a:lstStyle/>
          <a:p>
            <a:endParaRPr/>
          </a:p>
        </p:txBody>
      </p:sp>
      <p:sp>
        <p:nvSpPr>
          <p:cNvPr id="1384" name="object 1384"/>
          <p:cNvSpPr/>
          <p:nvPr/>
        </p:nvSpPr>
        <p:spPr>
          <a:xfrm>
            <a:off x="9517345" y="1663597"/>
            <a:ext cx="11160" cy="6662"/>
          </a:xfrm>
          <a:custGeom>
            <a:avLst/>
            <a:gdLst/>
            <a:ahLst/>
            <a:cxnLst/>
            <a:rect l="l" t="t" r="r" b="b"/>
            <a:pathLst>
              <a:path w="11160" h="6662">
                <a:moveTo>
                  <a:pt x="0" y="4195"/>
                </a:moveTo>
                <a:lnTo>
                  <a:pt x="0" y="6662"/>
                </a:lnTo>
                <a:lnTo>
                  <a:pt x="11160" y="2467"/>
                </a:lnTo>
                <a:lnTo>
                  <a:pt x="10168" y="0"/>
                </a:lnTo>
                <a:lnTo>
                  <a:pt x="0" y="4195"/>
                </a:lnTo>
                <a:close/>
              </a:path>
            </a:pathLst>
          </a:custGeom>
          <a:solidFill>
            <a:srgbClr val="000000"/>
          </a:solidFill>
        </p:spPr>
        <p:txBody>
          <a:bodyPr wrap="square" lIns="0" tIns="0" rIns="0" bIns="0" rtlCol="0">
            <a:noAutofit/>
          </a:bodyPr>
          <a:lstStyle/>
          <a:p>
            <a:endParaRPr/>
          </a:p>
        </p:txBody>
      </p:sp>
      <p:sp>
        <p:nvSpPr>
          <p:cNvPr id="1385" name="object 1385"/>
          <p:cNvSpPr/>
          <p:nvPr/>
        </p:nvSpPr>
        <p:spPr>
          <a:xfrm>
            <a:off x="9503953" y="1663597"/>
            <a:ext cx="12400" cy="6662"/>
          </a:xfrm>
          <a:custGeom>
            <a:avLst/>
            <a:gdLst/>
            <a:ahLst/>
            <a:cxnLst/>
            <a:rect l="l" t="t" r="r" b="b"/>
            <a:pathLst>
              <a:path w="12400" h="6662">
                <a:moveTo>
                  <a:pt x="744" y="2467"/>
                </a:moveTo>
                <a:lnTo>
                  <a:pt x="12400" y="6662"/>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1386" name="object 1386"/>
          <p:cNvSpPr/>
          <p:nvPr/>
        </p:nvSpPr>
        <p:spPr>
          <a:xfrm>
            <a:off x="9505193" y="1663597"/>
            <a:ext cx="12152" cy="6662"/>
          </a:xfrm>
          <a:custGeom>
            <a:avLst/>
            <a:gdLst/>
            <a:ahLst/>
            <a:cxnLst/>
            <a:rect l="l" t="t" r="r" b="b"/>
            <a:pathLst>
              <a:path w="12152" h="6662">
                <a:moveTo>
                  <a:pt x="496" y="0"/>
                </a:moveTo>
                <a:lnTo>
                  <a:pt x="0" y="0"/>
                </a:lnTo>
                <a:lnTo>
                  <a:pt x="0" y="2467"/>
                </a:lnTo>
                <a:lnTo>
                  <a:pt x="11160" y="6662"/>
                </a:lnTo>
                <a:lnTo>
                  <a:pt x="12152" y="4195"/>
                </a:lnTo>
                <a:lnTo>
                  <a:pt x="496" y="0"/>
                </a:lnTo>
                <a:close/>
              </a:path>
            </a:pathLst>
          </a:custGeom>
          <a:solidFill>
            <a:srgbClr val="000000"/>
          </a:solidFill>
        </p:spPr>
        <p:txBody>
          <a:bodyPr wrap="square" lIns="0" tIns="0" rIns="0" bIns="0" rtlCol="0">
            <a:noAutofit/>
          </a:bodyPr>
          <a:lstStyle/>
          <a:p>
            <a:endParaRPr/>
          </a:p>
        </p:txBody>
      </p:sp>
      <p:sp>
        <p:nvSpPr>
          <p:cNvPr id="1387" name="object 1387"/>
          <p:cNvSpPr/>
          <p:nvPr/>
        </p:nvSpPr>
        <p:spPr>
          <a:xfrm>
            <a:off x="9505690" y="1782297"/>
            <a:ext cx="24553" cy="2467"/>
          </a:xfrm>
          <a:custGeom>
            <a:avLst/>
            <a:gdLst/>
            <a:ahLst/>
            <a:cxnLst/>
            <a:rect l="l" t="t" r="r" b="b"/>
            <a:pathLst>
              <a:path w="24553" h="2467">
                <a:moveTo>
                  <a:pt x="24553" y="1233"/>
                </a:moveTo>
                <a:lnTo>
                  <a:pt x="24057" y="493"/>
                </a:lnTo>
                <a:lnTo>
                  <a:pt x="23750" y="290"/>
                </a:lnTo>
                <a:lnTo>
                  <a:pt x="23313" y="0"/>
                </a:lnTo>
                <a:lnTo>
                  <a:pt x="0" y="0"/>
                </a:lnTo>
                <a:lnTo>
                  <a:pt x="0" y="2467"/>
                </a:lnTo>
                <a:lnTo>
                  <a:pt x="23313" y="2467"/>
                </a:lnTo>
                <a:lnTo>
                  <a:pt x="24057" y="1974"/>
                </a:lnTo>
                <a:lnTo>
                  <a:pt x="24553" y="1233"/>
                </a:lnTo>
                <a:close/>
              </a:path>
            </a:pathLst>
          </a:custGeom>
          <a:solidFill>
            <a:srgbClr val="000000"/>
          </a:solidFill>
        </p:spPr>
        <p:txBody>
          <a:bodyPr wrap="square" lIns="0" tIns="0" rIns="0" bIns="0" rtlCol="0">
            <a:noAutofit/>
          </a:bodyPr>
          <a:lstStyle/>
          <a:p>
            <a:endParaRPr/>
          </a:p>
        </p:txBody>
      </p:sp>
      <p:sp>
        <p:nvSpPr>
          <p:cNvPr id="1388" name="object 1388"/>
          <p:cNvSpPr/>
          <p:nvPr/>
        </p:nvSpPr>
        <p:spPr>
          <a:xfrm>
            <a:off x="9516353" y="1780569"/>
            <a:ext cx="12152" cy="4195"/>
          </a:xfrm>
          <a:custGeom>
            <a:avLst/>
            <a:gdLst/>
            <a:ahLst/>
            <a:cxnLst/>
            <a:rect l="l" t="t" r="r" b="b"/>
            <a:pathLst>
              <a:path w="12152" h="4195">
                <a:moveTo>
                  <a:pt x="12152" y="4195"/>
                </a:moveTo>
                <a:lnTo>
                  <a:pt x="992" y="0"/>
                </a:lnTo>
                <a:lnTo>
                  <a:pt x="0" y="0"/>
                </a:lnTo>
                <a:lnTo>
                  <a:pt x="12152" y="4195"/>
                </a:lnTo>
                <a:close/>
              </a:path>
            </a:pathLst>
          </a:custGeom>
          <a:solidFill>
            <a:srgbClr val="000000"/>
          </a:solidFill>
        </p:spPr>
        <p:txBody>
          <a:bodyPr wrap="square" lIns="0" tIns="0" rIns="0" bIns="0" rtlCol="0">
            <a:noAutofit/>
          </a:bodyPr>
          <a:lstStyle/>
          <a:p>
            <a:endParaRPr/>
          </a:p>
        </p:txBody>
      </p:sp>
      <p:sp>
        <p:nvSpPr>
          <p:cNvPr id="1389" name="object 1389"/>
          <p:cNvSpPr/>
          <p:nvPr/>
        </p:nvSpPr>
        <p:spPr>
          <a:xfrm>
            <a:off x="9515609" y="1778101"/>
            <a:ext cx="13888" cy="6662"/>
          </a:xfrm>
          <a:custGeom>
            <a:avLst/>
            <a:gdLst/>
            <a:ahLst/>
            <a:cxnLst/>
            <a:rect l="l" t="t" r="r" b="b"/>
            <a:pathLst>
              <a:path w="13888" h="6662">
                <a:moveTo>
                  <a:pt x="248" y="740"/>
                </a:moveTo>
                <a:lnTo>
                  <a:pt x="0" y="1727"/>
                </a:lnTo>
                <a:lnTo>
                  <a:pt x="744" y="2467"/>
                </a:lnTo>
                <a:lnTo>
                  <a:pt x="1736" y="2467"/>
                </a:lnTo>
                <a:lnTo>
                  <a:pt x="12896" y="6662"/>
                </a:lnTo>
                <a:lnTo>
                  <a:pt x="13888" y="4195"/>
                </a:lnTo>
                <a:lnTo>
                  <a:pt x="1736" y="0"/>
                </a:lnTo>
                <a:lnTo>
                  <a:pt x="744" y="0"/>
                </a:lnTo>
                <a:lnTo>
                  <a:pt x="248" y="740"/>
                </a:lnTo>
                <a:close/>
              </a:path>
            </a:pathLst>
          </a:custGeom>
          <a:solidFill>
            <a:srgbClr val="000000"/>
          </a:solidFill>
        </p:spPr>
        <p:txBody>
          <a:bodyPr wrap="square" lIns="0" tIns="0" rIns="0" bIns="0" rtlCol="0">
            <a:noAutofit/>
          </a:bodyPr>
          <a:lstStyle/>
          <a:p>
            <a:endParaRPr/>
          </a:p>
        </p:txBody>
      </p:sp>
      <p:sp>
        <p:nvSpPr>
          <p:cNvPr id="1390" name="object 1390"/>
          <p:cNvSpPr/>
          <p:nvPr/>
        </p:nvSpPr>
        <p:spPr>
          <a:xfrm>
            <a:off x="9505193" y="1778102"/>
            <a:ext cx="11160" cy="4195"/>
          </a:xfrm>
          <a:custGeom>
            <a:avLst/>
            <a:gdLst/>
            <a:ahLst/>
            <a:cxnLst/>
            <a:rect l="l" t="t" r="r" b="b"/>
            <a:pathLst>
              <a:path w="11160" h="4195">
                <a:moveTo>
                  <a:pt x="0" y="4195"/>
                </a:moveTo>
                <a:lnTo>
                  <a:pt x="496" y="4195"/>
                </a:lnTo>
                <a:lnTo>
                  <a:pt x="11160" y="0"/>
                </a:lnTo>
                <a:lnTo>
                  <a:pt x="0" y="4195"/>
                </a:lnTo>
                <a:close/>
              </a:path>
            </a:pathLst>
          </a:custGeom>
          <a:solidFill>
            <a:srgbClr val="000000"/>
          </a:solidFill>
        </p:spPr>
        <p:txBody>
          <a:bodyPr wrap="square" lIns="0" tIns="0" rIns="0" bIns="0" rtlCol="0">
            <a:noAutofit/>
          </a:bodyPr>
          <a:lstStyle/>
          <a:p>
            <a:endParaRPr/>
          </a:p>
        </p:txBody>
      </p:sp>
      <p:sp>
        <p:nvSpPr>
          <p:cNvPr id="1391" name="object 1391"/>
          <p:cNvSpPr/>
          <p:nvPr/>
        </p:nvSpPr>
        <p:spPr>
          <a:xfrm>
            <a:off x="9504449" y="1778101"/>
            <a:ext cx="12896" cy="6662"/>
          </a:xfrm>
          <a:custGeom>
            <a:avLst/>
            <a:gdLst/>
            <a:ahLst/>
            <a:cxnLst/>
            <a:rect l="l" t="t" r="r" b="b"/>
            <a:pathLst>
              <a:path w="12896" h="6662">
                <a:moveTo>
                  <a:pt x="248" y="5675"/>
                </a:moveTo>
                <a:lnTo>
                  <a:pt x="744" y="6662"/>
                </a:lnTo>
                <a:lnTo>
                  <a:pt x="1736" y="6662"/>
                </a:lnTo>
                <a:lnTo>
                  <a:pt x="12896" y="2467"/>
                </a:lnTo>
                <a:lnTo>
                  <a:pt x="11904" y="0"/>
                </a:lnTo>
                <a:lnTo>
                  <a:pt x="1240" y="4195"/>
                </a:lnTo>
                <a:lnTo>
                  <a:pt x="744" y="4195"/>
                </a:lnTo>
                <a:lnTo>
                  <a:pt x="0" y="4935"/>
                </a:lnTo>
                <a:lnTo>
                  <a:pt x="248" y="5675"/>
                </a:lnTo>
                <a:close/>
              </a:path>
            </a:pathLst>
          </a:custGeom>
          <a:solidFill>
            <a:srgbClr val="000000"/>
          </a:solidFill>
        </p:spPr>
        <p:txBody>
          <a:bodyPr wrap="square" lIns="0" tIns="0" rIns="0" bIns="0" rtlCol="0">
            <a:noAutofit/>
          </a:bodyPr>
          <a:lstStyle/>
          <a:p>
            <a:endParaRPr/>
          </a:p>
        </p:txBody>
      </p:sp>
      <p:sp>
        <p:nvSpPr>
          <p:cNvPr id="1392" name="object 1392"/>
          <p:cNvSpPr/>
          <p:nvPr/>
        </p:nvSpPr>
        <p:spPr>
          <a:xfrm>
            <a:off x="9493537" y="1664585"/>
            <a:ext cx="68947" cy="118945"/>
          </a:xfrm>
          <a:custGeom>
            <a:avLst/>
            <a:gdLst/>
            <a:ahLst/>
            <a:cxnLst/>
            <a:rect l="l" t="t" r="r" b="b"/>
            <a:pathLst>
              <a:path w="68947" h="118945">
                <a:moveTo>
                  <a:pt x="34473" y="0"/>
                </a:moveTo>
                <a:lnTo>
                  <a:pt x="31001" y="246"/>
                </a:lnTo>
                <a:lnTo>
                  <a:pt x="27529" y="1233"/>
                </a:lnTo>
                <a:lnTo>
                  <a:pt x="21080" y="4688"/>
                </a:lnTo>
                <a:lnTo>
                  <a:pt x="15128" y="10117"/>
                </a:lnTo>
                <a:lnTo>
                  <a:pt x="12400" y="13572"/>
                </a:lnTo>
                <a:lnTo>
                  <a:pt x="10168" y="17521"/>
                </a:lnTo>
                <a:lnTo>
                  <a:pt x="7936" y="21716"/>
                </a:lnTo>
                <a:lnTo>
                  <a:pt x="5952" y="26158"/>
                </a:lnTo>
                <a:lnTo>
                  <a:pt x="4216" y="31093"/>
                </a:lnTo>
                <a:lnTo>
                  <a:pt x="2728" y="36276"/>
                </a:lnTo>
                <a:lnTo>
                  <a:pt x="1488" y="41705"/>
                </a:lnTo>
                <a:lnTo>
                  <a:pt x="744" y="47380"/>
                </a:lnTo>
                <a:lnTo>
                  <a:pt x="248" y="53303"/>
                </a:lnTo>
                <a:lnTo>
                  <a:pt x="0" y="59472"/>
                </a:lnTo>
                <a:lnTo>
                  <a:pt x="248" y="65642"/>
                </a:lnTo>
                <a:lnTo>
                  <a:pt x="744" y="71564"/>
                </a:lnTo>
                <a:lnTo>
                  <a:pt x="1488" y="77240"/>
                </a:lnTo>
                <a:lnTo>
                  <a:pt x="2728" y="82669"/>
                </a:lnTo>
                <a:lnTo>
                  <a:pt x="4216" y="87852"/>
                </a:lnTo>
                <a:lnTo>
                  <a:pt x="5952" y="92787"/>
                </a:lnTo>
                <a:lnTo>
                  <a:pt x="7936" y="97229"/>
                </a:lnTo>
                <a:lnTo>
                  <a:pt x="10168" y="101424"/>
                </a:lnTo>
                <a:lnTo>
                  <a:pt x="12400" y="105373"/>
                </a:lnTo>
                <a:lnTo>
                  <a:pt x="15128" y="108828"/>
                </a:lnTo>
                <a:lnTo>
                  <a:pt x="18104" y="111789"/>
                </a:lnTo>
                <a:lnTo>
                  <a:pt x="24305" y="116231"/>
                </a:lnTo>
                <a:lnTo>
                  <a:pt x="31001" y="118699"/>
                </a:lnTo>
                <a:lnTo>
                  <a:pt x="34473" y="118945"/>
                </a:lnTo>
                <a:lnTo>
                  <a:pt x="37945" y="118699"/>
                </a:lnTo>
                <a:lnTo>
                  <a:pt x="44642" y="116231"/>
                </a:lnTo>
                <a:lnTo>
                  <a:pt x="50842" y="111789"/>
                </a:lnTo>
                <a:lnTo>
                  <a:pt x="53570" y="108828"/>
                </a:lnTo>
                <a:lnTo>
                  <a:pt x="56298" y="105373"/>
                </a:lnTo>
                <a:lnTo>
                  <a:pt x="58778" y="101424"/>
                </a:lnTo>
                <a:lnTo>
                  <a:pt x="61010" y="97229"/>
                </a:lnTo>
                <a:lnTo>
                  <a:pt x="62994" y="92787"/>
                </a:lnTo>
                <a:lnTo>
                  <a:pt x="64730" y="87852"/>
                </a:lnTo>
                <a:lnTo>
                  <a:pt x="66218" y="82669"/>
                </a:lnTo>
                <a:lnTo>
                  <a:pt x="67459" y="77240"/>
                </a:lnTo>
                <a:lnTo>
                  <a:pt x="68203" y="71564"/>
                </a:lnTo>
                <a:lnTo>
                  <a:pt x="68699" y="65642"/>
                </a:lnTo>
                <a:lnTo>
                  <a:pt x="68947" y="59472"/>
                </a:lnTo>
                <a:lnTo>
                  <a:pt x="68699" y="53303"/>
                </a:lnTo>
                <a:lnTo>
                  <a:pt x="68203" y="47380"/>
                </a:lnTo>
                <a:lnTo>
                  <a:pt x="67459" y="41705"/>
                </a:lnTo>
                <a:lnTo>
                  <a:pt x="66218" y="36276"/>
                </a:lnTo>
                <a:lnTo>
                  <a:pt x="64730" y="31093"/>
                </a:lnTo>
                <a:lnTo>
                  <a:pt x="62994" y="26158"/>
                </a:lnTo>
                <a:lnTo>
                  <a:pt x="61010" y="21716"/>
                </a:lnTo>
                <a:lnTo>
                  <a:pt x="58778" y="17521"/>
                </a:lnTo>
                <a:lnTo>
                  <a:pt x="56298" y="13572"/>
                </a:lnTo>
                <a:lnTo>
                  <a:pt x="53570" y="10117"/>
                </a:lnTo>
                <a:lnTo>
                  <a:pt x="50842" y="7156"/>
                </a:lnTo>
                <a:lnTo>
                  <a:pt x="44642" y="2714"/>
                </a:lnTo>
                <a:lnTo>
                  <a:pt x="37945" y="246"/>
                </a:lnTo>
                <a:lnTo>
                  <a:pt x="34473" y="0"/>
                </a:lnTo>
                <a:close/>
              </a:path>
            </a:pathLst>
          </a:custGeom>
          <a:solidFill>
            <a:srgbClr val="000000"/>
          </a:solidFill>
        </p:spPr>
        <p:txBody>
          <a:bodyPr wrap="square" lIns="0" tIns="0" rIns="0" bIns="0" rtlCol="0">
            <a:noAutofit/>
          </a:bodyPr>
          <a:lstStyle/>
          <a:p>
            <a:endParaRPr/>
          </a:p>
        </p:txBody>
      </p:sp>
      <p:sp>
        <p:nvSpPr>
          <p:cNvPr id="1393" name="object 1393"/>
          <p:cNvSpPr/>
          <p:nvPr/>
        </p:nvSpPr>
        <p:spPr>
          <a:xfrm>
            <a:off x="9528011" y="1662856"/>
            <a:ext cx="36209" cy="61200"/>
          </a:xfrm>
          <a:custGeom>
            <a:avLst/>
            <a:gdLst/>
            <a:ahLst/>
            <a:cxnLst/>
            <a:rect l="l" t="t" r="r" b="b"/>
            <a:pathLst>
              <a:path w="36209" h="61200">
                <a:moveTo>
                  <a:pt x="0" y="0"/>
                </a:moveTo>
                <a:lnTo>
                  <a:pt x="0" y="3454"/>
                </a:lnTo>
                <a:lnTo>
                  <a:pt x="3224" y="3701"/>
                </a:lnTo>
                <a:lnTo>
                  <a:pt x="6448" y="4688"/>
                </a:lnTo>
                <a:lnTo>
                  <a:pt x="9424" y="5922"/>
                </a:lnTo>
                <a:lnTo>
                  <a:pt x="12400" y="7896"/>
                </a:lnTo>
                <a:lnTo>
                  <a:pt x="15128" y="10117"/>
                </a:lnTo>
                <a:lnTo>
                  <a:pt x="17856" y="13079"/>
                </a:lnTo>
                <a:lnTo>
                  <a:pt x="20336" y="16287"/>
                </a:lnTo>
                <a:lnTo>
                  <a:pt x="22817" y="19988"/>
                </a:lnTo>
                <a:lnTo>
                  <a:pt x="25049" y="24184"/>
                </a:lnTo>
                <a:lnTo>
                  <a:pt x="27033" y="28625"/>
                </a:lnTo>
                <a:lnTo>
                  <a:pt x="28521" y="33314"/>
                </a:lnTo>
                <a:lnTo>
                  <a:pt x="30009" y="38496"/>
                </a:lnTo>
                <a:lnTo>
                  <a:pt x="31249" y="43679"/>
                </a:lnTo>
                <a:lnTo>
                  <a:pt x="31993" y="49355"/>
                </a:lnTo>
                <a:lnTo>
                  <a:pt x="32489" y="55030"/>
                </a:lnTo>
                <a:lnTo>
                  <a:pt x="32737" y="61200"/>
                </a:lnTo>
                <a:lnTo>
                  <a:pt x="36209" y="61200"/>
                </a:lnTo>
                <a:lnTo>
                  <a:pt x="35961" y="55030"/>
                </a:lnTo>
                <a:lnTo>
                  <a:pt x="35465" y="48861"/>
                </a:lnTo>
                <a:lnTo>
                  <a:pt x="34721" y="43185"/>
                </a:lnTo>
                <a:lnTo>
                  <a:pt x="33481" y="37509"/>
                </a:lnTo>
                <a:lnTo>
                  <a:pt x="31993" y="32327"/>
                </a:lnTo>
                <a:lnTo>
                  <a:pt x="30009" y="27145"/>
                </a:lnTo>
                <a:lnTo>
                  <a:pt x="28025" y="22703"/>
                </a:lnTo>
                <a:lnTo>
                  <a:pt x="25793" y="18508"/>
                </a:lnTo>
                <a:lnTo>
                  <a:pt x="23313" y="14312"/>
                </a:lnTo>
                <a:lnTo>
                  <a:pt x="20336" y="10611"/>
                </a:lnTo>
                <a:lnTo>
                  <a:pt x="17608" y="7650"/>
                </a:lnTo>
                <a:lnTo>
                  <a:pt x="14384" y="4935"/>
                </a:lnTo>
                <a:lnTo>
                  <a:pt x="10912" y="2961"/>
                </a:lnTo>
                <a:lnTo>
                  <a:pt x="7440" y="1233"/>
                </a:lnTo>
                <a:lnTo>
                  <a:pt x="3720" y="246"/>
                </a:lnTo>
                <a:lnTo>
                  <a:pt x="0" y="0"/>
                </a:lnTo>
                <a:close/>
              </a:path>
            </a:pathLst>
          </a:custGeom>
          <a:solidFill>
            <a:srgbClr val="000000"/>
          </a:solidFill>
        </p:spPr>
        <p:txBody>
          <a:bodyPr wrap="square" lIns="0" tIns="0" rIns="0" bIns="0" rtlCol="0">
            <a:noAutofit/>
          </a:bodyPr>
          <a:lstStyle/>
          <a:p>
            <a:endParaRPr/>
          </a:p>
        </p:txBody>
      </p:sp>
      <p:sp>
        <p:nvSpPr>
          <p:cNvPr id="1394" name="object 1394"/>
          <p:cNvSpPr/>
          <p:nvPr/>
        </p:nvSpPr>
        <p:spPr>
          <a:xfrm>
            <a:off x="9528011" y="1724057"/>
            <a:ext cx="36209" cy="61200"/>
          </a:xfrm>
          <a:custGeom>
            <a:avLst/>
            <a:gdLst/>
            <a:ahLst/>
            <a:cxnLst/>
            <a:rect l="l" t="t" r="r" b="b"/>
            <a:pathLst>
              <a:path w="36209" h="61200">
                <a:moveTo>
                  <a:pt x="3720" y="60953"/>
                </a:moveTo>
                <a:lnTo>
                  <a:pt x="7440" y="59966"/>
                </a:lnTo>
                <a:lnTo>
                  <a:pt x="10912" y="58239"/>
                </a:lnTo>
                <a:lnTo>
                  <a:pt x="14384" y="56264"/>
                </a:lnTo>
                <a:lnTo>
                  <a:pt x="17608" y="53550"/>
                </a:lnTo>
                <a:lnTo>
                  <a:pt x="20336" y="50589"/>
                </a:lnTo>
                <a:lnTo>
                  <a:pt x="23313" y="46887"/>
                </a:lnTo>
                <a:lnTo>
                  <a:pt x="25793" y="42692"/>
                </a:lnTo>
                <a:lnTo>
                  <a:pt x="28025" y="38496"/>
                </a:lnTo>
                <a:lnTo>
                  <a:pt x="30009" y="34055"/>
                </a:lnTo>
                <a:lnTo>
                  <a:pt x="31993" y="28872"/>
                </a:lnTo>
                <a:lnTo>
                  <a:pt x="33481" y="23690"/>
                </a:lnTo>
                <a:lnTo>
                  <a:pt x="34721" y="18014"/>
                </a:lnTo>
                <a:lnTo>
                  <a:pt x="35465" y="12338"/>
                </a:lnTo>
                <a:lnTo>
                  <a:pt x="35961" y="6169"/>
                </a:lnTo>
                <a:lnTo>
                  <a:pt x="36209" y="0"/>
                </a:lnTo>
                <a:lnTo>
                  <a:pt x="32737" y="0"/>
                </a:lnTo>
                <a:lnTo>
                  <a:pt x="32489" y="6169"/>
                </a:lnTo>
                <a:lnTo>
                  <a:pt x="31993" y="11845"/>
                </a:lnTo>
                <a:lnTo>
                  <a:pt x="31249" y="17521"/>
                </a:lnTo>
                <a:lnTo>
                  <a:pt x="30009" y="22703"/>
                </a:lnTo>
                <a:lnTo>
                  <a:pt x="28521" y="27885"/>
                </a:lnTo>
                <a:lnTo>
                  <a:pt x="27033" y="32574"/>
                </a:lnTo>
                <a:lnTo>
                  <a:pt x="25049" y="37016"/>
                </a:lnTo>
                <a:lnTo>
                  <a:pt x="22817" y="41211"/>
                </a:lnTo>
                <a:lnTo>
                  <a:pt x="20336" y="44913"/>
                </a:lnTo>
                <a:lnTo>
                  <a:pt x="17856" y="48121"/>
                </a:lnTo>
                <a:lnTo>
                  <a:pt x="15128" y="51082"/>
                </a:lnTo>
                <a:lnTo>
                  <a:pt x="12400" y="53303"/>
                </a:lnTo>
                <a:lnTo>
                  <a:pt x="9424" y="55277"/>
                </a:lnTo>
                <a:lnTo>
                  <a:pt x="6448" y="56511"/>
                </a:lnTo>
                <a:lnTo>
                  <a:pt x="3224" y="57498"/>
                </a:lnTo>
                <a:lnTo>
                  <a:pt x="0" y="57745"/>
                </a:lnTo>
                <a:lnTo>
                  <a:pt x="0" y="61200"/>
                </a:lnTo>
                <a:lnTo>
                  <a:pt x="3720" y="60953"/>
                </a:lnTo>
                <a:close/>
              </a:path>
            </a:pathLst>
          </a:custGeom>
          <a:solidFill>
            <a:srgbClr val="000000"/>
          </a:solidFill>
        </p:spPr>
        <p:txBody>
          <a:bodyPr wrap="square" lIns="0" tIns="0" rIns="0" bIns="0" rtlCol="0">
            <a:noAutofit/>
          </a:bodyPr>
          <a:lstStyle/>
          <a:p>
            <a:endParaRPr/>
          </a:p>
        </p:txBody>
      </p:sp>
      <p:sp>
        <p:nvSpPr>
          <p:cNvPr id="1395" name="object 1395"/>
          <p:cNvSpPr/>
          <p:nvPr/>
        </p:nvSpPr>
        <p:spPr>
          <a:xfrm>
            <a:off x="9491801" y="1724057"/>
            <a:ext cx="36209" cy="61200"/>
          </a:xfrm>
          <a:custGeom>
            <a:avLst/>
            <a:gdLst/>
            <a:ahLst/>
            <a:cxnLst/>
            <a:rect l="l" t="t" r="r" b="b"/>
            <a:pathLst>
              <a:path w="36209" h="61200">
                <a:moveTo>
                  <a:pt x="3472" y="0"/>
                </a:moveTo>
                <a:lnTo>
                  <a:pt x="0" y="0"/>
                </a:lnTo>
                <a:lnTo>
                  <a:pt x="248" y="6169"/>
                </a:lnTo>
                <a:lnTo>
                  <a:pt x="744" y="12338"/>
                </a:lnTo>
                <a:lnTo>
                  <a:pt x="1488" y="18014"/>
                </a:lnTo>
                <a:lnTo>
                  <a:pt x="2728" y="23690"/>
                </a:lnTo>
                <a:lnTo>
                  <a:pt x="4216" y="28872"/>
                </a:lnTo>
                <a:lnTo>
                  <a:pt x="6200" y="34055"/>
                </a:lnTo>
                <a:lnTo>
                  <a:pt x="8184" y="38496"/>
                </a:lnTo>
                <a:lnTo>
                  <a:pt x="10416" y="42692"/>
                </a:lnTo>
                <a:lnTo>
                  <a:pt x="12648" y="46887"/>
                </a:lnTo>
                <a:lnTo>
                  <a:pt x="15624" y="50589"/>
                </a:lnTo>
                <a:lnTo>
                  <a:pt x="18600" y="53550"/>
                </a:lnTo>
                <a:lnTo>
                  <a:pt x="21824" y="56264"/>
                </a:lnTo>
                <a:lnTo>
                  <a:pt x="25297" y="58239"/>
                </a:lnTo>
                <a:lnTo>
                  <a:pt x="28769" y="59966"/>
                </a:lnTo>
                <a:lnTo>
                  <a:pt x="32489" y="60953"/>
                </a:lnTo>
                <a:lnTo>
                  <a:pt x="36209" y="61200"/>
                </a:lnTo>
                <a:lnTo>
                  <a:pt x="36209" y="57745"/>
                </a:lnTo>
                <a:lnTo>
                  <a:pt x="32985" y="57498"/>
                </a:lnTo>
                <a:lnTo>
                  <a:pt x="29761" y="56511"/>
                </a:lnTo>
                <a:lnTo>
                  <a:pt x="26785" y="55277"/>
                </a:lnTo>
                <a:lnTo>
                  <a:pt x="23809" y="53303"/>
                </a:lnTo>
                <a:lnTo>
                  <a:pt x="21080" y="51082"/>
                </a:lnTo>
                <a:lnTo>
                  <a:pt x="18104" y="48121"/>
                </a:lnTo>
                <a:lnTo>
                  <a:pt x="15624" y="44913"/>
                </a:lnTo>
                <a:lnTo>
                  <a:pt x="13392" y="41211"/>
                </a:lnTo>
                <a:lnTo>
                  <a:pt x="11160" y="37016"/>
                </a:lnTo>
                <a:lnTo>
                  <a:pt x="9176" y="32574"/>
                </a:lnTo>
                <a:lnTo>
                  <a:pt x="7688" y="27885"/>
                </a:lnTo>
                <a:lnTo>
                  <a:pt x="6200" y="22703"/>
                </a:lnTo>
                <a:lnTo>
                  <a:pt x="4960" y="17521"/>
                </a:lnTo>
                <a:lnTo>
                  <a:pt x="4216" y="11845"/>
                </a:lnTo>
                <a:lnTo>
                  <a:pt x="3720" y="6169"/>
                </a:lnTo>
                <a:lnTo>
                  <a:pt x="3472" y="0"/>
                </a:lnTo>
                <a:close/>
              </a:path>
            </a:pathLst>
          </a:custGeom>
          <a:solidFill>
            <a:srgbClr val="000000"/>
          </a:solidFill>
        </p:spPr>
        <p:txBody>
          <a:bodyPr wrap="square" lIns="0" tIns="0" rIns="0" bIns="0" rtlCol="0">
            <a:noAutofit/>
          </a:bodyPr>
          <a:lstStyle/>
          <a:p>
            <a:endParaRPr/>
          </a:p>
        </p:txBody>
      </p:sp>
      <p:sp>
        <p:nvSpPr>
          <p:cNvPr id="1396" name="object 1396"/>
          <p:cNvSpPr/>
          <p:nvPr/>
        </p:nvSpPr>
        <p:spPr>
          <a:xfrm>
            <a:off x="9491801" y="1662856"/>
            <a:ext cx="36209" cy="61200"/>
          </a:xfrm>
          <a:custGeom>
            <a:avLst/>
            <a:gdLst/>
            <a:ahLst/>
            <a:cxnLst/>
            <a:rect l="l" t="t" r="r" b="b"/>
            <a:pathLst>
              <a:path w="36209" h="61200">
                <a:moveTo>
                  <a:pt x="4216" y="32327"/>
                </a:moveTo>
                <a:lnTo>
                  <a:pt x="2728" y="37509"/>
                </a:lnTo>
                <a:lnTo>
                  <a:pt x="1488" y="43185"/>
                </a:lnTo>
                <a:lnTo>
                  <a:pt x="744" y="48861"/>
                </a:lnTo>
                <a:lnTo>
                  <a:pt x="248" y="55030"/>
                </a:lnTo>
                <a:lnTo>
                  <a:pt x="0" y="61200"/>
                </a:lnTo>
                <a:lnTo>
                  <a:pt x="3472" y="61200"/>
                </a:lnTo>
                <a:lnTo>
                  <a:pt x="3720" y="55030"/>
                </a:lnTo>
                <a:lnTo>
                  <a:pt x="4216" y="49355"/>
                </a:lnTo>
                <a:lnTo>
                  <a:pt x="4960" y="43679"/>
                </a:lnTo>
                <a:lnTo>
                  <a:pt x="6200" y="38496"/>
                </a:lnTo>
                <a:lnTo>
                  <a:pt x="7688" y="33314"/>
                </a:lnTo>
                <a:lnTo>
                  <a:pt x="9176" y="28625"/>
                </a:lnTo>
                <a:lnTo>
                  <a:pt x="11160" y="24184"/>
                </a:lnTo>
                <a:lnTo>
                  <a:pt x="13392" y="19988"/>
                </a:lnTo>
                <a:lnTo>
                  <a:pt x="15624" y="16287"/>
                </a:lnTo>
                <a:lnTo>
                  <a:pt x="18104" y="13079"/>
                </a:lnTo>
                <a:lnTo>
                  <a:pt x="21080" y="10117"/>
                </a:lnTo>
                <a:lnTo>
                  <a:pt x="23809" y="7896"/>
                </a:lnTo>
                <a:lnTo>
                  <a:pt x="26785" y="5922"/>
                </a:lnTo>
                <a:lnTo>
                  <a:pt x="29761" y="4688"/>
                </a:lnTo>
                <a:lnTo>
                  <a:pt x="32985" y="3701"/>
                </a:lnTo>
                <a:lnTo>
                  <a:pt x="36209" y="3454"/>
                </a:lnTo>
                <a:lnTo>
                  <a:pt x="36209" y="0"/>
                </a:lnTo>
                <a:lnTo>
                  <a:pt x="32489" y="246"/>
                </a:lnTo>
                <a:lnTo>
                  <a:pt x="28769" y="1233"/>
                </a:lnTo>
                <a:lnTo>
                  <a:pt x="25297" y="2961"/>
                </a:lnTo>
                <a:lnTo>
                  <a:pt x="21824" y="4935"/>
                </a:lnTo>
                <a:lnTo>
                  <a:pt x="18600" y="7650"/>
                </a:lnTo>
                <a:lnTo>
                  <a:pt x="15624" y="10611"/>
                </a:lnTo>
                <a:lnTo>
                  <a:pt x="12648" y="14312"/>
                </a:lnTo>
                <a:lnTo>
                  <a:pt x="10416" y="18508"/>
                </a:lnTo>
                <a:lnTo>
                  <a:pt x="8184" y="22703"/>
                </a:lnTo>
                <a:lnTo>
                  <a:pt x="6200" y="27145"/>
                </a:lnTo>
                <a:lnTo>
                  <a:pt x="4216" y="32327"/>
                </a:lnTo>
                <a:close/>
              </a:path>
            </a:pathLst>
          </a:custGeom>
          <a:solidFill>
            <a:srgbClr val="000000"/>
          </a:solidFill>
        </p:spPr>
        <p:txBody>
          <a:bodyPr wrap="square" lIns="0" tIns="0" rIns="0" bIns="0" rtlCol="0">
            <a:noAutofit/>
          </a:bodyPr>
          <a:lstStyle/>
          <a:p>
            <a:endParaRPr/>
          </a:p>
        </p:txBody>
      </p:sp>
      <p:sp>
        <p:nvSpPr>
          <p:cNvPr id="1397" name="object 1397"/>
          <p:cNvSpPr/>
          <p:nvPr/>
        </p:nvSpPr>
        <p:spPr>
          <a:xfrm>
            <a:off x="9498498" y="1665325"/>
            <a:ext cx="68947" cy="118945"/>
          </a:xfrm>
          <a:custGeom>
            <a:avLst/>
            <a:gdLst/>
            <a:ahLst/>
            <a:cxnLst/>
            <a:rect l="l" t="t" r="r" b="b"/>
            <a:pathLst>
              <a:path w="68947" h="118945">
                <a:moveTo>
                  <a:pt x="34473" y="0"/>
                </a:moveTo>
                <a:lnTo>
                  <a:pt x="31001" y="246"/>
                </a:lnTo>
                <a:lnTo>
                  <a:pt x="27529" y="1233"/>
                </a:lnTo>
                <a:lnTo>
                  <a:pt x="21080" y="4688"/>
                </a:lnTo>
                <a:lnTo>
                  <a:pt x="15128" y="10117"/>
                </a:lnTo>
                <a:lnTo>
                  <a:pt x="12400" y="13572"/>
                </a:lnTo>
                <a:lnTo>
                  <a:pt x="10168" y="17521"/>
                </a:lnTo>
                <a:lnTo>
                  <a:pt x="7936" y="21716"/>
                </a:lnTo>
                <a:lnTo>
                  <a:pt x="5952" y="26158"/>
                </a:lnTo>
                <a:lnTo>
                  <a:pt x="4216" y="31093"/>
                </a:lnTo>
                <a:lnTo>
                  <a:pt x="2728" y="36276"/>
                </a:lnTo>
                <a:lnTo>
                  <a:pt x="1488" y="41705"/>
                </a:lnTo>
                <a:lnTo>
                  <a:pt x="744" y="47380"/>
                </a:lnTo>
                <a:lnTo>
                  <a:pt x="248" y="53303"/>
                </a:lnTo>
                <a:lnTo>
                  <a:pt x="0" y="59472"/>
                </a:lnTo>
                <a:lnTo>
                  <a:pt x="248" y="65642"/>
                </a:lnTo>
                <a:lnTo>
                  <a:pt x="744" y="71564"/>
                </a:lnTo>
                <a:lnTo>
                  <a:pt x="1488" y="77240"/>
                </a:lnTo>
                <a:lnTo>
                  <a:pt x="2728" y="82669"/>
                </a:lnTo>
                <a:lnTo>
                  <a:pt x="4216" y="87852"/>
                </a:lnTo>
                <a:lnTo>
                  <a:pt x="5952" y="92787"/>
                </a:lnTo>
                <a:lnTo>
                  <a:pt x="7936" y="97229"/>
                </a:lnTo>
                <a:lnTo>
                  <a:pt x="10168" y="101424"/>
                </a:lnTo>
                <a:lnTo>
                  <a:pt x="12400" y="105373"/>
                </a:lnTo>
                <a:lnTo>
                  <a:pt x="15128" y="108828"/>
                </a:lnTo>
                <a:lnTo>
                  <a:pt x="18104" y="111789"/>
                </a:lnTo>
                <a:lnTo>
                  <a:pt x="24305" y="116231"/>
                </a:lnTo>
                <a:lnTo>
                  <a:pt x="31001" y="118699"/>
                </a:lnTo>
                <a:lnTo>
                  <a:pt x="34473" y="118945"/>
                </a:lnTo>
                <a:lnTo>
                  <a:pt x="37945" y="118699"/>
                </a:lnTo>
                <a:lnTo>
                  <a:pt x="44642" y="116231"/>
                </a:lnTo>
                <a:lnTo>
                  <a:pt x="50842" y="111789"/>
                </a:lnTo>
                <a:lnTo>
                  <a:pt x="53570" y="108828"/>
                </a:lnTo>
                <a:lnTo>
                  <a:pt x="56298" y="105373"/>
                </a:lnTo>
                <a:lnTo>
                  <a:pt x="58778" y="101424"/>
                </a:lnTo>
                <a:lnTo>
                  <a:pt x="61010" y="97229"/>
                </a:lnTo>
                <a:lnTo>
                  <a:pt x="62994" y="92787"/>
                </a:lnTo>
                <a:lnTo>
                  <a:pt x="64730" y="87852"/>
                </a:lnTo>
                <a:lnTo>
                  <a:pt x="66218" y="82669"/>
                </a:lnTo>
                <a:lnTo>
                  <a:pt x="67459" y="77240"/>
                </a:lnTo>
                <a:lnTo>
                  <a:pt x="68203" y="71564"/>
                </a:lnTo>
                <a:lnTo>
                  <a:pt x="68699" y="65642"/>
                </a:lnTo>
                <a:lnTo>
                  <a:pt x="68947" y="59472"/>
                </a:lnTo>
                <a:lnTo>
                  <a:pt x="68699" y="53303"/>
                </a:lnTo>
                <a:lnTo>
                  <a:pt x="68203" y="47380"/>
                </a:lnTo>
                <a:lnTo>
                  <a:pt x="67459" y="41705"/>
                </a:lnTo>
                <a:lnTo>
                  <a:pt x="66218" y="36276"/>
                </a:lnTo>
                <a:lnTo>
                  <a:pt x="64730" y="31093"/>
                </a:lnTo>
                <a:lnTo>
                  <a:pt x="62994" y="26158"/>
                </a:lnTo>
                <a:lnTo>
                  <a:pt x="61010" y="21716"/>
                </a:lnTo>
                <a:lnTo>
                  <a:pt x="58778" y="17521"/>
                </a:lnTo>
                <a:lnTo>
                  <a:pt x="56298" y="13572"/>
                </a:lnTo>
                <a:lnTo>
                  <a:pt x="53570" y="10117"/>
                </a:lnTo>
                <a:lnTo>
                  <a:pt x="50842" y="7156"/>
                </a:lnTo>
                <a:lnTo>
                  <a:pt x="44642" y="2714"/>
                </a:lnTo>
                <a:lnTo>
                  <a:pt x="37945" y="246"/>
                </a:lnTo>
                <a:lnTo>
                  <a:pt x="34473" y="0"/>
                </a:lnTo>
                <a:close/>
              </a:path>
            </a:pathLst>
          </a:custGeom>
          <a:solidFill>
            <a:srgbClr val="000000"/>
          </a:solidFill>
        </p:spPr>
        <p:txBody>
          <a:bodyPr wrap="square" lIns="0" tIns="0" rIns="0" bIns="0" rtlCol="0">
            <a:noAutofit/>
          </a:bodyPr>
          <a:lstStyle/>
          <a:p>
            <a:endParaRPr/>
          </a:p>
        </p:txBody>
      </p:sp>
      <p:sp>
        <p:nvSpPr>
          <p:cNvPr id="1398" name="object 1398"/>
          <p:cNvSpPr/>
          <p:nvPr/>
        </p:nvSpPr>
        <p:spPr>
          <a:xfrm>
            <a:off x="9532971" y="1663597"/>
            <a:ext cx="36209" cy="61200"/>
          </a:xfrm>
          <a:custGeom>
            <a:avLst/>
            <a:gdLst/>
            <a:ahLst/>
            <a:cxnLst/>
            <a:rect l="l" t="t" r="r" b="b"/>
            <a:pathLst>
              <a:path w="36209" h="61200">
                <a:moveTo>
                  <a:pt x="0" y="0"/>
                </a:moveTo>
                <a:lnTo>
                  <a:pt x="0" y="3454"/>
                </a:lnTo>
                <a:lnTo>
                  <a:pt x="3224" y="3701"/>
                </a:lnTo>
                <a:lnTo>
                  <a:pt x="6448" y="4688"/>
                </a:lnTo>
                <a:lnTo>
                  <a:pt x="9424" y="5922"/>
                </a:lnTo>
                <a:lnTo>
                  <a:pt x="12400" y="7896"/>
                </a:lnTo>
                <a:lnTo>
                  <a:pt x="15128" y="10117"/>
                </a:lnTo>
                <a:lnTo>
                  <a:pt x="17856" y="13079"/>
                </a:lnTo>
                <a:lnTo>
                  <a:pt x="20336" y="16287"/>
                </a:lnTo>
                <a:lnTo>
                  <a:pt x="22817" y="19988"/>
                </a:lnTo>
                <a:lnTo>
                  <a:pt x="25049" y="24184"/>
                </a:lnTo>
                <a:lnTo>
                  <a:pt x="27033" y="28625"/>
                </a:lnTo>
                <a:lnTo>
                  <a:pt x="28521" y="33314"/>
                </a:lnTo>
                <a:lnTo>
                  <a:pt x="30009" y="38496"/>
                </a:lnTo>
                <a:lnTo>
                  <a:pt x="31249" y="43679"/>
                </a:lnTo>
                <a:lnTo>
                  <a:pt x="31993" y="49355"/>
                </a:lnTo>
                <a:lnTo>
                  <a:pt x="32489" y="55030"/>
                </a:lnTo>
                <a:lnTo>
                  <a:pt x="32737" y="61200"/>
                </a:lnTo>
                <a:lnTo>
                  <a:pt x="36209" y="61200"/>
                </a:lnTo>
                <a:lnTo>
                  <a:pt x="35961" y="55030"/>
                </a:lnTo>
                <a:lnTo>
                  <a:pt x="35465" y="48861"/>
                </a:lnTo>
                <a:lnTo>
                  <a:pt x="34721" y="43185"/>
                </a:lnTo>
                <a:lnTo>
                  <a:pt x="33481" y="37509"/>
                </a:lnTo>
                <a:lnTo>
                  <a:pt x="31993" y="32327"/>
                </a:lnTo>
                <a:lnTo>
                  <a:pt x="30009" y="27145"/>
                </a:lnTo>
                <a:lnTo>
                  <a:pt x="28025" y="22703"/>
                </a:lnTo>
                <a:lnTo>
                  <a:pt x="25793" y="18508"/>
                </a:lnTo>
                <a:lnTo>
                  <a:pt x="23313" y="14312"/>
                </a:lnTo>
                <a:lnTo>
                  <a:pt x="20336" y="10611"/>
                </a:lnTo>
                <a:lnTo>
                  <a:pt x="17608" y="7650"/>
                </a:lnTo>
                <a:lnTo>
                  <a:pt x="14384" y="4935"/>
                </a:lnTo>
                <a:lnTo>
                  <a:pt x="10912" y="2961"/>
                </a:lnTo>
                <a:lnTo>
                  <a:pt x="7440" y="1233"/>
                </a:lnTo>
                <a:lnTo>
                  <a:pt x="3720" y="246"/>
                </a:lnTo>
                <a:lnTo>
                  <a:pt x="0" y="0"/>
                </a:lnTo>
                <a:close/>
              </a:path>
            </a:pathLst>
          </a:custGeom>
          <a:solidFill>
            <a:srgbClr val="000000"/>
          </a:solidFill>
        </p:spPr>
        <p:txBody>
          <a:bodyPr wrap="square" lIns="0" tIns="0" rIns="0" bIns="0" rtlCol="0">
            <a:noAutofit/>
          </a:bodyPr>
          <a:lstStyle/>
          <a:p>
            <a:endParaRPr/>
          </a:p>
        </p:txBody>
      </p:sp>
      <p:sp>
        <p:nvSpPr>
          <p:cNvPr id="1399" name="object 1399"/>
          <p:cNvSpPr/>
          <p:nvPr/>
        </p:nvSpPr>
        <p:spPr>
          <a:xfrm>
            <a:off x="9532971" y="1724797"/>
            <a:ext cx="36209" cy="61200"/>
          </a:xfrm>
          <a:custGeom>
            <a:avLst/>
            <a:gdLst/>
            <a:ahLst/>
            <a:cxnLst/>
            <a:rect l="l" t="t" r="r" b="b"/>
            <a:pathLst>
              <a:path w="36209" h="61200">
                <a:moveTo>
                  <a:pt x="3720" y="60953"/>
                </a:moveTo>
                <a:lnTo>
                  <a:pt x="7440" y="59966"/>
                </a:lnTo>
                <a:lnTo>
                  <a:pt x="10912" y="58239"/>
                </a:lnTo>
                <a:lnTo>
                  <a:pt x="14384" y="56264"/>
                </a:lnTo>
                <a:lnTo>
                  <a:pt x="17608" y="53550"/>
                </a:lnTo>
                <a:lnTo>
                  <a:pt x="20336" y="50589"/>
                </a:lnTo>
                <a:lnTo>
                  <a:pt x="23313" y="46887"/>
                </a:lnTo>
                <a:lnTo>
                  <a:pt x="25793" y="42692"/>
                </a:lnTo>
                <a:lnTo>
                  <a:pt x="28025" y="38496"/>
                </a:lnTo>
                <a:lnTo>
                  <a:pt x="30009" y="34055"/>
                </a:lnTo>
                <a:lnTo>
                  <a:pt x="31993" y="28872"/>
                </a:lnTo>
                <a:lnTo>
                  <a:pt x="33481" y="23690"/>
                </a:lnTo>
                <a:lnTo>
                  <a:pt x="34721" y="18014"/>
                </a:lnTo>
                <a:lnTo>
                  <a:pt x="35465" y="12338"/>
                </a:lnTo>
                <a:lnTo>
                  <a:pt x="35961" y="6169"/>
                </a:lnTo>
                <a:lnTo>
                  <a:pt x="36209" y="0"/>
                </a:lnTo>
                <a:lnTo>
                  <a:pt x="32737" y="0"/>
                </a:lnTo>
                <a:lnTo>
                  <a:pt x="32489" y="6169"/>
                </a:lnTo>
                <a:lnTo>
                  <a:pt x="31993" y="11845"/>
                </a:lnTo>
                <a:lnTo>
                  <a:pt x="31249" y="17521"/>
                </a:lnTo>
                <a:lnTo>
                  <a:pt x="30009" y="22703"/>
                </a:lnTo>
                <a:lnTo>
                  <a:pt x="28521" y="27885"/>
                </a:lnTo>
                <a:lnTo>
                  <a:pt x="27033" y="32574"/>
                </a:lnTo>
                <a:lnTo>
                  <a:pt x="25049" y="37016"/>
                </a:lnTo>
                <a:lnTo>
                  <a:pt x="22817" y="41211"/>
                </a:lnTo>
                <a:lnTo>
                  <a:pt x="20336" y="44913"/>
                </a:lnTo>
                <a:lnTo>
                  <a:pt x="17856" y="48121"/>
                </a:lnTo>
                <a:lnTo>
                  <a:pt x="15128" y="51082"/>
                </a:lnTo>
                <a:lnTo>
                  <a:pt x="12400" y="53303"/>
                </a:lnTo>
                <a:lnTo>
                  <a:pt x="9424" y="55277"/>
                </a:lnTo>
                <a:lnTo>
                  <a:pt x="6448" y="56511"/>
                </a:lnTo>
                <a:lnTo>
                  <a:pt x="3224" y="57498"/>
                </a:lnTo>
                <a:lnTo>
                  <a:pt x="0" y="57745"/>
                </a:lnTo>
                <a:lnTo>
                  <a:pt x="0" y="61200"/>
                </a:lnTo>
                <a:lnTo>
                  <a:pt x="3720" y="60953"/>
                </a:lnTo>
                <a:close/>
              </a:path>
            </a:pathLst>
          </a:custGeom>
          <a:solidFill>
            <a:srgbClr val="000000"/>
          </a:solidFill>
        </p:spPr>
        <p:txBody>
          <a:bodyPr wrap="square" lIns="0" tIns="0" rIns="0" bIns="0" rtlCol="0">
            <a:noAutofit/>
          </a:bodyPr>
          <a:lstStyle/>
          <a:p>
            <a:endParaRPr/>
          </a:p>
        </p:txBody>
      </p:sp>
      <p:sp>
        <p:nvSpPr>
          <p:cNvPr id="1400" name="object 1400"/>
          <p:cNvSpPr/>
          <p:nvPr/>
        </p:nvSpPr>
        <p:spPr>
          <a:xfrm>
            <a:off x="9496761" y="1724797"/>
            <a:ext cx="36209" cy="61200"/>
          </a:xfrm>
          <a:custGeom>
            <a:avLst/>
            <a:gdLst/>
            <a:ahLst/>
            <a:cxnLst/>
            <a:rect l="l" t="t" r="r" b="b"/>
            <a:pathLst>
              <a:path w="36209" h="61200">
                <a:moveTo>
                  <a:pt x="3472" y="0"/>
                </a:moveTo>
                <a:lnTo>
                  <a:pt x="0" y="0"/>
                </a:lnTo>
                <a:lnTo>
                  <a:pt x="248" y="6169"/>
                </a:lnTo>
                <a:lnTo>
                  <a:pt x="744" y="12338"/>
                </a:lnTo>
                <a:lnTo>
                  <a:pt x="1488" y="18014"/>
                </a:lnTo>
                <a:lnTo>
                  <a:pt x="2728" y="23690"/>
                </a:lnTo>
                <a:lnTo>
                  <a:pt x="4216" y="28872"/>
                </a:lnTo>
                <a:lnTo>
                  <a:pt x="6200" y="34055"/>
                </a:lnTo>
                <a:lnTo>
                  <a:pt x="8184" y="38496"/>
                </a:lnTo>
                <a:lnTo>
                  <a:pt x="10416" y="42692"/>
                </a:lnTo>
                <a:lnTo>
                  <a:pt x="12648" y="46887"/>
                </a:lnTo>
                <a:lnTo>
                  <a:pt x="15624" y="50589"/>
                </a:lnTo>
                <a:lnTo>
                  <a:pt x="18600" y="53550"/>
                </a:lnTo>
                <a:lnTo>
                  <a:pt x="21824" y="56264"/>
                </a:lnTo>
                <a:lnTo>
                  <a:pt x="25297" y="58239"/>
                </a:lnTo>
                <a:lnTo>
                  <a:pt x="28769" y="59966"/>
                </a:lnTo>
                <a:lnTo>
                  <a:pt x="32489" y="60953"/>
                </a:lnTo>
                <a:lnTo>
                  <a:pt x="36209" y="61200"/>
                </a:lnTo>
                <a:lnTo>
                  <a:pt x="36209" y="57745"/>
                </a:lnTo>
                <a:lnTo>
                  <a:pt x="32985" y="57498"/>
                </a:lnTo>
                <a:lnTo>
                  <a:pt x="29761" y="56511"/>
                </a:lnTo>
                <a:lnTo>
                  <a:pt x="26785" y="55277"/>
                </a:lnTo>
                <a:lnTo>
                  <a:pt x="23809" y="53303"/>
                </a:lnTo>
                <a:lnTo>
                  <a:pt x="21080" y="51082"/>
                </a:lnTo>
                <a:lnTo>
                  <a:pt x="18104" y="48121"/>
                </a:lnTo>
                <a:lnTo>
                  <a:pt x="15624" y="44913"/>
                </a:lnTo>
                <a:lnTo>
                  <a:pt x="13392" y="41211"/>
                </a:lnTo>
                <a:lnTo>
                  <a:pt x="11160" y="37016"/>
                </a:lnTo>
                <a:lnTo>
                  <a:pt x="9176" y="32574"/>
                </a:lnTo>
                <a:lnTo>
                  <a:pt x="7688" y="27885"/>
                </a:lnTo>
                <a:lnTo>
                  <a:pt x="6200" y="22703"/>
                </a:lnTo>
                <a:lnTo>
                  <a:pt x="4960" y="17521"/>
                </a:lnTo>
                <a:lnTo>
                  <a:pt x="4216" y="11845"/>
                </a:lnTo>
                <a:lnTo>
                  <a:pt x="3720" y="6169"/>
                </a:lnTo>
                <a:lnTo>
                  <a:pt x="3472" y="0"/>
                </a:lnTo>
                <a:close/>
              </a:path>
            </a:pathLst>
          </a:custGeom>
          <a:solidFill>
            <a:srgbClr val="000000"/>
          </a:solidFill>
        </p:spPr>
        <p:txBody>
          <a:bodyPr wrap="square" lIns="0" tIns="0" rIns="0" bIns="0" rtlCol="0">
            <a:noAutofit/>
          </a:bodyPr>
          <a:lstStyle/>
          <a:p>
            <a:endParaRPr/>
          </a:p>
        </p:txBody>
      </p:sp>
      <p:sp>
        <p:nvSpPr>
          <p:cNvPr id="1401" name="object 1401"/>
          <p:cNvSpPr/>
          <p:nvPr/>
        </p:nvSpPr>
        <p:spPr>
          <a:xfrm>
            <a:off x="9496761" y="1663597"/>
            <a:ext cx="36209" cy="61200"/>
          </a:xfrm>
          <a:custGeom>
            <a:avLst/>
            <a:gdLst/>
            <a:ahLst/>
            <a:cxnLst/>
            <a:rect l="l" t="t" r="r" b="b"/>
            <a:pathLst>
              <a:path w="36209" h="61200">
                <a:moveTo>
                  <a:pt x="4216" y="32327"/>
                </a:moveTo>
                <a:lnTo>
                  <a:pt x="2728" y="37509"/>
                </a:lnTo>
                <a:lnTo>
                  <a:pt x="1488" y="43185"/>
                </a:lnTo>
                <a:lnTo>
                  <a:pt x="744" y="48861"/>
                </a:lnTo>
                <a:lnTo>
                  <a:pt x="248" y="55030"/>
                </a:lnTo>
                <a:lnTo>
                  <a:pt x="0" y="61200"/>
                </a:lnTo>
                <a:lnTo>
                  <a:pt x="3472" y="61200"/>
                </a:lnTo>
                <a:lnTo>
                  <a:pt x="3720" y="55030"/>
                </a:lnTo>
                <a:lnTo>
                  <a:pt x="4216" y="49355"/>
                </a:lnTo>
                <a:lnTo>
                  <a:pt x="4960" y="43679"/>
                </a:lnTo>
                <a:lnTo>
                  <a:pt x="6200" y="38496"/>
                </a:lnTo>
                <a:lnTo>
                  <a:pt x="7688" y="33314"/>
                </a:lnTo>
                <a:lnTo>
                  <a:pt x="9176" y="28625"/>
                </a:lnTo>
                <a:lnTo>
                  <a:pt x="11160" y="24184"/>
                </a:lnTo>
                <a:lnTo>
                  <a:pt x="13392" y="19988"/>
                </a:lnTo>
                <a:lnTo>
                  <a:pt x="15624" y="16287"/>
                </a:lnTo>
                <a:lnTo>
                  <a:pt x="18104" y="13079"/>
                </a:lnTo>
                <a:lnTo>
                  <a:pt x="21080" y="10117"/>
                </a:lnTo>
                <a:lnTo>
                  <a:pt x="23809" y="7896"/>
                </a:lnTo>
                <a:lnTo>
                  <a:pt x="26785" y="5922"/>
                </a:lnTo>
                <a:lnTo>
                  <a:pt x="29761" y="4688"/>
                </a:lnTo>
                <a:lnTo>
                  <a:pt x="32985" y="3701"/>
                </a:lnTo>
                <a:lnTo>
                  <a:pt x="36209" y="3454"/>
                </a:lnTo>
                <a:lnTo>
                  <a:pt x="36209" y="0"/>
                </a:lnTo>
                <a:lnTo>
                  <a:pt x="32489" y="246"/>
                </a:lnTo>
                <a:lnTo>
                  <a:pt x="28769" y="1233"/>
                </a:lnTo>
                <a:lnTo>
                  <a:pt x="25297" y="2961"/>
                </a:lnTo>
                <a:lnTo>
                  <a:pt x="21824" y="4935"/>
                </a:lnTo>
                <a:lnTo>
                  <a:pt x="18600" y="7650"/>
                </a:lnTo>
                <a:lnTo>
                  <a:pt x="15624" y="10611"/>
                </a:lnTo>
                <a:lnTo>
                  <a:pt x="12648" y="14312"/>
                </a:lnTo>
                <a:lnTo>
                  <a:pt x="10416" y="18508"/>
                </a:lnTo>
                <a:lnTo>
                  <a:pt x="8184" y="22703"/>
                </a:lnTo>
                <a:lnTo>
                  <a:pt x="6200" y="27145"/>
                </a:lnTo>
                <a:lnTo>
                  <a:pt x="4216" y="32327"/>
                </a:lnTo>
                <a:close/>
              </a:path>
            </a:pathLst>
          </a:custGeom>
          <a:solidFill>
            <a:srgbClr val="000000"/>
          </a:solidFill>
        </p:spPr>
        <p:txBody>
          <a:bodyPr wrap="square" lIns="0" tIns="0" rIns="0" bIns="0" rtlCol="0">
            <a:noAutofit/>
          </a:bodyPr>
          <a:lstStyle/>
          <a:p>
            <a:endParaRPr/>
          </a:p>
        </p:txBody>
      </p:sp>
      <p:sp>
        <p:nvSpPr>
          <p:cNvPr id="1402" name="object 1402"/>
          <p:cNvSpPr/>
          <p:nvPr/>
        </p:nvSpPr>
        <p:spPr>
          <a:xfrm>
            <a:off x="9533219" y="1779829"/>
            <a:ext cx="23313" cy="4195"/>
          </a:xfrm>
          <a:custGeom>
            <a:avLst/>
            <a:gdLst/>
            <a:ahLst/>
            <a:cxnLst/>
            <a:rect l="l" t="t" r="r" b="b"/>
            <a:pathLst>
              <a:path w="23313" h="4195">
                <a:moveTo>
                  <a:pt x="23313" y="4195"/>
                </a:moveTo>
                <a:lnTo>
                  <a:pt x="11160" y="0"/>
                </a:lnTo>
                <a:lnTo>
                  <a:pt x="0" y="4195"/>
                </a:lnTo>
                <a:lnTo>
                  <a:pt x="23313" y="4195"/>
                </a:lnTo>
                <a:close/>
              </a:path>
            </a:pathLst>
          </a:custGeom>
          <a:solidFill>
            <a:srgbClr val="000000"/>
          </a:solidFill>
        </p:spPr>
        <p:txBody>
          <a:bodyPr wrap="square" lIns="0" tIns="0" rIns="0" bIns="0" rtlCol="0">
            <a:noAutofit/>
          </a:bodyPr>
          <a:lstStyle/>
          <a:p>
            <a:endParaRPr/>
          </a:p>
        </p:txBody>
      </p:sp>
      <p:sp>
        <p:nvSpPr>
          <p:cNvPr id="1403" name="object 1403"/>
          <p:cNvSpPr/>
          <p:nvPr/>
        </p:nvSpPr>
        <p:spPr>
          <a:xfrm>
            <a:off x="9532723" y="1665325"/>
            <a:ext cx="22817" cy="4195"/>
          </a:xfrm>
          <a:custGeom>
            <a:avLst/>
            <a:gdLst/>
            <a:ahLst/>
            <a:cxnLst/>
            <a:rect l="l" t="t" r="r" b="b"/>
            <a:pathLst>
              <a:path w="22817" h="4195">
                <a:moveTo>
                  <a:pt x="22817" y="0"/>
                </a:moveTo>
                <a:lnTo>
                  <a:pt x="0" y="0"/>
                </a:lnTo>
                <a:lnTo>
                  <a:pt x="11656" y="4195"/>
                </a:lnTo>
                <a:lnTo>
                  <a:pt x="22817" y="0"/>
                </a:lnTo>
                <a:close/>
              </a:path>
            </a:pathLst>
          </a:custGeom>
          <a:solidFill>
            <a:srgbClr val="000000"/>
          </a:solidFill>
        </p:spPr>
        <p:txBody>
          <a:bodyPr wrap="square" lIns="0" tIns="0" rIns="0" bIns="0" rtlCol="0">
            <a:noAutofit/>
          </a:bodyPr>
          <a:lstStyle/>
          <a:p>
            <a:endParaRPr/>
          </a:p>
        </p:txBody>
      </p:sp>
      <p:sp>
        <p:nvSpPr>
          <p:cNvPr id="1404" name="object 1404"/>
          <p:cNvSpPr/>
          <p:nvPr/>
        </p:nvSpPr>
        <p:spPr>
          <a:xfrm>
            <a:off x="9532723" y="1664091"/>
            <a:ext cx="24057" cy="2467"/>
          </a:xfrm>
          <a:custGeom>
            <a:avLst/>
            <a:gdLst/>
            <a:ahLst/>
            <a:cxnLst/>
            <a:rect l="l" t="t" r="r" b="b"/>
            <a:pathLst>
              <a:path w="24057" h="2467">
                <a:moveTo>
                  <a:pt x="22321" y="0"/>
                </a:moveTo>
                <a:lnTo>
                  <a:pt x="0" y="0"/>
                </a:lnTo>
                <a:lnTo>
                  <a:pt x="0" y="2467"/>
                </a:lnTo>
                <a:lnTo>
                  <a:pt x="22817" y="2467"/>
                </a:lnTo>
                <a:lnTo>
                  <a:pt x="23254" y="2177"/>
                </a:lnTo>
                <a:lnTo>
                  <a:pt x="23561" y="1974"/>
                </a:lnTo>
                <a:lnTo>
                  <a:pt x="24057" y="1233"/>
                </a:lnTo>
                <a:lnTo>
                  <a:pt x="23561" y="493"/>
                </a:lnTo>
                <a:lnTo>
                  <a:pt x="22817" y="0"/>
                </a:lnTo>
                <a:lnTo>
                  <a:pt x="22321" y="0"/>
                </a:lnTo>
                <a:close/>
              </a:path>
            </a:pathLst>
          </a:custGeom>
          <a:solidFill>
            <a:srgbClr val="000000"/>
          </a:solidFill>
        </p:spPr>
        <p:txBody>
          <a:bodyPr wrap="square" lIns="0" tIns="0" rIns="0" bIns="0" rtlCol="0">
            <a:noAutofit/>
          </a:bodyPr>
          <a:lstStyle/>
          <a:p>
            <a:endParaRPr/>
          </a:p>
        </p:txBody>
      </p:sp>
      <p:sp>
        <p:nvSpPr>
          <p:cNvPr id="1405" name="object 1405"/>
          <p:cNvSpPr/>
          <p:nvPr/>
        </p:nvSpPr>
        <p:spPr>
          <a:xfrm>
            <a:off x="9543139" y="1664090"/>
            <a:ext cx="11904" cy="6662"/>
          </a:xfrm>
          <a:custGeom>
            <a:avLst/>
            <a:gdLst/>
            <a:ahLst/>
            <a:cxnLst/>
            <a:rect l="l" t="t" r="r" b="b"/>
            <a:pathLst>
              <a:path w="11904" h="6662">
                <a:moveTo>
                  <a:pt x="744" y="4195"/>
                </a:moveTo>
                <a:lnTo>
                  <a:pt x="0" y="4935"/>
                </a:lnTo>
                <a:lnTo>
                  <a:pt x="248" y="5675"/>
                </a:lnTo>
                <a:lnTo>
                  <a:pt x="744" y="6662"/>
                </a:lnTo>
                <a:lnTo>
                  <a:pt x="1736" y="6662"/>
                </a:lnTo>
                <a:lnTo>
                  <a:pt x="1736" y="4195"/>
                </a:lnTo>
                <a:lnTo>
                  <a:pt x="11904" y="0"/>
                </a:lnTo>
                <a:lnTo>
                  <a:pt x="744" y="4195"/>
                </a:lnTo>
                <a:close/>
              </a:path>
            </a:pathLst>
          </a:custGeom>
          <a:solidFill>
            <a:srgbClr val="000000"/>
          </a:solidFill>
        </p:spPr>
        <p:txBody>
          <a:bodyPr wrap="square" lIns="0" tIns="0" rIns="0" bIns="0" rtlCol="0">
            <a:noAutofit/>
          </a:bodyPr>
          <a:lstStyle/>
          <a:p>
            <a:endParaRPr/>
          </a:p>
        </p:txBody>
      </p:sp>
      <p:sp>
        <p:nvSpPr>
          <p:cNvPr id="1406" name="object 1406"/>
          <p:cNvSpPr/>
          <p:nvPr/>
        </p:nvSpPr>
        <p:spPr>
          <a:xfrm>
            <a:off x="9544875" y="1664090"/>
            <a:ext cx="11160" cy="6662"/>
          </a:xfrm>
          <a:custGeom>
            <a:avLst/>
            <a:gdLst/>
            <a:ahLst/>
            <a:cxnLst/>
            <a:rect l="l" t="t" r="r" b="b"/>
            <a:pathLst>
              <a:path w="11160" h="6662">
                <a:moveTo>
                  <a:pt x="0" y="4195"/>
                </a:moveTo>
                <a:lnTo>
                  <a:pt x="0" y="6662"/>
                </a:lnTo>
                <a:lnTo>
                  <a:pt x="11160" y="2467"/>
                </a:lnTo>
                <a:lnTo>
                  <a:pt x="10168" y="0"/>
                </a:lnTo>
                <a:lnTo>
                  <a:pt x="0" y="4195"/>
                </a:lnTo>
                <a:close/>
              </a:path>
            </a:pathLst>
          </a:custGeom>
          <a:solidFill>
            <a:srgbClr val="000000"/>
          </a:solidFill>
        </p:spPr>
        <p:txBody>
          <a:bodyPr wrap="square" lIns="0" tIns="0" rIns="0" bIns="0" rtlCol="0">
            <a:noAutofit/>
          </a:bodyPr>
          <a:lstStyle/>
          <a:p>
            <a:endParaRPr/>
          </a:p>
        </p:txBody>
      </p:sp>
      <p:sp>
        <p:nvSpPr>
          <p:cNvPr id="1407" name="object 1407"/>
          <p:cNvSpPr/>
          <p:nvPr/>
        </p:nvSpPr>
        <p:spPr>
          <a:xfrm>
            <a:off x="9531482" y="1664090"/>
            <a:ext cx="12400" cy="6662"/>
          </a:xfrm>
          <a:custGeom>
            <a:avLst/>
            <a:gdLst/>
            <a:ahLst/>
            <a:cxnLst/>
            <a:rect l="l" t="t" r="r" b="b"/>
            <a:pathLst>
              <a:path w="12400" h="6662">
                <a:moveTo>
                  <a:pt x="744" y="2467"/>
                </a:moveTo>
                <a:lnTo>
                  <a:pt x="12400" y="6662"/>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1408" name="object 1408"/>
          <p:cNvSpPr/>
          <p:nvPr/>
        </p:nvSpPr>
        <p:spPr>
          <a:xfrm>
            <a:off x="9532722" y="1664090"/>
            <a:ext cx="12152" cy="6662"/>
          </a:xfrm>
          <a:custGeom>
            <a:avLst/>
            <a:gdLst/>
            <a:ahLst/>
            <a:cxnLst/>
            <a:rect l="l" t="t" r="r" b="b"/>
            <a:pathLst>
              <a:path w="12152" h="6662">
                <a:moveTo>
                  <a:pt x="496" y="0"/>
                </a:moveTo>
                <a:lnTo>
                  <a:pt x="0" y="0"/>
                </a:lnTo>
                <a:lnTo>
                  <a:pt x="0" y="2467"/>
                </a:lnTo>
                <a:lnTo>
                  <a:pt x="11160" y="6662"/>
                </a:lnTo>
                <a:lnTo>
                  <a:pt x="12152" y="4195"/>
                </a:lnTo>
                <a:lnTo>
                  <a:pt x="496" y="0"/>
                </a:lnTo>
                <a:close/>
              </a:path>
            </a:pathLst>
          </a:custGeom>
          <a:solidFill>
            <a:srgbClr val="000000"/>
          </a:solidFill>
        </p:spPr>
        <p:txBody>
          <a:bodyPr wrap="square" lIns="0" tIns="0" rIns="0" bIns="0" rtlCol="0">
            <a:noAutofit/>
          </a:bodyPr>
          <a:lstStyle/>
          <a:p>
            <a:endParaRPr/>
          </a:p>
        </p:txBody>
      </p:sp>
      <p:sp>
        <p:nvSpPr>
          <p:cNvPr id="1409" name="object 1409"/>
          <p:cNvSpPr/>
          <p:nvPr/>
        </p:nvSpPr>
        <p:spPr>
          <a:xfrm>
            <a:off x="9533219" y="1782790"/>
            <a:ext cx="24553" cy="2467"/>
          </a:xfrm>
          <a:custGeom>
            <a:avLst/>
            <a:gdLst/>
            <a:ahLst/>
            <a:cxnLst/>
            <a:rect l="l" t="t" r="r" b="b"/>
            <a:pathLst>
              <a:path w="24553" h="2467">
                <a:moveTo>
                  <a:pt x="24553" y="1233"/>
                </a:moveTo>
                <a:lnTo>
                  <a:pt x="24057" y="493"/>
                </a:lnTo>
                <a:lnTo>
                  <a:pt x="23750" y="290"/>
                </a:lnTo>
                <a:lnTo>
                  <a:pt x="23313" y="0"/>
                </a:lnTo>
                <a:lnTo>
                  <a:pt x="0" y="0"/>
                </a:lnTo>
                <a:lnTo>
                  <a:pt x="0" y="2467"/>
                </a:lnTo>
                <a:lnTo>
                  <a:pt x="23313" y="2467"/>
                </a:lnTo>
                <a:lnTo>
                  <a:pt x="24057" y="1974"/>
                </a:lnTo>
                <a:lnTo>
                  <a:pt x="24553" y="1233"/>
                </a:lnTo>
                <a:close/>
              </a:path>
            </a:pathLst>
          </a:custGeom>
          <a:solidFill>
            <a:srgbClr val="000000"/>
          </a:solidFill>
        </p:spPr>
        <p:txBody>
          <a:bodyPr wrap="square" lIns="0" tIns="0" rIns="0" bIns="0" rtlCol="0">
            <a:noAutofit/>
          </a:bodyPr>
          <a:lstStyle/>
          <a:p>
            <a:endParaRPr/>
          </a:p>
        </p:txBody>
      </p:sp>
      <p:sp>
        <p:nvSpPr>
          <p:cNvPr id="1410" name="object 1410"/>
          <p:cNvSpPr/>
          <p:nvPr/>
        </p:nvSpPr>
        <p:spPr>
          <a:xfrm>
            <a:off x="9543883" y="1781063"/>
            <a:ext cx="12152" cy="4195"/>
          </a:xfrm>
          <a:custGeom>
            <a:avLst/>
            <a:gdLst/>
            <a:ahLst/>
            <a:cxnLst/>
            <a:rect l="l" t="t" r="r" b="b"/>
            <a:pathLst>
              <a:path w="12152" h="4195">
                <a:moveTo>
                  <a:pt x="12152" y="4195"/>
                </a:moveTo>
                <a:lnTo>
                  <a:pt x="992" y="0"/>
                </a:lnTo>
                <a:lnTo>
                  <a:pt x="0" y="0"/>
                </a:lnTo>
                <a:lnTo>
                  <a:pt x="12152" y="4195"/>
                </a:lnTo>
                <a:close/>
              </a:path>
            </a:pathLst>
          </a:custGeom>
          <a:solidFill>
            <a:srgbClr val="000000"/>
          </a:solidFill>
        </p:spPr>
        <p:txBody>
          <a:bodyPr wrap="square" lIns="0" tIns="0" rIns="0" bIns="0" rtlCol="0">
            <a:noAutofit/>
          </a:bodyPr>
          <a:lstStyle/>
          <a:p>
            <a:endParaRPr/>
          </a:p>
        </p:txBody>
      </p:sp>
      <p:sp>
        <p:nvSpPr>
          <p:cNvPr id="1411" name="object 1411"/>
          <p:cNvSpPr/>
          <p:nvPr/>
        </p:nvSpPr>
        <p:spPr>
          <a:xfrm>
            <a:off x="9543139" y="1778594"/>
            <a:ext cx="13888" cy="6662"/>
          </a:xfrm>
          <a:custGeom>
            <a:avLst/>
            <a:gdLst/>
            <a:ahLst/>
            <a:cxnLst/>
            <a:rect l="l" t="t" r="r" b="b"/>
            <a:pathLst>
              <a:path w="13888" h="6662">
                <a:moveTo>
                  <a:pt x="248" y="740"/>
                </a:moveTo>
                <a:lnTo>
                  <a:pt x="0" y="1727"/>
                </a:lnTo>
                <a:lnTo>
                  <a:pt x="744" y="2467"/>
                </a:lnTo>
                <a:lnTo>
                  <a:pt x="1736" y="2467"/>
                </a:lnTo>
                <a:lnTo>
                  <a:pt x="12896" y="6662"/>
                </a:lnTo>
                <a:lnTo>
                  <a:pt x="13888" y="4195"/>
                </a:lnTo>
                <a:lnTo>
                  <a:pt x="1736" y="0"/>
                </a:lnTo>
                <a:lnTo>
                  <a:pt x="744" y="0"/>
                </a:lnTo>
                <a:lnTo>
                  <a:pt x="248" y="740"/>
                </a:lnTo>
                <a:close/>
              </a:path>
            </a:pathLst>
          </a:custGeom>
          <a:solidFill>
            <a:srgbClr val="000000"/>
          </a:solidFill>
        </p:spPr>
        <p:txBody>
          <a:bodyPr wrap="square" lIns="0" tIns="0" rIns="0" bIns="0" rtlCol="0">
            <a:noAutofit/>
          </a:bodyPr>
          <a:lstStyle/>
          <a:p>
            <a:endParaRPr/>
          </a:p>
        </p:txBody>
      </p:sp>
      <p:sp>
        <p:nvSpPr>
          <p:cNvPr id="1412" name="object 1412"/>
          <p:cNvSpPr/>
          <p:nvPr/>
        </p:nvSpPr>
        <p:spPr>
          <a:xfrm>
            <a:off x="9532722" y="1778595"/>
            <a:ext cx="11160" cy="4195"/>
          </a:xfrm>
          <a:custGeom>
            <a:avLst/>
            <a:gdLst/>
            <a:ahLst/>
            <a:cxnLst/>
            <a:rect l="l" t="t" r="r" b="b"/>
            <a:pathLst>
              <a:path w="11160" h="4195">
                <a:moveTo>
                  <a:pt x="0" y="4195"/>
                </a:moveTo>
                <a:lnTo>
                  <a:pt x="496" y="4195"/>
                </a:lnTo>
                <a:lnTo>
                  <a:pt x="11160" y="0"/>
                </a:lnTo>
                <a:lnTo>
                  <a:pt x="0" y="4195"/>
                </a:lnTo>
                <a:close/>
              </a:path>
            </a:pathLst>
          </a:custGeom>
          <a:solidFill>
            <a:srgbClr val="000000"/>
          </a:solidFill>
        </p:spPr>
        <p:txBody>
          <a:bodyPr wrap="square" lIns="0" tIns="0" rIns="0" bIns="0" rtlCol="0">
            <a:noAutofit/>
          </a:bodyPr>
          <a:lstStyle/>
          <a:p>
            <a:endParaRPr/>
          </a:p>
        </p:txBody>
      </p:sp>
      <p:sp>
        <p:nvSpPr>
          <p:cNvPr id="1413" name="object 1413"/>
          <p:cNvSpPr/>
          <p:nvPr/>
        </p:nvSpPr>
        <p:spPr>
          <a:xfrm>
            <a:off x="9531978" y="1778594"/>
            <a:ext cx="12896" cy="6662"/>
          </a:xfrm>
          <a:custGeom>
            <a:avLst/>
            <a:gdLst/>
            <a:ahLst/>
            <a:cxnLst/>
            <a:rect l="l" t="t" r="r" b="b"/>
            <a:pathLst>
              <a:path w="12896" h="6662">
                <a:moveTo>
                  <a:pt x="248" y="5675"/>
                </a:moveTo>
                <a:lnTo>
                  <a:pt x="744" y="6662"/>
                </a:lnTo>
                <a:lnTo>
                  <a:pt x="1736" y="6662"/>
                </a:lnTo>
                <a:lnTo>
                  <a:pt x="12896" y="2467"/>
                </a:lnTo>
                <a:lnTo>
                  <a:pt x="11904" y="0"/>
                </a:lnTo>
                <a:lnTo>
                  <a:pt x="1240" y="4195"/>
                </a:lnTo>
                <a:lnTo>
                  <a:pt x="744" y="4195"/>
                </a:lnTo>
                <a:lnTo>
                  <a:pt x="0" y="4935"/>
                </a:lnTo>
                <a:lnTo>
                  <a:pt x="248" y="5675"/>
                </a:lnTo>
                <a:close/>
              </a:path>
            </a:pathLst>
          </a:custGeom>
          <a:solidFill>
            <a:srgbClr val="000000"/>
          </a:solidFill>
        </p:spPr>
        <p:txBody>
          <a:bodyPr wrap="square" lIns="0" tIns="0" rIns="0" bIns="0" rtlCol="0">
            <a:noAutofit/>
          </a:bodyPr>
          <a:lstStyle/>
          <a:p>
            <a:endParaRPr/>
          </a:p>
        </p:txBody>
      </p:sp>
      <p:sp>
        <p:nvSpPr>
          <p:cNvPr id="1414" name="object 1414"/>
          <p:cNvSpPr/>
          <p:nvPr/>
        </p:nvSpPr>
        <p:spPr>
          <a:xfrm>
            <a:off x="9521067" y="1665325"/>
            <a:ext cx="68947" cy="118945"/>
          </a:xfrm>
          <a:custGeom>
            <a:avLst/>
            <a:gdLst/>
            <a:ahLst/>
            <a:cxnLst/>
            <a:rect l="l" t="t" r="r" b="b"/>
            <a:pathLst>
              <a:path w="68947" h="118945">
                <a:moveTo>
                  <a:pt x="34473" y="0"/>
                </a:moveTo>
                <a:lnTo>
                  <a:pt x="31001" y="246"/>
                </a:lnTo>
                <a:lnTo>
                  <a:pt x="27529" y="1233"/>
                </a:lnTo>
                <a:lnTo>
                  <a:pt x="21080" y="4688"/>
                </a:lnTo>
                <a:lnTo>
                  <a:pt x="15128" y="10117"/>
                </a:lnTo>
                <a:lnTo>
                  <a:pt x="12400" y="13572"/>
                </a:lnTo>
                <a:lnTo>
                  <a:pt x="10168" y="17521"/>
                </a:lnTo>
                <a:lnTo>
                  <a:pt x="7936" y="21716"/>
                </a:lnTo>
                <a:lnTo>
                  <a:pt x="5952" y="26158"/>
                </a:lnTo>
                <a:lnTo>
                  <a:pt x="4216" y="31093"/>
                </a:lnTo>
                <a:lnTo>
                  <a:pt x="2728" y="36276"/>
                </a:lnTo>
                <a:lnTo>
                  <a:pt x="1488" y="41705"/>
                </a:lnTo>
                <a:lnTo>
                  <a:pt x="744" y="47380"/>
                </a:lnTo>
                <a:lnTo>
                  <a:pt x="248" y="53303"/>
                </a:lnTo>
                <a:lnTo>
                  <a:pt x="0" y="59472"/>
                </a:lnTo>
                <a:lnTo>
                  <a:pt x="248" y="65642"/>
                </a:lnTo>
                <a:lnTo>
                  <a:pt x="744" y="71564"/>
                </a:lnTo>
                <a:lnTo>
                  <a:pt x="1488" y="77240"/>
                </a:lnTo>
                <a:lnTo>
                  <a:pt x="2728" y="82669"/>
                </a:lnTo>
                <a:lnTo>
                  <a:pt x="4216" y="87852"/>
                </a:lnTo>
                <a:lnTo>
                  <a:pt x="5952" y="92787"/>
                </a:lnTo>
                <a:lnTo>
                  <a:pt x="7936" y="97229"/>
                </a:lnTo>
                <a:lnTo>
                  <a:pt x="10168" y="101424"/>
                </a:lnTo>
                <a:lnTo>
                  <a:pt x="12400" y="105373"/>
                </a:lnTo>
                <a:lnTo>
                  <a:pt x="15128" y="108828"/>
                </a:lnTo>
                <a:lnTo>
                  <a:pt x="18104" y="111789"/>
                </a:lnTo>
                <a:lnTo>
                  <a:pt x="24305" y="116231"/>
                </a:lnTo>
                <a:lnTo>
                  <a:pt x="31001" y="118699"/>
                </a:lnTo>
                <a:lnTo>
                  <a:pt x="34473" y="118945"/>
                </a:lnTo>
                <a:lnTo>
                  <a:pt x="37945" y="118699"/>
                </a:lnTo>
                <a:lnTo>
                  <a:pt x="44642" y="116231"/>
                </a:lnTo>
                <a:lnTo>
                  <a:pt x="50842" y="111789"/>
                </a:lnTo>
                <a:lnTo>
                  <a:pt x="53570" y="108828"/>
                </a:lnTo>
                <a:lnTo>
                  <a:pt x="56298" y="105373"/>
                </a:lnTo>
                <a:lnTo>
                  <a:pt x="58778" y="101424"/>
                </a:lnTo>
                <a:lnTo>
                  <a:pt x="61010" y="97229"/>
                </a:lnTo>
                <a:lnTo>
                  <a:pt x="62994" y="92787"/>
                </a:lnTo>
                <a:lnTo>
                  <a:pt x="64730" y="87852"/>
                </a:lnTo>
                <a:lnTo>
                  <a:pt x="66218" y="82669"/>
                </a:lnTo>
                <a:lnTo>
                  <a:pt x="67459" y="77240"/>
                </a:lnTo>
                <a:lnTo>
                  <a:pt x="68203" y="71564"/>
                </a:lnTo>
                <a:lnTo>
                  <a:pt x="68699" y="65642"/>
                </a:lnTo>
                <a:lnTo>
                  <a:pt x="68947" y="59472"/>
                </a:lnTo>
                <a:lnTo>
                  <a:pt x="68699" y="53303"/>
                </a:lnTo>
                <a:lnTo>
                  <a:pt x="68203" y="47380"/>
                </a:lnTo>
                <a:lnTo>
                  <a:pt x="67459" y="41705"/>
                </a:lnTo>
                <a:lnTo>
                  <a:pt x="66218" y="36276"/>
                </a:lnTo>
                <a:lnTo>
                  <a:pt x="64730" y="31093"/>
                </a:lnTo>
                <a:lnTo>
                  <a:pt x="62994" y="26158"/>
                </a:lnTo>
                <a:lnTo>
                  <a:pt x="61010" y="21716"/>
                </a:lnTo>
                <a:lnTo>
                  <a:pt x="58778" y="17521"/>
                </a:lnTo>
                <a:lnTo>
                  <a:pt x="56298" y="13572"/>
                </a:lnTo>
                <a:lnTo>
                  <a:pt x="53570" y="10117"/>
                </a:lnTo>
                <a:lnTo>
                  <a:pt x="50842" y="7156"/>
                </a:lnTo>
                <a:lnTo>
                  <a:pt x="44642" y="2714"/>
                </a:lnTo>
                <a:lnTo>
                  <a:pt x="37945" y="246"/>
                </a:lnTo>
                <a:lnTo>
                  <a:pt x="34473" y="0"/>
                </a:lnTo>
                <a:close/>
              </a:path>
            </a:pathLst>
          </a:custGeom>
          <a:solidFill>
            <a:srgbClr val="000000"/>
          </a:solidFill>
        </p:spPr>
        <p:txBody>
          <a:bodyPr wrap="square" lIns="0" tIns="0" rIns="0" bIns="0" rtlCol="0">
            <a:noAutofit/>
          </a:bodyPr>
          <a:lstStyle/>
          <a:p>
            <a:endParaRPr/>
          </a:p>
        </p:txBody>
      </p:sp>
      <p:sp>
        <p:nvSpPr>
          <p:cNvPr id="1415" name="object 1415"/>
          <p:cNvSpPr/>
          <p:nvPr/>
        </p:nvSpPr>
        <p:spPr>
          <a:xfrm>
            <a:off x="9555540" y="1663597"/>
            <a:ext cx="36209" cy="61200"/>
          </a:xfrm>
          <a:custGeom>
            <a:avLst/>
            <a:gdLst/>
            <a:ahLst/>
            <a:cxnLst/>
            <a:rect l="l" t="t" r="r" b="b"/>
            <a:pathLst>
              <a:path w="36209" h="61200">
                <a:moveTo>
                  <a:pt x="0" y="0"/>
                </a:moveTo>
                <a:lnTo>
                  <a:pt x="0" y="3454"/>
                </a:lnTo>
                <a:lnTo>
                  <a:pt x="3224" y="3701"/>
                </a:lnTo>
                <a:lnTo>
                  <a:pt x="6448" y="4688"/>
                </a:lnTo>
                <a:lnTo>
                  <a:pt x="9424" y="5922"/>
                </a:lnTo>
                <a:lnTo>
                  <a:pt x="12400" y="7896"/>
                </a:lnTo>
                <a:lnTo>
                  <a:pt x="15128" y="10117"/>
                </a:lnTo>
                <a:lnTo>
                  <a:pt x="17856" y="13079"/>
                </a:lnTo>
                <a:lnTo>
                  <a:pt x="20336" y="16287"/>
                </a:lnTo>
                <a:lnTo>
                  <a:pt x="22817" y="19988"/>
                </a:lnTo>
                <a:lnTo>
                  <a:pt x="25049" y="24184"/>
                </a:lnTo>
                <a:lnTo>
                  <a:pt x="27033" y="28625"/>
                </a:lnTo>
                <a:lnTo>
                  <a:pt x="28521" y="33314"/>
                </a:lnTo>
                <a:lnTo>
                  <a:pt x="30009" y="38496"/>
                </a:lnTo>
                <a:lnTo>
                  <a:pt x="31249" y="43679"/>
                </a:lnTo>
                <a:lnTo>
                  <a:pt x="31993" y="49355"/>
                </a:lnTo>
                <a:lnTo>
                  <a:pt x="32489" y="55030"/>
                </a:lnTo>
                <a:lnTo>
                  <a:pt x="32737" y="61200"/>
                </a:lnTo>
                <a:lnTo>
                  <a:pt x="36209" y="61200"/>
                </a:lnTo>
                <a:lnTo>
                  <a:pt x="35961" y="55030"/>
                </a:lnTo>
                <a:lnTo>
                  <a:pt x="35465" y="48861"/>
                </a:lnTo>
                <a:lnTo>
                  <a:pt x="34721" y="43185"/>
                </a:lnTo>
                <a:lnTo>
                  <a:pt x="33481" y="37509"/>
                </a:lnTo>
                <a:lnTo>
                  <a:pt x="31993" y="32327"/>
                </a:lnTo>
                <a:lnTo>
                  <a:pt x="30009" y="27145"/>
                </a:lnTo>
                <a:lnTo>
                  <a:pt x="28025" y="22703"/>
                </a:lnTo>
                <a:lnTo>
                  <a:pt x="25793" y="18508"/>
                </a:lnTo>
                <a:lnTo>
                  <a:pt x="23313" y="14312"/>
                </a:lnTo>
                <a:lnTo>
                  <a:pt x="20336" y="10611"/>
                </a:lnTo>
                <a:lnTo>
                  <a:pt x="17608" y="7650"/>
                </a:lnTo>
                <a:lnTo>
                  <a:pt x="14384" y="4935"/>
                </a:lnTo>
                <a:lnTo>
                  <a:pt x="10912" y="2961"/>
                </a:lnTo>
                <a:lnTo>
                  <a:pt x="7440" y="1233"/>
                </a:lnTo>
                <a:lnTo>
                  <a:pt x="3720" y="246"/>
                </a:lnTo>
                <a:lnTo>
                  <a:pt x="0" y="0"/>
                </a:lnTo>
                <a:close/>
              </a:path>
            </a:pathLst>
          </a:custGeom>
          <a:solidFill>
            <a:srgbClr val="000000"/>
          </a:solidFill>
        </p:spPr>
        <p:txBody>
          <a:bodyPr wrap="square" lIns="0" tIns="0" rIns="0" bIns="0" rtlCol="0">
            <a:noAutofit/>
          </a:bodyPr>
          <a:lstStyle/>
          <a:p>
            <a:endParaRPr/>
          </a:p>
        </p:txBody>
      </p:sp>
      <p:sp>
        <p:nvSpPr>
          <p:cNvPr id="1416" name="object 1416"/>
          <p:cNvSpPr/>
          <p:nvPr/>
        </p:nvSpPr>
        <p:spPr>
          <a:xfrm>
            <a:off x="9555540" y="1724797"/>
            <a:ext cx="36209" cy="61200"/>
          </a:xfrm>
          <a:custGeom>
            <a:avLst/>
            <a:gdLst/>
            <a:ahLst/>
            <a:cxnLst/>
            <a:rect l="l" t="t" r="r" b="b"/>
            <a:pathLst>
              <a:path w="36209" h="61200">
                <a:moveTo>
                  <a:pt x="3720" y="60953"/>
                </a:moveTo>
                <a:lnTo>
                  <a:pt x="7440" y="59966"/>
                </a:lnTo>
                <a:lnTo>
                  <a:pt x="10912" y="58239"/>
                </a:lnTo>
                <a:lnTo>
                  <a:pt x="14384" y="56264"/>
                </a:lnTo>
                <a:lnTo>
                  <a:pt x="17608" y="53550"/>
                </a:lnTo>
                <a:lnTo>
                  <a:pt x="20336" y="50589"/>
                </a:lnTo>
                <a:lnTo>
                  <a:pt x="23313" y="46887"/>
                </a:lnTo>
                <a:lnTo>
                  <a:pt x="25793" y="42692"/>
                </a:lnTo>
                <a:lnTo>
                  <a:pt x="28025" y="38496"/>
                </a:lnTo>
                <a:lnTo>
                  <a:pt x="30009" y="34055"/>
                </a:lnTo>
                <a:lnTo>
                  <a:pt x="31993" y="28872"/>
                </a:lnTo>
                <a:lnTo>
                  <a:pt x="33481" y="23690"/>
                </a:lnTo>
                <a:lnTo>
                  <a:pt x="34721" y="18014"/>
                </a:lnTo>
                <a:lnTo>
                  <a:pt x="35465" y="12338"/>
                </a:lnTo>
                <a:lnTo>
                  <a:pt x="35961" y="6169"/>
                </a:lnTo>
                <a:lnTo>
                  <a:pt x="36209" y="0"/>
                </a:lnTo>
                <a:lnTo>
                  <a:pt x="32737" y="0"/>
                </a:lnTo>
                <a:lnTo>
                  <a:pt x="32489" y="6169"/>
                </a:lnTo>
                <a:lnTo>
                  <a:pt x="31993" y="11845"/>
                </a:lnTo>
                <a:lnTo>
                  <a:pt x="31249" y="17521"/>
                </a:lnTo>
                <a:lnTo>
                  <a:pt x="30009" y="22703"/>
                </a:lnTo>
                <a:lnTo>
                  <a:pt x="28521" y="27885"/>
                </a:lnTo>
                <a:lnTo>
                  <a:pt x="27033" y="32574"/>
                </a:lnTo>
                <a:lnTo>
                  <a:pt x="25049" y="37016"/>
                </a:lnTo>
                <a:lnTo>
                  <a:pt x="22817" y="41211"/>
                </a:lnTo>
                <a:lnTo>
                  <a:pt x="20336" y="44913"/>
                </a:lnTo>
                <a:lnTo>
                  <a:pt x="17856" y="48121"/>
                </a:lnTo>
                <a:lnTo>
                  <a:pt x="15128" y="51082"/>
                </a:lnTo>
                <a:lnTo>
                  <a:pt x="12400" y="53303"/>
                </a:lnTo>
                <a:lnTo>
                  <a:pt x="9424" y="55277"/>
                </a:lnTo>
                <a:lnTo>
                  <a:pt x="6448" y="56511"/>
                </a:lnTo>
                <a:lnTo>
                  <a:pt x="3224" y="57498"/>
                </a:lnTo>
                <a:lnTo>
                  <a:pt x="0" y="57745"/>
                </a:lnTo>
                <a:lnTo>
                  <a:pt x="0" y="61200"/>
                </a:lnTo>
                <a:lnTo>
                  <a:pt x="3720" y="60953"/>
                </a:lnTo>
                <a:close/>
              </a:path>
            </a:pathLst>
          </a:custGeom>
          <a:solidFill>
            <a:srgbClr val="000000"/>
          </a:solidFill>
        </p:spPr>
        <p:txBody>
          <a:bodyPr wrap="square" lIns="0" tIns="0" rIns="0" bIns="0" rtlCol="0">
            <a:noAutofit/>
          </a:bodyPr>
          <a:lstStyle/>
          <a:p>
            <a:endParaRPr/>
          </a:p>
        </p:txBody>
      </p:sp>
      <p:sp>
        <p:nvSpPr>
          <p:cNvPr id="1417" name="object 1417"/>
          <p:cNvSpPr/>
          <p:nvPr/>
        </p:nvSpPr>
        <p:spPr>
          <a:xfrm>
            <a:off x="9519331" y="1724797"/>
            <a:ext cx="36209" cy="61200"/>
          </a:xfrm>
          <a:custGeom>
            <a:avLst/>
            <a:gdLst/>
            <a:ahLst/>
            <a:cxnLst/>
            <a:rect l="l" t="t" r="r" b="b"/>
            <a:pathLst>
              <a:path w="36209" h="61200">
                <a:moveTo>
                  <a:pt x="3472" y="0"/>
                </a:moveTo>
                <a:lnTo>
                  <a:pt x="0" y="0"/>
                </a:lnTo>
                <a:lnTo>
                  <a:pt x="248" y="6169"/>
                </a:lnTo>
                <a:lnTo>
                  <a:pt x="744" y="12338"/>
                </a:lnTo>
                <a:lnTo>
                  <a:pt x="1488" y="18014"/>
                </a:lnTo>
                <a:lnTo>
                  <a:pt x="2728" y="23690"/>
                </a:lnTo>
                <a:lnTo>
                  <a:pt x="4216" y="28872"/>
                </a:lnTo>
                <a:lnTo>
                  <a:pt x="6200" y="34055"/>
                </a:lnTo>
                <a:lnTo>
                  <a:pt x="8184" y="38496"/>
                </a:lnTo>
                <a:lnTo>
                  <a:pt x="10416" y="42692"/>
                </a:lnTo>
                <a:lnTo>
                  <a:pt x="12648" y="46887"/>
                </a:lnTo>
                <a:lnTo>
                  <a:pt x="15624" y="50589"/>
                </a:lnTo>
                <a:lnTo>
                  <a:pt x="18600" y="53550"/>
                </a:lnTo>
                <a:lnTo>
                  <a:pt x="21824" y="56264"/>
                </a:lnTo>
                <a:lnTo>
                  <a:pt x="25297" y="58239"/>
                </a:lnTo>
                <a:lnTo>
                  <a:pt x="28769" y="59966"/>
                </a:lnTo>
                <a:lnTo>
                  <a:pt x="32489" y="60953"/>
                </a:lnTo>
                <a:lnTo>
                  <a:pt x="36209" y="61200"/>
                </a:lnTo>
                <a:lnTo>
                  <a:pt x="36209" y="57745"/>
                </a:lnTo>
                <a:lnTo>
                  <a:pt x="32985" y="57498"/>
                </a:lnTo>
                <a:lnTo>
                  <a:pt x="29761" y="56511"/>
                </a:lnTo>
                <a:lnTo>
                  <a:pt x="26785" y="55277"/>
                </a:lnTo>
                <a:lnTo>
                  <a:pt x="23809" y="53303"/>
                </a:lnTo>
                <a:lnTo>
                  <a:pt x="21080" y="51082"/>
                </a:lnTo>
                <a:lnTo>
                  <a:pt x="18104" y="48121"/>
                </a:lnTo>
                <a:lnTo>
                  <a:pt x="15624" y="44913"/>
                </a:lnTo>
                <a:lnTo>
                  <a:pt x="13392" y="41211"/>
                </a:lnTo>
                <a:lnTo>
                  <a:pt x="11160" y="37016"/>
                </a:lnTo>
                <a:lnTo>
                  <a:pt x="9176" y="32574"/>
                </a:lnTo>
                <a:lnTo>
                  <a:pt x="7688" y="27885"/>
                </a:lnTo>
                <a:lnTo>
                  <a:pt x="6200" y="22703"/>
                </a:lnTo>
                <a:lnTo>
                  <a:pt x="4960" y="17521"/>
                </a:lnTo>
                <a:lnTo>
                  <a:pt x="4216" y="11845"/>
                </a:lnTo>
                <a:lnTo>
                  <a:pt x="3720" y="6169"/>
                </a:lnTo>
                <a:lnTo>
                  <a:pt x="3472" y="0"/>
                </a:lnTo>
                <a:close/>
              </a:path>
            </a:pathLst>
          </a:custGeom>
          <a:solidFill>
            <a:srgbClr val="000000"/>
          </a:solidFill>
        </p:spPr>
        <p:txBody>
          <a:bodyPr wrap="square" lIns="0" tIns="0" rIns="0" bIns="0" rtlCol="0">
            <a:noAutofit/>
          </a:bodyPr>
          <a:lstStyle/>
          <a:p>
            <a:endParaRPr/>
          </a:p>
        </p:txBody>
      </p:sp>
      <p:sp>
        <p:nvSpPr>
          <p:cNvPr id="1418" name="object 1418"/>
          <p:cNvSpPr/>
          <p:nvPr/>
        </p:nvSpPr>
        <p:spPr>
          <a:xfrm>
            <a:off x="9519331" y="1663597"/>
            <a:ext cx="36209" cy="61200"/>
          </a:xfrm>
          <a:custGeom>
            <a:avLst/>
            <a:gdLst/>
            <a:ahLst/>
            <a:cxnLst/>
            <a:rect l="l" t="t" r="r" b="b"/>
            <a:pathLst>
              <a:path w="36209" h="61200">
                <a:moveTo>
                  <a:pt x="4216" y="32327"/>
                </a:moveTo>
                <a:lnTo>
                  <a:pt x="2728" y="37509"/>
                </a:lnTo>
                <a:lnTo>
                  <a:pt x="1488" y="43185"/>
                </a:lnTo>
                <a:lnTo>
                  <a:pt x="744" y="48861"/>
                </a:lnTo>
                <a:lnTo>
                  <a:pt x="248" y="55030"/>
                </a:lnTo>
                <a:lnTo>
                  <a:pt x="0" y="61200"/>
                </a:lnTo>
                <a:lnTo>
                  <a:pt x="3472" y="61200"/>
                </a:lnTo>
                <a:lnTo>
                  <a:pt x="3720" y="55030"/>
                </a:lnTo>
                <a:lnTo>
                  <a:pt x="4216" y="49355"/>
                </a:lnTo>
                <a:lnTo>
                  <a:pt x="4960" y="43679"/>
                </a:lnTo>
                <a:lnTo>
                  <a:pt x="6200" y="38496"/>
                </a:lnTo>
                <a:lnTo>
                  <a:pt x="7688" y="33314"/>
                </a:lnTo>
                <a:lnTo>
                  <a:pt x="9176" y="28625"/>
                </a:lnTo>
                <a:lnTo>
                  <a:pt x="11160" y="24184"/>
                </a:lnTo>
                <a:lnTo>
                  <a:pt x="13392" y="19988"/>
                </a:lnTo>
                <a:lnTo>
                  <a:pt x="15624" y="16287"/>
                </a:lnTo>
                <a:lnTo>
                  <a:pt x="18104" y="13079"/>
                </a:lnTo>
                <a:lnTo>
                  <a:pt x="21080" y="10117"/>
                </a:lnTo>
                <a:lnTo>
                  <a:pt x="23809" y="7896"/>
                </a:lnTo>
                <a:lnTo>
                  <a:pt x="26785" y="5922"/>
                </a:lnTo>
                <a:lnTo>
                  <a:pt x="29761" y="4688"/>
                </a:lnTo>
                <a:lnTo>
                  <a:pt x="32985" y="3701"/>
                </a:lnTo>
                <a:lnTo>
                  <a:pt x="36209" y="3454"/>
                </a:lnTo>
                <a:lnTo>
                  <a:pt x="36209" y="0"/>
                </a:lnTo>
                <a:lnTo>
                  <a:pt x="32489" y="246"/>
                </a:lnTo>
                <a:lnTo>
                  <a:pt x="28769" y="1233"/>
                </a:lnTo>
                <a:lnTo>
                  <a:pt x="25297" y="2961"/>
                </a:lnTo>
                <a:lnTo>
                  <a:pt x="21824" y="4935"/>
                </a:lnTo>
                <a:lnTo>
                  <a:pt x="18600" y="7650"/>
                </a:lnTo>
                <a:lnTo>
                  <a:pt x="15624" y="10611"/>
                </a:lnTo>
                <a:lnTo>
                  <a:pt x="12648" y="14312"/>
                </a:lnTo>
                <a:lnTo>
                  <a:pt x="10416" y="18508"/>
                </a:lnTo>
                <a:lnTo>
                  <a:pt x="8184" y="22703"/>
                </a:lnTo>
                <a:lnTo>
                  <a:pt x="6200" y="27145"/>
                </a:lnTo>
                <a:lnTo>
                  <a:pt x="4216" y="32327"/>
                </a:lnTo>
                <a:close/>
              </a:path>
            </a:pathLst>
          </a:custGeom>
          <a:solidFill>
            <a:srgbClr val="000000"/>
          </a:solidFill>
        </p:spPr>
        <p:txBody>
          <a:bodyPr wrap="square" lIns="0" tIns="0" rIns="0" bIns="0" rtlCol="0">
            <a:noAutofit/>
          </a:bodyPr>
          <a:lstStyle/>
          <a:p>
            <a:endParaRPr/>
          </a:p>
        </p:txBody>
      </p:sp>
      <p:sp>
        <p:nvSpPr>
          <p:cNvPr id="1419" name="object 1419"/>
          <p:cNvSpPr/>
          <p:nvPr/>
        </p:nvSpPr>
        <p:spPr>
          <a:xfrm>
            <a:off x="9538675" y="1688522"/>
            <a:ext cx="41913" cy="72305"/>
          </a:xfrm>
          <a:custGeom>
            <a:avLst/>
            <a:gdLst/>
            <a:ahLst/>
            <a:cxnLst/>
            <a:rect l="l" t="t" r="r" b="b"/>
            <a:pathLst>
              <a:path w="41913" h="72305">
                <a:moveTo>
                  <a:pt x="20832" y="0"/>
                </a:moveTo>
                <a:lnTo>
                  <a:pt x="16616" y="740"/>
                </a:lnTo>
                <a:lnTo>
                  <a:pt x="12648" y="2961"/>
                </a:lnTo>
                <a:lnTo>
                  <a:pt x="9176" y="6169"/>
                </a:lnTo>
                <a:lnTo>
                  <a:pt x="6200" y="10611"/>
                </a:lnTo>
                <a:lnTo>
                  <a:pt x="3472" y="16040"/>
                </a:lnTo>
                <a:lnTo>
                  <a:pt x="1736" y="22209"/>
                </a:lnTo>
                <a:lnTo>
                  <a:pt x="496" y="28872"/>
                </a:lnTo>
                <a:lnTo>
                  <a:pt x="0" y="36276"/>
                </a:lnTo>
                <a:lnTo>
                  <a:pt x="496" y="43679"/>
                </a:lnTo>
                <a:lnTo>
                  <a:pt x="1736" y="50342"/>
                </a:lnTo>
                <a:lnTo>
                  <a:pt x="3472" y="56511"/>
                </a:lnTo>
                <a:lnTo>
                  <a:pt x="6200" y="61693"/>
                </a:lnTo>
                <a:lnTo>
                  <a:pt x="9176" y="66135"/>
                </a:lnTo>
                <a:lnTo>
                  <a:pt x="12648" y="69590"/>
                </a:lnTo>
                <a:lnTo>
                  <a:pt x="16616" y="71564"/>
                </a:lnTo>
                <a:lnTo>
                  <a:pt x="20832" y="72305"/>
                </a:lnTo>
                <a:lnTo>
                  <a:pt x="25049" y="71564"/>
                </a:lnTo>
                <a:lnTo>
                  <a:pt x="29017" y="69590"/>
                </a:lnTo>
                <a:lnTo>
                  <a:pt x="32737" y="66135"/>
                </a:lnTo>
                <a:lnTo>
                  <a:pt x="35713" y="61693"/>
                </a:lnTo>
                <a:lnTo>
                  <a:pt x="38193" y="56511"/>
                </a:lnTo>
                <a:lnTo>
                  <a:pt x="40177" y="50342"/>
                </a:lnTo>
                <a:lnTo>
                  <a:pt x="41417" y="43679"/>
                </a:lnTo>
                <a:lnTo>
                  <a:pt x="41913" y="36276"/>
                </a:lnTo>
                <a:lnTo>
                  <a:pt x="41417" y="28872"/>
                </a:lnTo>
                <a:lnTo>
                  <a:pt x="40177" y="22209"/>
                </a:lnTo>
                <a:lnTo>
                  <a:pt x="38193" y="16040"/>
                </a:lnTo>
                <a:lnTo>
                  <a:pt x="35713" y="10611"/>
                </a:lnTo>
                <a:lnTo>
                  <a:pt x="32737" y="6169"/>
                </a:lnTo>
                <a:lnTo>
                  <a:pt x="29017" y="2961"/>
                </a:lnTo>
                <a:lnTo>
                  <a:pt x="25049" y="740"/>
                </a:lnTo>
                <a:lnTo>
                  <a:pt x="20832" y="0"/>
                </a:lnTo>
                <a:close/>
              </a:path>
            </a:pathLst>
          </a:custGeom>
          <a:solidFill>
            <a:srgbClr val="E4E4E4"/>
          </a:solidFill>
        </p:spPr>
        <p:txBody>
          <a:bodyPr wrap="square" lIns="0" tIns="0" rIns="0" bIns="0" rtlCol="0">
            <a:noAutofit/>
          </a:bodyPr>
          <a:lstStyle/>
          <a:p>
            <a:endParaRPr/>
          </a:p>
        </p:txBody>
      </p:sp>
      <p:sp>
        <p:nvSpPr>
          <p:cNvPr id="1420" name="object 1420"/>
          <p:cNvSpPr/>
          <p:nvPr/>
        </p:nvSpPr>
        <p:spPr>
          <a:xfrm>
            <a:off x="9559508" y="1686795"/>
            <a:ext cx="22817" cy="38003"/>
          </a:xfrm>
          <a:custGeom>
            <a:avLst/>
            <a:gdLst/>
            <a:ahLst/>
            <a:cxnLst/>
            <a:rect l="l" t="t" r="r" b="b"/>
            <a:pathLst>
              <a:path w="22817" h="38003">
                <a:moveTo>
                  <a:pt x="13392" y="13079"/>
                </a:moveTo>
                <a:lnTo>
                  <a:pt x="15624" y="18261"/>
                </a:lnTo>
                <a:lnTo>
                  <a:pt x="17608" y="24430"/>
                </a:lnTo>
                <a:lnTo>
                  <a:pt x="18848" y="30846"/>
                </a:lnTo>
                <a:lnTo>
                  <a:pt x="19344" y="38003"/>
                </a:lnTo>
                <a:lnTo>
                  <a:pt x="22817" y="38003"/>
                </a:lnTo>
                <a:lnTo>
                  <a:pt x="22321" y="30353"/>
                </a:lnTo>
                <a:lnTo>
                  <a:pt x="21080" y="23443"/>
                </a:lnTo>
                <a:lnTo>
                  <a:pt x="19096" y="17274"/>
                </a:lnTo>
                <a:lnTo>
                  <a:pt x="16368" y="11598"/>
                </a:lnTo>
                <a:lnTo>
                  <a:pt x="13144" y="6662"/>
                </a:lnTo>
                <a:lnTo>
                  <a:pt x="9176" y="3208"/>
                </a:lnTo>
                <a:lnTo>
                  <a:pt x="4712" y="740"/>
                </a:lnTo>
                <a:lnTo>
                  <a:pt x="0" y="0"/>
                </a:lnTo>
                <a:lnTo>
                  <a:pt x="0" y="3454"/>
                </a:lnTo>
                <a:lnTo>
                  <a:pt x="3720" y="4195"/>
                </a:lnTo>
                <a:lnTo>
                  <a:pt x="7192" y="6169"/>
                </a:lnTo>
                <a:lnTo>
                  <a:pt x="10664" y="9130"/>
                </a:lnTo>
                <a:lnTo>
                  <a:pt x="13392" y="13079"/>
                </a:lnTo>
                <a:close/>
              </a:path>
            </a:pathLst>
          </a:custGeom>
          <a:solidFill>
            <a:srgbClr val="000000"/>
          </a:solidFill>
        </p:spPr>
        <p:txBody>
          <a:bodyPr wrap="square" lIns="0" tIns="0" rIns="0" bIns="0" rtlCol="0">
            <a:noAutofit/>
          </a:bodyPr>
          <a:lstStyle/>
          <a:p>
            <a:endParaRPr/>
          </a:p>
        </p:txBody>
      </p:sp>
      <p:sp>
        <p:nvSpPr>
          <p:cNvPr id="1421" name="object 1421"/>
          <p:cNvSpPr/>
          <p:nvPr/>
        </p:nvSpPr>
        <p:spPr>
          <a:xfrm>
            <a:off x="9559508" y="1724797"/>
            <a:ext cx="22817" cy="37756"/>
          </a:xfrm>
          <a:custGeom>
            <a:avLst/>
            <a:gdLst/>
            <a:ahLst/>
            <a:cxnLst/>
            <a:rect l="l" t="t" r="r" b="b"/>
            <a:pathLst>
              <a:path w="22817" h="37756">
                <a:moveTo>
                  <a:pt x="3720" y="33561"/>
                </a:moveTo>
                <a:lnTo>
                  <a:pt x="0" y="34301"/>
                </a:lnTo>
                <a:lnTo>
                  <a:pt x="0" y="37756"/>
                </a:lnTo>
                <a:lnTo>
                  <a:pt x="4712" y="37016"/>
                </a:lnTo>
                <a:lnTo>
                  <a:pt x="9176" y="34795"/>
                </a:lnTo>
                <a:lnTo>
                  <a:pt x="13144" y="31093"/>
                </a:lnTo>
                <a:lnTo>
                  <a:pt x="16368" y="26158"/>
                </a:lnTo>
                <a:lnTo>
                  <a:pt x="19096" y="20975"/>
                </a:lnTo>
                <a:lnTo>
                  <a:pt x="21080" y="14559"/>
                </a:lnTo>
                <a:lnTo>
                  <a:pt x="22321" y="7650"/>
                </a:lnTo>
                <a:lnTo>
                  <a:pt x="22817" y="0"/>
                </a:lnTo>
                <a:lnTo>
                  <a:pt x="19344" y="0"/>
                </a:lnTo>
                <a:lnTo>
                  <a:pt x="18848" y="7156"/>
                </a:lnTo>
                <a:lnTo>
                  <a:pt x="17608" y="13572"/>
                </a:lnTo>
                <a:lnTo>
                  <a:pt x="15624" y="19495"/>
                </a:lnTo>
                <a:lnTo>
                  <a:pt x="13392" y="24677"/>
                </a:lnTo>
                <a:lnTo>
                  <a:pt x="10664" y="28625"/>
                </a:lnTo>
                <a:lnTo>
                  <a:pt x="7192" y="31834"/>
                </a:lnTo>
                <a:lnTo>
                  <a:pt x="3720" y="33561"/>
                </a:lnTo>
                <a:close/>
              </a:path>
            </a:pathLst>
          </a:custGeom>
          <a:solidFill>
            <a:srgbClr val="000000"/>
          </a:solidFill>
        </p:spPr>
        <p:txBody>
          <a:bodyPr wrap="square" lIns="0" tIns="0" rIns="0" bIns="0" rtlCol="0">
            <a:noAutofit/>
          </a:bodyPr>
          <a:lstStyle/>
          <a:p>
            <a:endParaRPr/>
          </a:p>
        </p:txBody>
      </p:sp>
      <p:sp>
        <p:nvSpPr>
          <p:cNvPr id="1422" name="object 1422"/>
          <p:cNvSpPr/>
          <p:nvPr/>
        </p:nvSpPr>
        <p:spPr>
          <a:xfrm>
            <a:off x="9536939" y="1724797"/>
            <a:ext cx="22569" cy="37756"/>
          </a:xfrm>
          <a:custGeom>
            <a:avLst/>
            <a:gdLst/>
            <a:ahLst/>
            <a:cxnLst/>
            <a:rect l="l" t="t" r="r" b="b"/>
            <a:pathLst>
              <a:path w="22569" h="37756">
                <a:moveTo>
                  <a:pt x="496" y="7650"/>
                </a:moveTo>
                <a:lnTo>
                  <a:pt x="1736" y="14559"/>
                </a:lnTo>
                <a:lnTo>
                  <a:pt x="3472" y="20975"/>
                </a:lnTo>
                <a:lnTo>
                  <a:pt x="6448" y="26404"/>
                </a:lnTo>
                <a:lnTo>
                  <a:pt x="9672" y="30846"/>
                </a:lnTo>
                <a:lnTo>
                  <a:pt x="13392" y="34795"/>
                </a:lnTo>
                <a:lnTo>
                  <a:pt x="17856" y="37016"/>
                </a:lnTo>
                <a:lnTo>
                  <a:pt x="22569" y="37756"/>
                </a:lnTo>
                <a:lnTo>
                  <a:pt x="22569" y="34301"/>
                </a:lnTo>
                <a:lnTo>
                  <a:pt x="18848" y="33561"/>
                </a:lnTo>
                <a:lnTo>
                  <a:pt x="15376" y="31834"/>
                </a:lnTo>
                <a:lnTo>
                  <a:pt x="12152" y="28872"/>
                </a:lnTo>
                <a:lnTo>
                  <a:pt x="9424" y="24430"/>
                </a:lnTo>
                <a:lnTo>
                  <a:pt x="6944" y="19495"/>
                </a:lnTo>
                <a:lnTo>
                  <a:pt x="5208" y="13572"/>
                </a:lnTo>
                <a:lnTo>
                  <a:pt x="3968" y="7156"/>
                </a:lnTo>
                <a:lnTo>
                  <a:pt x="3472" y="0"/>
                </a:lnTo>
                <a:lnTo>
                  <a:pt x="0" y="0"/>
                </a:lnTo>
                <a:lnTo>
                  <a:pt x="496" y="7650"/>
                </a:lnTo>
                <a:close/>
              </a:path>
            </a:pathLst>
          </a:custGeom>
          <a:solidFill>
            <a:srgbClr val="000000"/>
          </a:solidFill>
        </p:spPr>
        <p:txBody>
          <a:bodyPr wrap="square" lIns="0" tIns="0" rIns="0" bIns="0" rtlCol="0">
            <a:noAutofit/>
          </a:bodyPr>
          <a:lstStyle/>
          <a:p>
            <a:endParaRPr/>
          </a:p>
        </p:txBody>
      </p:sp>
      <p:sp>
        <p:nvSpPr>
          <p:cNvPr id="1423" name="object 1423"/>
          <p:cNvSpPr/>
          <p:nvPr/>
        </p:nvSpPr>
        <p:spPr>
          <a:xfrm>
            <a:off x="9536939" y="1686795"/>
            <a:ext cx="22569" cy="38003"/>
          </a:xfrm>
          <a:custGeom>
            <a:avLst/>
            <a:gdLst/>
            <a:ahLst/>
            <a:cxnLst/>
            <a:rect l="l" t="t" r="r" b="b"/>
            <a:pathLst>
              <a:path w="22569" h="38003">
                <a:moveTo>
                  <a:pt x="3472" y="38003"/>
                </a:moveTo>
                <a:lnTo>
                  <a:pt x="3968" y="30846"/>
                </a:lnTo>
                <a:lnTo>
                  <a:pt x="5208" y="24430"/>
                </a:lnTo>
                <a:lnTo>
                  <a:pt x="6944" y="18261"/>
                </a:lnTo>
                <a:lnTo>
                  <a:pt x="9424" y="13079"/>
                </a:lnTo>
                <a:lnTo>
                  <a:pt x="12152" y="8883"/>
                </a:lnTo>
                <a:lnTo>
                  <a:pt x="15376" y="6169"/>
                </a:lnTo>
                <a:lnTo>
                  <a:pt x="18848" y="4195"/>
                </a:lnTo>
                <a:lnTo>
                  <a:pt x="22569" y="3454"/>
                </a:lnTo>
                <a:lnTo>
                  <a:pt x="22569" y="0"/>
                </a:lnTo>
                <a:lnTo>
                  <a:pt x="17856" y="740"/>
                </a:lnTo>
                <a:lnTo>
                  <a:pt x="13392" y="3208"/>
                </a:lnTo>
                <a:lnTo>
                  <a:pt x="9672" y="6909"/>
                </a:lnTo>
                <a:lnTo>
                  <a:pt x="6448" y="11598"/>
                </a:lnTo>
                <a:lnTo>
                  <a:pt x="3472" y="17274"/>
                </a:lnTo>
                <a:lnTo>
                  <a:pt x="1736" y="23443"/>
                </a:lnTo>
                <a:lnTo>
                  <a:pt x="496" y="30353"/>
                </a:lnTo>
                <a:lnTo>
                  <a:pt x="0" y="38003"/>
                </a:lnTo>
                <a:lnTo>
                  <a:pt x="3472" y="38003"/>
                </a:lnTo>
                <a:close/>
              </a:path>
            </a:pathLst>
          </a:custGeom>
          <a:solidFill>
            <a:srgbClr val="000000"/>
          </a:solidFill>
        </p:spPr>
        <p:txBody>
          <a:bodyPr wrap="square" lIns="0" tIns="0" rIns="0" bIns="0" rtlCol="0">
            <a:noAutofit/>
          </a:bodyPr>
          <a:lstStyle/>
          <a:p>
            <a:endParaRPr/>
          </a:p>
        </p:txBody>
      </p:sp>
      <p:sp>
        <p:nvSpPr>
          <p:cNvPr id="1424" name="object 1424"/>
          <p:cNvSpPr/>
          <p:nvPr/>
        </p:nvSpPr>
        <p:spPr>
          <a:xfrm>
            <a:off x="9538675" y="1690990"/>
            <a:ext cx="38937" cy="67369"/>
          </a:xfrm>
          <a:custGeom>
            <a:avLst/>
            <a:gdLst/>
            <a:ahLst/>
            <a:cxnLst/>
            <a:rect l="l" t="t" r="r" b="b"/>
            <a:pathLst>
              <a:path w="38937" h="67369">
                <a:moveTo>
                  <a:pt x="19344" y="0"/>
                </a:moveTo>
                <a:lnTo>
                  <a:pt x="15376" y="740"/>
                </a:lnTo>
                <a:lnTo>
                  <a:pt x="11904" y="2714"/>
                </a:lnTo>
                <a:lnTo>
                  <a:pt x="8432" y="5675"/>
                </a:lnTo>
                <a:lnTo>
                  <a:pt x="5704" y="9871"/>
                </a:lnTo>
                <a:lnTo>
                  <a:pt x="3224" y="14806"/>
                </a:lnTo>
                <a:lnTo>
                  <a:pt x="1488" y="20482"/>
                </a:lnTo>
                <a:lnTo>
                  <a:pt x="496" y="26898"/>
                </a:lnTo>
                <a:lnTo>
                  <a:pt x="0" y="33561"/>
                </a:lnTo>
                <a:lnTo>
                  <a:pt x="496" y="40471"/>
                </a:lnTo>
                <a:lnTo>
                  <a:pt x="1488" y="46640"/>
                </a:lnTo>
                <a:lnTo>
                  <a:pt x="3224" y="52563"/>
                </a:lnTo>
                <a:lnTo>
                  <a:pt x="5704" y="57498"/>
                </a:lnTo>
                <a:lnTo>
                  <a:pt x="8432" y="61693"/>
                </a:lnTo>
                <a:lnTo>
                  <a:pt x="11904" y="64655"/>
                </a:lnTo>
                <a:lnTo>
                  <a:pt x="15376" y="66629"/>
                </a:lnTo>
                <a:lnTo>
                  <a:pt x="19344" y="67369"/>
                </a:lnTo>
                <a:lnTo>
                  <a:pt x="23313" y="66629"/>
                </a:lnTo>
                <a:lnTo>
                  <a:pt x="27033" y="64655"/>
                </a:lnTo>
                <a:lnTo>
                  <a:pt x="30257" y="61693"/>
                </a:lnTo>
                <a:lnTo>
                  <a:pt x="33233" y="57498"/>
                </a:lnTo>
                <a:lnTo>
                  <a:pt x="35713" y="52563"/>
                </a:lnTo>
                <a:lnTo>
                  <a:pt x="37449" y="46640"/>
                </a:lnTo>
                <a:lnTo>
                  <a:pt x="38441" y="40471"/>
                </a:lnTo>
                <a:lnTo>
                  <a:pt x="38937" y="33561"/>
                </a:lnTo>
                <a:lnTo>
                  <a:pt x="38441" y="26898"/>
                </a:lnTo>
                <a:lnTo>
                  <a:pt x="37449" y="20482"/>
                </a:lnTo>
                <a:lnTo>
                  <a:pt x="35713" y="14806"/>
                </a:lnTo>
                <a:lnTo>
                  <a:pt x="33233" y="9871"/>
                </a:lnTo>
                <a:lnTo>
                  <a:pt x="30257" y="5675"/>
                </a:lnTo>
                <a:lnTo>
                  <a:pt x="27033" y="2714"/>
                </a:lnTo>
                <a:lnTo>
                  <a:pt x="23313" y="740"/>
                </a:lnTo>
                <a:lnTo>
                  <a:pt x="19344" y="0"/>
                </a:lnTo>
                <a:close/>
              </a:path>
            </a:pathLst>
          </a:custGeom>
          <a:solidFill>
            <a:srgbClr val="666666"/>
          </a:solidFill>
        </p:spPr>
        <p:txBody>
          <a:bodyPr wrap="square" lIns="0" tIns="0" rIns="0" bIns="0" rtlCol="0">
            <a:noAutofit/>
          </a:bodyPr>
          <a:lstStyle/>
          <a:p>
            <a:endParaRPr/>
          </a:p>
        </p:txBody>
      </p:sp>
      <p:sp>
        <p:nvSpPr>
          <p:cNvPr id="1425" name="object 1425"/>
          <p:cNvSpPr/>
          <p:nvPr/>
        </p:nvSpPr>
        <p:spPr>
          <a:xfrm>
            <a:off x="9536938" y="1689261"/>
            <a:ext cx="21080" cy="35288"/>
          </a:xfrm>
          <a:custGeom>
            <a:avLst/>
            <a:gdLst/>
            <a:ahLst/>
            <a:cxnLst/>
            <a:rect l="l" t="t" r="r" b="b"/>
            <a:pathLst>
              <a:path w="21080" h="35288">
                <a:moveTo>
                  <a:pt x="3472" y="35288"/>
                </a:moveTo>
                <a:lnTo>
                  <a:pt x="3968" y="28872"/>
                </a:lnTo>
                <a:lnTo>
                  <a:pt x="4960" y="22703"/>
                </a:lnTo>
                <a:lnTo>
                  <a:pt x="6696" y="17274"/>
                </a:lnTo>
                <a:lnTo>
                  <a:pt x="8928" y="12338"/>
                </a:lnTo>
                <a:lnTo>
                  <a:pt x="11408" y="8637"/>
                </a:lnTo>
                <a:lnTo>
                  <a:pt x="14632" y="5922"/>
                </a:lnTo>
                <a:lnTo>
                  <a:pt x="17608" y="4195"/>
                </a:lnTo>
                <a:lnTo>
                  <a:pt x="21080" y="3454"/>
                </a:lnTo>
                <a:lnTo>
                  <a:pt x="21080" y="0"/>
                </a:lnTo>
                <a:lnTo>
                  <a:pt x="16616" y="740"/>
                </a:lnTo>
                <a:lnTo>
                  <a:pt x="12648" y="2961"/>
                </a:lnTo>
                <a:lnTo>
                  <a:pt x="8928" y="6169"/>
                </a:lnTo>
                <a:lnTo>
                  <a:pt x="5952" y="10858"/>
                </a:lnTo>
                <a:lnTo>
                  <a:pt x="3224" y="15793"/>
                </a:lnTo>
                <a:lnTo>
                  <a:pt x="1488" y="21716"/>
                </a:lnTo>
                <a:lnTo>
                  <a:pt x="496" y="28379"/>
                </a:lnTo>
                <a:lnTo>
                  <a:pt x="0" y="35288"/>
                </a:lnTo>
                <a:lnTo>
                  <a:pt x="3472" y="35288"/>
                </a:lnTo>
                <a:close/>
              </a:path>
            </a:pathLst>
          </a:custGeom>
          <a:solidFill>
            <a:srgbClr val="FFFFFF"/>
          </a:solidFill>
        </p:spPr>
        <p:txBody>
          <a:bodyPr wrap="square" lIns="0" tIns="0" rIns="0" bIns="0" rtlCol="0">
            <a:noAutofit/>
          </a:bodyPr>
          <a:lstStyle/>
          <a:p>
            <a:endParaRPr/>
          </a:p>
        </p:txBody>
      </p:sp>
      <p:sp>
        <p:nvSpPr>
          <p:cNvPr id="1426" name="object 1426"/>
          <p:cNvSpPr/>
          <p:nvPr/>
        </p:nvSpPr>
        <p:spPr>
          <a:xfrm>
            <a:off x="9536938" y="1724551"/>
            <a:ext cx="21080" cy="35535"/>
          </a:xfrm>
          <a:custGeom>
            <a:avLst/>
            <a:gdLst/>
            <a:ahLst/>
            <a:cxnLst/>
            <a:rect l="l" t="t" r="r" b="b"/>
            <a:pathLst>
              <a:path w="21080" h="35535">
                <a:moveTo>
                  <a:pt x="496" y="7156"/>
                </a:moveTo>
                <a:lnTo>
                  <a:pt x="1488" y="13572"/>
                </a:lnTo>
                <a:lnTo>
                  <a:pt x="3224" y="19742"/>
                </a:lnTo>
                <a:lnTo>
                  <a:pt x="5952" y="24677"/>
                </a:lnTo>
                <a:lnTo>
                  <a:pt x="8928" y="29366"/>
                </a:lnTo>
                <a:lnTo>
                  <a:pt x="12648" y="32574"/>
                </a:lnTo>
                <a:lnTo>
                  <a:pt x="16616" y="34795"/>
                </a:lnTo>
                <a:lnTo>
                  <a:pt x="21080" y="35535"/>
                </a:lnTo>
                <a:lnTo>
                  <a:pt x="21080" y="32080"/>
                </a:lnTo>
                <a:lnTo>
                  <a:pt x="17608" y="31340"/>
                </a:lnTo>
                <a:lnTo>
                  <a:pt x="14632" y="29613"/>
                </a:lnTo>
                <a:lnTo>
                  <a:pt x="11408" y="26898"/>
                </a:lnTo>
                <a:lnTo>
                  <a:pt x="8928" y="23196"/>
                </a:lnTo>
                <a:lnTo>
                  <a:pt x="6696" y="18261"/>
                </a:lnTo>
                <a:lnTo>
                  <a:pt x="4960" y="12585"/>
                </a:lnTo>
                <a:lnTo>
                  <a:pt x="3968" y="6662"/>
                </a:lnTo>
                <a:lnTo>
                  <a:pt x="3472" y="0"/>
                </a:lnTo>
                <a:lnTo>
                  <a:pt x="0" y="0"/>
                </a:lnTo>
                <a:lnTo>
                  <a:pt x="496" y="7156"/>
                </a:lnTo>
                <a:close/>
              </a:path>
            </a:pathLst>
          </a:custGeom>
          <a:solidFill>
            <a:srgbClr val="FFFFFF"/>
          </a:solidFill>
        </p:spPr>
        <p:txBody>
          <a:bodyPr wrap="square" lIns="0" tIns="0" rIns="0" bIns="0" rtlCol="0">
            <a:noAutofit/>
          </a:bodyPr>
          <a:lstStyle/>
          <a:p>
            <a:endParaRPr/>
          </a:p>
        </p:txBody>
      </p:sp>
      <p:sp>
        <p:nvSpPr>
          <p:cNvPr id="1427" name="object 1427"/>
          <p:cNvSpPr/>
          <p:nvPr/>
        </p:nvSpPr>
        <p:spPr>
          <a:xfrm>
            <a:off x="9558019" y="1724551"/>
            <a:ext cx="21328" cy="35535"/>
          </a:xfrm>
          <a:custGeom>
            <a:avLst/>
            <a:gdLst/>
            <a:ahLst/>
            <a:cxnLst/>
            <a:rect l="l" t="t" r="r" b="b"/>
            <a:pathLst>
              <a:path w="21328" h="35535">
                <a:moveTo>
                  <a:pt x="15376" y="24924"/>
                </a:moveTo>
                <a:lnTo>
                  <a:pt x="18104" y="19742"/>
                </a:lnTo>
                <a:lnTo>
                  <a:pt x="19840" y="13572"/>
                </a:lnTo>
                <a:lnTo>
                  <a:pt x="20832" y="7156"/>
                </a:lnTo>
                <a:lnTo>
                  <a:pt x="21328" y="0"/>
                </a:lnTo>
                <a:lnTo>
                  <a:pt x="17856" y="0"/>
                </a:lnTo>
                <a:lnTo>
                  <a:pt x="17360" y="6662"/>
                </a:lnTo>
                <a:lnTo>
                  <a:pt x="16368" y="12585"/>
                </a:lnTo>
                <a:lnTo>
                  <a:pt x="14632" y="18261"/>
                </a:lnTo>
                <a:lnTo>
                  <a:pt x="12400" y="22950"/>
                </a:lnTo>
                <a:lnTo>
                  <a:pt x="9672" y="26898"/>
                </a:lnTo>
                <a:lnTo>
                  <a:pt x="6696" y="29613"/>
                </a:lnTo>
                <a:lnTo>
                  <a:pt x="3472" y="31340"/>
                </a:lnTo>
                <a:lnTo>
                  <a:pt x="0" y="32080"/>
                </a:lnTo>
                <a:lnTo>
                  <a:pt x="0" y="35535"/>
                </a:lnTo>
                <a:lnTo>
                  <a:pt x="4464" y="34795"/>
                </a:lnTo>
                <a:lnTo>
                  <a:pt x="8680" y="32574"/>
                </a:lnTo>
                <a:lnTo>
                  <a:pt x="12152" y="29366"/>
                </a:lnTo>
                <a:lnTo>
                  <a:pt x="15376" y="24924"/>
                </a:lnTo>
                <a:close/>
              </a:path>
            </a:pathLst>
          </a:custGeom>
          <a:solidFill>
            <a:srgbClr val="FFFFFF"/>
          </a:solidFill>
        </p:spPr>
        <p:txBody>
          <a:bodyPr wrap="square" lIns="0" tIns="0" rIns="0" bIns="0" rtlCol="0">
            <a:noAutofit/>
          </a:bodyPr>
          <a:lstStyle/>
          <a:p>
            <a:endParaRPr/>
          </a:p>
        </p:txBody>
      </p:sp>
      <p:sp>
        <p:nvSpPr>
          <p:cNvPr id="1428" name="object 1428"/>
          <p:cNvSpPr/>
          <p:nvPr/>
        </p:nvSpPr>
        <p:spPr>
          <a:xfrm>
            <a:off x="9558019" y="1689261"/>
            <a:ext cx="21328" cy="35288"/>
          </a:xfrm>
          <a:custGeom>
            <a:avLst/>
            <a:gdLst/>
            <a:ahLst/>
            <a:cxnLst/>
            <a:rect l="l" t="t" r="r" b="b"/>
            <a:pathLst>
              <a:path w="21328" h="35288">
                <a:moveTo>
                  <a:pt x="0" y="0"/>
                </a:moveTo>
                <a:lnTo>
                  <a:pt x="0" y="3454"/>
                </a:lnTo>
                <a:lnTo>
                  <a:pt x="3472" y="4195"/>
                </a:lnTo>
                <a:lnTo>
                  <a:pt x="6696" y="5922"/>
                </a:lnTo>
                <a:lnTo>
                  <a:pt x="9672" y="8637"/>
                </a:lnTo>
                <a:lnTo>
                  <a:pt x="12400" y="12585"/>
                </a:lnTo>
                <a:lnTo>
                  <a:pt x="14632" y="17274"/>
                </a:lnTo>
                <a:lnTo>
                  <a:pt x="16368" y="22703"/>
                </a:lnTo>
                <a:lnTo>
                  <a:pt x="17360" y="28872"/>
                </a:lnTo>
                <a:lnTo>
                  <a:pt x="17856" y="35288"/>
                </a:lnTo>
                <a:lnTo>
                  <a:pt x="21328" y="35288"/>
                </a:lnTo>
                <a:lnTo>
                  <a:pt x="20832" y="28379"/>
                </a:lnTo>
                <a:lnTo>
                  <a:pt x="19840" y="21716"/>
                </a:lnTo>
                <a:lnTo>
                  <a:pt x="18104" y="15793"/>
                </a:lnTo>
                <a:lnTo>
                  <a:pt x="15376" y="10611"/>
                </a:lnTo>
                <a:lnTo>
                  <a:pt x="12152" y="6169"/>
                </a:lnTo>
                <a:lnTo>
                  <a:pt x="8680" y="2961"/>
                </a:lnTo>
                <a:lnTo>
                  <a:pt x="4464" y="740"/>
                </a:lnTo>
                <a:lnTo>
                  <a:pt x="0" y="0"/>
                </a:lnTo>
                <a:close/>
              </a:path>
            </a:pathLst>
          </a:custGeom>
          <a:solidFill>
            <a:srgbClr val="FFFFFF"/>
          </a:solidFill>
        </p:spPr>
        <p:txBody>
          <a:bodyPr wrap="square" lIns="0" tIns="0" rIns="0" bIns="0" rtlCol="0">
            <a:noAutofit/>
          </a:bodyPr>
          <a:lstStyle/>
          <a:p>
            <a:endParaRPr/>
          </a:p>
        </p:txBody>
      </p:sp>
      <p:sp>
        <p:nvSpPr>
          <p:cNvPr id="1429" name="object 1429"/>
          <p:cNvSpPr/>
          <p:nvPr/>
        </p:nvSpPr>
        <p:spPr>
          <a:xfrm>
            <a:off x="9538675" y="1693951"/>
            <a:ext cx="35713" cy="61693"/>
          </a:xfrm>
          <a:custGeom>
            <a:avLst/>
            <a:gdLst/>
            <a:ahLst/>
            <a:cxnLst/>
            <a:rect l="l" t="t" r="r" b="b"/>
            <a:pathLst>
              <a:path w="35713" h="61693">
                <a:moveTo>
                  <a:pt x="17856" y="0"/>
                </a:moveTo>
                <a:lnTo>
                  <a:pt x="14136" y="740"/>
                </a:lnTo>
                <a:lnTo>
                  <a:pt x="10912" y="2467"/>
                </a:lnTo>
                <a:lnTo>
                  <a:pt x="7936" y="5182"/>
                </a:lnTo>
                <a:lnTo>
                  <a:pt x="5208" y="9130"/>
                </a:lnTo>
                <a:lnTo>
                  <a:pt x="2976" y="13572"/>
                </a:lnTo>
                <a:lnTo>
                  <a:pt x="1488" y="18754"/>
                </a:lnTo>
                <a:lnTo>
                  <a:pt x="248" y="24677"/>
                </a:lnTo>
                <a:lnTo>
                  <a:pt x="0" y="30846"/>
                </a:lnTo>
                <a:lnTo>
                  <a:pt x="248" y="37016"/>
                </a:lnTo>
                <a:lnTo>
                  <a:pt x="1488" y="42938"/>
                </a:lnTo>
                <a:lnTo>
                  <a:pt x="2976" y="48121"/>
                </a:lnTo>
                <a:lnTo>
                  <a:pt x="5208" y="52563"/>
                </a:lnTo>
                <a:lnTo>
                  <a:pt x="7936" y="56511"/>
                </a:lnTo>
                <a:lnTo>
                  <a:pt x="10912" y="59226"/>
                </a:lnTo>
                <a:lnTo>
                  <a:pt x="14136" y="60953"/>
                </a:lnTo>
                <a:lnTo>
                  <a:pt x="17856" y="61693"/>
                </a:lnTo>
                <a:lnTo>
                  <a:pt x="21576" y="60953"/>
                </a:lnTo>
                <a:lnTo>
                  <a:pt x="24801" y="59226"/>
                </a:lnTo>
                <a:lnTo>
                  <a:pt x="27777" y="56511"/>
                </a:lnTo>
                <a:lnTo>
                  <a:pt x="30505" y="52563"/>
                </a:lnTo>
                <a:lnTo>
                  <a:pt x="32737" y="48121"/>
                </a:lnTo>
                <a:lnTo>
                  <a:pt x="34225" y="42938"/>
                </a:lnTo>
                <a:lnTo>
                  <a:pt x="35465" y="37016"/>
                </a:lnTo>
                <a:lnTo>
                  <a:pt x="35713" y="30846"/>
                </a:lnTo>
                <a:lnTo>
                  <a:pt x="35465" y="24677"/>
                </a:lnTo>
                <a:lnTo>
                  <a:pt x="34225" y="18754"/>
                </a:lnTo>
                <a:lnTo>
                  <a:pt x="32737" y="13572"/>
                </a:lnTo>
                <a:lnTo>
                  <a:pt x="30505" y="9130"/>
                </a:lnTo>
                <a:lnTo>
                  <a:pt x="27777" y="5182"/>
                </a:lnTo>
                <a:lnTo>
                  <a:pt x="24801" y="2467"/>
                </a:lnTo>
                <a:lnTo>
                  <a:pt x="21576" y="740"/>
                </a:lnTo>
                <a:lnTo>
                  <a:pt x="17856" y="0"/>
                </a:lnTo>
                <a:close/>
              </a:path>
            </a:pathLst>
          </a:custGeom>
          <a:solidFill>
            <a:srgbClr val="B1B1B1"/>
          </a:solidFill>
        </p:spPr>
        <p:txBody>
          <a:bodyPr wrap="square" lIns="0" tIns="0" rIns="0" bIns="0" rtlCol="0">
            <a:noAutofit/>
          </a:bodyPr>
          <a:lstStyle/>
          <a:p>
            <a:endParaRPr/>
          </a:p>
        </p:txBody>
      </p:sp>
      <p:sp>
        <p:nvSpPr>
          <p:cNvPr id="1430" name="object 1430"/>
          <p:cNvSpPr/>
          <p:nvPr/>
        </p:nvSpPr>
        <p:spPr>
          <a:xfrm>
            <a:off x="9556531" y="1692223"/>
            <a:ext cx="19592" cy="32574"/>
          </a:xfrm>
          <a:custGeom>
            <a:avLst/>
            <a:gdLst/>
            <a:ahLst/>
            <a:cxnLst/>
            <a:rect l="l" t="t" r="r" b="b"/>
            <a:pathLst>
              <a:path w="19592" h="32574">
                <a:moveTo>
                  <a:pt x="0" y="0"/>
                </a:moveTo>
                <a:lnTo>
                  <a:pt x="0" y="3454"/>
                </a:lnTo>
                <a:lnTo>
                  <a:pt x="3224" y="4195"/>
                </a:lnTo>
                <a:lnTo>
                  <a:pt x="5952" y="5675"/>
                </a:lnTo>
                <a:lnTo>
                  <a:pt x="8680" y="8143"/>
                </a:lnTo>
                <a:lnTo>
                  <a:pt x="11160" y="11845"/>
                </a:lnTo>
                <a:lnTo>
                  <a:pt x="13144" y="15793"/>
                </a:lnTo>
                <a:lnTo>
                  <a:pt x="14632" y="20975"/>
                </a:lnTo>
                <a:lnTo>
                  <a:pt x="15872" y="26651"/>
                </a:lnTo>
                <a:lnTo>
                  <a:pt x="16120" y="32574"/>
                </a:lnTo>
                <a:lnTo>
                  <a:pt x="19592" y="32574"/>
                </a:lnTo>
                <a:lnTo>
                  <a:pt x="19344" y="26158"/>
                </a:lnTo>
                <a:lnTo>
                  <a:pt x="18104" y="19988"/>
                </a:lnTo>
                <a:lnTo>
                  <a:pt x="16616" y="14806"/>
                </a:lnTo>
                <a:lnTo>
                  <a:pt x="14136" y="9871"/>
                </a:lnTo>
                <a:lnTo>
                  <a:pt x="11160" y="5675"/>
                </a:lnTo>
                <a:lnTo>
                  <a:pt x="7936" y="2714"/>
                </a:lnTo>
                <a:lnTo>
                  <a:pt x="4216" y="740"/>
                </a:lnTo>
                <a:lnTo>
                  <a:pt x="0" y="0"/>
                </a:lnTo>
                <a:close/>
              </a:path>
            </a:pathLst>
          </a:custGeom>
          <a:solidFill>
            <a:srgbClr val="000000"/>
          </a:solidFill>
        </p:spPr>
        <p:txBody>
          <a:bodyPr wrap="square" lIns="0" tIns="0" rIns="0" bIns="0" rtlCol="0">
            <a:noAutofit/>
          </a:bodyPr>
          <a:lstStyle/>
          <a:p>
            <a:endParaRPr/>
          </a:p>
        </p:txBody>
      </p:sp>
      <p:sp>
        <p:nvSpPr>
          <p:cNvPr id="1431" name="object 1431"/>
          <p:cNvSpPr/>
          <p:nvPr/>
        </p:nvSpPr>
        <p:spPr>
          <a:xfrm>
            <a:off x="9556531" y="1724797"/>
            <a:ext cx="19592" cy="32574"/>
          </a:xfrm>
          <a:custGeom>
            <a:avLst/>
            <a:gdLst/>
            <a:ahLst/>
            <a:cxnLst/>
            <a:rect l="l" t="t" r="r" b="b"/>
            <a:pathLst>
              <a:path w="19592" h="32574">
                <a:moveTo>
                  <a:pt x="14136" y="22703"/>
                </a:moveTo>
                <a:lnTo>
                  <a:pt x="16616" y="17767"/>
                </a:lnTo>
                <a:lnTo>
                  <a:pt x="18104" y="12585"/>
                </a:lnTo>
                <a:lnTo>
                  <a:pt x="19344" y="6416"/>
                </a:lnTo>
                <a:lnTo>
                  <a:pt x="19592" y="0"/>
                </a:lnTo>
                <a:lnTo>
                  <a:pt x="16120" y="0"/>
                </a:lnTo>
                <a:lnTo>
                  <a:pt x="15872" y="5922"/>
                </a:lnTo>
                <a:lnTo>
                  <a:pt x="14632" y="11598"/>
                </a:lnTo>
                <a:lnTo>
                  <a:pt x="13144" y="16780"/>
                </a:lnTo>
                <a:lnTo>
                  <a:pt x="11160" y="20729"/>
                </a:lnTo>
                <a:lnTo>
                  <a:pt x="8680" y="24430"/>
                </a:lnTo>
                <a:lnTo>
                  <a:pt x="5952" y="26898"/>
                </a:lnTo>
                <a:lnTo>
                  <a:pt x="3224" y="28379"/>
                </a:lnTo>
                <a:lnTo>
                  <a:pt x="0" y="29119"/>
                </a:lnTo>
                <a:lnTo>
                  <a:pt x="0" y="32574"/>
                </a:lnTo>
                <a:lnTo>
                  <a:pt x="4216" y="31834"/>
                </a:lnTo>
                <a:lnTo>
                  <a:pt x="7936" y="29859"/>
                </a:lnTo>
                <a:lnTo>
                  <a:pt x="11160" y="26898"/>
                </a:lnTo>
                <a:lnTo>
                  <a:pt x="14136" y="22703"/>
                </a:lnTo>
                <a:close/>
              </a:path>
            </a:pathLst>
          </a:custGeom>
          <a:solidFill>
            <a:srgbClr val="000000"/>
          </a:solidFill>
        </p:spPr>
        <p:txBody>
          <a:bodyPr wrap="square" lIns="0" tIns="0" rIns="0" bIns="0" rtlCol="0">
            <a:noAutofit/>
          </a:bodyPr>
          <a:lstStyle/>
          <a:p>
            <a:endParaRPr/>
          </a:p>
        </p:txBody>
      </p:sp>
      <p:sp>
        <p:nvSpPr>
          <p:cNvPr id="1432" name="object 1432"/>
          <p:cNvSpPr/>
          <p:nvPr/>
        </p:nvSpPr>
        <p:spPr>
          <a:xfrm>
            <a:off x="9536938" y="1724797"/>
            <a:ext cx="19592" cy="32574"/>
          </a:xfrm>
          <a:custGeom>
            <a:avLst/>
            <a:gdLst/>
            <a:ahLst/>
            <a:cxnLst/>
            <a:rect l="l" t="t" r="r" b="b"/>
            <a:pathLst>
              <a:path w="19592" h="32574">
                <a:moveTo>
                  <a:pt x="248" y="6416"/>
                </a:moveTo>
                <a:lnTo>
                  <a:pt x="1488" y="12585"/>
                </a:lnTo>
                <a:lnTo>
                  <a:pt x="2976" y="17767"/>
                </a:lnTo>
                <a:lnTo>
                  <a:pt x="5456" y="22703"/>
                </a:lnTo>
                <a:lnTo>
                  <a:pt x="8432" y="26898"/>
                </a:lnTo>
                <a:lnTo>
                  <a:pt x="11656" y="29859"/>
                </a:lnTo>
                <a:lnTo>
                  <a:pt x="15376" y="31834"/>
                </a:lnTo>
                <a:lnTo>
                  <a:pt x="19592" y="32574"/>
                </a:lnTo>
                <a:lnTo>
                  <a:pt x="19592" y="29119"/>
                </a:lnTo>
                <a:lnTo>
                  <a:pt x="16368" y="28379"/>
                </a:lnTo>
                <a:lnTo>
                  <a:pt x="13640" y="26898"/>
                </a:lnTo>
                <a:lnTo>
                  <a:pt x="10912" y="24430"/>
                </a:lnTo>
                <a:lnTo>
                  <a:pt x="8432" y="20729"/>
                </a:lnTo>
                <a:lnTo>
                  <a:pt x="6448" y="16780"/>
                </a:lnTo>
                <a:lnTo>
                  <a:pt x="4960" y="11598"/>
                </a:lnTo>
                <a:lnTo>
                  <a:pt x="3720" y="5922"/>
                </a:lnTo>
                <a:lnTo>
                  <a:pt x="3472" y="0"/>
                </a:lnTo>
                <a:lnTo>
                  <a:pt x="0" y="0"/>
                </a:lnTo>
                <a:lnTo>
                  <a:pt x="248" y="6416"/>
                </a:lnTo>
                <a:close/>
              </a:path>
            </a:pathLst>
          </a:custGeom>
          <a:solidFill>
            <a:srgbClr val="000000"/>
          </a:solidFill>
        </p:spPr>
        <p:txBody>
          <a:bodyPr wrap="square" lIns="0" tIns="0" rIns="0" bIns="0" rtlCol="0">
            <a:noAutofit/>
          </a:bodyPr>
          <a:lstStyle/>
          <a:p>
            <a:endParaRPr/>
          </a:p>
        </p:txBody>
      </p:sp>
      <p:sp>
        <p:nvSpPr>
          <p:cNvPr id="1433" name="object 1433"/>
          <p:cNvSpPr/>
          <p:nvPr/>
        </p:nvSpPr>
        <p:spPr>
          <a:xfrm>
            <a:off x="9536938" y="1692223"/>
            <a:ext cx="19592" cy="32574"/>
          </a:xfrm>
          <a:custGeom>
            <a:avLst/>
            <a:gdLst/>
            <a:ahLst/>
            <a:cxnLst/>
            <a:rect l="l" t="t" r="r" b="b"/>
            <a:pathLst>
              <a:path w="19592" h="32574">
                <a:moveTo>
                  <a:pt x="3472" y="32574"/>
                </a:moveTo>
                <a:lnTo>
                  <a:pt x="3720" y="26651"/>
                </a:lnTo>
                <a:lnTo>
                  <a:pt x="4960" y="20975"/>
                </a:lnTo>
                <a:lnTo>
                  <a:pt x="6448" y="15793"/>
                </a:lnTo>
                <a:lnTo>
                  <a:pt x="8432" y="11845"/>
                </a:lnTo>
                <a:lnTo>
                  <a:pt x="10912" y="8143"/>
                </a:lnTo>
                <a:lnTo>
                  <a:pt x="13640" y="5675"/>
                </a:lnTo>
                <a:lnTo>
                  <a:pt x="16368" y="4195"/>
                </a:lnTo>
                <a:lnTo>
                  <a:pt x="19592" y="3454"/>
                </a:lnTo>
                <a:lnTo>
                  <a:pt x="19592" y="0"/>
                </a:lnTo>
                <a:lnTo>
                  <a:pt x="15376" y="740"/>
                </a:lnTo>
                <a:lnTo>
                  <a:pt x="11656" y="2714"/>
                </a:lnTo>
                <a:lnTo>
                  <a:pt x="8432" y="5675"/>
                </a:lnTo>
                <a:lnTo>
                  <a:pt x="5456" y="9871"/>
                </a:lnTo>
                <a:lnTo>
                  <a:pt x="2976" y="14806"/>
                </a:lnTo>
                <a:lnTo>
                  <a:pt x="1488" y="19988"/>
                </a:lnTo>
                <a:lnTo>
                  <a:pt x="248" y="26158"/>
                </a:lnTo>
                <a:lnTo>
                  <a:pt x="0" y="32574"/>
                </a:lnTo>
                <a:lnTo>
                  <a:pt x="3472" y="32574"/>
                </a:lnTo>
                <a:close/>
              </a:path>
            </a:pathLst>
          </a:custGeom>
          <a:solidFill>
            <a:srgbClr val="000000"/>
          </a:solidFill>
        </p:spPr>
        <p:txBody>
          <a:bodyPr wrap="square" lIns="0" tIns="0" rIns="0" bIns="0" rtlCol="0">
            <a:noAutofit/>
          </a:bodyPr>
          <a:lstStyle/>
          <a:p>
            <a:endParaRPr/>
          </a:p>
        </p:txBody>
      </p:sp>
      <p:sp>
        <p:nvSpPr>
          <p:cNvPr id="1434" name="object 1434"/>
          <p:cNvSpPr/>
          <p:nvPr/>
        </p:nvSpPr>
        <p:spPr>
          <a:xfrm>
            <a:off x="9538922" y="1699380"/>
            <a:ext cx="18104" cy="50835"/>
          </a:xfrm>
          <a:custGeom>
            <a:avLst/>
            <a:gdLst/>
            <a:ahLst/>
            <a:cxnLst/>
            <a:rect l="l" t="t" r="r" b="b"/>
            <a:pathLst>
              <a:path w="18104" h="50835">
                <a:moveTo>
                  <a:pt x="7440" y="50835"/>
                </a:moveTo>
                <a:lnTo>
                  <a:pt x="10168" y="48614"/>
                </a:lnTo>
                <a:lnTo>
                  <a:pt x="12648" y="45653"/>
                </a:lnTo>
                <a:lnTo>
                  <a:pt x="14384" y="42445"/>
                </a:lnTo>
                <a:lnTo>
                  <a:pt x="15872" y="38990"/>
                </a:lnTo>
                <a:lnTo>
                  <a:pt x="17112" y="35288"/>
                </a:lnTo>
                <a:lnTo>
                  <a:pt x="17608" y="31340"/>
                </a:lnTo>
                <a:lnTo>
                  <a:pt x="18104" y="27392"/>
                </a:lnTo>
                <a:lnTo>
                  <a:pt x="18104" y="23443"/>
                </a:lnTo>
                <a:lnTo>
                  <a:pt x="17608" y="19495"/>
                </a:lnTo>
                <a:lnTo>
                  <a:pt x="16864" y="15793"/>
                </a:lnTo>
                <a:lnTo>
                  <a:pt x="16120" y="12092"/>
                </a:lnTo>
                <a:lnTo>
                  <a:pt x="14880" y="8883"/>
                </a:lnTo>
                <a:lnTo>
                  <a:pt x="13392" y="5922"/>
                </a:lnTo>
                <a:lnTo>
                  <a:pt x="11656" y="3454"/>
                </a:lnTo>
                <a:lnTo>
                  <a:pt x="9672" y="1480"/>
                </a:lnTo>
                <a:lnTo>
                  <a:pt x="7688" y="0"/>
                </a:lnTo>
                <a:lnTo>
                  <a:pt x="5952" y="1974"/>
                </a:lnTo>
                <a:lnTo>
                  <a:pt x="4464" y="4441"/>
                </a:lnTo>
                <a:lnTo>
                  <a:pt x="3224" y="7156"/>
                </a:lnTo>
                <a:lnTo>
                  <a:pt x="2232" y="9871"/>
                </a:lnTo>
                <a:lnTo>
                  <a:pt x="1240" y="13079"/>
                </a:lnTo>
                <a:lnTo>
                  <a:pt x="496" y="16533"/>
                </a:lnTo>
                <a:lnTo>
                  <a:pt x="248" y="19988"/>
                </a:lnTo>
                <a:lnTo>
                  <a:pt x="0" y="23690"/>
                </a:lnTo>
                <a:lnTo>
                  <a:pt x="0" y="27392"/>
                </a:lnTo>
                <a:lnTo>
                  <a:pt x="248" y="31093"/>
                </a:lnTo>
                <a:lnTo>
                  <a:pt x="744" y="34548"/>
                </a:lnTo>
                <a:lnTo>
                  <a:pt x="1488" y="38250"/>
                </a:lnTo>
                <a:lnTo>
                  <a:pt x="2480" y="41705"/>
                </a:lnTo>
                <a:lnTo>
                  <a:pt x="3968" y="44913"/>
                </a:lnTo>
                <a:lnTo>
                  <a:pt x="5456" y="48121"/>
                </a:lnTo>
                <a:lnTo>
                  <a:pt x="7440" y="50835"/>
                </a:lnTo>
                <a:close/>
              </a:path>
            </a:pathLst>
          </a:custGeom>
          <a:solidFill>
            <a:srgbClr val="000000"/>
          </a:solidFill>
        </p:spPr>
        <p:txBody>
          <a:bodyPr wrap="square" lIns="0" tIns="0" rIns="0" bIns="0" rtlCol="0">
            <a:noAutofit/>
          </a:bodyPr>
          <a:lstStyle/>
          <a:p>
            <a:endParaRPr/>
          </a:p>
        </p:txBody>
      </p:sp>
      <p:sp>
        <p:nvSpPr>
          <p:cNvPr id="1435" name="object 1435"/>
          <p:cNvSpPr/>
          <p:nvPr/>
        </p:nvSpPr>
        <p:spPr>
          <a:xfrm>
            <a:off x="9545619" y="1698558"/>
            <a:ext cx="12648" cy="52645"/>
          </a:xfrm>
          <a:custGeom>
            <a:avLst/>
            <a:gdLst/>
            <a:ahLst/>
            <a:cxnLst/>
            <a:rect l="l" t="t" r="r" b="b"/>
            <a:pathLst>
              <a:path w="12648" h="52645">
                <a:moveTo>
                  <a:pt x="0" y="50671"/>
                </a:moveTo>
                <a:lnTo>
                  <a:pt x="1488" y="52645"/>
                </a:lnTo>
                <a:lnTo>
                  <a:pt x="4464" y="50424"/>
                </a:lnTo>
                <a:lnTo>
                  <a:pt x="6944" y="47216"/>
                </a:lnTo>
                <a:lnTo>
                  <a:pt x="8680" y="43761"/>
                </a:lnTo>
                <a:lnTo>
                  <a:pt x="10416" y="40306"/>
                </a:lnTo>
                <a:lnTo>
                  <a:pt x="11656" y="36358"/>
                </a:lnTo>
                <a:lnTo>
                  <a:pt x="12152" y="32409"/>
                </a:lnTo>
                <a:lnTo>
                  <a:pt x="12648" y="28214"/>
                </a:lnTo>
                <a:lnTo>
                  <a:pt x="12648" y="24266"/>
                </a:lnTo>
                <a:lnTo>
                  <a:pt x="12152" y="20071"/>
                </a:lnTo>
                <a:lnTo>
                  <a:pt x="11408" y="16369"/>
                </a:lnTo>
                <a:lnTo>
                  <a:pt x="10664" y="12667"/>
                </a:lnTo>
                <a:lnTo>
                  <a:pt x="9424" y="9212"/>
                </a:lnTo>
                <a:lnTo>
                  <a:pt x="7688" y="6004"/>
                </a:lnTo>
                <a:lnTo>
                  <a:pt x="5952" y="3537"/>
                </a:lnTo>
                <a:lnTo>
                  <a:pt x="3720" y="1316"/>
                </a:lnTo>
                <a:lnTo>
                  <a:pt x="1984" y="1562"/>
                </a:lnTo>
                <a:lnTo>
                  <a:pt x="496" y="0"/>
                </a:lnTo>
                <a:lnTo>
                  <a:pt x="0" y="329"/>
                </a:lnTo>
                <a:lnTo>
                  <a:pt x="0" y="1316"/>
                </a:lnTo>
                <a:lnTo>
                  <a:pt x="496" y="1809"/>
                </a:lnTo>
                <a:lnTo>
                  <a:pt x="2232" y="3290"/>
                </a:lnTo>
                <a:lnTo>
                  <a:pt x="3968" y="5017"/>
                </a:lnTo>
                <a:lnTo>
                  <a:pt x="5704" y="7485"/>
                </a:lnTo>
                <a:lnTo>
                  <a:pt x="6944" y="10200"/>
                </a:lnTo>
                <a:lnTo>
                  <a:pt x="8184" y="13161"/>
                </a:lnTo>
                <a:lnTo>
                  <a:pt x="8928" y="16863"/>
                </a:lnTo>
                <a:lnTo>
                  <a:pt x="9672" y="20564"/>
                </a:lnTo>
                <a:lnTo>
                  <a:pt x="10168" y="24266"/>
                </a:lnTo>
                <a:lnTo>
                  <a:pt x="10168" y="28214"/>
                </a:lnTo>
                <a:lnTo>
                  <a:pt x="9672" y="31916"/>
                </a:lnTo>
                <a:lnTo>
                  <a:pt x="9176" y="35864"/>
                </a:lnTo>
                <a:lnTo>
                  <a:pt x="7936" y="39319"/>
                </a:lnTo>
                <a:lnTo>
                  <a:pt x="6696" y="42774"/>
                </a:lnTo>
                <a:lnTo>
                  <a:pt x="4960" y="45735"/>
                </a:lnTo>
                <a:lnTo>
                  <a:pt x="2480" y="48450"/>
                </a:lnTo>
                <a:lnTo>
                  <a:pt x="0" y="50671"/>
                </a:lnTo>
                <a:close/>
              </a:path>
            </a:pathLst>
          </a:custGeom>
          <a:solidFill>
            <a:srgbClr val="000000"/>
          </a:solidFill>
        </p:spPr>
        <p:txBody>
          <a:bodyPr wrap="square" lIns="0" tIns="0" rIns="0" bIns="0" rtlCol="0">
            <a:noAutofit/>
          </a:bodyPr>
          <a:lstStyle/>
          <a:p>
            <a:endParaRPr/>
          </a:p>
        </p:txBody>
      </p:sp>
      <p:sp>
        <p:nvSpPr>
          <p:cNvPr id="1436" name="object 1436"/>
          <p:cNvSpPr/>
          <p:nvPr/>
        </p:nvSpPr>
        <p:spPr>
          <a:xfrm>
            <a:off x="9546115" y="1698393"/>
            <a:ext cx="3224" cy="1727"/>
          </a:xfrm>
          <a:custGeom>
            <a:avLst/>
            <a:gdLst/>
            <a:ahLst/>
            <a:cxnLst/>
            <a:rect l="l" t="t" r="r" b="b"/>
            <a:pathLst>
              <a:path w="3224" h="1727">
                <a:moveTo>
                  <a:pt x="991" y="0"/>
                </a:moveTo>
                <a:lnTo>
                  <a:pt x="247" y="0"/>
                </a:lnTo>
                <a:lnTo>
                  <a:pt x="0" y="164"/>
                </a:lnTo>
                <a:lnTo>
                  <a:pt x="1488" y="1727"/>
                </a:lnTo>
                <a:lnTo>
                  <a:pt x="3224" y="1480"/>
                </a:lnTo>
                <a:lnTo>
                  <a:pt x="991" y="0"/>
                </a:lnTo>
                <a:close/>
              </a:path>
            </a:pathLst>
          </a:custGeom>
          <a:solidFill>
            <a:srgbClr val="000000"/>
          </a:solidFill>
        </p:spPr>
        <p:txBody>
          <a:bodyPr wrap="square" lIns="0" tIns="0" rIns="0" bIns="0" rtlCol="0">
            <a:noAutofit/>
          </a:bodyPr>
          <a:lstStyle/>
          <a:p>
            <a:endParaRPr/>
          </a:p>
        </p:txBody>
      </p:sp>
      <p:sp>
        <p:nvSpPr>
          <p:cNvPr id="1437" name="object 1437"/>
          <p:cNvSpPr/>
          <p:nvPr/>
        </p:nvSpPr>
        <p:spPr>
          <a:xfrm>
            <a:off x="9537682" y="1698640"/>
            <a:ext cx="9920" cy="52809"/>
          </a:xfrm>
          <a:custGeom>
            <a:avLst/>
            <a:gdLst/>
            <a:ahLst/>
            <a:cxnLst/>
            <a:rect l="l" t="t" r="r" b="b"/>
            <a:pathLst>
              <a:path w="9920" h="52809">
                <a:moveTo>
                  <a:pt x="2480" y="28132"/>
                </a:moveTo>
                <a:lnTo>
                  <a:pt x="2480" y="24430"/>
                </a:lnTo>
                <a:lnTo>
                  <a:pt x="2728" y="20729"/>
                </a:lnTo>
                <a:lnTo>
                  <a:pt x="2976" y="17521"/>
                </a:lnTo>
                <a:lnTo>
                  <a:pt x="3720" y="14066"/>
                </a:lnTo>
                <a:lnTo>
                  <a:pt x="4712" y="11104"/>
                </a:lnTo>
                <a:lnTo>
                  <a:pt x="5704" y="8390"/>
                </a:lnTo>
                <a:lnTo>
                  <a:pt x="6696" y="5675"/>
                </a:lnTo>
                <a:lnTo>
                  <a:pt x="8184" y="3454"/>
                </a:lnTo>
                <a:lnTo>
                  <a:pt x="9920" y="1480"/>
                </a:lnTo>
                <a:lnTo>
                  <a:pt x="7936" y="0"/>
                </a:lnTo>
                <a:lnTo>
                  <a:pt x="6200" y="1974"/>
                </a:lnTo>
                <a:lnTo>
                  <a:pt x="4712" y="4688"/>
                </a:lnTo>
                <a:lnTo>
                  <a:pt x="3224" y="7403"/>
                </a:lnTo>
                <a:lnTo>
                  <a:pt x="2232" y="10117"/>
                </a:lnTo>
                <a:lnTo>
                  <a:pt x="1240" y="13572"/>
                </a:lnTo>
                <a:lnTo>
                  <a:pt x="496" y="17027"/>
                </a:lnTo>
                <a:lnTo>
                  <a:pt x="248" y="20729"/>
                </a:lnTo>
                <a:lnTo>
                  <a:pt x="0" y="24430"/>
                </a:lnTo>
                <a:lnTo>
                  <a:pt x="0" y="28132"/>
                </a:lnTo>
                <a:lnTo>
                  <a:pt x="248" y="32080"/>
                </a:lnTo>
                <a:lnTo>
                  <a:pt x="744" y="35535"/>
                </a:lnTo>
                <a:lnTo>
                  <a:pt x="1488" y="39237"/>
                </a:lnTo>
                <a:lnTo>
                  <a:pt x="2480" y="42938"/>
                </a:lnTo>
                <a:lnTo>
                  <a:pt x="3968" y="46147"/>
                </a:lnTo>
                <a:lnTo>
                  <a:pt x="5704" y="49601"/>
                </a:lnTo>
                <a:lnTo>
                  <a:pt x="7688" y="52316"/>
                </a:lnTo>
                <a:lnTo>
                  <a:pt x="8680" y="52809"/>
                </a:lnTo>
                <a:lnTo>
                  <a:pt x="9424" y="52563"/>
                </a:lnTo>
                <a:lnTo>
                  <a:pt x="7936" y="50589"/>
                </a:lnTo>
                <a:lnTo>
                  <a:pt x="7688" y="48121"/>
                </a:lnTo>
                <a:lnTo>
                  <a:pt x="6448" y="45159"/>
                </a:lnTo>
                <a:lnTo>
                  <a:pt x="4960" y="41951"/>
                </a:lnTo>
                <a:lnTo>
                  <a:pt x="3968" y="38743"/>
                </a:lnTo>
                <a:lnTo>
                  <a:pt x="3224" y="35042"/>
                </a:lnTo>
                <a:lnTo>
                  <a:pt x="2728" y="31587"/>
                </a:lnTo>
                <a:lnTo>
                  <a:pt x="2480" y="28132"/>
                </a:lnTo>
                <a:close/>
              </a:path>
            </a:pathLst>
          </a:custGeom>
          <a:solidFill>
            <a:srgbClr val="000000"/>
          </a:solidFill>
        </p:spPr>
        <p:txBody>
          <a:bodyPr wrap="square" lIns="0" tIns="0" rIns="0" bIns="0" rtlCol="0">
            <a:noAutofit/>
          </a:bodyPr>
          <a:lstStyle/>
          <a:p>
            <a:endParaRPr/>
          </a:p>
        </p:txBody>
      </p:sp>
      <p:sp>
        <p:nvSpPr>
          <p:cNvPr id="1438" name="object 1438"/>
          <p:cNvSpPr/>
          <p:nvPr/>
        </p:nvSpPr>
        <p:spPr>
          <a:xfrm>
            <a:off x="9545371" y="1746761"/>
            <a:ext cx="2232" cy="4441"/>
          </a:xfrm>
          <a:custGeom>
            <a:avLst/>
            <a:gdLst/>
            <a:ahLst/>
            <a:cxnLst/>
            <a:rect l="l" t="t" r="r" b="b"/>
            <a:pathLst>
              <a:path w="2232" h="4441">
                <a:moveTo>
                  <a:pt x="1984" y="2714"/>
                </a:moveTo>
                <a:lnTo>
                  <a:pt x="0" y="0"/>
                </a:lnTo>
                <a:lnTo>
                  <a:pt x="248" y="2467"/>
                </a:lnTo>
                <a:lnTo>
                  <a:pt x="1736" y="4441"/>
                </a:lnTo>
                <a:lnTo>
                  <a:pt x="2232" y="3701"/>
                </a:lnTo>
                <a:lnTo>
                  <a:pt x="1984" y="2714"/>
                </a:lnTo>
                <a:close/>
              </a:path>
            </a:pathLst>
          </a:custGeom>
          <a:solidFill>
            <a:srgbClr val="000000"/>
          </a:solidFill>
        </p:spPr>
        <p:txBody>
          <a:bodyPr wrap="square" lIns="0" tIns="0" rIns="0" bIns="0" rtlCol="0">
            <a:noAutofit/>
          </a:bodyPr>
          <a:lstStyle/>
          <a:p>
            <a:endParaRPr/>
          </a:p>
        </p:txBody>
      </p:sp>
      <p:sp>
        <p:nvSpPr>
          <p:cNvPr id="1439" name="object 1439"/>
          <p:cNvSpPr/>
          <p:nvPr/>
        </p:nvSpPr>
        <p:spPr>
          <a:xfrm>
            <a:off x="9539170" y="1717147"/>
            <a:ext cx="12152" cy="14312"/>
          </a:xfrm>
          <a:custGeom>
            <a:avLst/>
            <a:gdLst/>
            <a:ahLst/>
            <a:cxnLst/>
            <a:rect l="l" t="t" r="r" b="b"/>
            <a:pathLst>
              <a:path w="12152" h="14312">
                <a:moveTo>
                  <a:pt x="12152" y="0"/>
                </a:moveTo>
                <a:lnTo>
                  <a:pt x="496" y="0"/>
                </a:lnTo>
                <a:lnTo>
                  <a:pt x="248" y="1727"/>
                </a:lnTo>
                <a:lnTo>
                  <a:pt x="0" y="3701"/>
                </a:lnTo>
                <a:lnTo>
                  <a:pt x="0" y="10858"/>
                </a:lnTo>
                <a:lnTo>
                  <a:pt x="248" y="12585"/>
                </a:lnTo>
                <a:lnTo>
                  <a:pt x="496" y="14312"/>
                </a:lnTo>
                <a:lnTo>
                  <a:pt x="12152" y="14312"/>
                </a:lnTo>
                <a:lnTo>
                  <a:pt x="12152" y="0"/>
                </a:lnTo>
                <a:close/>
              </a:path>
            </a:pathLst>
          </a:custGeom>
          <a:solidFill>
            <a:srgbClr val="404040"/>
          </a:solidFill>
        </p:spPr>
        <p:txBody>
          <a:bodyPr wrap="square" lIns="0" tIns="0" rIns="0" bIns="0" rtlCol="0">
            <a:noAutofit/>
          </a:bodyPr>
          <a:lstStyle/>
          <a:p>
            <a:endParaRPr/>
          </a:p>
        </p:txBody>
      </p:sp>
      <p:sp>
        <p:nvSpPr>
          <p:cNvPr id="1440" name="object 1440"/>
          <p:cNvSpPr/>
          <p:nvPr/>
        </p:nvSpPr>
        <p:spPr>
          <a:xfrm>
            <a:off x="9538674" y="1715914"/>
            <a:ext cx="12648" cy="2467"/>
          </a:xfrm>
          <a:custGeom>
            <a:avLst/>
            <a:gdLst/>
            <a:ahLst/>
            <a:cxnLst/>
            <a:rect l="l" t="t" r="r" b="b"/>
            <a:pathLst>
              <a:path w="12648" h="2467">
                <a:moveTo>
                  <a:pt x="202" y="628"/>
                </a:moveTo>
                <a:lnTo>
                  <a:pt x="0" y="1233"/>
                </a:lnTo>
                <a:lnTo>
                  <a:pt x="248" y="1974"/>
                </a:lnTo>
                <a:lnTo>
                  <a:pt x="992" y="2467"/>
                </a:lnTo>
                <a:lnTo>
                  <a:pt x="12648" y="2467"/>
                </a:lnTo>
                <a:lnTo>
                  <a:pt x="12648" y="0"/>
                </a:lnTo>
                <a:lnTo>
                  <a:pt x="2232" y="1480"/>
                </a:lnTo>
                <a:lnTo>
                  <a:pt x="992" y="0"/>
                </a:lnTo>
                <a:lnTo>
                  <a:pt x="248" y="493"/>
                </a:lnTo>
                <a:lnTo>
                  <a:pt x="202" y="628"/>
                </a:lnTo>
                <a:close/>
              </a:path>
            </a:pathLst>
          </a:custGeom>
          <a:solidFill>
            <a:srgbClr val="000000"/>
          </a:solidFill>
        </p:spPr>
        <p:txBody>
          <a:bodyPr wrap="square" lIns="0" tIns="0" rIns="0" bIns="0" rtlCol="0">
            <a:noAutofit/>
          </a:bodyPr>
          <a:lstStyle/>
          <a:p>
            <a:endParaRPr/>
          </a:p>
        </p:txBody>
      </p:sp>
      <p:sp>
        <p:nvSpPr>
          <p:cNvPr id="1441" name="object 1441"/>
          <p:cNvSpPr/>
          <p:nvPr/>
        </p:nvSpPr>
        <p:spPr>
          <a:xfrm>
            <a:off x="9539666" y="1715913"/>
            <a:ext cx="11656" cy="1480"/>
          </a:xfrm>
          <a:custGeom>
            <a:avLst/>
            <a:gdLst/>
            <a:ahLst/>
            <a:cxnLst/>
            <a:rect l="l" t="t" r="r" b="b"/>
            <a:pathLst>
              <a:path w="11656" h="1480">
                <a:moveTo>
                  <a:pt x="0" y="0"/>
                </a:moveTo>
                <a:lnTo>
                  <a:pt x="1240" y="1480"/>
                </a:lnTo>
                <a:lnTo>
                  <a:pt x="11656" y="0"/>
                </a:lnTo>
                <a:lnTo>
                  <a:pt x="0" y="0"/>
                </a:lnTo>
                <a:close/>
              </a:path>
            </a:pathLst>
          </a:custGeom>
          <a:solidFill>
            <a:srgbClr val="000000"/>
          </a:solidFill>
        </p:spPr>
        <p:txBody>
          <a:bodyPr wrap="square" lIns="0" tIns="0" rIns="0" bIns="0" rtlCol="0">
            <a:noAutofit/>
          </a:bodyPr>
          <a:lstStyle/>
          <a:p>
            <a:endParaRPr/>
          </a:p>
        </p:txBody>
      </p:sp>
      <p:sp>
        <p:nvSpPr>
          <p:cNvPr id="1442" name="object 1442"/>
          <p:cNvSpPr/>
          <p:nvPr/>
        </p:nvSpPr>
        <p:spPr>
          <a:xfrm>
            <a:off x="9537930" y="1716900"/>
            <a:ext cx="2976" cy="15546"/>
          </a:xfrm>
          <a:custGeom>
            <a:avLst/>
            <a:gdLst/>
            <a:ahLst/>
            <a:cxnLst/>
            <a:rect l="l" t="t" r="r" b="b"/>
            <a:pathLst>
              <a:path w="2976" h="15546">
                <a:moveTo>
                  <a:pt x="248" y="13079"/>
                </a:moveTo>
                <a:lnTo>
                  <a:pt x="496" y="14806"/>
                </a:lnTo>
                <a:lnTo>
                  <a:pt x="992" y="15546"/>
                </a:lnTo>
                <a:lnTo>
                  <a:pt x="1984" y="15546"/>
                </a:lnTo>
                <a:lnTo>
                  <a:pt x="2728" y="15300"/>
                </a:lnTo>
                <a:lnTo>
                  <a:pt x="2976" y="14312"/>
                </a:lnTo>
                <a:lnTo>
                  <a:pt x="2728" y="12585"/>
                </a:lnTo>
                <a:lnTo>
                  <a:pt x="2480" y="11104"/>
                </a:lnTo>
                <a:lnTo>
                  <a:pt x="1736" y="13325"/>
                </a:lnTo>
                <a:lnTo>
                  <a:pt x="2480" y="3948"/>
                </a:lnTo>
                <a:lnTo>
                  <a:pt x="2728" y="2220"/>
                </a:lnTo>
                <a:lnTo>
                  <a:pt x="2976" y="493"/>
                </a:lnTo>
                <a:lnTo>
                  <a:pt x="496" y="0"/>
                </a:lnTo>
                <a:lnTo>
                  <a:pt x="248" y="1727"/>
                </a:lnTo>
                <a:lnTo>
                  <a:pt x="0" y="3948"/>
                </a:lnTo>
                <a:lnTo>
                  <a:pt x="0" y="11104"/>
                </a:lnTo>
                <a:lnTo>
                  <a:pt x="248" y="13079"/>
                </a:lnTo>
                <a:close/>
              </a:path>
            </a:pathLst>
          </a:custGeom>
          <a:solidFill>
            <a:srgbClr val="000000"/>
          </a:solidFill>
        </p:spPr>
        <p:txBody>
          <a:bodyPr wrap="square" lIns="0" tIns="0" rIns="0" bIns="0" rtlCol="0">
            <a:noAutofit/>
          </a:bodyPr>
          <a:lstStyle/>
          <a:p>
            <a:endParaRPr/>
          </a:p>
        </p:txBody>
      </p:sp>
      <p:sp>
        <p:nvSpPr>
          <p:cNvPr id="1443" name="object 1443"/>
          <p:cNvSpPr/>
          <p:nvPr/>
        </p:nvSpPr>
        <p:spPr>
          <a:xfrm>
            <a:off x="9539666" y="1720850"/>
            <a:ext cx="744" cy="9377"/>
          </a:xfrm>
          <a:custGeom>
            <a:avLst/>
            <a:gdLst/>
            <a:ahLst/>
            <a:cxnLst/>
            <a:rect l="l" t="t" r="r" b="b"/>
            <a:pathLst>
              <a:path w="744" h="9377">
                <a:moveTo>
                  <a:pt x="744" y="0"/>
                </a:moveTo>
                <a:lnTo>
                  <a:pt x="0" y="9377"/>
                </a:lnTo>
                <a:lnTo>
                  <a:pt x="744" y="7156"/>
                </a:lnTo>
                <a:lnTo>
                  <a:pt x="744" y="0"/>
                </a:lnTo>
                <a:close/>
              </a:path>
            </a:pathLst>
          </a:custGeom>
          <a:solidFill>
            <a:srgbClr val="000000"/>
          </a:solidFill>
        </p:spPr>
        <p:txBody>
          <a:bodyPr wrap="square" lIns="0" tIns="0" rIns="0" bIns="0" rtlCol="0">
            <a:noAutofit/>
          </a:bodyPr>
          <a:lstStyle/>
          <a:p>
            <a:endParaRPr/>
          </a:p>
        </p:txBody>
      </p:sp>
      <p:sp>
        <p:nvSpPr>
          <p:cNvPr id="1444" name="object 1444"/>
          <p:cNvSpPr/>
          <p:nvPr/>
        </p:nvSpPr>
        <p:spPr>
          <a:xfrm>
            <a:off x="9539666" y="1730227"/>
            <a:ext cx="12896" cy="2467"/>
          </a:xfrm>
          <a:custGeom>
            <a:avLst/>
            <a:gdLst/>
            <a:ahLst/>
            <a:cxnLst/>
            <a:rect l="l" t="t" r="r" b="b"/>
            <a:pathLst>
              <a:path w="12896" h="2467">
                <a:moveTo>
                  <a:pt x="12400" y="1974"/>
                </a:moveTo>
                <a:lnTo>
                  <a:pt x="12896" y="1233"/>
                </a:lnTo>
                <a:lnTo>
                  <a:pt x="12400" y="493"/>
                </a:lnTo>
                <a:lnTo>
                  <a:pt x="11656" y="0"/>
                </a:lnTo>
                <a:lnTo>
                  <a:pt x="0" y="0"/>
                </a:lnTo>
                <a:lnTo>
                  <a:pt x="0" y="2467"/>
                </a:lnTo>
                <a:lnTo>
                  <a:pt x="11656" y="2467"/>
                </a:lnTo>
                <a:lnTo>
                  <a:pt x="10416" y="1233"/>
                </a:lnTo>
                <a:lnTo>
                  <a:pt x="11656" y="2467"/>
                </a:lnTo>
                <a:lnTo>
                  <a:pt x="12400" y="1974"/>
                </a:lnTo>
                <a:close/>
              </a:path>
            </a:pathLst>
          </a:custGeom>
          <a:solidFill>
            <a:srgbClr val="000000"/>
          </a:solidFill>
        </p:spPr>
        <p:txBody>
          <a:bodyPr wrap="square" lIns="0" tIns="0" rIns="0" bIns="0" rtlCol="0">
            <a:noAutofit/>
          </a:bodyPr>
          <a:lstStyle/>
          <a:p>
            <a:endParaRPr/>
          </a:p>
        </p:txBody>
      </p:sp>
      <p:sp>
        <p:nvSpPr>
          <p:cNvPr id="1445" name="object 1445"/>
          <p:cNvSpPr/>
          <p:nvPr/>
        </p:nvSpPr>
        <p:spPr>
          <a:xfrm>
            <a:off x="9550579" y="1715914"/>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1446" name="object 1446"/>
          <p:cNvSpPr/>
          <p:nvPr/>
        </p:nvSpPr>
        <p:spPr>
          <a:xfrm>
            <a:off x="9550083" y="1715913"/>
            <a:ext cx="2480" cy="15546"/>
          </a:xfrm>
          <a:custGeom>
            <a:avLst/>
            <a:gdLst/>
            <a:ahLst/>
            <a:cxnLst/>
            <a:rect l="l" t="t" r="r" b="b"/>
            <a:pathLst>
              <a:path w="2480" h="15546">
                <a:moveTo>
                  <a:pt x="496" y="493"/>
                </a:moveTo>
                <a:lnTo>
                  <a:pt x="0" y="1233"/>
                </a:lnTo>
                <a:lnTo>
                  <a:pt x="0" y="15546"/>
                </a:lnTo>
                <a:lnTo>
                  <a:pt x="2480" y="15546"/>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1447" name="object 1447"/>
          <p:cNvSpPr/>
          <p:nvPr/>
        </p:nvSpPr>
        <p:spPr>
          <a:xfrm>
            <a:off x="9547355" y="1717148"/>
            <a:ext cx="8432" cy="14559"/>
          </a:xfrm>
          <a:custGeom>
            <a:avLst/>
            <a:gdLst/>
            <a:ahLst/>
            <a:cxnLst/>
            <a:rect l="l" t="t" r="r" b="b"/>
            <a:pathLst>
              <a:path w="8432" h="14559">
                <a:moveTo>
                  <a:pt x="4216" y="0"/>
                </a:moveTo>
                <a:lnTo>
                  <a:pt x="3472" y="246"/>
                </a:lnTo>
                <a:lnTo>
                  <a:pt x="2728" y="493"/>
                </a:lnTo>
                <a:lnTo>
                  <a:pt x="1984" y="1233"/>
                </a:lnTo>
                <a:lnTo>
                  <a:pt x="1240" y="2220"/>
                </a:lnTo>
                <a:lnTo>
                  <a:pt x="744" y="3208"/>
                </a:lnTo>
                <a:lnTo>
                  <a:pt x="248" y="4441"/>
                </a:lnTo>
                <a:lnTo>
                  <a:pt x="0" y="5922"/>
                </a:lnTo>
                <a:lnTo>
                  <a:pt x="0" y="7403"/>
                </a:lnTo>
                <a:lnTo>
                  <a:pt x="248" y="10117"/>
                </a:lnTo>
                <a:lnTo>
                  <a:pt x="1240" y="12338"/>
                </a:lnTo>
                <a:lnTo>
                  <a:pt x="2728" y="14066"/>
                </a:lnTo>
                <a:lnTo>
                  <a:pt x="4216" y="14559"/>
                </a:lnTo>
                <a:lnTo>
                  <a:pt x="5704" y="14066"/>
                </a:lnTo>
                <a:lnTo>
                  <a:pt x="7192" y="12338"/>
                </a:lnTo>
                <a:lnTo>
                  <a:pt x="8184" y="10117"/>
                </a:lnTo>
                <a:lnTo>
                  <a:pt x="8432" y="7403"/>
                </a:lnTo>
                <a:lnTo>
                  <a:pt x="8432" y="5922"/>
                </a:lnTo>
                <a:lnTo>
                  <a:pt x="8184" y="4441"/>
                </a:lnTo>
                <a:lnTo>
                  <a:pt x="7688" y="3208"/>
                </a:lnTo>
                <a:lnTo>
                  <a:pt x="7192" y="2220"/>
                </a:lnTo>
                <a:lnTo>
                  <a:pt x="6448" y="1233"/>
                </a:lnTo>
                <a:lnTo>
                  <a:pt x="5704" y="493"/>
                </a:lnTo>
                <a:lnTo>
                  <a:pt x="4960" y="246"/>
                </a:lnTo>
                <a:lnTo>
                  <a:pt x="4216" y="0"/>
                </a:lnTo>
                <a:close/>
              </a:path>
            </a:pathLst>
          </a:custGeom>
          <a:solidFill>
            <a:srgbClr val="000000"/>
          </a:solidFill>
        </p:spPr>
        <p:txBody>
          <a:bodyPr wrap="square" lIns="0" tIns="0" rIns="0" bIns="0" rtlCol="0">
            <a:noAutofit/>
          </a:bodyPr>
          <a:lstStyle/>
          <a:p>
            <a:endParaRPr/>
          </a:p>
        </p:txBody>
      </p:sp>
      <p:sp>
        <p:nvSpPr>
          <p:cNvPr id="1448" name="object 1448"/>
          <p:cNvSpPr/>
          <p:nvPr/>
        </p:nvSpPr>
        <p:spPr>
          <a:xfrm>
            <a:off x="9551571" y="1715420"/>
            <a:ext cx="5952" cy="9130"/>
          </a:xfrm>
          <a:custGeom>
            <a:avLst/>
            <a:gdLst/>
            <a:ahLst/>
            <a:cxnLst/>
            <a:rect l="l" t="t" r="r" b="b"/>
            <a:pathLst>
              <a:path w="5952" h="9130">
                <a:moveTo>
                  <a:pt x="248" y="3701"/>
                </a:moveTo>
                <a:lnTo>
                  <a:pt x="496" y="3701"/>
                </a:lnTo>
                <a:lnTo>
                  <a:pt x="992" y="4195"/>
                </a:lnTo>
                <a:lnTo>
                  <a:pt x="1488" y="4935"/>
                </a:lnTo>
                <a:lnTo>
                  <a:pt x="1984" y="5675"/>
                </a:lnTo>
                <a:lnTo>
                  <a:pt x="2232" y="6662"/>
                </a:lnTo>
                <a:lnTo>
                  <a:pt x="2480" y="7896"/>
                </a:lnTo>
                <a:lnTo>
                  <a:pt x="2480" y="9130"/>
                </a:lnTo>
                <a:lnTo>
                  <a:pt x="5952" y="9130"/>
                </a:lnTo>
                <a:lnTo>
                  <a:pt x="5952" y="7403"/>
                </a:lnTo>
                <a:lnTo>
                  <a:pt x="5704" y="5675"/>
                </a:lnTo>
                <a:lnTo>
                  <a:pt x="4960" y="4195"/>
                </a:lnTo>
                <a:lnTo>
                  <a:pt x="4464" y="2961"/>
                </a:lnTo>
                <a:lnTo>
                  <a:pt x="3472" y="1727"/>
                </a:lnTo>
                <a:lnTo>
                  <a:pt x="2480" y="740"/>
                </a:lnTo>
                <a:lnTo>
                  <a:pt x="1240" y="246"/>
                </a:lnTo>
                <a:lnTo>
                  <a:pt x="0" y="0"/>
                </a:lnTo>
                <a:lnTo>
                  <a:pt x="0" y="3454"/>
                </a:lnTo>
                <a:lnTo>
                  <a:pt x="248" y="3701"/>
                </a:lnTo>
                <a:close/>
              </a:path>
            </a:pathLst>
          </a:custGeom>
          <a:solidFill>
            <a:srgbClr val="000000"/>
          </a:solidFill>
        </p:spPr>
        <p:txBody>
          <a:bodyPr wrap="square" lIns="0" tIns="0" rIns="0" bIns="0" rtlCol="0">
            <a:noAutofit/>
          </a:bodyPr>
          <a:lstStyle/>
          <a:p>
            <a:endParaRPr/>
          </a:p>
        </p:txBody>
      </p:sp>
      <p:sp>
        <p:nvSpPr>
          <p:cNvPr id="1449" name="object 1449"/>
          <p:cNvSpPr/>
          <p:nvPr/>
        </p:nvSpPr>
        <p:spPr>
          <a:xfrm>
            <a:off x="9551571" y="1724551"/>
            <a:ext cx="5952" cy="8883"/>
          </a:xfrm>
          <a:custGeom>
            <a:avLst/>
            <a:gdLst/>
            <a:ahLst/>
            <a:cxnLst/>
            <a:rect l="l" t="t" r="r" b="b"/>
            <a:pathLst>
              <a:path w="5952" h="8883">
                <a:moveTo>
                  <a:pt x="5704" y="3208"/>
                </a:moveTo>
                <a:lnTo>
                  <a:pt x="5952" y="0"/>
                </a:lnTo>
                <a:lnTo>
                  <a:pt x="2480" y="0"/>
                </a:lnTo>
                <a:lnTo>
                  <a:pt x="2232" y="2220"/>
                </a:lnTo>
                <a:lnTo>
                  <a:pt x="1488" y="3948"/>
                </a:lnTo>
                <a:lnTo>
                  <a:pt x="496" y="5182"/>
                </a:lnTo>
                <a:lnTo>
                  <a:pt x="0" y="5429"/>
                </a:lnTo>
                <a:lnTo>
                  <a:pt x="0" y="8883"/>
                </a:lnTo>
                <a:lnTo>
                  <a:pt x="2480" y="8143"/>
                </a:lnTo>
                <a:lnTo>
                  <a:pt x="4464" y="5922"/>
                </a:lnTo>
                <a:lnTo>
                  <a:pt x="5704" y="3208"/>
                </a:lnTo>
                <a:close/>
              </a:path>
            </a:pathLst>
          </a:custGeom>
          <a:solidFill>
            <a:srgbClr val="000000"/>
          </a:solidFill>
        </p:spPr>
        <p:txBody>
          <a:bodyPr wrap="square" lIns="0" tIns="0" rIns="0" bIns="0" rtlCol="0">
            <a:noAutofit/>
          </a:bodyPr>
          <a:lstStyle/>
          <a:p>
            <a:endParaRPr/>
          </a:p>
        </p:txBody>
      </p:sp>
      <p:sp>
        <p:nvSpPr>
          <p:cNvPr id="1450" name="object 1450"/>
          <p:cNvSpPr/>
          <p:nvPr/>
        </p:nvSpPr>
        <p:spPr>
          <a:xfrm>
            <a:off x="9545619" y="1724551"/>
            <a:ext cx="5952" cy="8883"/>
          </a:xfrm>
          <a:custGeom>
            <a:avLst/>
            <a:gdLst/>
            <a:ahLst/>
            <a:cxnLst/>
            <a:rect l="l" t="t" r="r" b="b"/>
            <a:pathLst>
              <a:path w="5952" h="8883">
                <a:moveTo>
                  <a:pt x="5952" y="8883"/>
                </a:moveTo>
                <a:lnTo>
                  <a:pt x="5952" y="5429"/>
                </a:lnTo>
                <a:lnTo>
                  <a:pt x="5456" y="5182"/>
                </a:lnTo>
                <a:lnTo>
                  <a:pt x="4464" y="3948"/>
                </a:lnTo>
                <a:lnTo>
                  <a:pt x="3720" y="2220"/>
                </a:lnTo>
                <a:lnTo>
                  <a:pt x="3472" y="0"/>
                </a:lnTo>
                <a:lnTo>
                  <a:pt x="0" y="0"/>
                </a:lnTo>
                <a:lnTo>
                  <a:pt x="248" y="3208"/>
                </a:lnTo>
                <a:lnTo>
                  <a:pt x="1488" y="5922"/>
                </a:lnTo>
                <a:lnTo>
                  <a:pt x="3472" y="8143"/>
                </a:lnTo>
                <a:lnTo>
                  <a:pt x="5952" y="8883"/>
                </a:lnTo>
                <a:close/>
              </a:path>
            </a:pathLst>
          </a:custGeom>
          <a:solidFill>
            <a:srgbClr val="000000"/>
          </a:solidFill>
        </p:spPr>
        <p:txBody>
          <a:bodyPr wrap="square" lIns="0" tIns="0" rIns="0" bIns="0" rtlCol="0">
            <a:noAutofit/>
          </a:bodyPr>
          <a:lstStyle/>
          <a:p>
            <a:endParaRPr/>
          </a:p>
        </p:txBody>
      </p:sp>
      <p:sp>
        <p:nvSpPr>
          <p:cNvPr id="1451" name="object 1451"/>
          <p:cNvSpPr/>
          <p:nvPr/>
        </p:nvSpPr>
        <p:spPr>
          <a:xfrm>
            <a:off x="9545619" y="1715420"/>
            <a:ext cx="5952" cy="9130"/>
          </a:xfrm>
          <a:custGeom>
            <a:avLst/>
            <a:gdLst/>
            <a:ahLst/>
            <a:cxnLst/>
            <a:rect l="l" t="t" r="r" b="b"/>
            <a:pathLst>
              <a:path w="5952" h="9130">
                <a:moveTo>
                  <a:pt x="3472" y="740"/>
                </a:moveTo>
                <a:lnTo>
                  <a:pt x="2480" y="1727"/>
                </a:lnTo>
                <a:lnTo>
                  <a:pt x="1488" y="2961"/>
                </a:lnTo>
                <a:lnTo>
                  <a:pt x="992" y="4195"/>
                </a:lnTo>
                <a:lnTo>
                  <a:pt x="248" y="5675"/>
                </a:lnTo>
                <a:lnTo>
                  <a:pt x="0" y="7403"/>
                </a:lnTo>
                <a:lnTo>
                  <a:pt x="0" y="9130"/>
                </a:lnTo>
                <a:lnTo>
                  <a:pt x="3472" y="9130"/>
                </a:lnTo>
                <a:lnTo>
                  <a:pt x="3472" y="7896"/>
                </a:lnTo>
                <a:lnTo>
                  <a:pt x="3720" y="6662"/>
                </a:lnTo>
                <a:lnTo>
                  <a:pt x="3968" y="5675"/>
                </a:lnTo>
                <a:lnTo>
                  <a:pt x="4464" y="4935"/>
                </a:lnTo>
                <a:lnTo>
                  <a:pt x="4960" y="4195"/>
                </a:lnTo>
                <a:lnTo>
                  <a:pt x="5456" y="3701"/>
                </a:lnTo>
                <a:lnTo>
                  <a:pt x="5704" y="3701"/>
                </a:lnTo>
                <a:lnTo>
                  <a:pt x="5952" y="3454"/>
                </a:lnTo>
                <a:lnTo>
                  <a:pt x="5952" y="0"/>
                </a:lnTo>
                <a:lnTo>
                  <a:pt x="4712" y="246"/>
                </a:lnTo>
                <a:lnTo>
                  <a:pt x="3472" y="740"/>
                </a:lnTo>
                <a:close/>
              </a:path>
            </a:pathLst>
          </a:custGeom>
          <a:solidFill>
            <a:srgbClr val="000000"/>
          </a:solidFill>
        </p:spPr>
        <p:txBody>
          <a:bodyPr wrap="square" lIns="0" tIns="0" rIns="0" bIns="0" rtlCol="0">
            <a:noAutofit/>
          </a:bodyPr>
          <a:lstStyle/>
          <a:p>
            <a:endParaRPr/>
          </a:p>
        </p:txBody>
      </p:sp>
      <p:sp>
        <p:nvSpPr>
          <p:cNvPr id="1452" name="object 1452"/>
          <p:cNvSpPr/>
          <p:nvPr/>
        </p:nvSpPr>
        <p:spPr>
          <a:xfrm>
            <a:off x="9547603" y="1717641"/>
            <a:ext cx="7936" cy="5182"/>
          </a:xfrm>
          <a:custGeom>
            <a:avLst/>
            <a:gdLst/>
            <a:ahLst/>
            <a:cxnLst/>
            <a:rect l="l" t="t" r="r" b="b"/>
            <a:pathLst>
              <a:path w="7936" h="5182">
                <a:moveTo>
                  <a:pt x="744" y="3208"/>
                </a:moveTo>
                <a:lnTo>
                  <a:pt x="0" y="5182"/>
                </a:lnTo>
                <a:lnTo>
                  <a:pt x="992" y="3208"/>
                </a:lnTo>
                <a:lnTo>
                  <a:pt x="1984" y="1974"/>
                </a:lnTo>
                <a:lnTo>
                  <a:pt x="2976" y="1233"/>
                </a:lnTo>
                <a:lnTo>
                  <a:pt x="3968" y="987"/>
                </a:lnTo>
                <a:lnTo>
                  <a:pt x="5208" y="1480"/>
                </a:lnTo>
                <a:lnTo>
                  <a:pt x="6200" y="2220"/>
                </a:lnTo>
                <a:lnTo>
                  <a:pt x="7192" y="3454"/>
                </a:lnTo>
                <a:lnTo>
                  <a:pt x="7936" y="5182"/>
                </a:lnTo>
                <a:lnTo>
                  <a:pt x="7192" y="2714"/>
                </a:lnTo>
                <a:lnTo>
                  <a:pt x="5952" y="987"/>
                </a:lnTo>
                <a:lnTo>
                  <a:pt x="4960" y="246"/>
                </a:lnTo>
                <a:lnTo>
                  <a:pt x="3720" y="0"/>
                </a:lnTo>
                <a:lnTo>
                  <a:pt x="2728" y="493"/>
                </a:lnTo>
                <a:lnTo>
                  <a:pt x="1488" y="1480"/>
                </a:lnTo>
                <a:lnTo>
                  <a:pt x="744" y="3208"/>
                </a:lnTo>
                <a:close/>
              </a:path>
            </a:pathLst>
          </a:custGeom>
          <a:solidFill>
            <a:srgbClr val="FFFFFF"/>
          </a:solidFill>
        </p:spPr>
        <p:txBody>
          <a:bodyPr wrap="square" lIns="0" tIns="0" rIns="0" bIns="0" rtlCol="0">
            <a:noAutofit/>
          </a:bodyPr>
          <a:lstStyle/>
          <a:p>
            <a:endParaRPr/>
          </a:p>
        </p:txBody>
      </p:sp>
      <p:sp>
        <p:nvSpPr>
          <p:cNvPr id="1453" name="object 1453"/>
          <p:cNvSpPr/>
          <p:nvPr/>
        </p:nvSpPr>
        <p:spPr>
          <a:xfrm>
            <a:off x="9554051" y="1719615"/>
            <a:ext cx="3224" cy="3948"/>
          </a:xfrm>
          <a:custGeom>
            <a:avLst/>
            <a:gdLst/>
            <a:ahLst/>
            <a:cxnLst/>
            <a:rect l="l" t="t" r="r" b="b"/>
            <a:pathLst>
              <a:path w="3224" h="3948">
                <a:moveTo>
                  <a:pt x="2976" y="2467"/>
                </a:moveTo>
                <a:lnTo>
                  <a:pt x="0" y="3948"/>
                </a:lnTo>
                <a:lnTo>
                  <a:pt x="3224" y="2714"/>
                </a:lnTo>
                <a:lnTo>
                  <a:pt x="2232" y="0"/>
                </a:lnTo>
                <a:lnTo>
                  <a:pt x="2976" y="2467"/>
                </a:lnTo>
                <a:close/>
              </a:path>
            </a:pathLst>
          </a:custGeom>
          <a:solidFill>
            <a:srgbClr val="FFFFFF"/>
          </a:solidFill>
        </p:spPr>
        <p:txBody>
          <a:bodyPr wrap="square" lIns="0" tIns="0" rIns="0" bIns="0" rtlCol="0">
            <a:noAutofit/>
          </a:bodyPr>
          <a:lstStyle/>
          <a:p>
            <a:endParaRPr/>
          </a:p>
        </p:txBody>
      </p:sp>
      <p:sp>
        <p:nvSpPr>
          <p:cNvPr id="1454" name="object 1454"/>
          <p:cNvSpPr/>
          <p:nvPr/>
        </p:nvSpPr>
        <p:spPr>
          <a:xfrm>
            <a:off x="9545867" y="1715914"/>
            <a:ext cx="11408" cy="8637"/>
          </a:xfrm>
          <a:custGeom>
            <a:avLst/>
            <a:gdLst/>
            <a:ahLst/>
            <a:cxnLst/>
            <a:rect l="l" t="t" r="r" b="b"/>
            <a:pathLst>
              <a:path w="11408" h="8637">
                <a:moveTo>
                  <a:pt x="1736" y="2220"/>
                </a:moveTo>
                <a:lnTo>
                  <a:pt x="744" y="4195"/>
                </a:lnTo>
                <a:lnTo>
                  <a:pt x="0" y="6416"/>
                </a:lnTo>
                <a:lnTo>
                  <a:pt x="3472" y="7403"/>
                </a:lnTo>
                <a:lnTo>
                  <a:pt x="4216" y="5675"/>
                </a:lnTo>
                <a:lnTo>
                  <a:pt x="4712" y="4195"/>
                </a:lnTo>
                <a:lnTo>
                  <a:pt x="5456" y="3701"/>
                </a:lnTo>
                <a:lnTo>
                  <a:pt x="5704" y="3454"/>
                </a:lnTo>
                <a:lnTo>
                  <a:pt x="5952" y="3454"/>
                </a:lnTo>
                <a:lnTo>
                  <a:pt x="6448" y="3948"/>
                </a:lnTo>
                <a:lnTo>
                  <a:pt x="7440" y="5182"/>
                </a:lnTo>
                <a:lnTo>
                  <a:pt x="7936" y="7403"/>
                </a:lnTo>
                <a:lnTo>
                  <a:pt x="8680" y="8390"/>
                </a:lnTo>
                <a:lnTo>
                  <a:pt x="10168" y="8637"/>
                </a:lnTo>
                <a:lnTo>
                  <a:pt x="11160" y="7896"/>
                </a:lnTo>
                <a:lnTo>
                  <a:pt x="11408" y="6416"/>
                </a:lnTo>
                <a:lnTo>
                  <a:pt x="8184" y="7650"/>
                </a:lnTo>
                <a:lnTo>
                  <a:pt x="11160" y="6169"/>
                </a:lnTo>
                <a:lnTo>
                  <a:pt x="10416" y="3701"/>
                </a:lnTo>
                <a:lnTo>
                  <a:pt x="8928" y="1480"/>
                </a:lnTo>
                <a:lnTo>
                  <a:pt x="7440" y="493"/>
                </a:lnTo>
                <a:lnTo>
                  <a:pt x="5208" y="0"/>
                </a:lnTo>
                <a:lnTo>
                  <a:pt x="3472" y="740"/>
                </a:lnTo>
                <a:lnTo>
                  <a:pt x="1736" y="2220"/>
                </a:lnTo>
                <a:close/>
              </a:path>
            </a:pathLst>
          </a:custGeom>
          <a:solidFill>
            <a:srgbClr val="FFFFFF"/>
          </a:solidFill>
        </p:spPr>
        <p:txBody>
          <a:bodyPr wrap="square" lIns="0" tIns="0" rIns="0" bIns="0" rtlCol="0">
            <a:noAutofit/>
          </a:bodyPr>
          <a:lstStyle/>
          <a:p>
            <a:endParaRPr/>
          </a:p>
        </p:txBody>
      </p:sp>
      <p:sp>
        <p:nvSpPr>
          <p:cNvPr id="1455" name="object 1455"/>
          <p:cNvSpPr/>
          <p:nvPr/>
        </p:nvSpPr>
        <p:spPr>
          <a:xfrm>
            <a:off x="9545867" y="1716900"/>
            <a:ext cx="11160" cy="7650"/>
          </a:xfrm>
          <a:custGeom>
            <a:avLst/>
            <a:gdLst/>
            <a:ahLst/>
            <a:cxnLst/>
            <a:rect l="l" t="t" r="r" b="b"/>
            <a:pathLst>
              <a:path w="11160" h="7650">
                <a:moveTo>
                  <a:pt x="4960" y="3948"/>
                </a:moveTo>
                <a:lnTo>
                  <a:pt x="5456" y="3454"/>
                </a:lnTo>
                <a:lnTo>
                  <a:pt x="6200" y="3701"/>
                </a:lnTo>
                <a:lnTo>
                  <a:pt x="6696" y="4195"/>
                </a:lnTo>
                <a:lnTo>
                  <a:pt x="7440" y="5182"/>
                </a:lnTo>
                <a:lnTo>
                  <a:pt x="8184" y="6662"/>
                </a:lnTo>
                <a:lnTo>
                  <a:pt x="11160" y="5182"/>
                </a:lnTo>
                <a:lnTo>
                  <a:pt x="10416" y="3208"/>
                </a:lnTo>
                <a:lnTo>
                  <a:pt x="9176" y="1727"/>
                </a:lnTo>
                <a:lnTo>
                  <a:pt x="7688" y="740"/>
                </a:lnTo>
                <a:lnTo>
                  <a:pt x="5952" y="0"/>
                </a:lnTo>
                <a:lnTo>
                  <a:pt x="3968" y="493"/>
                </a:lnTo>
                <a:lnTo>
                  <a:pt x="2480" y="1480"/>
                </a:lnTo>
                <a:lnTo>
                  <a:pt x="1240" y="2961"/>
                </a:lnTo>
                <a:lnTo>
                  <a:pt x="0" y="5429"/>
                </a:lnTo>
                <a:lnTo>
                  <a:pt x="248" y="6909"/>
                </a:lnTo>
                <a:lnTo>
                  <a:pt x="1488" y="7650"/>
                </a:lnTo>
                <a:lnTo>
                  <a:pt x="2728" y="7403"/>
                </a:lnTo>
                <a:lnTo>
                  <a:pt x="3472" y="6416"/>
                </a:lnTo>
                <a:lnTo>
                  <a:pt x="4216" y="4935"/>
                </a:lnTo>
                <a:lnTo>
                  <a:pt x="4960" y="3948"/>
                </a:lnTo>
                <a:close/>
              </a:path>
            </a:pathLst>
          </a:custGeom>
          <a:solidFill>
            <a:srgbClr val="FFFFFF"/>
          </a:solidFill>
        </p:spPr>
        <p:txBody>
          <a:bodyPr wrap="square" lIns="0" tIns="0" rIns="0" bIns="0" rtlCol="0">
            <a:noAutofit/>
          </a:bodyPr>
          <a:lstStyle/>
          <a:p>
            <a:endParaRPr/>
          </a:p>
        </p:txBody>
      </p:sp>
      <p:sp>
        <p:nvSpPr>
          <p:cNvPr id="1456" name="object 1456"/>
          <p:cNvSpPr/>
          <p:nvPr/>
        </p:nvSpPr>
        <p:spPr>
          <a:xfrm>
            <a:off x="9384164" y="1663844"/>
            <a:ext cx="71675" cy="125362"/>
          </a:xfrm>
          <a:custGeom>
            <a:avLst/>
            <a:gdLst/>
            <a:ahLst/>
            <a:cxnLst/>
            <a:rect l="l" t="t" r="r" b="b"/>
            <a:pathLst>
              <a:path w="71675" h="125362">
                <a:moveTo>
                  <a:pt x="35961" y="0"/>
                </a:moveTo>
                <a:lnTo>
                  <a:pt x="32241" y="246"/>
                </a:lnTo>
                <a:lnTo>
                  <a:pt x="28769" y="1233"/>
                </a:lnTo>
                <a:lnTo>
                  <a:pt x="22072" y="4935"/>
                </a:lnTo>
                <a:lnTo>
                  <a:pt x="18848" y="7650"/>
                </a:lnTo>
                <a:lnTo>
                  <a:pt x="15872" y="10611"/>
                </a:lnTo>
                <a:lnTo>
                  <a:pt x="13144" y="14312"/>
                </a:lnTo>
                <a:lnTo>
                  <a:pt x="10664" y="18261"/>
                </a:lnTo>
                <a:lnTo>
                  <a:pt x="8184" y="22950"/>
                </a:lnTo>
                <a:lnTo>
                  <a:pt x="6200" y="27638"/>
                </a:lnTo>
                <a:lnTo>
                  <a:pt x="4464" y="32821"/>
                </a:lnTo>
                <a:lnTo>
                  <a:pt x="2728" y="38250"/>
                </a:lnTo>
                <a:lnTo>
                  <a:pt x="1736" y="44172"/>
                </a:lnTo>
                <a:lnTo>
                  <a:pt x="744" y="50095"/>
                </a:lnTo>
                <a:lnTo>
                  <a:pt x="248" y="56264"/>
                </a:lnTo>
                <a:lnTo>
                  <a:pt x="0" y="62681"/>
                </a:lnTo>
                <a:lnTo>
                  <a:pt x="248" y="69097"/>
                </a:lnTo>
                <a:lnTo>
                  <a:pt x="744" y="75266"/>
                </a:lnTo>
                <a:lnTo>
                  <a:pt x="1736" y="81189"/>
                </a:lnTo>
                <a:lnTo>
                  <a:pt x="2728" y="87111"/>
                </a:lnTo>
                <a:lnTo>
                  <a:pt x="4464" y="92540"/>
                </a:lnTo>
                <a:lnTo>
                  <a:pt x="6200" y="97723"/>
                </a:lnTo>
                <a:lnTo>
                  <a:pt x="8184" y="102411"/>
                </a:lnTo>
                <a:lnTo>
                  <a:pt x="10664" y="106853"/>
                </a:lnTo>
                <a:lnTo>
                  <a:pt x="13144" y="111049"/>
                </a:lnTo>
                <a:lnTo>
                  <a:pt x="15872" y="114750"/>
                </a:lnTo>
                <a:lnTo>
                  <a:pt x="18848" y="117711"/>
                </a:lnTo>
                <a:lnTo>
                  <a:pt x="22072" y="120426"/>
                </a:lnTo>
                <a:lnTo>
                  <a:pt x="28769" y="124128"/>
                </a:lnTo>
                <a:lnTo>
                  <a:pt x="35961" y="125362"/>
                </a:lnTo>
                <a:lnTo>
                  <a:pt x="39681" y="125115"/>
                </a:lnTo>
                <a:lnTo>
                  <a:pt x="46626" y="122647"/>
                </a:lnTo>
                <a:lnTo>
                  <a:pt x="52826" y="117711"/>
                </a:lnTo>
                <a:lnTo>
                  <a:pt x="55802" y="114750"/>
                </a:lnTo>
                <a:lnTo>
                  <a:pt x="58530" y="111049"/>
                </a:lnTo>
                <a:lnTo>
                  <a:pt x="61258" y="106853"/>
                </a:lnTo>
                <a:lnTo>
                  <a:pt x="63490" y="102411"/>
                </a:lnTo>
                <a:lnTo>
                  <a:pt x="65474" y="97723"/>
                </a:lnTo>
                <a:lnTo>
                  <a:pt x="67459" y="92540"/>
                </a:lnTo>
                <a:lnTo>
                  <a:pt x="68947" y="87111"/>
                </a:lnTo>
                <a:lnTo>
                  <a:pt x="69939" y="81189"/>
                </a:lnTo>
                <a:lnTo>
                  <a:pt x="70931" y="75266"/>
                </a:lnTo>
                <a:lnTo>
                  <a:pt x="71427" y="69097"/>
                </a:lnTo>
                <a:lnTo>
                  <a:pt x="71675" y="62681"/>
                </a:lnTo>
                <a:lnTo>
                  <a:pt x="71427" y="56264"/>
                </a:lnTo>
                <a:lnTo>
                  <a:pt x="70931" y="50095"/>
                </a:lnTo>
                <a:lnTo>
                  <a:pt x="69939" y="44172"/>
                </a:lnTo>
                <a:lnTo>
                  <a:pt x="68947" y="38250"/>
                </a:lnTo>
                <a:lnTo>
                  <a:pt x="67459" y="32821"/>
                </a:lnTo>
                <a:lnTo>
                  <a:pt x="65474" y="27638"/>
                </a:lnTo>
                <a:lnTo>
                  <a:pt x="63490" y="22950"/>
                </a:lnTo>
                <a:lnTo>
                  <a:pt x="61258" y="18261"/>
                </a:lnTo>
                <a:lnTo>
                  <a:pt x="58530" y="14312"/>
                </a:lnTo>
                <a:lnTo>
                  <a:pt x="55802" y="10611"/>
                </a:lnTo>
                <a:lnTo>
                  <a:pt x="52826" y="7650"/>
                </a:lnTo>
                <a:lnTo>
                  <a:pt x="49850" y="4935"/>
                </a:lnTo>
                <a:lnTo>
                  <a:pt x="46626" y="2714"/>
                </a:lnTo>
                <a:lnTo>
                  <a:pt x="43153" y="1233"/>
                </a:lnTo>
                <a:lnTo>
                  <a:pt x="39681" y="246"/>
                </a:lnTo>
                <a:lnTo>
                  <a:pt x="35961" y="0"/>
                </a:lnTo>
                <a:close/>
              </a:path>
            </a:pathLst>
          </a:custGeom>
          <a:solidFill>
            <a:srgbClr val="000000"/>
          </a:solidFill>
        </p:spPr>
        <p:txBody>
          <a:bodyPr wrap="square" lIns="0" tIns="0" rIns="0" bIns="0" rtlCol="0">
            <a:noAutofit/>
          </a:bodyPr>
          <a:lstStyle/>
          <a:p>
            <a:endParaRPr/>
          </a:p>
        </p:txBody>
      </p:sp>
      <p:sp>
        <p:nvSpPr>
          <p:cNvPr id="1457" name="object 1457"/>
          <p:cNvSpPr/>
          <p:nvPr/>
        </p:nvSpPr>
        <p:spPr>
          <a:xfrm>
            <a:off x="9420126" y="1662116"/>
            <a:ext cx="37449" cy="64408"/>
          </a:xfrm>
          <a:custGeom>
            <a:avLst/>
            <a:gdLst/>
            <a:ahLst/>
            <a:cxnLst/>
            <a:rect l="l" t="t" r="r" b="b"/>
            <a:pathLst>
              <a:path w="37449" h="64408">
                <a:moveTo>
                  <a:pt x="3472" y="3701"/>
                </a:moveTo>
                <a:lnTo>
                  <a:pt x="6696" y="4688"/>
                </a:lnTo>
                <a:lnTo>
                  <a:pt x="9920" y="5922"/>
                </a:lnTo>
                <a:lnTo>
                  <a:pt x="12896" y="7896"/>
                </a:lnTo>
                <a:lnTo>
                  <a:pt x="15624" y="10611"/>
                </a:lnTo>
                <a:lnTo>
                  <a:pt x="18600" y="13572"/>
                </a:lnTo>
                <a:lnTo>
                  <a:pt x="21080" y="17027"/>
                </a:lnTo>
                <a:lnTo>
                  <a:pt x="23809" y="20729"/>
                </a:lnTo>
                <a:lnTo>
                  <a:pt x="26041" y="25417"/>
                </a:lnTo>
                <a:lnTo>
                  <a:pt x="28025" y="30106"/>
                </a:lnTo>
                <a:lnTo>
                  <a:pt x="29761" y="35042"/>
                </a:lnTo>
                <a:lnTo>
                  <a:pt x="31249" y="40224"/>
                </a:lnTo>
                <a:lnTo>
                  <a:pt x="32241" y="46147"/>
                </a:lnTo>
                <a:lnTo>
                  <a:pt x="33233" y="52069"/>
                </a:lnTo>
                <a:lnTo>
                  <a:pt x="33729" y="57992"/>
                </a:lnTo>
                <a:lnTo>
                  <a:pt x="33977" y="64408"/>
                </a:lnTo>
                <a:lnTo>
                  <a:pt x="37449" y="64408"/>
                </a:lnTo>
                <a:lnTo>
                  <a:pt x="37201" y="57992"/>
                </a:lnTo>
                <a:lnTo>
                  <a:pt x="36705" y="51576"/>
                </a:lnTo>
                <a:lnTo>
                  <a:pt x="35713" y="45653"/>
                </a:lnTo>
                <a:lnTo>
                  <a:pt x="34721" y="39730"/>
                </a:lnTo>
                <a:lnTo>
                  <a:pt x="33233" y="34055"/>
                </a:lnTo>
                <a:lnTo>
                  <a:pt x="31001" y="28625"/>
                </a:lnTo>
                <a:lnTo>
                  <a:pt x="29017" y="23937"/>
                </a:lnTo>
                <a:lnTo>
                  <a:pt x="26785" y="19248"/>
                </a:lnTo>
                <a:lnTo>
                  <a:pt x="24057" y="15053"/>
                </a:lnTo>
                <a:lnTo>
                  <a:pt x="21080" y="11104"/>
                </a:lnTo>
                <a:lnTo>
                  <a:pt x="18104" y="8143"/>
                </a:lnTo>
                <a:lnTo>
                  <a:pt x="14880" y="5429"/>
                </a:lnTo>
                <a:lnTo>
                  <a:pt x="11408" y="2961"/>
                </a:lnTo>
                <a:lnTo>
                  <a:pt x="7688" y="1233"/>
                </a:lnTo>
                <a:lnTo>
                  <a:pt x="3968" y="246"/>
                </a:lnTo>
                <a:lnTo>
                  <a:pt x="0" y="0"/>
                </a:lnTo>
                <a:lnTo>
                  <a:pt x="0" y="3454"/>
                </a:lnTo>
                <a:lnTo>
                  <a:pt x="3472" y="3701"/>
                </a:lnTo>
                <a:close/>
              </a:path>
            </a:pathLst>
          </a:custGeom>
          <a:solidFill>
            <a:srgbClr val="000000"/>
          </a:solidFill>
        </p:spPr>
        <p:txBody>
          <a:bodyPr wrap="square" lIns="0" tIns="0" rIns="0" bIns="0" rtlCol="0">
            <a:noAutofit/>
          </a:bodyPr>
          <a:lstStyle/>
          <a:p>
            <a:endParaRPr/>
          </a:p>
        </p:txBody>
      </p:sp>
      <p:sp>
        <p:nvSpPr>
          <p:cNvPr id="1458" name="object 1458"/>
          <p:cNvSpPr/>
          <p:nvPr/>
        </p:nvSpPr>
        <p:spPr>
          <a:xfrm>
            <a:off x="9420126" y="1726525"/>
            <a:ext cx="37449" cy="64408"/>
          </a:xfrm>
          <a:custGeom>
            <a:avLst/>
            <a:gdLst/>
            <a:ahLst/>
            <a:cxnLst/>
            <a:rect l="l" t="t" r="r" b="b"/>
            <a:pathLst>
              <a:path w="37449" h="64408">
                <a:moveTo>
                  <a:pt x="3968" y="64161"/>
                </a:moveTo>
                <a:lnTo>
                  <a:pt x="7688" y="63174"/>
                </a:lnTo>
                <a:lnTo>
                  <a:pt x="11408" y="61447"/>
                </a:lnTo>
                <a:lnTo>
                  <a:pt x="14880" y="58979"/>
                </a:lnTo>
                <a:lnTo>
                  <a:pt x="18104" y="56264"/>
                </a:lnTo>
                <a:lnTo>
                  <a:pt x="21080" y="53303"/>
                </a:lnTo>
                <a:lnTo>
                  <a:pt x="24057" y="49355"/>
                </a:lnTo>
                <a:lnTo>
                  <a:pt x="26785" y="44913"/>
                </a:lnTo>
                <a:lnTo>
                  <a:pt x="29017" y="40471"/>
                </a:lnTo>
                <a:lnTo>
                  <a:pt x="31001" y="35782"/>
                </a:lnTo>
                <a:lnTo>
                  <a:pt x="33233" y="30353"/>
                </a:lnTo>
                <a:lnTo>
                  <a:pt x="34721" y="24677"/>
                </a:lnTo>
                <a:lnTo>
                  <a:pt x="35713" y="18754"/>
                </a:lnTo>
                <a:lnTo>
                  <a:pt x="36705" y="12832"/>
                </a:lnTo>
                <a:lnTo>
                  <a:pt x="37201" y="6416"/>
                </a:lnTo>
                <a:lnTo>
                  <a:pt x="37449" y="0"/>
                </a:lnTo>
                <a:lnTo>
                  <a:pt x="33977" y="0"/>
                </a:lnTo>
                <a:lnTo>
                  <a:pt x="33729" y="6416"/>
                </a:lnTo>
                <a:lnTo>
                  <a:pt x="33233" y="12338"/>
                </a:lnTo>
                <a:lnTo>
                  <a:pt x="32241" y="18261"/>
                </a:lnTo>
                <a:lnTo>
                  <a:pt x="31249" y="24184"/>
                </a:lnTo>
                <a:lnTo>
                  <a:pt x="29761" y="29366"/>
                </a:lnTo>
                <a:lnTo>
                  <a:pt x="28025" y="34301"/>
                </a:lnTo>
                <a:lnTo>
                  <a:pt x="26041" y="38990"/>
                </a:lnTo>
                <a:lnTo>
                  <a:pt x="23809" y="43432"/>
                </a:lnTo>
                <a:lnTo>
                  <a:pt x="21080" y="47380"/>
                </a:lnTo>
                <a:lnTo>
                  <a:pt x="18600" y="50835"/>
                </a:lnTo>
                <a:lnTo>
                  <a:pt x="15624" y="53797"/>
                </a:lnTo>
                <a:lnTo>
                  <a:pt x="12896" y="56511"/>
                </a:lnTo>
                <a:lnTo>
                  <a:pt x="9920" y="58485"/>
                </a:lnTo>
                <a:lnTo>
                  <a:pt x="6696" y="59719"/>
                </a:lnTo>
                <a:lnTo>
                  <a:pt x="3472" y="60706"/>
                </a:lnTo>
                <a:lnTo>
                  <a:pt x="0" y="60953"/>
                </a:lnTo>
                <a:lnTo>
                  <a:pt x="0" y="64408"/>
                </a:lnTo>
                <a:lnTo>
                  <a:pt x="3968" y="64161"/>
                </a:lnTo>
                <a:close/>
              </a:path>
            </a:pathLst>
          </a:custGeom>
          <a:solidFill>
            <a:srgbClr val="000000"/>
          </a:solidFill>
        </p:spPr>
        <p:txBody>
          <a:bodyPr wrap="square" lIns="0" tIns="0" rIns="0" bIns="0" rtlCol="0">
            <a:noAutofit/>
          </a:bodyPr>
          <a:lstStyle/>
          <a:p>
            <a:endParaRPr/>
          </a:p>
        </p:txBody>
      </p:sp>
      <p:sp>
        <p:nvSpPr>
          <p:cNvPr id="1459" name="object 1459"/>
          <p:cNvSpPr/>
          <p:nvPr/>
        </p:nvSpPr>
        <p:spPr>
          <a:xfrm>
            <a:off x="9382428" y="1726525"/>
            <a:ext cx="37697" cy="64408"/>
          </a:xfrm>
          <a:custGeom>
            <a:avLst/>
            <a:gdLst/>
            <a:ahLst/>
            <a:cxnLst/>
            <a:rect l="l" t="t" r="r" b="b"/>
            <a:pathLst>
              <a:path w="37697" h="64408">
                <a:moveTo>
                  <a:pt x="3472" y="0"/>
                </a:moveTo>
                <a:lnTo>
                  <a:pt x="0" y="0"/>
                </a:lnTo>
                <a:lnTo>
                  <a:pt x="248" y="6416"/>
                </a:lnTo>
                <a:lnTo>
                  <a:pt x="744" y="12832"/>
                </a:lnTo>
                <a:lnTo>
                  <a:pt x="1736" y="18754"/>
                </a:lnTo>
                <a:lnTo>
                  <a:pt x="2728" y="24924"/>
                </a:lnTo>
                <a:lnTo>
                  <a:pt x="4464" y="30353"/>
                </a:lnTo>
                <a:lnTo>
                  <a:pt x="6200" y="35535"/>
                </a:lnTo>
                <a:lnTo>
                  <a:pt x="8432" y="40471"/>
                </a:lnTo>
                <a:lnTo>
                  <a:pt x="10912" y="44913"/>
                </a:lnTo>
                <a:lnTo>
                  <a:pt x="13392" y="49355"/>
                </a:lnTo>
                <a:lnTo>
                  <a:pt x="16368" y="53303"/>
                </a:lnTo>
                <a:lnTo>
                  <a:pt x="19344" y="56264"/>
                </a:lnTo>
                <a:lnTo>
                  <a:pt x="22817" y="59226"/>
                </a:lnTo>
                <a:lnTo>
                  <a:pt x="26289" y="61447"/>
                </a:lnTo>
                <a:lnTo>
                  <a:pt x="30009" y="63174"/>
                </a:lnTo>
                <a:lnTo>
                  <a:pt x="33729" y="64161"/>
                </a:lnTo>
                <a:lnTo>
                  <a:pt x="37697" y="64408"/>
                </a:lnTo>
                <a:lnTo>
                  <a:pt x="37697" y="60953"/>
                </a:lnTo>
                <a:lnTo>
                  <a:pt x="34225" y="60706"/>
                </a:lnTo>
                <a:lnTo>
                  <a:pt x="31001" y="59719"/>
                </a:lnTo>
                <a:lnTo>
                  <a:pt x="27777" y="58485"/>
                </a:lnTo>
                <a:lnTo>
                  <a:pt x="24801" y="56264"/>
                </a:lnTo>
                <a:lnTo>
                  <a:pt x="21824" y="53797"/>
                </a:lnTo>
                <a:lnTo>
                  <a:pt x="18848" y="50835"/>
                </a:lnTo>
                <a:lnTo>
                  <a:pt x="16368" y="47380"/>
                </a:lnTo>
                <a:lnTo>
                  <a:pt x="13888" y="43432"/>
                </a:lnTo>
                <a:lnTo>
                  <a:pt x="11408" y="38990"/>
                </a:lnTo>
                <a:lnTo>
                  <a:pt x="9672" y="34548"/>
                </a:lnTo>
                <a:lnTo>
                  <a:pt x="7936" y="29366"/>
                </a:lnTo>
                <a:lnTo>
                  <a:pt x="6200" y="23937"/>
                </a:lnTo>
                <a:lnTo>
                  <a:pt x="5208" y="18261"/>
                </a:lnTo>
                <a:lnTo>
                  <a:pt x="4216" y="12338"/>
                </a:lnTo>
                <a:lnTo>
                  <a:pt x="3720" y="6416"/>
                </a:lnTo>
                <a:lnTo>
                  <a:pt x="3472" y="0"/>
                </a:lnTo>
                <a:close/>
              </a:path>
            </a:pathLst>
          </a:custGeom>
          <a:solidFill>
            <a:srgbClr val="000000"/>
          </a:solidFill>
        </p:spPr>
        <p:txBody>
          <a:bodyPr wrap="square" lIns="0" tIns="0" rIns="0" bIns="0" rtlCol="0">
            <a:noAutofit/>
          </a:bodyPr>
          <a:lstStyle/>
          <a:p>
            <a:endParaRPr/>
          </a:p>
        </p:txBody>
      </p:sp>
      <p:sp>
        <p:nvSpPr>
          <p:cNvPr id="1460" name="object 1460"/>
          <p:cNvSpPr/>
          <p:nvPr/>
        </p:nvSpPr>
        <p:spPr>
          <a:xfrm>
            <a:off x="9382428" y="1662116"/>
            <a:ext cx="37697" cy="64408"/>
          </a:xfrm>
          <a:custGeom>
            <a:avLst/>
            <a:gdLst/>
            <a:ahLst/>
            <a:cxnLst/>
            <a:rect l="l" t="t" r="r" b="b"/>
            <a:pathLst>
              <a:path w="37697" h="64408">
                <a:moveTo>
                  <a:pt x="4464" y="34055"/>
                </a:moveTo>
                <a:lnTo>
                  <a:pt x="2728" y="39484"/>
                </a:lnTo>
                <a:lnTo>
                  <a:pt x="1736" y="45653"/>
                </a:lnTo>
                <a:lnTo>
                  <a:pt x="744" y="51576"/>
                </a:lnTo>
                <a:lnTo>
                  <a:pt x="248" y="57992"/>
                </a:lnTo>
                <a:lnTo>
                  <a:pt x="0" y="64408"/>
                </a:lnTo>
                <a:lnTo>
                  <a:pt x="3472" y="64408"/>
                </a:lnTo>
                <a:lnTo>
                  <a:pt x="3720" y="57992"/>
                </a:lnTo>
                <a:lnTo>
                  <a:pt x="4216" y="52069"/>
                </a:lnTo>
                <a:lnTo>
                  <a:pt x="5208" y="46147"/>
                </a:lnTo>
                <a:lnTo>
                  <a:pt x="6200" y="40471"/>
                </a:lnTo>
                <a:lnTo>
                  <a:pt x="7936" y="35042"/>
                </a:lnTo>
                <a:lnTo>
                  <a:pt x="9672" y="29859"/>
                </a:lnTo>
                <a:lnTo>
                  <a:pt x="11408" y="25417"/>
                </a:lnTo>
                <a:lnTo>
                  <a:pt x="13888" y="20729"/>
                </a:lnTo>
                <a:lnTo>
                  <a:pt x="16368" y="17027"/>
                </a:lnTo>
                <a:lnTo>
                  <a:pt x="18848" y="13572"/>
                </a:lnTo>
                <a:lnTo>
                  <a:pt x="21824" y="10611"/>
                </a:lnTo>
                <a:lnTo>
                  <a:pt x="24801" y="8143"/>
                </a:lnTo>
                <a:lnTo>
                  <a:pt x="27777" y="5922"/>
                </a:lnTo>
                <a:lnTo>
                  <a:pt x="31001" y="4688"/>
                </a:lnTo>
                <a:lnTo>
                  <a:pt x="34225" y="3701"/>
                </a:lnTo>
                <a:lnTo>
                  <a:pt x="37697" y="3454"/>
                </a:lnTo>
                <a:lnTo>
                  <a:pt x="37697" y="0"/>
                </a:lnTo>
                <a:lnTo>
                  <a:pt x="33729" y="246"/>
                </a:lnTo>
                <a:lnTo>
                  <a:pt x="30009" y="1233"/>
                </a:lnTo>
                <a:lnTo>
                  <a:pt x="26289" y="2961"/>
                </a:lnTo>
                <a:lnTo>
                  <a:pt x="22817" y="5182"/>
                </a:lnTo>
                <a:lnTo>
                  <a:pt x="19344" y="8143"/>
                </a:lnTo>
                <a:lnTo>
                  <a:pt x="16368" y="11104"/>
                </a:lnTo>
                <a:lnTo>
                  <a:pt x="13392" y="15053"/>
                </a:lnTo>
                <a:lnTo>
                  <a:pt x="10912" y="19248"/>
                </a:lnTo>
                <a:lnTo>
                  <a:pt x="8432" y="23937"/>
                </a:lnTo>
                <a:lnTo>
                  <a:pt x="6200" y="28872"/>
                </a:lnTo>
                <a:lnTo>
                  <a:pt x="4464" y="34055"/>
                </a:lnTo>
                <a:close/>
              </a:path>
            </a:pathLst>
          </a:custGeom>
          <a:solidFill>
            <a:srgbClr val="000000"/>
          </a:solidFill>
        </p:spPr>
        <p:txBody>
          <a:bodyPr wrap="square" lIns="0" tIns="0" rIns="0" bIns="0" rtlCol="0">
            <a:noAutofit/>
          </a:bodyPr>
          <a:lstStyle/>
          <a:p>
            <a:endParaRPr/>
          </a:p>
        </p:txBody>
      </p:sp>
      <p:sp>
        <p:nvSpPr>
          <p:cNvPr id="1461" name="object 1461"/>
          <p:cNvSpPr/>
          <p:nvPr/>
        </p:nvSpPr>
        <p:spPr>
          <a:xfrm>
            <a:off x="9420374" y="1784765"/>
            <a:ext cx="24305" cy="4195"/>
          </a:xfrm>
          <a:custGeom>
            <a:avLst/>
            <a:gdLst/>
            <a:ahLst/>
            <a:cxnLst/>
            <a:rect l="l" t="t" r="r" b="b"/>
            <a:pathLst>
              <a:path w="24305" h="4195">
                <a:moveTo>
                  <a:pt x="24305" y="4195"/>
                </a:moveTo>
                <a:lnTo>
                  <a:pt x="11656" y="0"/>
                </a:lnTo>
                <a:lnTo>
                  <a:pt x="0" y="4195"/>
                </a:lnTo>
                <a:lnTo>
                  <a:pt x="24305" y="4195"/>
                </a:lnTo>
                <a:close/>
              </a:path>
            </a:pathLst>
          </a:custGeom>
          <a:solidFill>
            <a:srgbClr val="000000"/>
          </a:solidFill>
        </p:spPr>
        <p:txBody>
          <a:bodyPr wrap="square" lIns="0" tIns="0" rIns="0" bIns="0" rtlCol="0">
            <a:noAutofit/>
          </a:bodyPr>
          <a:lstStyle/>
          <a:p>
            <a:endParaRPr/>
          </a:p>
        </p:txBody>
      </p:sp>
      <p:sp>
        <p:nvSpPr>
          <p:cNvPr id="1462" name="object 1462"/>
          <p:cNvSpPr/>
          <p:nvPr/>
        </p:nvSpPr>
        <p:spPr>
          <a:xfrm>
            <a:off x="9419878" y="1664091"/>
            <a:ext cx="23809" cy="4441"/>
          </a:xfrm>
          <a:custGeom>
            <a:avLst/>
            <a:gdLst/>
            <a:ahLst/>
            <a:cxnLst/>
            <a:rect l="l" t="t" r="r" b="b"/>
            <a:pathLst>
              <a:path w="23809" h="4441">
                <a:moveTo>
                  <a:pt x="23809" y="0"/>
                </a:moveTo>
                <a:lnTo>
                  <a:pt x="0" y="0"/>
                </a:lnTo>
                <a:lnTo>
                  <a:pt x="12152" y="4441"/>
                </a:lnTo>
                <a:lnTo>
                  <a:pt x="23809" y="0"/>
                </a:lnTo>
                <a:close/>
              </a:path>
            </a:pathLst>
          </a:custGeom>
          <a:solidFill>
            <a:srgbClr val="000000"/>
          </a:solidFill>
        </p:spPr>
        <p:txBody>
          <a:bodyPr wrap="square" lIns="0" tIns="0" rIns="0" bIns="0" rtlCol="0">
            <a:noAutofit/>
          </a:bodyPr>
          <a:lstStyle/>
          <a:p>
            <a:endParaRPr/>
          </a:p>
        </p:txBody>
      </p:sp>
      <p:sp>
        <p:nvSpPr>
          <p:cNvPr id="1463" name="object 1463"/>
          <p:cNvSpPr/>
          <p:nvPr/>
        </p:nvSpPr>
        <p:spPr>
          <a:xfrm>
            <a:off x="9419878" y="1662857"/>
            <a:ext cx="25049" cy="2467"/>
          </a:xfrm>
          <a:custGeom>
            <a:avLst/>
            <a:gdLst/>
            <a:ahLst/>
            <a:cxnLst/>
            <a:rect l="l" t="t" r="r" b="b"/>
            <a:pathLst>
              <a:path w="25049" h="2467">
                <a:moveTo>
                  <a:pt x="23313" y="0"/>
                </a:moveTo>
                <a:lnTo>
                  <a:pt x="0" y="0"/>
                </a:lnTo>
                <a:lnTo>
                  <a:pt x="0" y="2467"/>
                </a:lnTo>
                <a:lnTo>
                  <a:pt x="23809" y="2467"/>
                </a:lnTo>
                <a:lnTo>
                  <a:pt x="24246" y="2177"/>
                </a:lnTo>
                <a:lnTo>
                  <a:pt x="24553" y="1974"/>
                </a:lnTo>
                <a:lnTo>
                  <a:pt x="25049" y="1233"/>
                </a:lnTo>
                <a:lnTo>
                  <a:pt x="24553" y="493"/>
                </a:lnTo>
                <a:lnTo>
                  <a:pt x="23809" y="0"/>
                </a:lnTo>
                <a:lnTo>
                  <a:pt x="23313" y="0"/>
                </a:lnTo>
                <a:close/>
              </a:path>
            </a:pathLst>
          </a:custGeom>
          <a:solidFill>
            <a:srgbClr val="000000"/>
          </a:solidFill>
        </p:spPr>
        <p:txBody>
          <a:bodyPr wrap="square" lIns="0" tIns="0" rIns="0" bIns="0" rtlCol="0">
            <a:noAutofit/>
          </a:bodyPr>
          <a:lstStyle/>
          <a:p>
            <a:endParaRPr/>
          </a:p>
        </p:txBody>
      </p:sp>
      <p:sp>
        <p:nvSpPr>
          <p:cNvPr id="1464" name="object 1464"/>
          <p:cNvSpPr/>
          <p:nvPr/>
        </p:nvSpPr>
        <p:spPr>
          <a:xfrm>
            <a:off x="9430790" y="1662857"/>
            <a:ext cx="12400" cy="6909"/>
          </a:xfrm>
          <a:custGeom>
            <a:avLst/>
            <a:gdLst/>
            <a:ahLst/>
            <a:cxnLst/>
            <a:rect l="l" t="t" r="r" b="b"/>
            <a:pathLst>
              <a:path w="12400" h="6909">
                <a:moveTo>
                  <a:pt x="744" y="4441"/>
                </a:moveTo>
                <a:lnTo>
                  <a:pt x="0" y="5182"/>
                </a:lnTo>
                <a:lnTo>
                  <a:pt x="248" y="5922"/>
                </a:lnTo>
                <a:lnTo>
                  <a:pt x="744" y="6909"/>
                </a:lnTo>
                <a:lnTo>
                  <a:pt x="1736" y="6909"/>
                </a:lnTo>
                <a:lnTo>
                  <a:pt x="1736" y="4441"/>
                </a:lnTo>
                <a:lnTo>
                  <a:pt x="12400" y="0"/>
                </a:lnTo>
                <a:lnTo>
                  <a:pt x="744" y="4441"/>
                </a:lnTo>
                <a:close/>
              </a:path>
            </a:pathLst>
          </a:custGeom>
          <a:solidFill>
            <a:srgbClr val="000000"/>
          </a:solidFill>
        </p:spPr>
        <p:txBody>
          <a:bodyPr wrap="square" lIns="0" tIns="0" rIns="0" bIns="0" rtlCol="0">
            <a:noAutofit/>
          </a:bodyPr>
          <a:lstStyle/>
          <a:p>
            <a:endParaRPr/>
          </a:p>
        </p:txBody>
      </p:sp>
      <p:sp>
        <p:nvSpPr>
          <p:cNvPr id="1465" name="object 1465"/>
          <p:cNvSpPr/>
          <p:nvPr/>
        </p:nvSpPr>
        <p:spPr>
          <a:xfrm>
            <a:off x="9432526" y="1662857"/>
            <a:ext cx="11656" cy="6909"/>
          </a:xfrm>
          <a:custGeom>
            <a:avLst/>
            <a:gdLst/>
            <a:ahLst/>
            <a:cxnLst/>
            <a:rect l="l" t="t" r="r" b="b"/>
            <a:pathLst>
              <a:path w="11656" h="6909">
                <a:moveTo>
                  <a:pt x="0" y="4441"/>
                </a:moveTo>
                <a:lnTo>
                  <a:pt x="0" y="6909"/>
                </a:lnTo>
                <a:lnTo>
                  <a:pt x="11656" y="2467"/>
                </a:lnTo>
                <a:lnTo>
                  <a:pt x="10664" y="0"/>
                </a:lnTo>
                <a:lnTo>
                  <a:pt x="0" y="4441"/>
                </a:lnTo>
                <a:close/>
              </a:path>
            </a:pathLst>
          </a:custGeom>
          <a:solidFill>
            <a:srgbClr val="000000"/>
          </a:solidFill>
        </p:spPr>
        <p:txBody>
          <a:bodyPr wrap="square" lIns="0" tIns="0" rIns="0" bIns="0" rtlCol="0">
            <a:noAutofit/>
          </a:bodyPr>
          <a:lstStyle/>
          <a:p>
            <a:endParaRPr/>
          </a:p>
        </p:txBody>
      </p:sp>
      <p:sp>
        <p:nvSpPr>
          <p:cNvPr id="1466" name="object 1466"/>
          <p:cNvSpPr/>
          <p:nvPr/>
        </p:nvSpPr>
        <p:spPr>
          <a:xfrm>
            <a:off x="9418637" y="1662857"/>
            <a:ext cx="12896" cy="6909"/>
          </a:xfrm>
          <a:custGeom>
            <a:avLst/>
            <a:gdLst/>
            <a:ahLst/>
            <a:cxnLst/>
            <a:rect l="l" t="t" r="r" b="b"/>
            <a:pathLst>
              <a:path w="12896" h="6909">
                <a:moveTo>
                  <a:pt x="744" y="2467"/>
                </a:moveTo>
                <a:lnTo>
                  <a:pt x="12896" y="6909"/>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1467" name="object 1467"/>
          <p:cNvSpPr/>
          <p:nvPr/>
        </p:nvSpPr>
        <p:spPr>
          <a:xfrm>
            <a:off x="9419877" y="1662857"/>
            <a:ext cx="12648" cy="6909"/>
          </a:xfrm>
          <a:custGeom>
            <a:avLst/>
            <a:gdLst/>
            <a:ahLst/>
            <a:cxnLst/>
            <a:rect l="l" t="t" r="r" b="b"/>
            <a:pathLst>
              <a:path w="12648" h="6909">
                <a:moveTo>
                  <a:pt x="496" y="0"/>
                </a:moveTo>
                <a:lnTo>
                  <a:pt x="0" y="0"/>
                </a:lnTo>
                <a:lnTo>
                  <a:pt x="0" y="2467"/>
                </a:lnTo>
                <a:lnTo>
                  <a:pt x="11656" y="6909"/>
                </a:lnTo>
                <a:lnTo>
                  <a:pt x="12648" y="4441"/>
                </a:lnTo>
                <a:lnTo>
                  <a:pt x="496" y="0"/>
                </a:lnTo>
                <a:close/>
              </a:path>
            </a:pathLst>
          </a:custGeom>
          <a:solidFill>
            <a:srgbClr val="000000"/>
          </a:solidFill>
        </p:spPr>
        <p:txBody>
          <a:bodyPr wrap="square" lIns="0" tIns="0" rIns="0" bIns="0" rtlCol="0">
            <a:noAutofit/>
          </a:bodyPr>
          <a:lstStyle/>
          <a:p>
            <a:endParaRPr/>
          </a:p>
        </p:txBody>
      </p:sp>
      <p:sp>
        <p:nvSpPr>
          <p:cNvPr id="1468" name="object 1468"/>
          <p:cNvSpPr/>
          <p:nvPr/>
        </p:nvSpPr>
        <p:spPr>
          <a:xfrm>
            <a:off x="9420374" y="1787726"/>
            <a:ext cx="25545" cy="2467"/>
          </a:xfrm>
          <a:custGeom>
            <a:avLst/>
            <a:gdLst/>
            <a:ahLst/>
            <a:cxnLst/>
            <a:rect l="l" t="t" r="r" b="b"/>
            <a:pathLst>
              <a:path w="25545" h="2467">
                <a:moveTo>
                  <a:pt x="25545" y="1233"/>
                </a:moveTo>
                <a:lnTo>
                  <a:pt x="25049" y="493"/>
                </a:lnTo>
                <a:lnTo>
                  <a:pt x="24742" y="290"/>
                </a:lnTo>
                <a:lnTo>
                  <a:pt x="24305" y="0"/>
                </a:lnTo>
                <a:lnTo>
                  <a:pt x="0" y="0"/>
                </a:lnTo>
                <a:lnTo>
                  <a:pt x="0" y="2467"/>
                </a:lnTo>
                <a:lnTo>
                  <a:pt x="24305" y="2467"/>
                </a:lnTo>
                <a:lnTo>
                  <a:pt x="25049" y="1974"/>
                </a:lnTo>
                <a:lnTo>
                  <a:pt x="25545" y="1233"/>
                </a:lnTo>
                <a:close/>
              </a:path>
            </a:pathLst>
          </a:custGeom>
          <a:solidFill>
            <a:srgbClr val="000000"/>
          </a:solidFill>
        </p:spPr>
        <p:txBody>
          <a:bodyPr wrap="square" lIns="0" tIns="0" rIns="0" bIns="0" rtlCol="0">
            <a:noAutofit/>
          </a:bodyPr>
          <a:lstStyle/>
          <a:p>
            <a:endParaRPr/>
          </a:p>
        </p:txBody>
      </p:sp>
      <p:sp>
        <p:nvSpPr>
          <p:cNvPr id="1469" name="object 1469"/>
          <p:cNvSpPr/>
          <p:nvPr/>
        </p:nvSpPr>
        <p:spPr>
          <a:xfrm>
            <a:off x="9431534" y="1785999"/>
            <a:ext cx="12648" cy="4195"/>
          </a:xfrm>
          <a:custGeom>
            <a:avLst/>
            <a:gdLst/>
            <a:ahLst/>
            <a:cxnLst/>
            <a:rect l="l" t="t" r="r" b="b"/>
            <a:pathLst>
              <a:path w="12648" h="4195">
                <a:moveTo>
                  <a:pt x="12648" y="4195"/>
                </a:moveTo>
                <a:lnTo>
                  <a:pt x="992" y="0"/>
                </a:lnTo>
                <a:lnTo>
                  <a:pt x="0" y="0"/>
                </a:lnTo>
                <a:lnTo>
                  <a:pt x="12648" y="4195"/>
                </a:lnTo>
                <a:close/>
              </a:path>
            </a:pathLst>
          </a:custGeom>
          <a:solidFill>
            <a:srgbClr val="000000"/>
          </a:solidFill>
        </p:spPr>
        <p:txBody>
          <a:bodyPr wrap="square" lIns="0" tIns="0" rIns="0" bIns="0" rtlCol="0">
            <a:noAutofit/>
          </a:bodyPr>
          <a:lstStyle/>
          <a:p>
            <a:endParaRPr/>
          </a:p>
        </p:txBody>
      </p:sp>
      <p:sp>
        <p:nvSpPr>
          <p:cNvPr id="1470" name="object 1470"/>
          <p:cNvSpPr/>
          <p:nvPr/>
        </p:nvSpPr>
        <p:spPr>
          <a:xfrm>
            <a:off x="9430790" y="1783530"/>
            <a:ext cx="14384" cy="6662"/>
          </a:xfrm>
          <a:custGeom>
            <a:avLst/>
            <a:gdLst/>
            <a:ahLst/>
            <a:cxnLst/>
            <a:rect l="l" t="t" r="r" b="b"/>
            <a:pathLst>
              <a:path w="14384" h="6662">
                <a:moveTo>
                  <a:pt x="248" y="740"/>
                </a:moveTo>
                <a:lnTo>
                  <a:pt x="0" y="1727"/>
                </a:lnTo>
                <a:lnTo>
                  <a:pt x="744" y="2467"/>
                </a:lnTo>
                <a:lnTo>
                  <a:pt x="1736" y="2467"/>
                </a:lnTo>
                <a:lnTo>
                  <a:pt x="13392" y="6662"/>
                </a:lnTo>
                <a:lnTo>
                  <a:pt x="14384" y="4195"/>
                </a:lnTo>
                <a:lnTo>
                  <a:pt x="1736" y="0"/>
                </a:lnTo>
                <a:lnTo>
                  <a:pt x="744" y="0"/>
                </a:lnTo>
                <a:lnTo>
                  <a:pt x="248" y="740"/>
                </a:lnTo>
                <a:close/>
              </a:path>
            </a:pathLst>
          </a:custGeom>
          <a:solidFill>
            <a:srgbClr val="000000"/>
          </a:solidFill>
        </p:spPr>
        <p:txBody>
          <a:bodyPr wrap="square" lIns="0" tIns="0" rIns="0" bIns="0" rtlCol="0">
            <a:noAutofit/>
          </a:bodyPr>
          <a:lstStyle/>
          <a:p>
            <a:endParaRPr/>
          </a:p>
        </p:txBody>
      </p:sp>
      <p:sp>
        <p:nvSpPr>
          <p:cNvPr id="1471" name="object 1471"/>
          <p:cNvSpPr/>
          <p:nvPr/>
        </p:nvSpPr>
        <p:spPr>
          <a:xfrm>
            <a:off x="9419877" y="1783531"/>
            <a:ext cx="11656" cy="4195"/>
          </a:xfrm>
          <a:custGeom>
            <a:avLst/>
            <a:gdLst/>
            <a:ahLst/>
            <a:cxnLst/>
            <a:rect l="l" t="t" r="r" b="b"/>
            <a:pathLst>
              <a:path w="11656" h="4195">
                <a:moveTo>
                  <a:pt x="0" y="4195"/>
                </a:moveTo>
                <a:lnTo>
                  <a:pt x="496" y="4195"/>
                </a:lnTo>
                <a:lnTo>
                  <a:pt x="11656" y="0"/>
                </a:lnTo>
                <a:lnTo>
                  <a:pt x="0" y="4195"/>
                </a:lnTo>
                <a:close/>
              </a:path>
            </a:pathLst>
          </a:custGeom>
          <a:solidFill>
            <a:srgbClr val="000000"/>
          </a:solidFill>
        </p:spPr>
        <p:txBody>
          <a:bodyPr wrap="square" lIns="0" tIns="0" rIns="0" bIns="0" rtlCol="0">
            <a:noAutofit/>
          </a:bodyPr>
          <a:lstStyle/>
          <a:p>
            <a:endParaRPr/>
          </a:p>
        </p:txBody>
      </p:sp>
      <p:sp>
        <p:nvSpPr>
          <p:cNvPr id="1472" name="object 1472"/>
          <p:cNvSpPr/>
          <p:nvPr/>
        </p:nvSpPr>
        <p:spPr>
          <a:xfrm>
            <a:off x="9419133" y="1783530"/>
            <a:ext cx="13392" cy="6662"/>
          </a:xfrm>
          <a:custGeom>
            <a:avLst/>
            <a:gdLst/>
            <a:ahLst/>
            <a:cxnLst/>
            <a:rect l="l" t="t" r="r" b="b"/>
            <a:pathLst>
              <a:path w="13392" h="6662">
                <a:moveTo>
                  <a:pt x="248" y="5675"/>
                </a:moveTo>
                <a:lnTo>
                  <a:pt x="744" y="6662"/>
                </a:lnTo>
                <a:lnTo>
                  <a:pt x="1736" y="6662"/>
                </a:lnTo>
                <a:lnTo>
                  <a:pt x="13392" y="2467"/>
                </a:lnTo>
                <a:lnTo>
                  <a:pt x="12400" y="0"/>
                </a:lnTo>
                <a:lnTo>
                  <a:pt x="1240" y="4195"/>
                </a:lnTo>
                <a:lnTo>
                  <a:pt x="744" y="4195"/>
                </a:lnTo>
                <a:lnTo>
                  <a:pt x="0" y="4935"/>
                </a:lnTo>
                <a:lnTo>
                  <a:pt x="248" y="5675"/>
                </a:lnTo>
                <a:close/>
              </a:path>
            </a:pathLst>
          </a:custGeom>
          <a:solidFill>
            <a:srgbClr val="000000"/>
          </a:solidFill>
        </p:spPr>
        <p:txBody>
          <a:bodyPr wrap="square" lIns="0" tIns="0" rIns="0" bIns="0" rtlCol="0">
            <a:noAutofit/>
          </a:bodyPr>
          <a:lstStyle/>
          <a:p>
            <a:endParaRPr/>
          </a:p>
        </p:txBody>
      </p:sp>
      <p:sp>
        <p:nvSpPr>
          <p:cNvPr id="1473" name="object 1473"/>
          <p:cNvSpPr/>
          <p:nvPr/>
        </p:nvSpPr>
        <p:spPr>
          <a:xfrm>
            <a:off x="9407974" y="1663844"/>
            <a:ext cx="71675" cy="125362"/>
          </a:xfrm>
          <a:custGeom>
            <a:avLst/>
            <a:gdLst/>
            <a:ahLst/>
            <a:cxnLst/>
            <a:rect l="l" t="t" r="r" b="b"/>
            <a:pathLst>
              <a:path w="71675" h="125362">
                <a:moveTo>
                  <a:pt x="35961" y="0"/>
                </a:moveTo>
                <a:lnTo>
                  <a:pt x="32241" y="246"/>
                </a:lnTo>
                <a:lnTo>
                  <a:pt x="28769" y="1233"/>
                </a:lnTo>
                <a:lnTo>
                  <a:pt x="22072" y="4935"/>
                </a:lnTo>
                <a:lnTo>
                  <a:pt x="18848" y="7650"/>
                </a:lnTo>
                <a:lnTo>
                  <a:pt x="15872" y="10611"/>
                </a:lnTo>
                <a:lnTo>
                  <a:pt x="13144" y="14312"/>
                </a:lnTo>
                <a:lnTo>
                  <a:pt x="10664" y="18261"/>
                </a:lnTo>
                <a:lnTo>
                  <a:pt x="8184" y="22950"/>
                </a:lnTo>
                <a:lnTo>
                  <a:pt x="6200" y="27638"/>
                </a:lnTo>
                <a:lnTo>
                  <a:pt x="4464" y="32821"/>
                </a:lnTo>
                <a:lnTo>
                  <a:pt x="2728" y="38250"/>
                </a:lnTo>
                <a:lnTo>
                  <a:pt x="1736" y="44172"/>
                </a:lnTo>
                <a:lnTo>
                  <a:pt x="744" y="50095"/>
                </a:lnTo>
                <a:lnTo>
                  <a:pt x="248" y="56264"/>
                </a:lnTo>
                <a:lnTo>
                  <a:pt x="0" y="62681"/>
                </a:lnTo>
                <a:lnTo>
                  <a:pt x="248" y="69097"/>
                </a:lnTo>
                <a:lnTo>
                  <a:pt x="744" y="75266"/>
                </a:lnTo>
                <a:lnTo>
                  <a:pt x="1736" y="81189"/>
                </a:lnTo>
                <a:lnTo>
                  <a:pt x="2728" y="87111"/>
                </a:lnTo>
                <a:lnTo>
                  <a:pt x="4464" y="92540"/>
                </a:lnTo>
                <a:lnTo>
                  <a:pt x="6200" y="97723"/>
                </a:lnTo>
                <a:lnTo>
                  <a:pt x="8184" y="102411"/>
                </a:lnTo>
                <a:lnTo>
                  <a:pt x="10664" y="106853"/>
                </a:lnTo>
                <a:lnTo>
                  <a:pt x="13144" y="111049"/>
                </a:lnTo>
                <a:lnTo>
                  <a:pt x="15872" y="114750"/>
                </a:lnTo>
                <a:lnTo>
                  <a:pt x="18848" y="117711"/>
                </a:lnTo>
                <a:lnTo>
                  <a:pt x="22072" y="120426"/>
                </a:lnTo>
                <a:lnTo>
                  <a:pt x="28769" y="124128"/>
                </a:lnTo>
                <a:lnTo>
                  <a:pt x="35961" y="125362"/>
                </a:lnTo>
                <a:lnTo>
                  <a:pt x="39681" y="125115"/>
                </a:lnTo>
                <a:lnTo>
                  <a:pt x="46626" y="122647"/>
                </a:lnTo>
                <a:lnTo>
                  <a:pt x="52826" y="117711"/>
                </a:lnTo>
                <a:lnTo>
                  <a:pt x="55802" y="114750"/>
                </a:lnTo>
                <a:lnTo>
                  <a:pt x="58530" y="111049"/>
                </a:lnTo>
                <a:lnTo>
                  <a:pt x="61258" y="106853"/>
                </a:lnTo>
                <a:lnTo>
                  <a:pt x="63490" y="102411"/>
                </a:lnTo>
                <a:lnTo>
                  <a:pt x="65474" y="97723"/>
                </a:lnTo>
                <a:lnTo>
                  <a:pt x="67459" y="92540"/>
                </a:lnTo>
                <a:lnTo>
                  <a:pt x="68947" y="87111"/>
                </a:lnTo>
                <a:lnTo>
                  <a:pt x="69939" y="81189"/>
                </a:lnTo>
                <a:lnTo>
                  <a:pt x="70931" y="75266"/>
                </a:lnTo>
                <a:lnTo>
                  <a:pt x="71427" y="69097"/>
                </a:lnTo>
                <a:lnTo>
                  <a:pt x="71675" y="62681"/>
                </a:lnTo>
                <a:lnTo>
                  <a:pt x="71427" y="56264"/>
                </a:lnTo>
                <a:lnTo>
                  <a:pt x="70931" y="50095"/>
                </a:lnTo>
                <a:lnTo>
                  <a:pt x="69939" y="44172"/>
                </a:lnTo>
                <a:lnTo>
                  <a:pt x="68947" y="38250"/>
                </a:lnTo>
                <a:lnTo>
                  <a:pt x="67459" y="32821"/>
                </a:lnTo>
                <a:lnTo>
                  <a:pt x="65474" y="27638"/>
                </a:lnTo>
                <a:lnTo>
                  <a:pt x="63490" y="22950"/>
                </a:lnTo>
                <a:lnTo>
                  <a:pt x="61258" y="18261"/>
                </a:lnTo>
                <a:lnTo>
                  <a:pt x="58530" y="14312"/>
                </a:lnTo>
                <a:lnTo>
                  <a:pt x="55802" y="10611"/>
                </a:lnTo>
                <a:lnTo>
                  <a:pt x="52826" y="7650"/>
                </a:lnTo>
                <a:lnTo>
                  <a:pt x="49850" y="4935"/>
                </a:lnTo>
                <a:lnTo>
                  <a:pt x="46626" y="2714"/>
                </a:lnTo>
                <a:lnTo>
                  <a:pt x="43153" y="1233"/>
                </a:lnTo>
                <a:lnTo>
                  <a:pt x="39681" y="246"/>
                </a:lnTo>
                <a:lnTo>
                  <a:pt x="35961" y="0"/>
                </a:lnTo>
                <a:close/>
              </a:path>
            </a:pathLst>
          </a:custGeom>
          <a:solidFill>
            <a:srgbClr val="000000"/>
          </a:solidFill>
        </p:spPr>
        <p:txBody>
          <a:bodyPr wrap="square" lIns="0" tIns="0" rIns="0" bIns="0" rtlCol="0">
            <a:noAutofit/>
          </a:bodyPr>
          <a:lstStyle/>
          <a:p>
            <a:endParaRPr/>
          </a:p>
        </p:txBody>
      </p:sp>
      <p:sp>
        <p:nvSpPr>
          <p:cNvPr id="1474" name="object 1474"/>
          <p:cNvSpPr/>
          <p:nvPr/>
        </p:nvSpPr>
        <p:spPr>
          <a:xfrm>
            <a:off x="9443935" y="1662116"/>
            <a:ext cx="37449" cy="64408"/>
          </a:xfrm>
          <a:custGeom>
            <a:avLst/>
            <a:gdLst/>
            <a:ahLst/>
            <a:cxnLst/>
            <a:rect l="l" t="t" r="r" b="b"/>
            <a:pathLst>
              <a:path w="37449" h="64408">
                <a:moveTo>
                  <a:pt x="3472" y="3701"/>
                </a:moveTo>
                <a:lnTo>
                  <a:pt x="6696" y="4688"/>
                </a:lnTo>
                <a:lnTo>
                  <a:pt x="9920" y="5922"/>
                </a:lnTo>
                <a:lnTo>
                  <a:pt x="12896" y="7896"/>
                </a:lnTo>
                <a:lnTo>
                  <a:pt x="15624" y="10611"/>
                </a:lnTo>
                <a:lnTo>
                  <a:pt x="18600" y="13572"/>
                </a:lnTo>
                <a:lnTo>
                  <a:pt x="21080" y="17027"/>
                </a:lnTo>
                <a:lnTo>
                  <a:pt x="23809" y="20729"/>
                </a:lnTo>
                <a:lnTo>
                  <a:pt x="26041" y="25417"/>
                </a:lnTo>
                <a:lnTo>
                  <a:pt x="28025" y="30106"/>
                </a:lnTo>
                <a:lnTo>
                  <a:pt x="29761" y="35042"/>
                </a:lnTo>
                <a:lnTo>
                  <a:pt x="31249" y="40224"/>
                </a:lnTo>
                <a:lnTo>
                  <a:pt x="32241" y="46147"/>
                </a:lnTo>
                <a:lnTo>
                  <a:pt x="33233" y="52069"/>
                </a:lnTo>
                <a:lnTo>
                  <a:pt x="33729" y="57992"/>
                </a:lnTo>
                <a:lnTo>
                  <a:pt x="33977" y="64408"/>
                </a:lnTo>
                <a:lnTo>
                  <a:pt x="37449" y="64408"/>
                </a:lnTo>
                <a:lnTo>
                  <a:pt x="37201" y="57992"/>
                </a:lnTo>
                <a:lnTo>
                  <a:pt x="36705" y="51576"/>
                </a:lnTo>
                <a:lnTo>
                  <a:pt x="35713" y="45653"/>
                </a:lnTo>
                <a:lnTo>
                  <a:pt x="34721" y="39730"/>
                </a:lnTo>
                <a:lnTo>
                  <a:pt x="33233" y="34055"/>
                </a:lnTo>
                <a:lnTo>
                  <a:pt x="31001" y="28625"/>
                </a:lnTo>
                <a:lnTo>
                  <a:pt x="29017" y="23937"/>
                </a:lnTo>
                <a:lnTo>
                  <a:pt x="26785" y="19248"/>
                </a:lnTo>
                <a:lnTo>
                  <a:pt x="24057" y="15053"/>
                </a:lnTo>
                <a:lnTo>
                  <a:pt x="21080" y="11104"/>
                </a:lnTo>
                <a:lnTo>
                  <a:pt x="18104" y="8143"/>
                </a:lnTo>
                <a:lnTo>
                  <a:pt x="14880" y="5429"/>
                </a:lnTo>
                <a:lnTo>
                  <a:pt x="11408" y="2961"/>
                </a:lnTo>
                <a:lnTo>
                  <a:pt x="7688" y="1233"/>
                </a:lnTo>
                <a:lnTo>
                  <a:pt x="3968" y="246"/>
                </a:lnTo>
                <a:lnTo>
                  <a:pt x="0" y="0"/>
                </a:lnTo>
                <a:lnTo>
                  <a:pt x="0" y="3454"/>
                </a:lnTo>
                <a:lnTo>
                  <a:pt x="3472" y="3701"/>
                </a:lnTo>
                <a:close/>
              </a:path>
            </a:pathLst>
          </a:custGeom>
          <a:solidFill>
            <a:srgbClr val="000000"/>
          </a:solidFill>
        </p:spPr>
        <p:txBody>
          <a:bodyPr wrap="square" lIns="0" tIns="0" rIns="0" bIns="0" rtlCol="0">
            <a:noAutofit/>
          </a:bodyPr>
          <a:lstStyle/>
          <a:p>
            <a:endParaRPr/>
          </a:p>
        </p:txBody>
      </p:sp>
      <p:sp>
        <p:nvSpPr>
          <p:cNvPr id="1475" name="object 1475"/>
          <p:cNvSpPr/>
          <p:nvPr/>
        </p:nvSpPr>
        <p:spPr>
          <a:xfrm>
            <a:off x="9443935" y="1726525"/>
            <a:ext cx="37449" cy="64408"/>
          </a:xfrm>
          <a:custGeom>
            <a:avLst/>
            <a:gdLst/>
            <a:ahLst/>
            <a:cxnLst/>
            <a:rect l="l" t="t" r="r" b="b"/>
            <a:pathLst>
              <a:path w="37449" h="64408">
                <a:moveTo>
                  <a:pt x="3968" y="64161"/>
                </a:moveTo>
                <a:lnTo>
                  <a:pt x="7688" y="63174"/>
                </a:lnTo>
                <a:lnTo>
                  <a:pt x="11408" y="61447"/>
                </a:lnTo>
                <a:lnTo>
                  <a:pt x="14880" y="58979"/>
                </a:lnTo>
                <a:lnTo>
                  <a:pt x="18104" y="56264"/>
                </a:lnTo>
                <a:lnTo>
                  <a:pt x="21080" y="53303"/>
                </a:lnTo>
                <a:lnTo>
                  <a:pt x="24057" y="49355"/>
                </a:lnTo>
                <a:lnTo>
                  <a:pt x="26785" y="44913"/>
                </a:lnTo>
                <a:lnTo>
                  <a:pt x="29017" y="40471"/>
                </a:lnTo>
                <a:lnTo>
                  <a:pt x="31001" y="35782"/>
                </a:lnTo>
                <a:lnTo>
                  <a:pt x="33233" y="30353"/>
                </a:lnTo>
                <a:lnTo>
                  <a:pt x="34721" y="24677"/>
                </a:lnTo>
                <a:lnTo>
                  <a:pt x="35713" y="18754"/>
                </a:lnTo>
                <a:lnTo>
                  <a:pt x="36705" y="12832"/>
                </a:lnTo>
                <a:lnTo>
                  <a:pt x="37201" y="6416"/>
                </a:lnTo>
                <a:lnTo>
                  <a:pt x="37449" y="0"/>
                </a:lnTo>
                <a:lnTo>
                  <a:pt x="33977" y="0"/>
                </a:lnTo>
                <a:lnTo>
                  <a:pt x="33729" y="6416"/>
                </a:lnTo>
                <a:lnTo>
                  <a:pt x="33233" y="12338"/>
                </a:lnTo>
                <a:lnTo>
                  <a:pt x="32241" y="18261"/>
                </a:lnTo>
                <a:lnTo>
                  <a:pt x="31249" y="24184"/>
                </a:lnTo>
                <a:lnTo>
                  <a:pt x="29761" y="29366"/>
                </a:lnTo>
                <a:lnTo>
                  <a:pt x="28025" y="34301"/>
                </a:lnTo>
                <a:lnTo>
                  <a:pt x="26041" y="38990"/>
                </a:lnTo>
                <a:lnTo>
                  <a:pt x="23809" y="43432"/>
                </a:lnTo>
                <a:lnTo>
                  <a:pt x="21080" y="47380"/>
                </a:lnTo>
                <a:lnTo>
                  <a:pt x="18600" y="50835"/>
                </a:lnTo>
                <a:lnTo>
                  <a:pt x="15624" y="53797"/>
                </a:lnTo>
                <a:lnTo>
                  <a:pt x="12896" y="56511"/>
                </a:lnTo>
                <a:lnTo>
                  <a:pt x="9920" y="58485"/>
                </a:lnTo>
                <a:lnTo>
                  <a:pt x="6696" y="59719"/>
                </a:lnTo>
                <a:lnTo>
                  <a:pt x="3472" y="60706"/>
                </a:lnTo>
                <a:lnTo>
                  <a:pt x="0" y="60953"/>
                </a:lnTo>
                <a:lnTo>
                  <a:pt x="0" y="64408"/>
                </a:lnTo>
                <a:lnTo>
                  <a:pt x="3968" y="64161"/>
                </a:lnTo>
                <a:close/>
              </a:path>
            </a:pathLst>
          </a:custGeom>
          <a:solidFill>
            <a:srgbClr val="000000"/>
          </a:solidFill>
        </p:spPr>
        <p:txBody>
          <a:bodyPr wrap="square" lIns="0" tIns="0" rIns="0" bIns="0" rtlCol="0">
            <a:noAutofit/>
          </a:bodyPr>
          <a:lstStyle/>
          <a:p>
            <a:endParaRPr/>
          </a:p>
        </p:txBody>
      </p:sp>
      <p:sp>
        <p:nvSpPr>
          <p:cNvPr id="1476" name="object 1476"/>
          <p:cNvSpPr/>
          <p:nvPr/>
        </p:nvSpPr>
        <p:spPr>
          <a:xfrm>
            <a:off x="9406237" y="1726525"/>
            <a:ext cx="37697" cy="64408"/>
          </a:xfrm>
          <a:custGeom>
            <a:avLst/>
            <a:gdLst/>
            <a:ahLst/>
            <a:cxnLst/>
            <a:rect l="l" t="t" r="r" b="b"/>
            <a:pathLst>
              <a:path w="37697" h="64408">
                <a:moveTo>
                  <a:pt x="3472" y="0"/>
                </a:moveTo>
                <a:lnTo>
                  <a:pt x="0" y="0"/>
                </a:lnTo>
                <a:lnTo>
                  <a:pt x="248" y="6416"/>
                </a:lnTo>
                <a:lnTo>
                  <a:pt x="744" y="12832"/>
                </a:lnTo>
                <a:lnTo>
                  <a:pt x="1736" y="18754"/>
                </a:lnTo>
                <a:lnTo>
                  <a:pt x="2728" y="24924"/>
                </a:lnTo>
                <a:lnTo>
                  <a:pt x="4464" y="30353"/>
                </a:lnTo>
                <a:lnTo>
                  <a:pt x="6200" y="35535"/>
                </a:lnTo>
                <a:lnTo>
                  <a:pt x="8432" y="40471"/>
                </a:lnTo>
                <a:lnTo>
                  <a:pt x="10912" y="44913"/>
                </a:lnTo>
                <a:lnTo>
                  <a:pt x="13392" y="49355"/>
                </a:lnTo>
                <a:lnTo>
                  <a:pt x="16368" y="53303"/>
                </a:lnTo>
                <a:lnTo>
                  <a:pt x="19344" y="56264"/>
                </a:lnTo>
                <a:lnTo>
                  <a:pt x="22817" y="59226"/>
                </a:lnTo>
                <a:lnTo>
                  <a:pt x="26289" y="61447"/>
                </a:lnTo>
                <a:lnTo>
                  <a:pt x="30009" y="63174"/>
                </a:lnTo>
                <a:lnTo>
                  <a:pt x="33729" y="64161"/>
                </a:lnTo>
                <a:lnTo>
                  <a:pt x="37697" y="64408"/>
                </a:lnTo>
                <a:lnTo>
                  <a:pt x="37697" y="60953"/>
                </a:lnTo>
                <a:lnTo>
                  <a:pt x="34225" y="60706"/>
                </a:lnTo>
                <a:lnTo>
                  <a:pt x="31001" y="59719"/>
                </a:lnTo>
                <a:lnTo>
                  <a:pt x="27777" y="58485"/>
                </a:lnTo>
                <a:lnTo>
                  <a:pt x="24801" y="56264"/>
                </a:lnTo>
                <a:lnTo>
                  <a:pt x="21824" y="53797"/>
                </a:lnTo>
                <a:lnTo>
                  <a:pt x="18848" y="50835"/>
                </a:lnTo>
                <a:lnTo>
                  <a:pt x="16368" y="47380"/>
                </a:lnTo>
                <a:lnTo>
                  <a:pt x="13888" y="43432"/>
                </a:lnTo>
                <a:lnTo>
                  <a:pt x="11408" y="38990"/>
                </a:lnTo>
                <a:lnTo>
                  <a:pt x="9672" y="34548"/>
                </a:lnTo>
                <a:lnTo>
                  <a:pt x="7936" y="29366"/>
                </a:lnTo>
                <a:lnTo>
                  <a:pt x="6200" y="23937"/>
                </a:lnTo>
                <a:lnTo>
                  <a:pt x="5208" y="18261"/>
                </a:lnTo>
                <a:lnTo>
                  <a:pt x="4216" y="12338"/>
                </a:lnTo>
                <a:lnTo>
                  <a:pt x="3720" y="6416"/>
                </a:lnTo>
                <a:lnTo>
                  <a:pt x="3472" y="0"/>
                </a:lnTo>
                <a:close/>
              </a:path>
            </a:pathLst>
          </a:custGeom>
          <a:solidFill>
            <a:srgbClr val="000000"/>
          </a:solidFill>
        </p:spPr>
        <p:txBody>
          <a:bodyPr wrap="square" lIns="0" tIns="0" rIns="0" bIns="0" rtlCol="0">
            <a:noAutofit/>
          </a:bodyPr>
          <a:lstStyle/>
          <a:p>
            <a:endParaRPr/>
          </a:p>
        </p:txBody>
      </p:sp>
      <p:sp>
        <p:nvSpPr>
          <p:cNvPr id="1477" name="object 1477"/>
          <p:cNvSpPr/>
          <p:nvPr/>
        </p:nvSpPr>
        <p:spPr>
          <a:xfrm>
            <a:off x="9406237" y="1662116"/>
            <a:ext cx="37697" cy="64408"/>
          </a:xfrm>
          <a:custGeom>
            <a:avLst/>
            <a:gdLst/>
            <a:ahLst/>
            <a:cxnLst/>
            <a:rect l="l" t="t" r="r" b="b"/>
            <a:pathLst>
              <a:path w="37697" h="64408">
                <a:moveTo>
                  <a:pt x="4464" y="34055"/>
                </a:moveTo>
                <a:lnTo>
                  <a:pt x="2728" y="39484"/>
                </a:lnTo>
                <a:lnTo>
                  <a:pt x="1736" y="45653"/>
                </a:lnTo>
                <a:lnTo>
                  <a:pt x="744" y="51576"/>
                </a:lnTo>
                <a:lnTo>
                  <a:pt x="248" y="57992"/>
                </a:lnTo>
                <a:lnTo>
                  <a:pt x="0" y="64408"/>
                </a:lnTo>
                <a:lnTo>
                  <a:pt x="3472" y="64408"/>
                </a:lnTo>
                <a:lnTo>
                  <a:pt x="3720" y="57992"/>
                </a:lnTo>
                <a:lnTo>
                  <a:pt x="4216" y="52069"/>
                </a:lnTo>
                <a:lnTo>
                  <a:pt x="5208" y="46147"/>
                </a:lnTo>
                <a:lnTo>
                  <a:pt x="6200" y="40471"/>
                </a:lnTo>
                <a:lnTo>
                  <a:pt x="7936" y="35042"/>
                </a:lnTo>
                <a:lnTo>
                  <a:pt x="9672" y="29859"/>
                </a:lnTo>
                <a:lnTo>
                  <a:pt x="11408" y="25417"/>
                </a:lnTo>
                <a:lnTo>
                  <a:pt x="13888" y="20729"/>
                </a:lnTo>
                <a:lnTo>
                  <a:pt x="16368" y="17027"/>
                </a:lnTo>
                <a:lnTo>
                  <a:pt x="18848" y="13572"/>
                </a:lnTo>
                <a:lnTo>
                  <a:pt x="21824" y="10611"/>
                </a:lnTo>
                <a:lnTo>
                  <a:pt x="24801" y="8143"/>
                </a:lnTo>
                <a:lnTo>
                  <a:pt x="27777" y="5922"/>
                </a:lnTo>
                <a:lnTo>
                  <a:pt x="31001" y="4688"/>
                </a:lnTo>
                <a:lnTo>
                  <a:pt x="34225" y="3701"/>
                </a:lnTo>
                <a:lnTo>
                  <a:pt x="37697" y="3454"/>
                </a:lnTo>
                <a:lnTo>
                  <a:pt x="37697" y="0"/>
                </a:lnTo>
                <a:lnTo>
                  <a:pt x="33729" y="246"/>
                </a:lnTo>
                <a:lnTo>
                  <a:pt x="30009" y="1233"/>
                </a:lnTo>
                <a:lnTo>
                  <a:pt x="26289" y="2961"/>
                </a:lnTo>
                <a:lnTo>
                  <a:pt x="22817" y="5182"/>
                </a:lnTo>
                <a:lnTo>
                  <a:pt x="19344" y="8143"/>
                </a:lnTo>
                <a:lnTo>
                  <a:pt x="16368" y="11104"/>
                </a:lnTo>
                <a:lnTo>
                  <a:pt x="13392" y="15053"/>
                </a:lnTo>
                <a:lnTo>
                  <a:pt x="10912" y="19248"/>
                </a:lnTo>
                <a:lnTo>
                  <a:pt x="8432" y="23937"/>
                </a:lnTo>
                <a:lnTo>
                  <a:pt x="6200" y="28872"/>
                </a:lnTo>
                <a:lnTo>
                  <a:pt x="4464" y="34055"/>
                </a:lnTo>
                <a:close/>
              </a:path>
            </a:pathLst>
          </a:custGeom>
          <a:solidFill>
            <a:srgbClr val="000000"/>
          </a:solidFill>
        </p:spPr>
        <p:txBody>
          <a:bodyPr wrap="square" lIns="0" tIns="0" rIns="0" bIns="0" rtlCol="0">
            <a:noAutofit/>
          </a:bodyPr>
          <a:lstStyle/>
          <a:p>
            <a:endParaRPr/>
          </a:p>
        </p:txBody>
      </p:sp>
      <p:sp>
        <p:nvSpPr>
          <p:cNvPr id="1478" name="object 1478"/>
          <p:cNvSpPr/>
          <p:nvPr/>
        </p:nvSpPr>
        <p:spPr>
          <a:xfrm>
            <a:off x="9412934" y="1664584"/>
            <a:ext cx="71675" cy="125362"/>
          </a:xfrm>
          <a:custGeom>
            <a:avLst/>
            <a:gdLst/>
            <a:ahLst/>
            <a:cxnLst/>
            <a:rect l="l" t="t" r="r" b="b"/>
            <a:pathLst>
              <a:path w="71675" h="125362">
                <a:moveTo>
                  <a:pt x="35961" y="0"/>
                </a:moveTo>
                <a:lnTo>
                  <a:pt x="32241" y="246"/>
                </a:lnTo>
                <a:lnTo>
                  <a:pt x="28769" y="1233"/>
                </a:lnTo>
                <a:lnTo>
                  <a:pt x="25297" y="2714"/>
                </a:lnTo>
                <a:lnTo>
                  <a:pt x="22072" y="4935"/>
                </a:lnTo>
                <a:lnTo>
                  <a:pt x="18848" y="7650"/>
                </a:lnTo>
                <a:lnTo>
                  <a:pt x="15872" y="10611"/>
                </a:lnTo>
                <a:lnTo>
                  <a:pt x="13144" y="14312"/>
                </a:lnTo>
                <a:lnTo>
                  <a:pt x="10664" y="18261"/>
                </a:lnTo>
                <a:lnTo>
                  <a:pt x="8184" y="22950"/>
                </a:lnTo>
                <a:lnTo>
                  <a:pt x="6200" y="27638"/>
                </a:lnTo>
                <a:lnTo>
                  <a:pt x="4464" y="32821"/>
                </a:lnTo>
                <a:lnTo>
                  <a:pt x="2728" y="38250"/>
                </a:lnTo>
                <a:lnTo>
                  <a:pt x="1736" y="44172"/>
                </a:lnTo>
                <a:lnTo>
                  <a:pt x="744" y="50095"/>
                </a:lnTo>
                <a:lnTo>
                  <a:pt x="248" y="56264"/>
                </a:lnTo>
                <a:lnTo>
                  <a:pt x="0" y="62681"/>
                </a:lnTo>
                <a:lnTo>
                  <a:pt x="248" y="69097"/>
                </a:lnTo>
                <a:lnTo>
                  <a:pt x="744" y="75266"/>
                </a:lnTo>
                <a:lnTo>
                  <a:pt x="1736" y="81189"/>
                </a:lnTo>
                <a:lnTo>
                  <a:pt x="2728" y="87111"/>
                </a:lnTo>
                <a:lnTo>
                  <a:pt x="4464" y="92540"/>
                </a:lnTo>
                <a:lnTo>
                  <a:pt x="6200" y="97723"/>
                </a:lnTo>
                <a:lnTo>
                  <a:pt x="8184" y="102411"/>
                </a:lnTo>
                <a:lnTo>
                  <a:pt x="10664" y="106853"/>
                </a:lnTo>
                <a:lnTo>
                  <a:pt x="13144" y="111049"/>
                </a:lnTo>
                <a:lnTo>
                  <a:pt x="15872" y="114750"/>
                </a:lnTo>
                <a:lnTo>
                  <a:pt x="18848" y="117711"/>
                </a:lnTo>
                <a:lnTo>
                  <a:pt x="22072" y="120426"/>
                </a:lnTo>
                <a:lnTo>
                  <a:pt x="28769" y="124128"/>
                </a:lnTo>
                <a:lnTo>
                  <a:pt x="35961" y="125362"/>
                </a:lnTo>
                <a:lnTo>
                  <a:pt x="39681" y="125115"/>
                </a:lnTo>
                <a:lnTo>
                  <a:pt x="46626" y="122647"/>
                </a:lnTo>
                <a:lnTo>
                  <a:pt x="52826" y="117711"/>
                </a:lnTo>
                <a:lnTo>
                  <a:pt x="55802" y="114750"/>
                </a:lnTo>
                <a:lnTo>
                  <a:pt x="58530" y="111049"/>
                </a:lnTo>
                <a:lnTo>
                  <a:pt x="61258" y="106853"/>
                </a:lnTo>
                <a:lnTo>
                  <a:pt x="63490" y="102411"/>
                </a:lnTo>
                <a:lnTo>
                  <a:pt x="65474" y="97723"/>
                </a:lnTo>
                <a:lnTo>
                  <a:pt x="67459" y="92540"/>
                </a:lnTo>
                <a:lnTo>
                  <a:pt x="68947" y="87111"/>
                </a:lnTo>
                <a:lnTo>
                  <a:pt x="69939" y="81189"/>
                </a:lnTo>
                <a:lnTo>
                  <a:pt x="70931" y="75266"/>
                </a:lnTo>
                <a:lnTo>
                  <a:pt x="71427" y="69097"/>
                </a:lnTo>
                <a:lnTo>
                  <a:pt x="71675" y="62681"/>
                </a:lnTo>
                <a:lnTo>
                  <a:pt x="71427" y="56264"/>
                </a:lnTo>
                <a:lnTo>
                  <a:pt x="70931" y="50095"/>
                </a:lnTo>
                <a:lnTo>
                  <a:pt x="69939" y="44172"/>
                </a:lnTo>
                <a:lnTo>
                  <a:pt x="68947" y="38250"/>
                </a:lnTo>
                <a:lnTo>
                  <a:pt x="67459" y="32821"/>
                </a:lnTo>
                <a:lnTo>
                  <a:pt x="65474" y="27638"/>
                </a:lnTo>
                <a:lnTo>
                  <a:pt x="63490" y="22950"/>
                </a:lnTo>
                <a:lnTo>
                  <a:pt x="61258" y="18261"/>
                </a:lnTo>
                <a:lnTo>
                  <a:pt x="58530" y="14312"/>
                </a:lnTo>
                <a:lnTo>
                  <a:pt x="55802" y="10611"/>
                </a:lnTo>
                <a:lnTo>
                  <a:pt x="52826" y="7650"/>
                </a:lnTo>
                <a:lnTo>
                  <a:pt x="46626" y="2714"/>
                </a:lnTo>
                <a:lnTo>
                  <a:pt x="39681" y="246"/>
                </a:lnTo>
                <a:lnTo>
                  <a:pt x="35961" y="0"/>
                </a:lnTo>
                <a:close/>
              </a:path>
            </a:pathLst>
          </a:custGeom>
          <a:solidFill>
            <a:srgbClr val="000000"/>
          </a:solidFill>
        </p:spPr>
        <p:txBody>
          <a:bodyPr wrap="square" lIns="0" tIns="0" rIns="0" bIns="0" rtlCol="0">
            <a:noAutofit/>
          </a:bodyPr>
          <a:lstStyle/>
          <a:p>
            <a:endParaRPr/>
          </a:p>
        </p:txBody>
      </p:sp>
      <p:sp>
        <p:nvSpPr>
          <p:cNvPr id="1479" name="object 1479"/>
          <p:cNvSpPr/>
          <p:nvPr/>
        </p:nvSpPr>
        <p:spPr>
          <a:xfrm>
            <a:off x="9448895" y="1662856"/>
            <a:ext cx="37449" cy="64408"/>
          </a:xfrm>
          <a:custGeom>
            <a:avLst/>
            <a:gdLst/>
            <a:ahLst/>
            <a:cxnLst/>
            <a:rect l="l" t="t" r="r" b="b"/>
            <a:pathLst>
              <a:path w="37449" h="64408">
                <a:moveTo>
                  <a:pt x="3472" y="3701"/>
                </a:moveTo>
                <a:lnTo>
                  <a:pt x="6696" y="4688"/>
                </a:lnTo>
                <a:lnTo>
                  <a:pt x="9920" y="5922"/>
                </a:lnTo>
                <a:lnTo>
                  <a:pt x="12896" y="7896"/>
                </a:lnTo>
                <a:lnTo>
                  <a:pt x="15624" y="10611"/>
                </a:lnTo>
                <a:lnTo>
                  <a:pt x="18600" y="13572"/>
                </a:lnTo>
                <a:lnTo>
                  <a:pt x="21080" y="17027"/>
                </a:lnTo>
                <a:lnTo>
                  <a:pt x="23809" y="20729"/>
                </a:lnTo>
                <a:lnTo>
                  <a:pt x="26041" y="25417"/>
                </a:lnTo>
                <a:lnTo>
                  <a:pt x="28025" y="30106"/>
                </a:lnTo>
                <a:lnTo>
                  <a:pt x="29761" y="35042"/>
                </a:lnTo>
                <a:lnTo>
                  <a:pt x="31249" y="40224"/>
                </a:lnTo>
                <a:lnTo>
                  <a:pt x="32241" y="46147"/>
                </a:lnTo>
                <a:lnTo>
                  <a:pt x="33233" y="52069"/>
                </a:lnTo>
                <a:lnTo>
                  <a:pt x="33729" y="57992"/>
                </a:lnTo>
                <a:lnTo>
                  <a:pt x="33977" y="64408"/>
                </a:lnTo>
                <a:lnTo>
                  <a:pt x="37449" y="64408"/>
                </a:lnTo>
                <a:lnTo>
                  <a:pt x="37201" y="57992"/>
                </a:lnTo>
                <a:lnTo>
                  <a:pt x="36705" y="51576"/>
                </a:lnTo>
                <a:lnTo>
                  <a:pt x="35713" y="45653"/>
                </a:lnTo>
                <a:lnTo>
                  <a:pt x="34721" y="39730"/>
                </a:lnTo>
                <a:lnTo>
                  <a:pt x="33233" y="34055"/>
                </a:lnTo>
                <a:lnTo>
                  <a:pt x="31001" y="28625"/>
                </a:lnTo>
                <a:lnTo>
                  <a:pt x="29017" y="23937"/>
                </a:lnTo>
                <a:lnTo>
                  <a:pt x="26785" y="19248"/>
                </a:lnTo>
                <a:lnTo>
                  <a:pt x="24057" y="15053"/>
                </a:lnTo>
                <a:lnTo>
                  <a:pt x="21080" y="11104"/>
                </a:lnTo>
                <a:lnTo>
                  <a:pt x="18104" y="8143"/>
                </a:lnTo>
                <a:lnTo>
                  <a:pt x="14880" y="5429"/>
                </a:lnTo>
                <a:lnTo>
                  <a:pt x="11408" y="2961"/>
                </a:lnTo>
                <a:lnTo>
                  <a:pt x="7688" y="1233"/>
                </a:lnTo>
                <a:lnTo>
                  <a:pt x="3968" y="246"/>
                </a:lnTo>
                <a:lnTo>
                  <a:pt x="0" y="0"/>
                </a:lnTo>
                <a:lnTo>
                  <a:pt x="0" y="3454"/>
                </a:lnTo>
                <a:lnTo>
                  <a:pt x="3472" y="3701"/>
                </a:lnTo>
                <a:close/>
              </a:path>
            </a:pathLst>
          </a:custGeom>
          <a:solidFill>
            <a:srgbClr val="000000"/>
          </a:solidFill>
        </p:spPr>
        <p:txBody>
          <a:bodyPr wrap="square" lIns="0" tIns="0" rIns="0" bIns="0" rtlCol="0">
            <a:noAutofit/>
          </a:bodyPr>
          <a:lstStyle/>
          <a:p>
            <a:endParaRPr/>
          </a:p>
        </p:txBody>
      </p:sp>
      <p:sp>
        <p:nvSpPr>
          <p:cNvPr id="1480" name="object 1480"/>
          <p:cNvSpPr/>
          <p:nvPr/>
        </p:nvSpPr>
        <p:spPr>
          <a:xfrm>
            <a:off x="9448895" y="1727265"/>
            <a:ext cx="37449" cy="64408"/>
          </a:xfrm>
          <a:custGeom>
            <a:avLst/>
            <a:gdLst/>
            <a:ahLst/>
            <a:cxnLst/>
            <a:rect l="l" t="t" r="r" b="b"/>
            <a:pathLst>
              <a:path w="37449" h="64408">
                <a:moveTo>
                  <a:pt x="3968" y="64161"/>
                </a:moveTo>
                <a:lnTo>
                  <a:pt x="7688" y="63174"/>
                </a:lnTo>
                <a:lnTo>
                  <a:pt x="11408" y="61447"/>
                </a:lnTo>
                <a:lnTo>
                  <a:pt x="14880" y="58979"/>
                </a:lnTo>
                <a:lnTo>
                  <a:pt x="18104" y="56264"/>
                </a:lnTo>
                <a:lnTo>
                  <a:pt x="21080" y="53303"/>
                </a:lnTo>
                <a:lnTo>
                  <a:pt x="24057" y="49355"/>
                </a:lnTo>
                <a:lnTo>
                  <a:pt x="26785" y="44913"/>
                </a:lnTo>
                <a:lnTo>
                  <a:pt x="29017" y="40471"/>
                </a:lnTo>
                <a:lnTo>
                  <a:pt x="31001" y="35782"/>
                </a:lnTo>
                <a:lnTo>
                  <a:pt x="33233" y="30353"/>
                </a:lnTo>
                <a:lnTo>
                  <a:pt x="34721" y="24677"/>
                </a:lnTo>
                <a:lnTo>
                  <a:pt x="35713" y="18754"/>
                </a:lnTo>
                <a:lnTo>
                  <a:pt x="36705" y="12832"/>
                </a:lnTo>
                <a:lnTo>
                  <a:pt x="37201" y="6416"/>
                </a:lnTo>
                <a:lnTo>
                  <a:pt x="37449" y="0"/>
                </a:lnTo>
                <a:lnTo>
                  <a:pt x="33977" y="0"/>
                </a:lnTo>
                <a:lnTo>
                  <a:pt x="33729" y="6416"/>
                </a:lnTo>
                <a:lnTo>
                  <a:pt x="33233" y="12338"/>
                </a:lnTo>
                <a:lnTo>
                  <a:pt x="32241" y="18261"/>
                </a:lnTo>
                <a:lnTo>
                  <a:pt x="31249" y="24184"/>
                </a:lnTo>
                <a:lnTo>
                  <a:pt x="29761" y="29366"/>
                </a:lnTo>
                <a:lnTo>
                  <a:pt x="28025" y="34301"/>
                </a:lnTo>
                <a:lnTo>
                  <a:pt x="26041" y="38990"/>
                </a:lnTo>
                <a:lnTo>
                  <a:pt x="23809" y="43432"/>
                </a:lnTo>
                <a:lnTo>
                  <a:pt x="21080" y="47380"/>
                </a:lnTo>
                <a:lnTo>
                  <a:pt x="18600" y="50835"/>
                </a:lnTo>
                <a:lnTo>
                  <a:pt x="15624" y="53797"/>
                </a:lnTo>
                <a:lnTo>
                  <a:pt x="12896" y="56511"/>
                </a:lnTo>
                <a:lnTo>
                  <a:pt x="9920" y="58485"/>
                </a:lnTo>
                <a:lnTo>
                  <a:pt x="6696" y="59719"/>
                </a:lnTo>
                <a:lnTo>
                  <a:pt x="3472" y="60706"/>
                </a:lnTo>
                <a:lnTo>
                  <a:pt x="0" y="60953"/>
                </a:lnTo>
                <a:lnTo>
                  <a:pt x="0" y="64408"/>
                </a:lnTo>
                <a:lnTo>
                  <a:pt x="3968" y="64161"/>
                </a:lnTo>
                <a:close/>
              </a:path>
            </a:pathLst>
          </a:custGeom>
          <a:solidFill>
            <a:srgbClr val="000000"/>
          </a:solidFill>
        </p:spPr>
        <p:txBody>
          <a:bodyPr wrap="square" lIns="0" tIns="0" rIns="0" bIns="0" rtlCol="0">
            <a:noAutofit/>
          </a:bodyPr>
          <a:lstStyle/>
          <a:p>
            <a:endParaRPr/>
          </a:p>
        </p:txBody>
      </p:sp>
      <p:sp>
        <p:nvSpPr>
          <p:cNvPr id="1481" name="object 1481"/>
          <p:cNvSpPr/>
          <p:nvPr/>
        </p:nvSpPr>
        <p:spPr>
          <a:xfrm>
            <a:off x="9411198" y="1727265"/>
            <a:ext cx="37697" cy="64408"/>
          </a:xfrm>
          <a:custGeom>
            <a:avLst/>
            <a:gdLst/>
            <a:ahLst/>
            <a:cxnLst/>
            <a:rect l="l" t="t" r="r" b="b"/>
            <a:pathLst>
              <a:path w="37697" h="64408">
                <a:moveTo>
                  <a:pt x="3472" y="0"/>
                </a:moveTo>
                <a:lnTo>
                  <a:pt x="0" y="0"/>
                </a:lnTo>
                <a:lnTo>
                  <a:pt x="248" y="6416"/>
                </a:lnTo>
                <a:lnTo>
                  <a:pt x="744" y="12832"/>
                </a:lnTo>
                <a:lnTo>
                  <a:pt x="1736" y="18754"/>
                </a:lnTo>
                <a:lnTo>
                  <a:pt x="2728" y="24924"/>
                </a:lnTo>
                <a:lnTo>
                  <a:pt x="4464" y="30353"/>
                </a:lnTo>
                <a:lnTo>
                  <a:pt x="6200" y="35535"/>
                </a:lnTo>
                <a:lnTo>
                  <a:pt x="8432" y="40471"/>
                </a:lnTo>
                <a:lnTo>
                  <a:pt x="10912" y="44913"/>
                </a:lnTo>
                <a:lnTo>
                  <a:pt x="13392" y="49355"/>
                </a:lnTo>
                <a:lnTo>
                  <a:pt x="16368" y="53303"/>
                </a:lnTo>
                <a:lnTo>
                  <a:pt x="19344" y="56264"/>
                </a:lnTo>
                <a:lnTo>
                  <a:pt x="22817" y="59226"/>
                </a:lnTo>
                <a:lnTo>
                  <a:pt x="26289" y="61447"/>
                </a:lnTo>
                <a:lnTo>
                  <a:pt x="30009" y="63174"/>
                </a:lnTo>
                <a:lnTo>
                  <a:pt x="33729" y="64161"/>
                </a:lnTo>
                <a:lnTo>
                  <a:pt x="37697" y="64408"/>
                </a:lnTo>
                <a:lnTo>
                  <a:pt x="37697" y="60953"/>
                </a:lnTo>
                <a:lnTo>
                  <a:pt x="34225" y="60706"/>
                </a:lnTo>
                <a:lnTo>
                  <a:pt x="31001" y="59719"/>
                </a:lnTo>
                <a:lnTo>
                  <a:pt x="27777" y="58485"/>
                </a:lnTo>
                <a:lnTo>
                  <a:pt x="24801" y="56264"/>
                </a:lnTo>
                <a:lnTo>
                  <a:pt x="21824" y="53797"/>
                </a:lnTo>
                <a:lnTo>
                  <a:pt x="18848" y="50835"/>
                </a:lnTo>
                <a:lnTo>
                  <a:pt x="16368" y="47380"/>
                </a:lnTo>
                <a:lnTo>
                  <a:pt x="13888" y="43432"/>
                </a:lnTo>
                <a:lnTo>
                  <a:pt x="11408" y="38990"/>
                </a:lnTo>
                <a:lnTo>
                  <a:pt x="9672" y="34548"/>
                </a:lnTo>
                <a:lnTo>
                  <a:pt x="7936" y="29366"/>
                </a:lnTo>
                <a:lnTo>
                  <a:pt x="6200" y="23937"/>
                </a:lnTo>
                <a:lnTo>
                  <a:pt x="5208" y="18261"/>
                </a:lnTo>
                <a:lnTo>
                  <a:pt x="4216" y="12338"/>
                </a:lnTo>
                <a:lnTo>
                  <a:pt x="3720" y="6416"/>
                </a:lnTo>
                <a:lnTo>
                  <a:pt x="3472" y="0"/>
                </a:lnTo>
                <a:close/>
              </a:path>
            </a:pathLst>
          </a:custGeom>
          <a:solidFill>
            <a:srgbClr val="000000"/>
          </a:solidFill>
        </p:spPr>
        <p:txBody>
          <a:bodyPr wrap="square" lIns="0" tIns="0" rIns="0" bIns="0" rtlCol="0">
            <a:noAutofit/>
          </a:bodyPr>
          <a:lstStyle/>
          <a:p>
            <a:endParaRPr/>
          </a:p>
        </p:txBody>
      </p:sp>
      <p:sp>
        <p:nvSpPr>
          <p:cNvPr id="1482" name="object 1482"/>
          <p:cNvSpPr/>
          <p:nvPr/>
        </p:nvSpPr>
        <p:spPr>
          <a:xfrm>
            <a:off x="9411198" y="1662856"/>
            <a:ext cx="37697" cy="64408"/>
          </a:xfrm>
          <a:custGeom>
            <a:avLst/>
            <a:gdLst/>
            <a:ahLst/>
            <a:cxnLst/>
            <a:rect l="l" t="t" r="r" b="b"/>
            <a:pathLst>
              <a:path w="37697" h="64408">
                <a:moveTo>
                  <a:pt x="4464" y="34055"/>
                </a:moveTo>
                <a:lnTo>
                  <a:pt x="2728" y="39484"/>
                </a:lnTo>
                <a:lnTo>
                  <a:pt x="1736" y="45653"/>
                </a:lnTo>
                <a:lnTo>
                  <a:pt x="744" y="51576"/>
                </a:lnTo>
                <a:lnTo>
                  <a:pt x="248" y="57992"/>
                </a:lnTo>
                <a:lnTo>
                  <a:pt x="0" y="64408"/>
                </a:lnTo>
                <a:lnTo>
                  <a:pt x="3472" y="64408"/>
                </a:lnTo>
                <a:lnTo>
                  <a:pt x="3720" y="57992"/>
                </a:lnTo>
                <a:lnTo>
                  <a:pt x="4216" y="52069"/>
                </a:lnTo>
                <a:lnTo>
                  <a:pt x="5208" y="46147"/>
                </a:lnTo>
                <a:lnTo>
                  <a:pt x="6200" y="40471"/>
                </a:lnTo>
                <a:lnTo>
                  <a:pt x="7936" y="35042"/>
                </a:lnTo>
                <a:lnTo>
                  <a:pt x="9672" y="29859"/>
                </a:lnTo>
                <a:lnTo>
                  <a:pt x="11408" y="25417"/>
                </a:lnTo>
                <a:lnTo>
                  <a:pt x="13888" y="20729"/>
                </a:lnTo>
                <a:lnTo>
                  <a:pt x="16368" y="17027"/>
                </a:lnTo>
                <a:lnTo>
                  <a:pt x="18848" y="13572"/>
                </a:lnTo>
                <a:lnTo>
                  <a:pt x="21824" y="10611"/>
                </a:lnTo>
                <a:lnTo>
                  <a:pt x="24801" y="8143"/>
                </a:lnTo>
                <a:lnTo>
                  <a:pt x="27777" y="5922"/>
                </a:lnTo>
                <a:lnTo>
                  <a:pt x="31001" y="4688"/>
                </a:lnTo>
                <a:lnTo>
                  <a:pt x="34225" y="3701"/>
                </a:lnTo>
                <a:lnTo>
                  <a:pt x="37697" y="3454"/>
                </a:lnTo>
                <a:lnTo>
                  <a:pt x="37697" y="0"/>
                </a:lnTo>
                <a:lnTo>
                  <a:pt x="33729" y="246"/>
                </a:lnTo>
                <a:lnTo>
                  <a:pt x="30009" y="1233"/>
                </a:lnTo>
                <a:lnTo>
                  <a:pt x="26289" y="2961"/>
                </a:lnTo>
                <a:lnTo>
                  <a:pt x="22817" y="5182"/>
                </a:lnTo>
                <a:lnTo>
                  <a:pt x="19344" y="8143"/>
                </a:lnTo>
                <a:lnTo>
                  <a:pt x="16368" y="11104"/>
                </a:lnTo>
                <a:lnTo>
                  <a:pt x="13392" y="15053"/>
                </a:lnTo>
                <a:lnTo>
                  <a:pt x="10912" y="19248"/>
                </a:lnTo>
                <a:lnTo>
                  <a:pt x="8432" y="23937"/>
                </a:lnTo>
                <a:lnTo>
                  <a:pt x="6200" y="28872"/>
                </a:lnTo>
                <a:lnTo>
                  <a:pt x="4464" y="34055"/>
                </a:lnTo>
                <a:close/>
              </a:path>
            </a:pathLst>
          </a:custGeom>
          <a:solidFill>
            <a:srgbClr val="000000"/>
          </a:solidFill>
        </p:spPr>
        <p:txBody>
          <a:bodyPr wrap="square" lIns="0" tIns="0" rIns="0" bIns="0" rtlCol="0">
            <a:noAutofit/>
          </a:bodyPr>
          <a:lstStyle/>
          <a:p>
            <a:endParaRPr/>
          </a:p>
        </p:txBody>
      </p:sp>
      <p:sp>
        <p:nvSpPr>
          <p:cNvPr id="1483" name="object 1483"/>
          <p:cNvSpPr/>
          <p:nvPr/>
        </p:nvSpPr>
        <p:spPr>
          <a:xfrm>
            <a:off x="9449143" y="1785505"/>
            <a:ext cx="24305" cy="4195"/>
          </a:xfrm>
          <a:custGeom>
            <a:avLst/>
            <a:gdLst/>
            <a:ahLst/>
            <a:cxnLst/>
            <a:rect l="l" t="t" r="r" b="b"/>
            <a:pathLst>
              <a:path w="24305" h="4195">
                <a:moveTo>
                  <a:pt x="24305" y="4195"/>
                </a:moveTo>
                <a:lnTo>
                  <a:pt x="11656" y="0"/>
                </a:lnTo>
                <a:lnTo>
                  <a:pt x="0" y="4195"/>
                </a:lnTo>
                <a:lnTo>
                  <a:pt x="24305" y="4195"/>
                </a:lnTo>
                <a:close/>
              </a:path>
            </a:pathLst>
          </a:custGeom>
          <a:solidFill>
            <a:srgbClr val="000000"/>
          </a:solidFill>
        </p:spPr>
        <p:txBody>
          <a:bodyPr wrap="square" lIns="0" tIns="0" rIns="0" bIns="0" rtlCol="0">
            <a:noAutofit/>
          </a:bodyPr>
          <a:lstStyle/>
          <a:p>
            <a:endParaRPr/>
          </a:p>
        </p:txBody>
      </p:sp>
      <p:sp>
        <p:nvSpPr>
          <p:cNvPr id="1484" name="object 1484"/>
          <p:cNvSpPr/>
          <p:nvPr/>
        </p:nvSpPr>
        <p:spPr>
          <a:xfrm>
            <a:off x="9448647" y="1664832"/>
            <a:ext cx="23809" cy="4441"/>
          </a:xfrm>
          <a:custGeom>
            <a:avLst/>
            <a:gdLst/>
            <a:ahLst/>
            <a:cxnLst/>
            <a:rect l="l" t="t" r="r" b="b"/>
            <a:pathLst>
              <a:path w="23809" h="4441">
                <a:moveTo>
                  <a:pt x="23809" y="0"/>
                </a:moveTo>
                <a:lnTo>
                  <a:pt x="0" y="0"/>
                </a:lnTo>
                <a:lnTo>
                  <a:pt x="12152" y="4441"/>
                </a:lnTo>
                <a:lnTo>
                  <a:pt x="23809" y="0"/>
                </a:lnTo>
                <a:close/>
              </a:path>
            </a:pathLst>
          </a:custGeom>
          <a:solidFill>
            <a:srgbClr val="000000"/>
          </a:solidFill>
        </p:spPr>
        <p:txBody>
          <a:bodyPr wrap="square" lIns="0" tIns="0" rIns="0" bIns="0" rtlCol="0">
            <a:noAutofit/>
          </a:bodyPr>
          <a:lstStyle/>
          <a:p>
            <a:endParaRPr/>
          </a:p>
        </p:txBody>
      </p:sp>
      <p:sp>
        <p:nvSpPr>
          <p:cNvPr id="1485" name="object 1485"/>
          <p:cNvSpPr/>
          <p:nvPr/>
        </p:nvSpPr>
        <p:spPr>
          <a:xfrm>
            <a:off x="9448647" y="1663598"/>
            <a:ext cx="25049" cy="2467"/>
          </a:xfrm>
          <a:custGeom>
            <a:avLst/>
            <a:gdLst/>
            <a:ahLst/>
            <a:cxnLst/>
            <a:rect l="l" t="t" r="r" b="b"/>
            <a:pathLst>
              <a:path w="25049" h="2467">
                <a:moveTo>
                  <a:pt x="23313" y="0"/>
                </a:moveTo>
                <a:lnTo>
                  <a:pt x="0" y="0"/>
                </a:lnTo>
                <a:lnTo>
                  <a:pt x="0" y="2467"/>
                </a:lnTo>
                <a:lnTo>
                  <a:pt x="23809" y="2467"/>
                </a:lnTo>
                <a:lnTo>
                  <a:pt x="24246" y="2177"/>
                </a:lnTo>
                <a:lnTo>
                  <a:pt x="24553" y="1974"/>
                </a:lnTo>
                <a:lnTo>
                  <a:pt x="25049" y="1233"/>
                </a:lnTo>
                <a:lnTo>
                  <a:pt x="24553" y="493"/>
                </a:lnTo>
                <a:lnTo>
                  <a:pt x="23809" y="0"/>
                </a:lnTo>
                <a:lnTo>
                  <a:pt x="23313" y="0"/>
                </a:lnTo>
                <a:close/>
              </a:path>
            </a:pathLst>
          </a:custGeom>
          <a:solidFill>
            <a:srgbClr val="000000"/>
          </a:solidFill>
        </p:spPr>
        <p:txBody>
          <a:bodyPr wrap="square" lIns="0" tIns="0" rIns="0" bIns="0" rtlCol="0">
            <a:noAutofit/>
          </a:bodyPr>
          <a:lstStyle/>
          <a:p>
            <a:endParaRPr/>
          </a:p>
        </p:txBody>
      </p:sp>
      <p:sp>
        <p:nvSpPr>
          <p:cNvPr id="1486" name="object 1486"/>
          <p:cNvSpPr/>
          <p:nvPr/>
        </p:nvSpPr>
        <p:spPr>
          <a:xfrm>
            <a:off x="9459559" y="1663598"/>
            <a:ext cx="12400" cy="6909"/>
          </a:xfrm>
          <a:custGeom>
            <a:avLst/>
            <a:gdLst/>
            <a:ahLst/>
            <a:cxnLst/>
            <a:rect l="l" t="t" r="r" b="b"/>
            <a:pathLst>
              <a:path w="12400" h="6909">
                <a:moveTo>
                  <a:pt x="744" y="4441"/>
                </a:moveTo>
                <a:lnTo>
                  <a:pt x="0" y="5182"/>
                </a:lnTo>
                <a:lnTo>
                  <a:pt x="248" y="5922"/>
                </a:lnTo>
                <a:lnTo>
                  <a:pt x="744" y="6909"/>
                </a:lnTo>
                <a:lnTo>
                  <a:pt x="1736" y="6909"/>
                </a:lnTo>
                <a:lnTo>
                  <a:pt x="1736" y="4441"/>
                </a:lnTo>
                <a:lnTo>
                  <a:pt x="12400" y="0"/>
                </a:lnTo>
                <a:lnTo>
                  <a:pt x="744" y="4441"/>
                </a:lnTo>
                <a:close/>
              </a:path>
            </a:pathLst>
          </a:custGeom>
          <a:solidFill>
            <a:srgbClr val="000000"/>
          </a:solidFill>
        </p:spPr>
        <p:txBody>
          <a:bodyPr wrap="square" lIns="0" tIns="0" rIns="0" bIns="0" rtlCol="0">
            <a:noAutofit/>
          </a:bodyPr>
          <a:lstStyle/>
          <a:p>
            <a:endParaRPr/>
          </a:p>
        </p:txBody>
      </p:sp>
      <p:sp>
        <p:nvSpPr>
          <p:cNvPr id="1487" name="object 1487"/>
          <p:cNvSpPr/>
          <p:nvPr/>
        </p:nvSpPr>
        <p:spPr>
          <a:xfrm>
            <a:off x="9461295" y="1663598"/>
            <a:ext cx="11656" cy="6909"/>
          </a:xfrm>
          <a:custGeom>
            <a:avLst/>
            <a:gdLst/>
            <a:ahLst/>
            <a:cxnLst/>
            <a:rect l="l" t="t" r="r" b="b"/>
            <a:pathLst>
              <a:path w="11656" h="6909">
                <a:moveTo>
                  <a:pt x="0" y="4441"/>
                </a:moveTo>
                <a:lnTo>
                  <a:pt x="0" y="6909"/>
                </a:lnTo>
                <a:lnTo>
                  <a:pt x="11656" y="2467"/>
                </a:lnTo>
                <a:lnTo>
                  <a:pt x="10664" y="0"/>
                </a:lnTo>
                <a:lnTo>
                  <a:pt x="0" y="4441"/>
                </a:lnTo>
                <a:close/>
              </a:path>
            </a:pathLst>
          </a:custGeom>
          <a:solidFill>
            <a:srgbClr val="000000"/>
          </a:solidFill>
        </p:spPr>
        <p:txBody>
          <a:bodyPr wrap="square" lIns="0" tIns="0" rIns="0" bIns="0" rtlCol="0">
            <a:noAutofit/>
          </a:bodyPr>
          <a:lstStyle/>
          <a:p>
            <a:endParaRPr/>
          </a:p>
        </p:txBody>
      </p:sp>
      <p:sp>
        <p:nvSpPr>
          <p:cNvPr id="1488" name="object 1488"/>
          <p:cNvSpPr/>
          <p:nvPr/>
        </p:nvSpPr>
        <p:spPr>
          <a:xfrm>
            <a:off x="9447406" y="1663598"/>
            <a:ext cx="12896" cy="6909"/>
          </a:xfrm>
          <a:custGeom>
            <a:avLst/>
            <a:gdLst/>
            <a:ahLst/>
            <a:cxnLst/>
            <a:rect l="l" t="t" r="r" b="b"/>
            <a:pathLst>
              <a:path w="12896" h="6909">
                <a:moveTo>
                  <a:pt x="744" y="2467"/>
                </a:moveTo>
                <a:lnTo>
                  <a:pt x="12896" y="6909"/>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1489" name="object 1489"/>
          <p:cNvSpPr/>
          <p:nvPr/>
        </p:nvSpPr>
        <p:spPr>
          <a:xfrm>
            <a:off x="9448646" y="1663598"/>
            <a:ext cx="12648" cy="6909"/>
          </a:xfrm>
          <a:custGeom>
            <a:avLst/>
            <a:gdLst/>
            <a:ahLst/>
            <a:cxnLst/>
            <a:rect l="l" t="t" r="r" b="b"/>
            <a:pathLst>
              <a:path w="12648" h="6909">
                <a:moveTo>
                  <a:pt x="496" y="0"/>
                </a:moveTo>
                <a:lnTo>
                  <a:pt x="0" y="0"/>
                </a:lnTo>
                <a:lnTo>
                  <a:pt x="0" y="2467"/>
                </a:lnTo>
                <a:lnTo>
                  <a:pt x="11656" y="6909"/>
                </a:lnTo>
                <a:lnTo>
                  <a:pt x="12648" y="4441"/>
                </a:lnTo>
                <a:lnTo>
                  <a:pt x="496" y="0"/>
                </a:lnTo>
                <a:close/>
              </a:path>
            </a:pathLst>
          </a:custGeom>
          <a:solidFill>
            <a:srgbClr val="000000"/>
          </a:solidFill>
        </p:spPr>
        <p:txBody>
          <a:bodyPr wrap="square" lIns="0" tIns="0" rIns="0" bIns="0" rtlCol="0">
            <a:noAutofit/>
          </a:bodyPr>
          <a:lstStyle/>
          <a:p>
            <a:endParaRPr/>
          </a:p>
        </p:txBody>
      </p:sp>
      <p:sp>
        <p:nvSpPr>
          <p:cNvPr id="1490" name="object 1490"/>
          <p:cNvSpPr/>
          <p:nvPr/>
        </p:nvSpPr>
        <p:spPr>
          <a:xfrm>
            <a:off x="9449143" y="1788466"/>
            <a:ext cx="25545" cy="2467"/>
          </a:xfrm>
          <a:custGeom>
            <a:avLst/>
            <a:gdLst/>
            <a:ahLst/>
            <a:cxnLst/>
            <a:rect l="l" t="t" r="r" b="b"/>
            <a:pathLst>
              <a:path w="25545" h="2467">
                <a:moveTo>
                  <a:pt x="25545" y="1233"/>
                </a:moveTo>
                <a:lnTo>
                  <a:pt x="25049" y="493"/>
                </a:lnTo>
                <a:lnTo>
                  <a:pt x="24742" y="290"/>
                </a:lnTo>
                <a:lnTo>
                  <a:pt x="24305" y="0"/>
                </a:lnTo>
                <a:lnTo>
                  <a:pt x="0" y="0"/>
                </a:lnTo>
                <a:lnTo>
                  <a:pt x="0" y="2467"/>
                </a:lnTo>
                <a:lnTo>
                  <a:pt x="24305" y="2467"/>
                </a:lnTo>
                <a:lnTo>
                  <a:pt x="25049" y="1974"/>
                </a:lnTo>
                <a:lnTo>
                  <a:pt x="25545" y="1233"/>
                </a:lnTo>
                <a:close/>
              </a:path>
            </a:pathLst>
          </a:custGeom>
          <a:solidFill>
            <a:srgbClr val="000000"/>
          </a:solidFill>
        </p:spPr>
        <p:txBody>
          <a:bodyPr wrap="square" lIns="0" tIns="0" rIns="0" bIns="0" rtlCol="0">
            <a:noAutofit/>
          </a:bodyPr>
          <a:lstStyle/>
          <a:p>
            <a:endParaRPr/>
          </a:p>
        </p:txBody>
      </p:sp>
      <p:sp>
        <p:nvSpPr>
          <p:cNvPr id="1491" name="object 1491"/>
          <p:cNvSpPr/>
          <p:nvPr/>
        </p:nvSpPr>
        <p:spPr>
          <a:xfrm>
            <a:off x="9460303" y="1786739"/>
            <a:ext cx="12648" cy="4195"/>
          </a:xfrm>
          <a:custGeom>
            <a:avLst/>
            <a:gdLst/>
            <a:ahLst/>
            <a:cxnLst/>
            <a:rect l="l" t="t" r="r" b="b"/>
            <a:pathLst>
              <a:path w="12648" h="4195">
                <a:moveTo>
                  <a:pt x="12648" y="4195"/>
                </a:moveTo>
                <a:lnTo>
                  <a:pt x="992" y="0"/>
                </a:lnTo>
                <a:lnTo>
                  <a:pt x="0" y="0"/>
                </a:lnTo>
                <a:lnTo>
                  <a:pt x="12648" y="4195"/>
                </a:lnTo>
                <a:close/>
              </a:path>
            </a:pathLst>
          </a:custGeom>
          <a:solidFill>
            <a:srgbClr val="000000"/>
          </a:solidFill>
        </p:spPr>
        <p:txBody>
          <a:bodyPr wrap="square" lIns="0" tIns="0" rIns="0" bIns="0" rtlCol="0">
            <a:noAutofit/>
          </a:bodyPr>
          <a:lstStyle/>
          <a:p>
            <a:endParaRPr/>
          </a:p>
        </p:txBody>
      </p:sp>
      <p:sp>
        <p:nvSpPr>
          <p:cNvPr id="1492" name="object 1492"/>
          <p:cNvSpPr/>
          <p:nvPr/>
        </p:nvSpPr>
        <p:spPr>
          <a:xfrm>
            <a:off x="9459559" y="1784270"/>
            <a:ext cx="14384" cy="6662"/>
          </a:xfrm>
          <a:custGeom>
            <a:avLst/>
            <a:gdLst/>
            <a:ahLst/>
            <a:cxnLst/>
            <a:rect l="l" t="t" r="r" b="b"/>
            <a:pathLst>
              <a:path w="14384" h="6662">
                <a:moveTo>
                  <a:pt x="248" y="740"/>
                </a:moveTo>
                <a:lnTo>
                  <a:pt x="0" y="1727"/>
                </a:lnTo>
                <a:lnTo>
                  <a:pt x="744" y="2467"/>
                </a:lnTo>
                <a:lnTo>
                  <a:pt x="1736" y="2467"/>
                </a:lnTo>
                <a:lnTo>
                  <a:pt x="13392" y="6662"/>
                </a:lnTo>
                <a:lnTo>
                  <a:pt x="14384" y="4195"/>
                </a:lnTo>
                <a:lnTo>
                  <a:pt x="1736" y="0"/>
                </a:lnTo>
                <a:lnTo>
                  <a:pt x="744" y="0"/>
                </a:lnTo>
                <a:lnTo>
                  <a:pt x="248" y="740"/>
                </a:lnTo>
                <a:close/>
              </a:path>
            </a:pathLst>
          </a:custGeom>
          <a:solidFill>
            <a:srgbClr val="000000"/>
          </a:solidFill>
        </p:spPr>
        <p:txBody>
          <a:bodyPr wrap="square" lIns="0" tIns="0" rIns="0" bIns="0" rtlCol="0">
            <a:noAutofit/>
          </a:bodyPr>
          <a:lstStyle/>
          <a:p>
            <a:endParaRPr/>
          </a:p>
        </p:txBody>
      </p:sp>
      <p:sp>
        <p:nvSpPr>
          <p:cNvPr id="1493" name="object 1493"/>
          <p:cNvSpPr/>
          <p:nvPr/>
        </p:nvSpPr>
        <p:spPr>
          <a:xfrm>
            <a:off x="9448646" y="1784271"/>
            <a:ext cx="11656" cy="4195"/>
          </a:xfrm>
          <a:custGeom>
            <a:avLst/>
            <a:gdLst/>
            <a:ahLst/>
            <a:cxnLst/>
            <a:rect l="l" t="t" r="r" b="b"/>
            <a:pathLst>
              <a:path w="11656" h="4195">
                <a:moveTo>
                  <a:pt x="0" y="4195"/>
                </a:moveTo>
                <a:lnTo>
                  <a:pt x="496" y="4195"/>
                </a:lnTo>
                <a:lnTo>
                  <a:pt x="11656" y="0"/>
                </a:lnTo>
                <a:lnTo>
                  <a:pt x="0" y="4195"/>
                </a:lnTo>
                <a:close/>
              </a:path>
            </a:pathLst>
          </a:custGeom>
          <a:solidFill>
            <a:srgbClr val="000000"/>
          </a:solidFill>
        </p:spPr>
        <p:txBody>
          <a:bodyPr wrap="square" lIns="0" tIns="0" rIns="0" bIns="0" rtlCol="0">
            <a:noAutofit/>
          </a:bodyPr>
          <a:lstStyle/>
          <a:p>
            <a:endParaRPr/>
          </a:p>
        </p:txBody>
      </p:sp>
      <p:sp>
        <p:nvSpPr>
          <p:cNvPr id="1494" name="object 1494"/>
          <p:cNvSpPr/>
          <p:nvPr/>
        </p:nvSpPr>
        <p:spPr>
          <a:xfrm>
            <a:off x="9447902" y="1784270"/>
            <a:ext cx="13392" cy="6662"/>
          </a:xfrm>
          <a:custGeom>
            <a:avLst/>
            <a:gdLst/>
            <a:ahLst/>
            <a:cxnLst/>
            <a:rect l="l" t="t" r="r" b="b"/>
            <a:pathLst>
              <a:path w="13392" h="6662">
                <a:moveTo>
                  <a:pt x="248" y="5675"/>
                </a:moveTo>
                <a:lnTo>
                  <a:pt x="744" y="6662"/>
                </a:lnTo>
                <a:lnTo>
                  <a:pt x="1736" y="6662"/>
                </a:lnTo>
                <a:lnTo>
                  <a:pt x="13392" y="2467"/>
                </a:lnTo>
                <a:lnTo>
                  <a:pt x="12400" y="0"/>
                </a:lnTo>
                <a:lnTo>
                  <a:pt x="1240" y="4195"/>
                </a:lnTo>
                <a:lnTo>
                  <a:pt x="744" y="4195"/>
                </a:lnTo>
                <a:lnTo>
                  <a:pt x="0" y="4935"/>
                </a:lnTo>
                <a:lnTo>
                  <a:pt x="248" y="5675"/>
                </a:lnTo>
                <a:close/>
              </a:path>
            </a:pathLst>
          </a:custGeom>
          <a:solidFill>
            <a:srgbClr val="000000"/>
          </a:solidFill>
        </p:spPr>
        <p:txBody>
          <a:bodyPr wrap="square" lIns="0" tIns="0" rIns="0" bIns="0" rtlCol="0">
            <a:noAutofit/>
          </a:bodyPr>
          <a:lstStyle/>
          <a:p>
            <a:endParaRPr/>
          </a:p>
        </p:txBody>
      </p:sp>
      <p:sp>
        <p:nvSpPr>
          <p:cNvPr id="1495" name="object 1495"/>
          <p:cNvSpPr/>
          <p:nvPr/>
        </p:nvSpPr>
        <p:spPr>
          <a:xfrm>
            <a:off x="9436495" y="1664584"/>
            <a:ext cx="71675" cy="125362"/>
          </a:xfrm>
          <a:custGeom>
            <a:avLst/>
            <a:gdLst/>
            <a:ahLst/>
            <a:cxnLst/>
            <a:rect l="l" t="t" r="r" b="b"/>
            <a:pathLst>
              <a:path w="71675" h="125362">
                <a:moveTo>
                  <a:pt x="35961" y="0"/>
                </a:moveTo>
                <a:lnTo>
                  <a:pt x="32241" y="246"/>
                </a:lnTo>
                <a:lnTo>
                  <a:pt x="28769" y="1233"/>
                </a:lnTo>
                <a:lnTo>
                  <a:pt x="25297" y="2714"/>
                </a:lnTo>
                <a:lnTo>
                  <a:pt x="22072" y="4935"/>
                </a:lnTo>
                <a:lnTo>
                  <a:pt x="18848" y="7650"/>
                </a:lnTo>
                <a:lnTo>
                  <a:pt x="15872" y="10611"/>
                </a:lnTo>
                <a:lnTo>
                  <a:pt x="13144" y="14312"/>
                </a:lnTo>
                <a:lnTo>
                  <a:pt x="10664" y="18261"/>
                </a:lnTo>
                <a:lnTo>
                  <a:pt x="8184" y="22950"/>
                </a:lnTo>
                <a:lnTo>
                  <a:pt x="6200" y="27638"/>
                </a:lnTo>
                <a:lnTo>
                  <a:pt x="4464" y="32821"/>
                </a:lnTo>
                <a:lnTo>
                  <a:pt x="2728" y="38250"/>
                </a:lnTo>
                <a:lnTo>
                  <a:pt x="1736" y="44172"/>
                </a:lnTo>
                <a:lnTo>
                  <a:pt x="744" y="50095"/>
                </a:lnTo>
                <a:lnTo>
                  <a:pt x="248" y="56264"/>
                </a:lnTo>
                <a:lnTo>
                  <a:pt x="0" y="62681"/>
                </a:lnTo>
                <a:lnTo>
                  <a:pt x="248" y="69097"/>
                </a:lnTo>
                <a:lnTo>
                  <a:pt x="744" y="75266"/>
                </a:lnTo>
                <a:lnTo>
                  <a:pt x="1736" y="81189"/>
                </a:lnTo>
                <a:lnTo>
                  <a:pt x="2728" y="87111"/>
                </a:lnTo>
                <a:lnTo>
                  <a:pt x="4464" y="92540"/>
                </a:lnTo>
                <a:lnTo>
                  <a:pt x="6200" y="97723"/>
                </a:lnTo>
                <a:lnTo>
                  <a:pt x="8184" y="102411"/>
                </a:lnTo>
                <a:lnTo>
                  <a:pt x="10664" y="106853"/>
                </a:lnTo>
                <a:lnTo>
                  <a:pt x="13144" y="111049"/>
                </a:lnTo>
                <a:lnTo>
                  <a:pt x="15872" y="114750"/>
                </a:lnTo>
                <a:lnTo>
                  <a:pt x="18848" y="117711"/>
                </a:lnTo>
                <a:lnTo>
                  <a:pt x="22072" y="120426"/>
                </a:lnTo>
                <a:lnTo>
                  <a:pt x="28769" y="124128"/>
                </a:lnTo>
                <a:lnTo>
                  <a:pt x="35961" y="125362"/>
                </a:lnTo>
                <a:lnTo>
                  <a:pt x="39681" y="125115"/>
                </a:lnTo>
                <a:lnTo>
                  <a:pt x="46626" y="122647"/>
                </a:lnTo>
                <a:lnTo>
                  <a:pt x="52826" y="117711"/>
                </a:lnTo>
                <a:lnTo>
                  <a:pt x="55802" y="114750"/>
                </a:lnTo>
                <a:lnTo>
                  <a:pt x="58530" y="111049"/>
                </a:lnTo>
                <a:lnTo>
                  <a:pt x="61258" y="106853"/>
                </a:lnTo>
                <a:lnTo>
                  <a:pt x="63490" y="102411"/>
                </a:lnTo>
                <a:lnTo>
                  <a:pt x="65474" y="97723"/>
                </a:lnTo>
                <a:lnTo>
                  <a:pt x="67459" y="92540"/>
                </a:lnTo>
                <a:lnTo>
                  <a:pt x="68947" y="87111"/>
                </a:lnTo>
                <a:lnTo>
                  <a:pt x="69939" y="81189"/>
                </a:lnTo>
                <a:lnTo>
                  <a:pt x="70931" y="75266"/>
                </a:lnTo>
                <a:lnTo>
                  <a:pt x="71427" y="69097"/>
                </a:lnTo>
                <a:lnTo>
                  <a:pt x="71675" y="62681"/>
                </a:lnTo>
                <a:lnTo>
                  <a:pt x="71427" y="56264"/>
                </a:lnTo>
                <a:lnTo>
                  <a:pt x="70931" y="50095"/>
                </a:lnTo>
                <a:lnTo>
                  <a:pt x="69939" y="44172"/>
                </a:lnTo>
                <a:lnTo>
                  <a:pt x="68947" y="38250"/>
                </a:lnTo>
                <a:lnTo>
                  <a:pt x="67459" y="32821"/>
                </a:lnTo>
                <a:lnTo>
                  <a:pt x="65474" y="27638"/>
                </a:lnTo>
                <a:lnTo>
                  <a:pt x="63490" y="22950"/>
                </a:lnTo>
                <a:lnTo>
                  <a:pt x="61258" y="18261"/>
                </a:lnTo>
                <a:lnTo>
                  <a:pt x="58530" y="14312"/>
                </a:lnTo>
                <a:lnTo>
                  <a:pt x="55802" y="10611"/>
                </a:lnTo>
                <a:lnTo>
                  <a:pt x="52826" y="7650"/>
                </a:lnTo>
                <a:lnTo>
                  <a:pt x="46626" y="2714"/>
                </a:lnTo>
                <a:lnTo>
                  <a:pt x="39681" y="246"/>
                </a:lnTo>
                <a:lnTo>
                  <a:pt x="35961" y="0"/>
                </a:lnTo>
                <a:close/>
              </a:path>
            </a:pathLst>
          </a:custGeom>
          <a:solidFill>
            <a:srgbClr val="000000"/>
          </a:solidFill>
        </p:spPr>
        <p:txBody>
          <a:bodyPr wrap="square" lIns="0" tIns="0" rIns="0" bIns="0" rtlCol="0">
            <a:noAutofit/>
          </a:bodyPr>
          <a:lstStyle/>
          <a:p>
            <a:endParaRPr/>
          </a:p>
        </p:txBody>
      </p:sp>
      <p:sp>
        <p:nvSpPr>
          <p:cNvPr id="1496" name="object 1496"/>
          <p:cNvSpPr/>
          <p:nvPr/>
        </p:nvSpPr>
        <p:spPr>
          <a:xfrm>
            <a:off x="9472456" y="1662856"/>
            <a:ext cx="37449" cy="64408"/>
          </a:xfrm>
          <a:custGeom>
            <a:avLst/>
            <a:gdLst/>
            <a:ahLst/>
            <a:cxnLst/>
            <a:rect l="l" t="t" r="r" b="b"/>
            <a:pathLst>
              <a:path w="37449" h="64408">
                <a:moveTo>
                  <a:pt x="3472" y="3701"/>
                </a:moveTo>
                <a:lnTo>
                  <a:pt x="6696" y="4688"/>
                </a:lnTo>
                <a:lnTo>
                  <a:pt x="9920" y="5922"/>
                </a:lnTo>
                <a:lnTo>
                  <a:pt x="12896" y="7896"/>
                </a:lnTo>
                <a:lnTo>
                  <a:pt x="15624" y="10611"/>
                </a:lnTo>
                <a:lnTo>
                  <a:pt x="18600" y="13572"/>
                </a:lnTo>
                <a:lnTo>
                  <a:pt x="21080" y="17027"/>
                </a:lnTo>
                <a:lnTo>
                  <a:pt x="23809" y="20729"/>
                </a:lnTo>
                <a:lnTo>
                  <a:pt x="26041" y="25417"/>
                </a:lnTo>
                <a:lnTo>
                  <a:pt x="28025" y="30106"/>
                </a:lnTo>
                <a:lnTo>
                  <a:pt x="29761" y="35042"/>
                </a:lnTo>
                <a:lnTo>
                  <a:pt x="31249" y="40224"/>
                </a:lnTo>
                <a:lnTo>
                  <a:pt x="32241" y="46147"/>
                </a:lnTo>
                <a:lnTo>
                  <a:pt x="33233" y="52069"/>
                </a:lnTo>
                <a:lnTo>
                  <a:pt x="33729" y="57992"/>
                </a:lnTo>
                <a:lnTo>
                  <a:pt x="33977" y="64408"/>
                </a:lnTo>
                <a:lnTo>
                  <a:pt x="37449" y="64408"/>
                </a:lnTo>
                <a:lnTo>
                  <a:pt x="37201" y="57992"/>
                </a:lnTo>
                <a:lnTo>
                  <a:pt x="36705" y="51576"/>
                </a:lnTo>
                <a:lnTo>
                  <a:pt x="35713" y="45653"/>
                </a:lnTo>
                <a:lnTo>
                  <a:pt x="34721" y="39730"/>
                </a:lnTo>
                <a:lnTo>
                  <a:pt x="33233" y="34055"/>
                </a:lnTo>
                <a:lnTo>
                  <a:pt x="31001" y="28625"/>
                </a:lnTo>
                <a:lnTo>
                  <a:pt x="29017" y="23937"/>
                </a:lnTo>
                <a:lnTo>
                  <a:pt x="26785" y="19248"/>
                </a:lnTo>
                <a:lnTo>
                  <a:pt x="24057" y="15053"/>
                </a:lnTo>
                <a:lnTo>
                  <a:pt x="21080" y="11104"/>
                </a:lnTo>
                <a:lnTo>
                  <a:pt x="18104" y="8143"/>
                </a:lnTo>
                <a:lnTo>
                  <a:pt x="14880" y="5429"/>
                </a:lnTo>
                <a:lnTo>
                  <a:pt x="11408" y="2961"/>
                </a:lnTo>
                <a:lnTo>
                  <a:pt x="7688" y="1233"/>
                </a:lnTo>
                <a:lnTo>
                  <a:pt x="3968" y="246"/>
                </a:lnTo>
                <a:lnTo>
                  <a:pt x="0" y="0"/>
                </a:lnTo>
                <a:lnTo>
                  <a:pt x="0" y="3454"/>
                </a:lnTo>
                <a:lnTo>
                  <a:pt x="3472" y="3701"/>
                </a:lnTo>
                <a:close/>
              </a:path>
            </a:pathLst>
          </a:custGeom>
          <a:solidFill>
            <a:srgbClr val="000000"/>
          </a:solidFill>
        </p:spPr>
        <p:txBody>
          <a:bodyPr wrap="square" lIns="0" tIns="0" rIns="0" bIns="0" rtlCol="0">
            <a:noAutofit/>
          </a:bodyPr>
          <a:lstStyle/>
          <a:p>
            <a:endParaRPr/>
          </a:p>
        </p:txBody>
      </p:sp>
      <p:sp>
        <p:nvSpPr>
          <p:cNvPr id="1497" name="object 1497"/>
          <p:cNvSpPr/>
          <p:nvPr/>
        </p:nvSpPr>
        <p:spPr>
          <a:xfrm>
            <a:off x="9472456" y="1727265"/>
            <a:ext cx="37449" cy="64408"/>
          </a:xfrm>
          <a:custGeom>
            <a:avLst/>
            <a:gdLst/>
            <a:ahLst/>
            <a:cxnLst/>
            <a:rect l="l" t="t" r="r" b="b"/>
            <a:pathLst>
              <a:path w="37449" h="64408">
                <a:moveTo>
                  <a:pt x="3968" y="64161"/>
                </a:moveTo>
                <a:lnTo>
                  <a:pt x="7688" y="63174"/>
                </a:lnTo>
                <a:lnTo>
                  <a:pt x="11408" y="61447"/>
                </a:lnTo>
                <a:lnTo>
                  <a:pt x="14880" y="58979"/>
                </a:lnTo>
                <a:lnTo>
                  <a:pt x="18104" y="56264"/>
                </a:lnTo>
                <a:lnTo>
                  <a:pt x="21080" y="53303"/>
                </a:lnTo>
                <a:lnTo>
                  <a:pt x="24057" y="49355"/>
                </a:lnTo>
                <a:lnTo>
                  <a:pt x="26785" y="44913"/>
                </a:lnTo>
                <a:lnTo>
                  <a:pt x="29017" y="40471"/>
                </a:lnTo>
                <a:lnTo>
                  <a:pt x="31001" y="35782"/>
                </a:lnTo>
                <a:lnTo>
                  <a:pt x="33233" y="30353"/>
                </a:lnTo>
                <a:lnTo>
                  <a:pt x="34721" y="24677"/>
                </a:lnTo>
                <a:lnTo>
                  <a:pt x="35713" y="18754"/>
                </a:lnTo>
                <a:lnTo>
                  <a:pt x="36705" y="12832"/>
                </a:lnTo>
                <a:lnTo>
                  <a:pt x="37201" y="6416"/>
                </a:lnTo>
                <a:lnTo>
                  <a:pt x="37449" y="0"/>
                </a:lnTo>
                <a:lnTo>
                  <a:pt x="33977" y="0"/>
                </a:lnTo>
                <a:lnTo>
                  <a:pt x="33729" y="6416"/>
                </a:lnTo>
                <a:lnTo>
                  <a:pt x="33233" y="12338"/>
                </a:lnTo>
                <a:lnTo>
                  <a:pt x="32241" y="18261"/>
                </a:lnTo>
                <a:lnTo>
                  <a:pt x="31249" y="24184"/>
                </a:lnTo>
                <a:lnTo>
                  <a:pt x="29761" y="29366"/>
                </a:lnTo>
                <a:lnTo>
                  <a:pt x="28025" y="34301"/>
                </a:lnTo>
                <a:lnTo>
                  <a:pt x="26041" y="38990"/>
                </a:lnTo>
                <a:lnTo>
                  <a:pt x="23809" y="43432"/>
                </a:lnTo>
                <a:lnTo>
                  <a:pt x="21080" y="47380"/>
                </a:lnTo>
                <a:lnTo>
                  <a:pt x="18600" y="50835"/>
                </a:lnTo>
                <a:lnTo>
                  <a:pt x="15624" y="53797"/>
                </a:lnTo>
                <a:lnTo>
                  <a:pt x="12896" y="56511"/>
                </a:lnTo>
                <a:lnTo>
                  <a:pt x="9920" y="58485"/>
                </a:lnTo>
                <a:lnTo>
                  <a:pt x="6696" y="59719"/>
                </a:lnTo>
                <a:lnTo>
                  <a:pt x="3472" y="60706"/>
                </a:lnTo>
                <a:lnTo>
                  <a:pt x="0" y="60953"/>
                </a:lnTo>
                <a:lnTo>
                  <a:pt x="0" y="64408"/>
                </a:lnTo>
                <a:lnTo>
                  <a:pt x="3968" y="64161"/>
                </a:lnTo>
                <a:close/>
              </a:path>
            </a:pathLst>
          </a:custGeom>
          <a:solidFill>
            <a:srgbClr val="000000"/>
          </a:solidFill>
        </p:spPr>
        <p:txBody>
          <a:bodyPr wrap="square" lIns="0" tIns="0" rIns="0" bIns="0" rtlCol="0">
            <a:noAutofit/>
          </a:bodyPr>
          <a:lstStyle/>
          <a:p>
            <a:endParaRPr/>
          </a:p>
        </p:txBody>
      </p:sp>
      <p:sp>
        <p:nvSpPr>
          <p:cNvPr id="1498" name="object 1498"/>
          <p:cNvSpPr/>
          <p:nvPr/>
        </p:nvSpPr>
        <p:spPr>
          <a:xfrm>
            <a:off x="9434759" y="1727265"/>
            <a:ext cx="37697" cy="64408"/>
          </a:xfrm>
          <a:custGeom>
            <a:avLst/>
            <a:gdLst/>
            <a:ahLst/>
            <a:cxnLst/>
            <a:rect l="l" t="t" r="r" b="b"/>
            <a:pathLst>
              <a:path w="37697" h="64408">
                <a:moveTo>
                  <a:pt x="3472" y="0"/>
                </a:moveTo>
                <a:lnTo>
                  <a:pt x="0" y="0"/>
                </a:lnTo>
                <a:lnTo>
                  <a:pt x="248" y="6416"/>
                </a:lnTo>
                <a:lnTo>
                  <a:pt x="744" y="12832"/>
                </a:lnTo>
                <a:lnTo>
                  <a:pt x="1736" y="18754"/>
                </a:lnTo>
                <a:lnTo>
                  <a:pt x="2728" y="24924"/>
                </a:lnTo>
                <a:lnTo>
                  <a:pt x="4464" y="30353"/>
                </a:lnTo>
                <a:lnTo>
                  <a:pt x="6200" y="35535"/>
                </a:lnTo>
                <a:lnTo>
                  <a:pt x="8432" y="40471"/>
                </a:lnTo>
                <a:lnTo>
                  <a:pt x="10912" y="44913"/>
                </a:lnTo>
                <a:lnTo>
                  <a:pt x="13392" y="49355"/>
                </a:lnTo>
                <a:lnTo>
                  <a:pt x="16368" y="53303"/>
                </a:lnTo>
                <a:lnTo>
                  <a:pt x="19344" y="56264"/>
                </a:lnTo>
                <a:lnTo>
                  <a:pt x="22817" y="59226"/>
                </a:lnTo>
                <a:lnTo>
                  <a:pt x="26289" y="61447"/>
                </a:lnTo>
                <a:lnTo>
                  <a:pt x="30009" y="63174"/>
                </a:lnTo>
                <a:lnTo>
                  <a:pt x="33729" y="64161"/>
                </a:lnTo>
                <a:lnTo>
                  <a:pt x="37697" y="64408"/>
                </a:lnTo>
                <a:lnTo>
                  <a:pt x="37697" y="60953"/>
                </a:lnTo>
                <a:lnTo>
                  <a:pt x="34225" y="60706"/>
                </a:lnTo>
                <a:lnTo>
                  <a:pt x="31001" y="59719"/>
                </a:lnTo>
                <a:lnTo>
                  <a:pt x="27777" y="58485"/>
                </a:lnTo>
                <a:lnTo>
                  <a:pt x="24801" y="56264"/>
                </a:lnTo>
                <a:lnTo>
                  <a:pt x="21824" y="53797"/>
                </a:lnTo>
                <a:lnTo>
                  <a:pt x="18848" y="50835"/>
                </a:lnTo>
                <a:lnTo>
                  <a:pt x="16368" y="47380"/>
                </a:lnTo>
                <a:lnTo>
                  <a:pt x="13888" y="43432"/>
                </a:lnTo>
                <a:lnTo>
                  <a:pt x="11408" y="38990"/>
                </a:lnTo>
                <a:lnTo>
                  <a:pt x="9672" y="34548"/>
                </a:lnTo>
                <a:lnTo>
                  <a:pt x="7936" y="29366"/>
                </a:lnTo>
                <a:lnTo>
                  <a:pt x="6200" y="23937"/>
                </a:lnTo>
                <a:lnTo>
                  <a:pt x="5208" y="18261"/>
                </a:lnTo>
                <a:lnTo>
                  <a:pt x="4216" y="12338"/>
                </a:lnTo>
                <a:lnTo>
                  <a:pt x="3720" y="6416"/>
                </a:lnTo>
                <a:lnTo>
                  <a:pt x="3472" y="0"/>
                </a:lnTo>
                <a:close/>
              </a:path>
            </a:pathLst>
          </a:custGeom>
          <a:solidFill>
            <a:srgbClr val="000000"/>
          </a:solidFill>
        </p:spPr>
        <p:txBody>
          <a:bodyPr wrap="square" lIns="0" tIns="0" rIns="0" bIns="0" rtlCol="0">
            <a:noAutofit/>
          </a:bodyPr>
          <a:lstStyle/>
          <a:p>
            <a:endParaRPr/>
          </a:p>
        </p:txBody>
      </p:sp>
      <p:sp>
        <p:nvSpPr>
          <p:cNvPr id="1499" name="object 1499"/>
          <p:cNvSpPr/>
          <p:nvPr/>
        </p:nvSpPr>
        <p:spPr>
          <a:xfrm>
            <a:off x="9434759" y="1662856"/>
            <a:ext cx="37697" cy="64408"/>
          </a:xfrm>
          <a:custGeom>
            <a:avLst/>
            <a:gdLst/>
            <a:ahLst/>
            <a:cxnLst/>
            <a:rect l="l" t="t" r="r" b="b"/>
            <a:pathLst>
              <a:path w="37697" h="64408">
                <a:moveTo>
                  <a:pt x="4464" y="34055"/>
                </a:moveTo>
                <a:lnTo>
                  <a:pt x="2728" y="39484"/>
                </a:lnTo>
                <a:lnTo>
                  <a:pt x="1736" y="45653"/>
                </a:lnTo>
                <a:lnTo>
                  <a:pt x="744" y="51576"/>
                </a:lnTo>
                <a:lnTo>
                  <a:pt x="248" y="57992"/>
                </a:lnTo>
                <a:lnTo>
                  <a:pt x="0" y="64408"/>
                </a:lnTo>
                <a:lnTo>
                  <a:pt x="3472" y="64408"/>
                </a:lnTo>
                <a:lnTo>
                  <a:pt x="3720" y="57992"/>
                </a:lnTo>
                <a:lnTo>
                  <a:pt x="4216" y="52069"/>
                </a:lnTo>
                <a:lnTo>
                  <a:pt x="5208" y="46147"/>
                </a:lnTo>
                <a:lnTo>
                  <a:pt x="6200" y="40471"/>
                </a:lnTo>
                <a:lnTo>
                  <a:pt x="7936" y="35042"/>
                </a:lnTo>
                <a:lnTo>
                  <a:pt x="9672" y="29859"/>
                </a:lnTo>
                <a:lnTo>
                  <a:pt x="11408" y="25417"/>
                </a:lnTo>
                <a:lnTo>
                  <a:pt x="13888" y="20729"/>
                </a:lnTo>
                <a:lnTo>
                  <a:pt x="16368" y="17027"/>
                </a:lnTo>
                <a:lnTo>
                  <a:pt x="18848" y="13572"/>
                </a:lnTo>
                <a:lnTo>
                  <a:pt x="21824" y="10611"/>
                </a:lnTo>
                <a:lnTo>
                  <a:pt x="24801" y="8143"/>
                </a:lnTo>
                <a:lnTo>
                  <a:pt x="27777" y="5922"/>
                </a:lnTo>
                <a:lnTo>
                  <a:pt x="31001" y="4688"/>
                </a:lnTo>
                <a:lnTo>
                  <a:pt x="34225" y="3701"/>
                </a:lnTo>
                <a:lnTo>
                  <a:pt x="37697" y="3454"/>
                </a:lnTo>
                <a:lnTo>
                  <a:pt x="37697" y="0"/>
                </a:lnTo>
                <a:lnTo>
                  <a:pt x="33729" y="246"/>
                </a:lnTo>
                <a:lnTo>
                  <a:pt x="30009" y="1233"/>
                </a:lnTo>
                <a:lnTo>
                  <a:pt x="26289" y="2961"/>
                </a:lnTo>
                <a:lnTo>
                  <a:pt x="22817" y="5182"/>
                </a:lnTo>
                <a:lnTo>
                  <a:pt x="19344" y="8143"/>
                </a:lnTo>
                <a:lnTo>
                  <a:pt x="16368" y="11104"/>
                </a:lnTo>
                <a:lnTo>
                  <a:pt x="13392" y="15053"/>
                </a:lnTo>
                <a:lnTo>
                  <a:pt x="10912" y="19248"/>
                </a:lnTo>
                <a:lnTo>
                  <a:pt x="8432" y="23937"/>
                </a:lnTo>
                <a:lnTo>
                  <a:pt x="6200" y="28872"/>
                </a:lnTo>
                <a:lnTo>
                  <a:pt x="4464" y="34055"/>
                </a:lnTo>
                <a:close/>
              </a:path>
            </a:pathLst>
          </a:custGeom>
          <a:solidFill>
            <a:srgbClr val="000000"/>
          </a:solidFill>
        </p:spPr>
        <p:txBody>
          <a:bodyPr wrap="square" lIns="0" tIns="0" rIns="0" bIns="0" rtlCol="0">
            <a:noAutofit/>
          </a:bodyPr>
          <a:lstStyle/>
          <a:p>
            <a:endParaRPr/>
          </a:p>
        </p:txBody>
      </p:sp>
      <p:sp>
        <p:nvSpPr>
          <p:cNvPr id="1500" name="object 1500"/>
          <p:cNvSpPr/>
          <p:nvPr/>
        </p:nvSpPr>
        <p:spPr>
          <a:xfrm>
            <a:off x="9454848" y="1689016"/>
            <a:ext cx="43649" cy="76253"/>
          </a:xfrm>
          <a:custGeom>
            <a:avLst/>
            <a:gdLst/>
            <a:ahLst/>
            <a:cxnLst/>
            <a:rect l="l" t="t" r="r" b="b"/>
            <a:pathLst>
              <a:path w="43649" h="76253">
                <a:moveTo>
                  <a:pt x="21824" y="0"/>
                </a:moveTo>
                <a:lnTo>
                  <a:pt x="17360" y="740"/>
                </a:lnTo>
                <a:lnTo>
                  <a:pt x="13392" y="2961"/>
                </a:lnTo>
                <a:lnTo>
                  <a:pt x="9672" y="6416"/>
                </a:lnTo>
                <a:lnTo>
                  <a:pt x="6448" y="11104"/>
                </a:lnTo>
                <a:lnTo>
                  <a:pt x="3720" y="16780"/>
                </a:lnTo>
                <a:lnTo>
                  <a:pt x="1736" y="23196"/>
                </a:lnTo>
                <a:lnTo>
                  <a:pt x="496" y="30600"/>
                </a:lnTo>
                <a:lnTo>
                  <a:pt x="0" y="38250"/>
                </a:lnTo>
                <a:lnTo>
                  <a:pt x="496" y="45900"/>
                </a:lnTo>
                <a:lnTo>
                  <a:pt x="1736" y="53056"/>
                </a:lnTo>
                <a:lnTo>
                  <a:pt x="3720" y="59472"/>
                </a:lnTo>
                <a:lnTo>
                  <a:pt x="6448" y="65148"/>
                </a:lnTo>
                <a:lnTo>
                  <a:pt x="9672" y="69837"/>
                </a:lnTo>
                <a:lnTo>
                  <a:pt x="13392" y="73292"/>
                </a:lnTo>
                <a:lnTo>
                  <a:pt x="17360" y="75513"/>
                </a:lnTo>
                <a:lnTo>
                  <a:pt x="21824" y="76253"/>
                </a:lnTo>
                <a:lnTo>
                  <a:pt x="26289" y="75513"/>
                </a:lnTo>
                <a:lnTo>
                  <a:pt x="30257" y="73292"/>
                </a:lnTo>
                <a:lnTo>
                  <a:pt x="33977" y="69837"/>
                </a:lnTo>
                <a:lnTo>
                  <a:pt x="37201" y="65148"/>
                </a:lnTo>
                <a:lnTo>
                  <a:pt x="39929" y="59472"/>
                </a:lnTo>
                <a:lnTo>
                  <a:pt x="41913" y="53056"/>
                </a:lnTo>
                <a:lnTo>
                  <a:pt x="43153" y="45900"/>
                </a:lnTo>
                <a:lnTo>
                  <a:pt x="43649" y="38250"/>
                </a:lnTo>
                <a:lnTo>
                  <a:pt x="43153" y="30600"/>
                </a:lnTo>
                <a:lnTo>
                  <a:pt x="41913" y="23196"/>
                </a:lnTo>
                <a:lnTo>
                  <a:pt x="39929" y="16780"/>
                </a:lnTo>
                <a:lnTo>
                  <a:pt x="37201" y="11104"/>
                </a:lnTo>
                <a:lnTo>
                  <a:pt x="33977" y="6416"/>
                </a:lnTo>
                <a:lnTo>
                  <a:pt x="30257" y="2961"/>
                </a:lnTo>
                <a:lnTo>
                  <a:pt x="26289" y="740"/>
                </a:lnTo>
                <a:lnTo>
                  <a:pt x="21824" y="0"/>
                </a:lnTo>
                <a:close/>
              </a:path>
            </a:pathLst>
          </a:custGeom>
          <a:solidFill>
            <a:srgbClr val="E4E4E4"/>
          </a:solidFill>
        </p:spPr>
        <p:txBody>
          <a:bodyPr wrap="square" lIns="0" tIns="0" rIns="0" bIns="0" rtlCol="0">
            <a:noAutofit/>
          </a:bodyPr>
          <a:lstStyle/>
          <a:p>
            <a:endParaRPr/>
          </a:p>
        </p:txBody>
      </p:sp>
      <p:sp>
        <p:nvSpPr>
          <p:cNvPr id="1501" name="object 1501"/>
          <p:cNvSpPr/>
          <p:nvPr/>
        </p:nvSpPr>
        <p:spPr>
          <a:xfrm>
            <a:off x="9476673" y="1687288"/>
            <a:ext cx="23561" cy="39977"/>
          </a:xfrm>
          <a:custGeom>
            <a:avLst/>
            <a:gdLst/>
            <a:ahLst/>
            <a:cxnLst/>
            <a:rect l="l" t="t" r="r" b="b"/>
            <a:pathLst>
              <a:path w="23561" h="39977">
                <a:moveTo>
                  <a:pt x="13888" y="13572"/>
                </a:moveTo>
                <a:lnTo>
                  <a:pt x="16368" y="19248"/>
                </a:lnTo>
                <a:lnTo>
                  <a:pt x="18352" y="25417"/>
                </a:lnTo>
                <a:lnTo>
                  <a:pt x="19592" y="32574"/>
                </a:lnTo>
                <a:lnTo>
                  <a:pt x="20088" y="39977"/>
                </a:lnTo>
                <a:lnTo>
                  <a:pt x="23561" y="39977"/>
                </a:lnTo>
                <a:lnTo>
                  <a:pt x="23065" y="32080"/>
                </a:lnTo>
                <a:lnTo>
                  <a:pt x="21824" y="24430"/>
                </a:lnTo>
                <a:lnTo>
                  <a:pt x="19840" y="17767"/>
                </a:lnTo>
                <a:lnTo>
                  <a:pt x="16864" y="12092"/>
                </a:lnTo>
                <a:lnTo>
                  <a:pt x="13392" y="6909"/>
                </a:lnTo>
                <a:lnTo>
                  <a:pt x="9424" y="3208"/>
                </a:lnTo>
                <a:lnTo>
                  <a:pt x="4960" y="740"/>
                </a:lnTo>
                <a:lnTo>
                  <a:pt x="0" y="0"/>
                </a:lnTo>
                <a:lnTo>
                  <a:pt x="0" y="3454"/>
                </a:lnTo>
                <a:lnTo>
                  <a:pt x="3968" y="4195"/>
                </a:lnTo>
                <a:lnTo>
                  <a:pt x="7440" y="6169"/>
                </a:lnTo>
                <a:lnTo>
                  <a:pt x="10912" y="9377"/>
                </a:lnTo>
                <a:lnTo>
                  <a:pt x="13888" y="13572"/>
                </a:lnTo>
                <a:close/>
              </a:path>
            </a:pathLst>
          </a:custGeom>
          <a:solidFill>
            <a:srgbClr val="000000"/>
          </a:solidFill>
        </p:spPr>
        <p:txBody>
          <a:bodyPr wrap="square" lIns="0" tIns="0" rIns="0" bIns="0" rtlCol="0">
            <a:noAutofit/>
          </a:bodyPr>
          <a:lstStyle/>
          <a:p>
            <a:endParaRPr/>
          </a:p>
        </p:txBody>
      </p:sp>
      <p:sp>
        <p:nvSpPr>
          <p:cNvPr id="1502" name="object 1502"/>
          <p:cNvSpPr/>
          <p:nvPr/>
        </p:nvSpPr>
        <p:spPr>
          <a:xfrm>
            <a:off x="9476673" y="1727265"/>
            <a:ext cx="23561" cy="39730"/>
          </a:xfrm>
          <a:custGeom>
            <a:avLst/>
            <a:gdLst/>
            <a:ahLst/>
            <a:cxnLst/>
            <a:rect l="l" t="t" r="r" b="b"/>
            <a:pathLst>
              <a:path w="23561" h="39730">
                <a:moveTo>
                  <a:pt x="3968" y="35535"/>
                </a:moveTo>
                <a:lnTo>
                  <a:pt x="0" y="36276"/>
                </a:lnTo>
                <a:lnTo>
                  <a:pt x="0" y="39730"/>
                </a:lnTo>
                <a:lnTo>
                  <a:pt x="4960" y="38990"/>
                </a:lnTo>
                <a:lnTo>
                  <a:pt x="9424" y="36522"/>
                </a:lnTo>
                <a:lnTo>
                  <a:pt x="13392" y="32821"/>
                </a:lnTo>
                <a:lnTo>
                  <a:pt x="16864" y="27638"/>
                </a:lnTo>
                <a:lnTo>
                  <a:pt x="19840" y="21963"/>
                </a:lnTo>
                <a:lnTo>
                  <a:pt x="21824" y="15300"/>
                </a:lnTo>
                <a:lnTo>
                  <a:pt x="23065" y="7896"/>
                </a:lnTo>
                <a:lnTo>
                  <a:pt x="23561" y="0"/>
                </a:lnTo>
                <a:lnTo>
                  <a:pt x="20088" y="0"/>
                </a:lnTo>
                <a:lnTo>
                  <a:pt x="19592" y="7403"/>
                </a:lnTo>
                <a:lnTo>
                  <a:pt x="18352" y="14312"/>
                </a:lnTo>
                <a:lnTo>
                  <a:pt x="16368" y="20482"/>
                </a:lnTo>
                <a:lnTo>
                  <a:pt x="13888" y="26158"/>
                </a:lnTo>
                <a:lnTo>
                  <a:pt x="10912" y="30353"/>
                </a:lnTo>
                <a:lnTo>
                  <a:pt x="7440" y="33561"/>
                </a:lnTo>
                <a:lnTo>
                  <a:pt x="3968" y="35535"/>
                </a:lnTo>
                <a:close/>
              </a:path>
            </a:pathLst>
          </a:custGeom>
          <a:solidFill>
            <a:srgbClr val="000000"/>
          </a:solidFill>
        </p:spPr>
        <p:txBody>
          <a:bodyPr wrap="square" lIns="0" tIns="0" rIns="0" bIns="0" rtlCol="0">
            <a:noAutofit/>
          </a:bodyPr>
          <a:lstStyle/>
          <a:p>
            <a:endParaRPr/>
          </a:p>
        </p:txBody>
      </p:sp>
      <p:sp>
        <p:nvSpPr>
          <p:cNvPr id="1503" name="object 1503"/>
          <p:cNvSpPr/>
          <p:nvPr/>
        </p:nvSpPr>
        <p:spPr>
          <a:xfrm>
            <a:off x="9453112" y="1727265"/>
            <a:ext cx="23561" cy="39730"/>
          </a:xfrm>
          <a:custGeom>
            <a:avLst/>
            <a:gdLst/>
            <a:ahLst/>
            <a:cxnLst/>
            <a:rect l="l" t="t" r="r" b="b"/>
            <a:pathLst>
              <a:path w="23561" h="39730">
                <a:moveTo>
                  <a:pt x="496" y="7896"/>
                </a:moveTo>
                <a:lnTo>
                  <a:pt x="1736" y="15300"/>
                </a:lnTo>
                <a:lnTo>
                  <a:pt x="3720" y="21963"/>
                </a:lnTo>
                <a:lnTo>
                  <a:pt x="6696" y="27638"/>
                </a:lnTo>
                <a:lnTo>
                  <a:pt x="10168" y="32821"/>
                </a:lnTo>
                <a:lnTo>
                  <a:pt x="14136" y="36522"/>
                </a:lnTo>
                <a:lnTo>
                  <a:pt x="18600" y="38990"/>
                </a:lnTo>
                <a:lnTo>
                  <a:pt x="23561" y="39730"/>
                </a:lnTo>
                <a:lnTo>
                  <a:pt x="23561" y="36276"/>
                </a:lnTo>
                <a:lnTo>
                  <a:pt x="19592" y="35535"/>
                </a:lnTo>
                <a:lnTo>
                  <a:pt x="16120" y="33561"/>
                </a:lnTo>
                <a:lnTo>
                  <a:pt x="12648" y="30353"/>
                </a:lnTo>
                <a:lnTo>
                  <a:pt x="9672" y="26158"/>
                </a:lnTo>
                <a:lnTo>
                  <a:pt x="7192" y="20482"/>
                </a:lnTo>
                <a:lnTo>
                  <a:pt x="5208" y="14312"/>
                </a:lnTo>
                <a:lnTo>
                  <a:pt x="3968" y="7403"/>
                </a:lnTo>
                <a:lnTo>
                  <a:pt x="3472" y="0"/>
                </a:lnTo>
                <a:lnTo>
                  <a:pt x="0" y="0"/>
                </a:lnTo>
                <a:lnTo>
                  <a:pt x="496" y="7896"/>
                </a:lnTo>
                <a:close/>
              </a:path>
            </a:pathLst>
          </a:custGeom>
          <a:solidFill>
            <a:srgbClr val="000000"/>
          </a:solidFill>
        </p:spPr>
        <p:txBody>
          <a:bodyPr wrap="square" lIns="0" tIns="0" rIns="0" bIns="0" rtlCol="0">
            <a:noAutofit/>
          </a:bodyPr>
          <a:lstStyle/>
          <a:p>
            <a:endParaRPr/>
          </a:p>
        </p:txBody>
      </p:sp>
      <p:sp>
        <p:nvSpPr>
          <p:cNvPr id="1504" name="object 1504"/>
          <p:cNvSpPr/>
          <p:nvPr/>
        </p:nvSpPr>
        <p:spPr>
          <a:xfrm>
            <a:off x="9453112" y="1687288"/>
            <a:ext cx="23561" cy="39977"/>
          </a:xfrm>
          <a:custGeom>
            <a:avLst/>
            <a:gdLst/>
            <a:ahLst/>
            <a:cxnLst/>
            <a:rect l="l" t="t" r="r" b="b"/>
            <a:pathLst>
              <a:path w="23561" h="39977">
                <a:moveTo>
                  <a:pt x="3472" y="39977"/>
                </a:moveTo>
                <a:lnTo>
                  <a:pt x="3968" y="32574"/>
                </a:lnTo>
                <a:lnTo>
                  <a:pt x="5208" y="25417"/>
                </a:lnTo>
                <a:lnTo>
                  <a:pt x="7192" y="19248"/>
                </a:lnTo>
                <a:lnTo>
                  <a:pt x="9672" y="13572"/>
                </a:lnTo>
                <a:lnTo>
                  <a:pt x="12648" y="9377"/>
                </a:lnTo>
                <a:lnTo>
                  <a:pt x="16120" y="6169"/>
                </a:lnTo>
                <a:lnTo>
                  <a:pt x="19592" y="4195"/>
                </a:lnTo>
                <a:lnTo>
                  <a:pt x="23561" y="3454"/>
                </a:lnTo>
                <a:lnTo>
                  <a:pt x="23561" y="0"/>
                </a:lnTo>
                <a:lnTo>
                  <a:pt x="18600" y="740"/>
                </a:lnTo>
                <a:lnTo>
                  <a:pt x="14136" y="3208"/>
                </a:lnTo>
                <a:lnTo>
                  <a:pt x="10168" y="6909"/>
                </a:lnTo>
                <a:lnTo>
                  <a:pt x="6696" y="12092"/>
                </a:lnTo>
                <a:lnTo>
                  <a:pt x="3720" y="17767"/>
                </a:lnTo>
                <a:lnTo>
                  <a:pt x="1736" y="24430"/>
                </a:lnTo>
                <a:lnTo>
                  <a:pt x="496" y="32080"/>
                </a:lnTo>
                <a:lnTo>
                  <a:pt x="0" y="39977"/>
                </a:lnTo>
                <a:lnTo>
                  <a:pt x="3472" y="39977"/>
                </a:lnTo>
                <a:close/>
              </a:path>
            </a:pathLst>
          </a:custGeom>
          <a:solidFill>
            <a:srgbClr val="000000"/>
          </a:solidFill>
        </p:spPr>
        <p:txBody>
          <a:bodyPr wrap="square" lIns="0" tIns="0" rIns="0" bIns="0" rtlCol="0">
            <a:noAutofit/>
          </a:bodyPr>
          <a:lstStyle/>
          <a:p>
            <a:endParaRPr/>
          </a:p>
        </p:txBody>
      </p:sp>
      <p:sp>
        <p:nvSpPr>
          <p:cNvPr id="1505" name="object 1505"/>
          <p:cNvSpPr/>
          <p:nvPr/>
        </p:nvSpPr>
        <p:spPr>
          <a:xfrm>
            <a:off x="9454600" y="1691730"/>
            <a:ext cx="40673" cy="71071"/>
          </a:xfrm>
          <a:custGeom>
            <a:avLst/>
            <a:gdLst/>
            <a:ahLst/>
            <a:cxnLst/>
            <a:rect l="l" t="t" r="r" b="b"/>
            <a:pathLst>
              <a:path w="40673" h="71071">
                <a:moveTo>
                  <a:pt x="20336" y="0"/>
                </a:moveTo>
                <a:lnTo>
                  <a:pt x="16368" y="740"/>
                </a:lnTo>
                <a:lnTo>
                  <a:pt x="12400" y="2714"/>
                </a:lnTo>
                <a:lnTo>
                  <a:pt x="8928" y="6169"/>
                </a:lnTo>
                <a:lnTo>
                  <a:pt x="5952" y="10364"/>
                </a:lnTo>
                <a:lnTo>
                  <a:pt x="3472" y="15793"/>
                </a:lnTo>
                <a:lnTo>
                  <a:pt x="1488" y="21716"/>
                </a:lnTo>
                <a:lnTo>
                  <a:pt x="496" y="28379"/>
                </a:lnTo>
                <a:lnTo>
                  <a:pt x="0" y="35535"/>
                </a:lnTo>
                <a:lnTo>
                  <a:pt x="496" y="42692"/>
                </a:lnTo>
                <a:lnTo>
                  <a:pt x="1488" y="49355"/>
                </a:lnTo>
                <a:lnTo>
                  <a:pt x="3472" y="55277"/>
                </a:lnTo>
                <a:lnTo>
                  <a:pt x="5952" y="60706"/>
                </a:lnTo>
                <a:lnTo>
                  <a:pt x="8928" y="64901"/>
                </a:lnTo>
                <a:lnTo>
                  <a:pt x="12400" y="68356"/>
                </a:lnTo>
                <a:lnTo>
                  <a:pt x="16368" y="70331"/>
                </a:lnTo>
                <a:lnTo>
                  <a:pt x="20336" y="71071"/>
                </a:lnTo>
                <a:lnTo>
                  <a:pt x="24305" y="70331"/>
                </a:lnTo>
                <a:lnTo>
                  <a:pt x="28273" y="68356"/>
                </a:lnTo>
                <a:lnTo>
                  <a:pt x="31745" y="64901"/>
                </a:lnTo>
                <a:lnTo>
                  <a:pt x="34721" y="60706"/>
                </a:lnTo>
                <a:lnTo>
                  <a:pt x="37201" y="55277"/>
                </a:lnTo>
                <a:lnTo>
                  <a:pt x="39185" y="49355"/>
                </a:lnTo>
                <a:lnTo>
                  <a:pt x="40177" y="42692"/>
                </a:lnTo>
                <a:lnTo>
                  <a:pt x="40673" y="35535"/>
                </a:lnTo>
                <a:lnTo>
                  <a:pt x="40177" y="28379"/>
                </a:lnTo>
                <a:lnTo>
                  <a:pt x="39185" y="21716"/>
                </a:lnTo>
                <a:lnTo>
                  <a:pt x="37201" y="15793"/>
                </a:lnTo>
                <a:lnTo>
                  <a:pt x="34721" y="10364"/>
                </a:lnTo>
                <a:lnTo>
                  <a:pt x="31745" y="6169"/>
                </a:lnTo>
                <a:lnTo>
                  <a:pt x="28273" y="2714"/>
                </a:lnTo>
                <a:lnTo>
                  <a:pt x="24305" y="740"/>
                </a:lnTo>
                <a:lnTo>
                  <a:pt x="20336" y="0"/>
                </a:lnTo>
                <a:close/>
              </a:path>
            </a:pathLst>
          </a:custGeom>
          <a:solidFill>
            <a:srgbClr val="666666"/>
          </a:solidFill>
        </p:spPr>
        <p:txBody>
          <a:bodyPr wrap="square" lIns="0" tIns="0" rIns="0" bIns="0" rtlCol="0">
            <a:noAutofit/>
          </a:bodyPr>
          <a:lstStyle/>
          <a:p>
            <a:endParaRPr/>
          </a:p>
        </p:txBody>
      </p:sp>
      <p:sp>
        <p:nvSpPr>
          <p:cNvPr id="1506" name="object 1506"/>
          <p:cNvSpPr/>
          <p:nvPr/>
        </p:nvSpPr>
        <p:spPr>
          <a:xfrm>
            <a:off x="9452863" y="1690003"/>
            <a:ext cx="22072" cy="37263"/>
          </a:xfrm>
          <a:custGeom>
            <a:avLst/>
            <a:gdLst/>
            <a:ahLst/>
            <a:cxnLst/>
            <a:rect l="l" t="t" r="r" b="b"/>
            <a:pathLst>
              <a:path w="22072" h="37263">
                <a:moveTo>
                  <a:pt x="3472" y="37263"/>
                </a:moveTo>
                <a:lnTo>
                  <a:pt x="3968" y="30353"/>
                </a:lnTo>
                <a:lnTo>
                  <a:pt x="4960" y="23937"/>
                </a:lnTo>
                <a:lnTo>
                  <a:pt x="6944" y="18261"/>
                </a:lnTo>
                <a:lnTo>
                  <a:pt x="9176" y="12832"/>
                </a:lnTo>
                <a:lnTo>
                  <a:pt x="11904" y="8883"/>
                </a:lnTo>
                <a:lnTo>
                  <a:pt x="15128" y="5922"/>
                </a:lnTo>
                <a:lnTo>
                  <a:pt x="18600" y="4195"/>
                </a:lnTo>
                <a:lnTo>
                  <a:pt x="22072" y="3454"/>
                </a:lnTo>
                <a:lnTo>
                  <a:pt x="22072" y="0"/>
                </a:lnTo>
                <a:lnTo>
                  <a:pt x="17608" y="740"/>
                </a:lnTo>
                <a:lnTo>
                  <a:pt x="13144" y="2961"/>
                </a:lnTo>
                <a:lnTo>
                  <a:pt x="9424" y="6909"/>
                </a:lnTo>
                <a:lnTo>
                  <a:pt x="6200" y="11351"/>
                </a:lnTo>
                <a:lnTo>
                  <a:pt x="3472" y="16780"/>
                </a:lnTo>
                <a:lnTo>
                  <a:pt x="1488" y="22950"/>
                </a:lnTo>
                <a:lnTo>
                  <a:pt x="496" y="29859"/>
                </a:lnTo>
                <a:lnTo>
                  <a:pt x="0" y="37263"/>
                </a:lnTo>
                <a:lnTo>
                  <a:pt x="3472" y="37263"/>
                </a:lnTo>
                <a:close/>
              </a:path>
            </a:pathLst>
          </a:custGeom>
          <a:solidFill>
            <a:srgbClr val="FFFFFF"/>
          </a:solidFill>
        </p:spPr>
        <p:txBody>
          <a:bodyPr wrap="square" lIns="0" tIns="0" rIns="0" bIns="0" rtlCol="0">
            <a:noAutofit/>
          </a:bodyPr>
          <a:lstStyle/>
          <a:p>
            <a:endParaRPr/>
          </a:p>
        </p:txBody>
      </p:sp>
      <p:sp>
        <p:nvSpPr>
          <p:cNvPr id="1507" name="object 1507"/>
          <p:cNvSpPr/>
          <p:nvPr/>
        </p:nvSpPr>
        <p:spPr>
          <a:xfrm>
            <a:off x="9452863" y="1727266"/>
            <a:ext cx="22072" cy="37263"/>
          </a:xfrm>
          <a:custGeom>
            <a:avLst/>
            <a:gdLst/>
            <a:ahLst/>
            <a:cxnLst/>
            <a:rect l="l" t="t" r="r" b="b"/>
            <a:pathLst>
              <a:path w="22072" h="37263">
                <a:moveTo>
                  <a:pt x="496" y="7403"/>
                </a:moveTo>
                <a:lnTo>
                  <a:pt x="1488" y="14312"/>
                </a:lnTo>
                <a:lnTo>
                  <a:pt x="3472" y="20482"/>
                </a:lnTo>
                <a:lnTo>
                  <a:pt x="6200" y="25911"/>
                </a:lnTo>
                <a:lnTo>
                  <a:pt x="9424" y="30353"/>
                </a:lnTo>
                <a:lnTo>
                  <a:pt x="13144" y="34301"/>
                </a:lnTo>
                <a:lnTo>
                  <a:pt x="17608" y="36522"/>
                </a:lnTo>
                <a:lnTo>
                  <a:pt x="22072" y="37263"/>
                </a:lnTo>
                <a:lnTo>
                  <a:pt x="22072" y="33808"/>
                </a:lnTo>
                <a:lnTo>
                  <a:pt x="18600" y="33067"/>
                </a:lnTo>
                <a:lnTo>
                  <a:pt x="15128" y="31340"/>
                </a:lnTo>
                <a:lnTo>
                  <a:pt x="11904" y="28379"/>
                </a:lnTo>
                <a:lnTo>
                  <a:pt x="9176" y="24430"/>
                </a:lnTo>
                <a:lnTo>
                  <a:pt x="6944" y="19001"/>
                </a:lnTo>
                <a:lnTo>
                  <a:pt x="4960" y="13325"/>
                </a:lnTo>
                <a:lnTo>
                  <a:pt x="3968" y="6909"/>
                </a:lnTo>
                <a:lnTo>
                  <a:pt x="3472" y="0"/>
                </a:lnTo>
                <a:lnTo>
                  <a:pt x="0" y="0"/>
                </a:lnTo>
                <a:lnTo>
                  <a:pt x="496" y="7403"/>
                </a:lnTo>
                <a:close/>
              </a:path>
            </a:pathLst>
          </a:custGeom>
          <a:solidFill>
            <a:srgbClr val="FFFFFF"/>
          </a:solidFill>
        </p:spPr>
        <p:txBody>
          <a:bodyPr wrap="square" lIns="0" tIns="0" rIns="0" bIns="0" rtlCol="0">
            <a:noAutofit/>
          </a:bodyPr>
          <a:lstStyle/>
          <a:p>
            <a:endParaRPr/>
          </a:p>
        </p:txBody>
      </p:sp>
      <p:sp>
        <p:nvSpPr>
          <p:cNvPr id="1508" name="object 1508"/>
          <p:cNvSpPr/>
          <p:nvPr/>
        </p:nvSpPr>
        <p:spPr>
          <a:xfrm>
            <a:off x="9474936" y="1727266"/>
            <a:ext cx="22072" cy="37263"/>
          </a:xfrm>
          <a:custGeom>
            <a:avLst/>
            <a:gdLst/>
            <a:ahLst/>
            <a:cxnLst/>
            <a:rect l="l" t="t" r="r" b="b"/>
            <a:pathLst>
              <a:path w="22072" h="37263">
                <a:moveTo>
                  <a:pt x="3472" y="33067"/>
                </a:moveTo>
                <a:lnTo>
                  <a:pt x="0" y="33808"/>
                </a:lnTo>
                <a:lnTo>
                  <a:pt x="0" y="37263"/>
                </a:lnTo>
                <a:lnTo>
                  <a:pt x="4464" y="36522"/>
                </a:lnTo>
                <a:lnTo>
                  <a:pt x="8928" y="34301"/>
                </a:lnTo>
                <a:lnTo>
                  <a:pt x="12648" y="30353"/>
                </a:lnTo>
                <a:lnTo>
                  <a:pt x="15872" y="25911"/>
                </a:lnTo>
                <a:lnTo>
                  <a:pt x="18600" y="20482"/>
                </a:lnTo>
                <a:lnTo>
                  <a:pt x="20584" y="14312"/>
                </a:lnTo>
                <a:lnTo>
                  <a:pt x="21576" y="7403"/>
                </a:lnTo>
                <a:lnTo>
                  <a:pt x="22072" y="0"/>
                </a:lnTo>
                <a:lnTo>
                  <a:pt x="18600" y="0"/>
                </a:lnTo>
                <a:lnTo>
                  <a:pt x="18104" y="6909"/>
                </a:lnTo>
                <a:lnTo>
                  <a:pt x="17112" y="13325"/>
                </a:lnTo>
                <a:lnTo>
                  <a:pt x="15128" y="19001"/>
                </a:lnTo>
                <a:lnTo>
                  <a:pt x="12896" y="24430"/>
                </a:lnTo>
                <a:lnTo>
                  <a:pt x="10168" y="28379"/>
                </a:lnTo>
                <a:lnTo>
                  <a:pt x="6944" y="31340"/>
                </a:lnTo>
                <a:lnTo>
                  <a:pt x="3472" y="33067"/>
                </a:lnTo>
                <a:close/>
              </a:path>
            </a:pathLst>
          </a:custGeom>
          <a:solidFill>
            <a:srgbClr val="FFFFFF"/>
          </a:solidFill>
        </p:spPr>
        <p:txBody>
          <a:bodyPr wrap="square" lIns="0" tIns="0" rIns="0" bIns="0" rtlCol="0">
            <a:noAutofit/>
          </a:bodyPr>
          <a:lstStyle/>
          <a:p>
            <a:endParaRPr/>
          </a:p>
        </p:txBody>
      </p:sp>
      <p:sp>
        <p:nvSpPr>
          <p:cNvPr id="1509" name="object 1509"/>
          <p:cNvSpPr/>
          <p:nvPr/>
        </p:nvSpPr>
        <p:spPr>
          <a:xfrm>
            <a:off x="9474936" y="1690003"/>
            <a:ext cx="22072" cy="37263"/>
          </a:xfrm>
          <a:custGeom>
            <a:avLst/>
            <a:gdLst/>
            <a:ahLst/>
            <a:cxnLst/>
            <a:rect l="l" t="t" r="r" b="b"/>
            <a:pathLst>
              <a:path w="22072" h="37263">
                <a:moveTo>
                  <a:pt x="0" y="0"/>
                </a:moveTo>
                <a:lnTo>
                  <a:pt x="0" y="3454"/>
                </a:lnTo>
                <a:lnTo>
                  <a:pt x="3472" y="4195"/>
                </a:lnTo>
                <a:lnTo>
                  <a:pt x="6944" y="5922"/>
                </a:lnTo>
                <a:lnTo>
                  <a:pt x="10168" y="8883"/>
                </a:lnTo>
                <a:lnTo>
                  <a:pt x="12896" y="12832"/>
                </a:lnTo>
                <a:lnTo>
                  <a:pt x="15128" y="18261"/>
                </a:lnTo>
                <a:lnTo>
                  <a:pt x="17112" y="23937"/>
                </a:lnTo>
                <a:lnTo>
                  <a:pt x="18104" y="30353"/>
                </a:lnTo>
                <a:lnTo>
                  <a:pt x="18600" y="37263"/>
                </a:lnTo>
                <a:lnTo>
                  <a:pt x="22072" y="37263"/>
                </a:lnTo>
                <a:lnTo>
                  <a:pt x="21576" y="29859"/>
                </a:lnTo>
                <a:lnTo>
                  <a:pt x="20584" y="22950"/>
                </a:lnTo>
                <a:lnTo>
                  <a:pt x="18600" y="16780"/>
                </a:lnTo>
                <a:lnTo>
                  <a:pt x="15872" y="11351"/>
                </a:lnTo>
                <a:lnTo>
                  <a:pt x="12648" y="6909"/>
                </a:lnTo>
                <a:lnTo>
                  <a:pt x="8928" y="2961"/>
                </a:lnTo>
                <a:lnTo>
                  <a:pt x="4464" y="740"/>
                </a:lnTo>
                <a:lnTo>
                  <a:pt x="0" y="0"/>
                </a:lnTo>
                <a:close/>
              </a:path>
            </a:pathLst>
          </a:custGeom>
          <a:solidFill>
            <a:srgbClr val="FFFFFF"/>
          </a:solidFill>
        </p:spPr>
        <p:txBody>
          <a:bodyPr wrap="square" lIns="0" tIns="0" rIns="0" bIns="0" rtlCol="0">
            <a:noAutofit/>
          </a:bodyPr>
          <a:lstStyle/>
          <a:p>
            <a:endParaRPr/>
          </a:p>
        </p:txBody>
      </p:sp>
      <p:sp>
        <p:nvSpPr>
          <p:cNvPr id="1510" name="object 1510"/>
          <p:cNvSpPr/>
          <p:nvPr/>
        </p:nvSpPr>
        <p:spPr>
          <a:xfrm>
            <a:off x="9454848" y="1694692"/>
            <a:ext cx="37201" cy="64901"/>
          </a:xfrm>
          <a:custGeom>
            <a:avLst/>
            <a:gdLst/>
            <a:ahLst/>
            <a:cxnLst/>
            <a:rect l="l" t="t" r="r" b="b"/>
            <a:pathLst>
              <a:path w="37201" h="64901">
                <a:moveTo>
                  <a:pt x="18600" y="0"/>
                </a:moveTo>
                <a:lnTo>
                  <a:pt x="14880" y="740"/>
                </a:lnTo>
                <a:lnTo>
                  <a:pt x="11408" y="2467"/>
                </a:lnTo>
                <a:lnTo>
                  <a:pt x="8184" y="5675"/>
                </a:lnTo>
                <a:lnTo>
                  <a:pt x="5456" y="9624"/>
                </a:lnTo>
                <a:lnTo>
                  <a:pt x="3224" y="14312"/>
                </a:lnTo>
                <a:lnTo>
                  <a:pt x="1488" y="19988"/>
                </a:lnTo>
                <a:lnTo>
                  <a:pt x="496" y="25911"/>
                </a:lnTo>
                <a:lnTo>
                  <a:pt x="0" y="32574"/>
                </a:lnTo>
                <a:lnTo>
                  <a:pt x="496" y="38990"/>
                </a:lnTo>
                <a:lnTo>
                  <a:pt x="1488" y="45159"/>
                </a:lnTo>
                <a:lnTo>
                  <a:pt x="3224" y="50589"/>
                </a:lnTo>
                <a:lnTo>
                  <a:pt x="5456" y="55277"/>
                </a:lnTo>
                <a:lnTo>
                  <a:pt x="8184" y="59472"/>
                </a:lnTo>
                <a:lnTo>
                  <a:pt x="11408" y="62434"/>
                </a:lnTo>
                <a:lnTo>
                  <a:pt x="14880" y="64161"/>
                </a:lnTo>
                <a:lnTo>
                  <a:pt x="18600" y="64901"/>
                </a:lnTo>
                <a:lnTo>
                  <a:pt x="22321" y="64161"/>
                </a:lnTo>
                <a:lnTo>
                  <a:pt x="25793" y="62434"/>
                </a:lnTo>
                <a:lnTo>
                  <a:pt x="29017" y="59472"/>
                </a:lnTo>
                <a:lnTo>
                  <a:pt x="31745" y="55277"/>
                </a:lnTo>
                <a:lnTo>
                  <a:pt x="33977" y="50589"/>
                </a:lnTo>
                <a:lnTo>
                  <a:pt x="35713" y="45159"/>
                </a:lnTo>
                <a:lnTo>
                  <a:pt x="36705" y="38990"/>
                </a:lnTo>
                <a:lnTo>
                  <a:pt x="37201" y="32574"/>
                </a:lnTo>
                <a:lnTo>
                  <a:pt x="36705" y="25911"/>
                </a:lnTo>
                <a:lnTo>
                  <a:pt x="35713" y="19988"/>
                </a:lnTo>
                <a:lnTo>
                  <a:pt x="33977" y="14312"/>
                </a:lnTo>
                <a:lnTo>
                  <a:pt x="31745" y="9624"/>
                </a:lnTo>
                <a:lnTo>
                  <a:pt x="29017" y="5675"/>
                </a:lnTo>
                <a:lnTo>
                  <a:pt x="25793" y="2467"/>
                </a:lnTo>
                <a:lnTo>
                  <a:pt x="22321" y="740"/>
                </a:lnTo>
                <a:lnTo>
                  <a:pt x="18600" y="0"/>
                </a:lnTo>
                <a:close/>
              </a:path>
            </a:pathLst>
          </a:custGeom>
          <a:solidFill>
            <a:srgbClr val="999999"/>
          </a:solidFill>
        </p:spPr>
        <p:txBody>
          <a:bodyPr wrap="square" lIns="0" tIns="0" rIns="0" bIns="0" rtlCol="0">
            <a:noAutofit/>
          </a:bodyPr>
          <a:lstStyle/>
          <a:p>
            <a:endParaRPr/>
          </a:p>
        </p:txBody>
      </p:sp>
      <p:sp>
        <p:nvSpPr>
          <p:cNvPr id="1511" name="object 1511"/>
          <p:cNvSpPr/>
          <p:nvPr/>
        </p:nvSpPr>
        <p:spPr>
          <a:xfrm>
            <a:off x="9473447" y="1692964"/>
            <a:ext cx="20336" cy="34301"/>
          </a:xfrm>
          <a:custGeom>
            <a:avLst/>
            <a:gdLst/>
            <a:ahLst/>
            <a:cxnLst/>
            <a:rect l="l" t="t" r="r" b="b"/>
            <a:pathLst>
              <a:path w="20336" h="34301">
                <a:moveTo>
                  <a:pt x="0" y="0"/>
                </a:moveTo>
                <a:lnTo>
                  <a:pt x="0" y="3454"/>
                </a:lnTo>
                <a:lnTo>
                  <a:pt x="3224" y="4195"/>
                </a:lnTo>
                <a:lnTo>
                  <a:pt x="6200" y="5675"/>
                </a:lnTo>
                <a:lnTo>
                  <a:pt x="9176" y="8390"/>
                </a:lnTo>
                <a:lnTo>
                  <a:pt x="11656" y="12092"/>
                </a:lnTo>
                <a:lnTo>
                  <a:pt x="13640" y="16533"/>
                </a:lnTo>
                <a:lnTo>
                  <a:pt x="15376" y="22209"/>
                </a:lnTo>
                <a:lnTo>
                  <a:pt x="16368" y="27885"/>
                </a:lnTo>
                <a:lnTo>
                  <a:pt x="16864" y="34301"/>
                </a:lnTo>
                <a:lnTo>
                  <a:pt x="20336" y="34301"/>
                </a:lnTo>
                <a:lnTo>
                  <a:pt x="19840" y="27392"/>
                </a:lnTo>
                <a:lnTo>
                  <a:pt x="18848" y="21222"/>
                </a:lnTo>
                <a:lnTo>
                  <a:pt x="17112" y="15546"/>
                </a:lnTo>
                <a:lnTo>
                  <a:pt x="14632" y="10611"/>
                </a:lnTo>
                <a:lnTo>
                  <a:pt x="11656" y="6416"/>
                </a:lnTo>
                <a:lnTo>
                  <a:pt x="8184" y="2714"/>
                </a:lnTo>
                <a:lnTo>
                  <a:pt x="4216" y="740"/>
                </a:lnTo>
                <a:lnTo>
                  <a:pt x="0" y="0"/>
                </a:lnTo>
                <a:close/>
              </a:path>
            </a:pathLst>
          </a:custGeom>
          <a:solidFill>
            <a:srgbClr val="000000"/>
          </a:solidFill>
        </p:spPr>
        <p:txBody>
          <a:bodyPr wrap="square" lIns="0" tIns="0" rIns="0" bIns="0" rtlCol="0">
            <a:noAutofit/>
          </a:bodyPr>
          <a:lstStyle/>
          <a:p>
            <a:endParaRPr/>
          </a:p>
        </p:txBody>
      </p:sp>
      <p:sp>
        <p:nvSpPr>
          <p:cNvPr id="1512" name="object 1512"/>
          <p:cNvSpPr/>
          <p:nvPr/>
        </p:nvSpPr>
        <p:spPr>
          <a:xfrm>
            <a:off x="9473447" y="1727266"/>
            <a:ext cx="20336" cy="34055"/>
          </a:xfrm>
          <a:custGeom>
            <a:avLst/>
            <a:gdLst/>
            <a:ahLst/>
            <a:cxnLst/>
            <a:rect l="l" t="t" r="r" b="b"/>
            <a:pathLst>
              <a:path w="20336" h="34055">
                <a:moveTo>
                  <a:pt x="14632" y="23443"/>
                </a:moveTo>
                <a:lnTo>
                  <a:pt x="17112" y="18754"/>
                </a:lnTo>
                <a:lnTo>
                  <a:pt x="18848" y="13079"/>
                </a:lnTo>
                <a:lnTo>
                  <a:pt x="19840" y="6662"/>
                </a:lnTo>
                <a:lnTo>
                  <a:pt x="20336" y="0"/>
                </a:lnTo>
                <a:lnTo>
                  <a:pt x="16864" y="0"/>
                </a:lnTo>
                <a:lnTo>
                  <a:pt x="16368" y="6169"/>
                </a:lnTo>
                <a:lnTo>
                  <a:pt x="15376" y="12092"/>
                </a:lnTo>
                <a:lnTo>
                  <a:pt x="13640" y="17274"/>
                </a:lnTo>
                <a:lnTo>
                  <a:pt x="11656" y="21963"/>
                </a:lnTo>
                <a:lnTo>
                  <a:pt x="9176" y="25911"/>
                </a:lnTo>
                <a:lnTo>
                  <a:pt x="6200" y="28379"/>
                </a:lnTo>
                <a:lnTo>
                  <a:pt x="3224" y="29859"/>
                </a:lnTo>
                <a:lnTo>
                  <a:pt x="0" y="30600"/>
                </a:lnTo>
                <a:lnTo>
                  <a:pt x="0" y="34055"/>
                </a:lnTo>
                <a:lnTo>
                  <a:pt x="4216" y="33314"/>
                </a:lnTo>
                <a:lnTo>
                  <a:pt x="8184" y="31340"/>
                </a:lnTo>
                <a:lnTo>
                  <a:pt x="11656" y="27885"/>
                </a:lnTo>
                <a:lnTo>
                  <a:pt x="14632" y="23443"/>
                </a:lnTo>
                <a:close/>
              </a:path>
            </a:pathLst>
          </a:custGeom>
          <a:solidFill>
            <a:srgbClr val="000000"/>
          </a:solidFill>
        </p:spPr>
        <p:txBody>
          <a:bodyPr wrap="square" lIns="0" tIns="0" rIns="0" bIns="0" rtlCol="0">
            <a:noAutofit/>
          </a:bodyPr>
          <a:lstStyle/>
          <a:p>
            <a:endParaRPr/>
          </a:p>
        </p:txBody>
      </p:sp>
      <p:sp>
        <p:nvSpPr>
          <p:cNvPr id="1513" name="object 1513"/>
          <p:cNvSpPr/>
          <p:nvPr/>
        </p:nvSpPr>
        <p:spPr>
          <a:xfrm>
            <a:off x="9453111" y="1727266"/>
            <a:ext cx="20336" cy="34055"/>
          </a:xfrm>
          <a:custGeom>
            <a:avLst/>
            <a:gdLst/>
            <a:ahLst/>
            <a:cxnLst/>
            <a:rect l="l" t="t" r="r" b="b"/>
            <a:pathLst>
              <a:path w="20336" h="34055">
                <a:moveTo>
                  <a:pt x="496" y="6662"/>
                </a:moveTo>
                <a:lnTo>
                  <a:pt x="1488" y="13079"/>
                </a:lnTo>
                <a:lnTo>
                  <a:pt x="3224" y="18754"/>
                </a:lnTo>
                <a:lnTo>
                  <a:pt x="5704" y="23443"/>
                </a:lnTo>
                <a:lnTo>
                  <a:pt x="8680" y="27885"/>
                </a:lnTo>
                <a:lnTo>
                  <a:pt x="12152" y="31340"/>
                </a:lnTo>
                <a:lnTo>
                  <a:pt x="16120" y="33314"/>
                </a:lnTo>
                <a:lnTo>
                  <a:pt x="20336" y="34055"/>
                </a:lnTo>
                <a:lnTo>
                  <a:pt x="20336" y="30600"/>
                </a:lnTo>
                <a:lnTo>
                  <a:pt x="17112" y="29859"/>
                </a:lnTo>
                <a:lnTo>
                  <a:pt x="14136" y="28379"/>
                </a:lnTo>
                <a:lnTo>
                  <a:pt x="11160" y="25911"/>
                </a:lnTo>
                <a:lnTo>
                  <a:pt x="8680" y="21963"/>
                </a:lnTo>
                <a:lnTo>
                  <a:pt x="6696" y="17274"/>
                </a:lnTo>
                <a:lnTo>
                  <a:pt x="4960" y="12092"/>
                </a:lnTo>
                <a:lnTo>
                  <a:pt x="3968" y="6169"/>
                </a:lnTo>
                <a:lnTo>
                  <a:pt x="3472" y="0"/>
                </a:lnTo>
                <a:lnTo>
                  <a:pt x="0" y="0"/>
                </a:lnTo>
                <a:lnTo>
                  <a:pt x="496" y="6662"/>
                </a:lnTo>
                <a:close/>
              </a:path>
            </a:pathLst>
          </a:custGeom>
          <a:solidFill>
            <a:srgbClr val="000000"/>
          </a:solidFill>
        </p:spPr>
        <p:txBody>
          <a:bodyPr wrap="square" lIns="0" tIns="0" rIns="0" bIns="0" rtlCol="0">
            <a:noAutofit/>
          </a:bodyPr>
          <a:lstStyle/>
          <a:p>
            <a:endParaRPr/>
          </a:p>
        </p:txBody>
      </p:sp>
      <p:sp>
        <p:nvSpPr>
          <p:cNvPr id="1514" name="object 1514"/>
          <p:cNvSpPr/>
          <p:nvPr/>
        </p:nvSpPr>
        <p:spPr>
          <a:xfrm>
            <a:off x="9453111" y="1692964"/>
            <a:ext cx="20336" cy="34301"/>
          </a:xfrm>
          <a:custGeom>
            <a:avLst/>
            <a:gdLst/>
            <a:ahLst/>
            <a:cxnLst/>
            <a:rect l="l" t="t" r="r" b="b"/>
            <a:pathLst>
              <a:path w="20336" h="34301">
                <a:moveTo>
                  <a:pt x="3472" y="34301"/>
                </a:moveTo>
                <a:lnTo>
                  <a:pt x="3968" y="27885"/>
                </a:lnTo>
                <a:lnTo>
                  <a:pt x="4960" y="22209"/>
                </a:lnTo>
                <a:lnTo>
                  <a:pt x="6696" y="16533"/>
                </a:lnTo>
                <a:lnTo>
                  <a:pt x="8680" y="12092"/>
                </a:lnTo>
                <a:lnTo>
                  <a:pt x="11160" y="8390"/>
                </a:lnTo>
                <a:lnTo>
                  <a:pt x="14136" y="5675"/>
                </a:lnTo>
                <a:lnTo>
                  <a:pt x="17112" y="4195"/>
                </a:lnTo>
                <a:lnTo>
                  <a:pt x="20336" y="3454"/>
                </a:lnTo>
                <a:lnTo>
                  <a:pt x="20336" y="0"/>
                </a:lnTo>
                <a:lnTo>
                  <a:pt x="16120" y="740"/>
                </a:lnTo>
                <a:lnTo>
                  <a:pt x="12152" y="2714"/>
                </a:lnTo>
                <a:lnTo>
                  <a:pt x="8680" y="6416"/>
                </a:lnTo>
                <a:lnTo>
                  <a:pt x="5704" y="10611"/>
                </a:lnTo>
                <a:lnTo>
                  <a:pt x="3224" y="15546"/>
                </a:lnTo>
                <a:lnTo>
                  <a:pt x="1488" y="21222"/>
                </a:lnTo>
                <a:lnTo>
                  <a:pt x="496" y="27392"/>
                </a:lnTo>
                <a:lnTo>
                  <a:pt x="0" y="34301"/>
                </a:lnTo>
                <a:lnTo>
                  <a:pt x="3472" y="34301"/>
                </a:lnTo>
                <a:close/>
              </a:path>
            </a:pathLst>
          </a:custGeom>
          <a:solidFill>
            <a:srgbClr val="000000"/>
          </a:solidFill>
        </p:spPr>
        <p:txBody>
          <a:bodyPr wrap="square" lIns="0" tIns="0" rIns="0" bIns="0" rtlCol="0">
            <a:noAutofit/>
          </a:bodyPr>
          <a:lstStyle/>
          <a:p>
            <a:endParaRPr/>
          </a:p>
        </p:txBody>
      </p:sp>
      <p:sp>
        <p:nvSpPr>
          <p:cNvPr id="1515" name="object 1515"/>
          <p:cNvSpPr/>
          <p:nvPr/>
        </p:nvSpPr>
        <p:spPr>
          <a:xfrm>
            <a:off x="9454847" y="1700366"/>
            <a:ext cx="18848" cy="53550"/>
          </a:xfrm>
          <a:custGeom>
            <a:avLst/>
            <a:gdLst/>
            <a:ahLst/>
            <a:cxnLst/>
            <a:rect l="l" t="t" r="r" b="b"/>
            <a:pathLst>
              <a:path w="18848" h="53550">
                <a:moveTo>
                  <a:pt x="7936" y="53550"/>
                </a:moveTo>
                <a:lnTo>
                  <a:pt x="10912" y="51082"/>
                </a:lnTo>
                <a:lnTo>
                  <a:pt x="13392" y="48121"/>
                </a:lnTo>
                <a:lnTo>
                  <a:pt x="15376" y="44666"/>
                </a:lnTo>
                <a:lnTo>
                  <a:pt x="16864" y="40964"/>
                </a:lnTo>
                <a:lnTo>
                  <a:pt x="17856" y="37263"/>
                </a:lnTo>
                <a:lnTo>
                  <a:pt x="18600" y="33067"/>
                </a:lnTo>
                <a:lnTo>
                  <a:pt x="18848" y="28872"/>
                </a:lnTo>
                <a:lnTo>
                  <a:pt x="18848" y="24677"/>
                </a:lnTo>
                <a:lnTo>
                  <a:pt x="18600" y="20729"/>
                </a:lnTo>
                <a:lnTo>
                  <a:pt x="17856" y="16533"/>
                </a:lnTo>
                <a:lnTo>
                  <a:pt x="16864" y="12832"/>
                </a:lnTo>
                <a:lnTo>
                  <a:pt x="15624" y="9377"/>
                </a:lnTo>
                <a:lnTo>
                  <a:pt x="14136" y="6416"/>
                </a:lnTo>
                <a:lnTo>
                  <a:pt x="12400" y="3701"/>
                </a:lnTo>
                <a:lnTo>
                  <a:pt x="10416" y="1480"/>
                </a:lnTo>
                <a:lnTo>
                  <a:pt x="8184" y="0"/>
                </a:lnTo>
                <a:lnTo>
                  <a:pt x="6448" y="2220"/>
                </a:lnTo>
                <a:lnTo>
                  <a:pt x="4960" y="4688"/>
                </a:lnTo>
                <a:lnTo>
                  <a:pt x="3472" y="7403"/>
                </a:lnTo>
                <a:lnTo>
                  <a:pt x="2480" y="10611"/>
                </a:lnTo>
                <a:lnTo>
                  <a:pt x="1488" y="13819"/>
                </a:lnTo>
                <a:lnTo>
                  <a:pt x="744" y="17521"/>
                </a:lnTo>
                <a:lnTo>
                  <a:pt x="248" y="21222"/>
                </a:lnTo>
                <a:lnTo>
                  <a:pt x="0" y="24924"/>
                </a:lnTo>
                <a:lnTo>
                  <a:pt x="0" y="28872"/>
                </a:lnTo>
                <a:lnTo>
                  <a:pt x="496" y="32574"/>
                </a:lnTo>
                <a:lnTo>
                  <a:pt x="992" y="36522"/>
                </a:lnTo>
                <a:lnTo>
                  <a:pt x="1736" y="40224"/>
                </a:lnTo>
                <a:lnTo>
                  <a:pt x="2976" y="43926"/>
                </a:lnTo>
                <a:lnTo>
                  <a:pt x="4216" y="47380"/>
                </a:lnTo>
                <a:lnTo>
                  <a:pt x="5952" y="50589"/>
                </a:lnTo>
                <a:lnTo>
                  <a:pt x="7936" y="53550"/>
                </a:lnTo>
                <a:close/>
              </a:path>
            </a:pathLst>
          </a:custGeom>
          <a:solidFill>
            <a:srgbClr val="000000"/>
          </a:solidFill>
        </p:spPr>
        <p:txBody>
          <a:bodyPr wrap="square" lIns="0" tIns="0" rIns="0" bIns="0" rtlCol="0">
            <a:noAutofit/>
          </a:bodyPr>
          <a:lstStyle/>
          <a:p>
            <a:endParaRPr/>
          </a:p>
        </p:txBody>
      </p:sp>
      <p:sp>
        <p:nvSpPr>
          <p:cNvPr id="1516" name="object 1516"/>
          <p:cNvSpPr/>
          <p:nvPr/>
        </p:nvSpPr>
        <p:spPr>
          <a:xfrm>
            <a:off x="9462039" y="1699544"/>
            <a:ext cx="12896" cy="55360"/>
          </a:xfrm>
          <a:custGeom>
            <a:avLst/>
            <a:gdLst/>
            <a:ahLst/>
            <a:cxnLst/>
            <a:rect l="l" t="t" r="r" b="b"/>
            <a:pathLst>
              <a:path w="12896" h="55360">
                <a:moveTo>
                  <a:pt x="0" y="53385"/>
                </a:moveTo>
                <a:lnTo>
                  <a:pt x="1488" y="55360"/>
                </a:lnTo>
                <a:lnTo>
                  <a:pt x="4712" y="52892"/>
                </a:lnTo>
                <a:lnTo>
                  <a:pt x="7192" y="49684"/>
                </a:lnTo>
                <a:lnTo>
                  <a:pt x="9176" y="45982"/>
                </a:lnTo>
                <a:lnTo>
                  <a:pt x="10912" y="42280"/>
                </a:lnTo>
                <a:lnTo>
                  <a:pt x="11904" y="38332"/>
                </a:lnTo>
                <a:lnTo>
                  <a:pt x="12648" y="34137"/>
                </a:lnTo>
                <a:lnTo>
                  <a:pt x="12896" y="29695"/>
                </a:lnTo>
                <a:lnTo>
                  <a:pt x="12896" y="25500"/>
                </a:lnTo>
                <a:lnTo>
                  <a:pt x="12648" y="21304"/>
                </a:lnTo>
                <a:lnTo>
                  <a:pt x="11904" y="17109"/>
                </a:lnTo>
                <a:lnTo>
                  <a:pt x="10912" y="13408"/>
                </a:lnTo>
                <a:lnTo>
                  <a:pt x="9672" y="9706"/>
                </a:lnTo>
                <a:lnTo>
                  <a:pt x="7936" y="6745"/>
                </a:lnTo>
                <a:lnTo>
                  <a:pt x="6200" y="3783"/>
                </a:lnTo>
                <a:lnTo>
                  <a:pt x="3968" y="1316"/>
                </a:lnTo>
                <a:lnTo>
                  <a:pt x="1984" y="1562"/>
                </a:lnTo>
                <a:lnTo>
                  <a:pt x="496" y="0"/>
                </a:lnTo>
                <a:lnTo>
                  <a:pt x="0" y="329"/>
                </a:lnTo>
                <a:lnTo>
                  <a:pt x="0" y="1316"/>
                </a:lnTo>
                <a:lnTo>
                  <a:pt x="496" y="1809"/>
                </a:lnTo>
                <a:lnTo>
                  <a:pt x="2480" y="3290"/>
                </a:lnTo>
                <a:lnTo>
                  <a:pt x="4216" y="5264"/>
                </a:lnTo>
                <a:lnTo>
                  <a:pt x="5952" y="7732"/>
                </a:lnTo>
                <a:lnTo>
                  <a:pt x="7192" y="10693"/>
                </a:lnTo>
                <a:lnTo>
                  <a:pt x="8432" y="13901"/>
                </a:lnTo>
                <a:lnTo>
                  <a:pt x="9424" y="17603"/>
                </a:lnTo>
                <a:lnTo>
                  <a:pt x="10168" y="21798"/>
                </a:lnTo>
                <a:lnTo>
                  <a:pt x="10416" y="25500"/>
                </a:lnTo>
                <a:lnTo>
                  <a:pt x="10416" y="29695"/>
                </a:lnTo>
                <a:lnTo>
                  <a:pt x="10168" y="33643"/>
                </a:lnTo>
                <a:lnTo>
                  <a:pt x="9424" y="37838"/>
                </a:lnTo>
                <a:lnTo>
                  <a:pt x="8432" y="41293"/>
                </a:lnTo>
                <a:lnTo>
                  <a:pt x="7192" y="44995"/>
                </a:lnTo>
                <a:lnTo>
                  <a:pt x="5208" y="48203"/>
                </a:lnTo>
                <a:lnTo>
                  <a:pt x="2728" y="50918"/>
                </a:lnTo>
                <a:lnTo>
                  <a:pt x="0" y="53385"/>
                </a:lnTo>
                <a:close/>
              </a:path>
            </a:pathLst>
          </a:custGeom>
          <a:solidFill>
            <a:srgbClr val="000000"/>
          </a:solidFill>
        </p:spPr>
        <p:txBody>
          <a:bodyPr wrap="square" lIns="0" tIns="0" rIns="0" bIns="0" rtlCol="0">
            <a:noAutofit/>
          </a:bodyPr>
          <a:lstStyle/>
          <a:p>
            <a:endParaRPr/>
          </a:p>
        </p:txBody>
      </p:sp>
      <p:sp>
        <p:nvSpPr>
          <p:cNvPr id="1517" name="object 1517"/>
          <p:cNvSpPr/>
          <p:nvPr/>
        </p:nvSpPr>
        <p:spPr>
          <a:xfrm>
            <a:off x="9462535" y="1699380"/>
            <a:ext cx="3472" cy="1727"/>
          </a:xfrm>
          <a:custGeom>
            <a:avLst/>
            <a:gdLst/>
            <a:ahLst/>
            <a:cxnLst/>
            <a:rect l="l" t="t" r="r" b="b"/>
            <a:pathLst>
              <a:path w="3472" h="1727">
                <a:moveTo>
                  <a:pt x="991" y="0"/>
                </a:moveTo>
                <a:lnTo>
                  <a:pt x="247" y="0"/>
                </a:lnTo>
                <a:lnTo>
                  <a:pt x="0" y="164"/>
                </a:lnTo>
                <a:lnTo>
                  <a:pt x="1488" y="1727"/>
                </a:lnTo>
                <a:lnTo>
                  <a:pt x="3472" y="1480"/>
                </a:lnTo>
                <a:lnTo>
                  <a:pt x="991" y="0"/>
                </a:lnTo>
                <a:close/>
              </a:path>
            </a:pathLst>
          </a:custGeom>
          <a:solidFill>
            <a:srgbClr val="000000"/>
          </a:solidFill>
        </p:spPr>
        <p:txBody>
          <a:bodyPr wrap="square" lIns="0" tIns="0" rIns="0" bIns="0" rtlCol="0">
            <a:noAutofit/>
          </a:bodyPr>
          <a:lstStyle/>
          <a:p>
            <a:endParaRPr/>
          </a:p>
        </p:txBody>
      </p:sp>
      <p:sp>
        <p:nvSpPr>
          <p:cNvPr id="1518" name="object 1518"/>
          <p:cNvSpPr/>
          <p:nvPr/>
        </p:nvSpPr>
        <p:spPr>
          <a:xfrm>
            <a:off x="9453607" y="1699626"/>
            <a:ext cx="10416" cy="55524"/>
          </a:xfrm>
          <a:custGeom>
            <a:avLst/>
            <a:gdLst/>
            <a:ahLst/>
            <a:cxnLst/>
            <a:rect l="l" t="t" r="r" b="b"/>
            <a:pathLst>
              <a:path w="10416" h="55524">
                <a:moveTo>
                  <a:pt x="8184" y="55030"/>
                </a:moveTo>
                <a:lnTo>
                  <a:pt x="9176" y="55524"/>
                </a:lnTo>
                <a:lnTo>
                  <a:pt x="9920" y="55277"/>
                </a:lnTo>
                <a:lnTo>
                  <a:pt x="8432" y="53303"/>
                </a:lnTo>
                <a:lnTo>
                  <a:pt x="8184" y="50589"/>
                </a:lnTo>
                <a:lnTo>
                  <a:pt x="6696" y="47627"/>
                </a:lnTo>
                <a:lnTo>
                  <a:pt x="5456" y="44172"/>
                </a:lnTo>
                <a:lnTo>
                  <a:pt x="4216" y="40717"/>
                </a:lnTo>
                <a:lnTo>
                  <a:pt x="3472" y="37016"/>
                </a:lnTo>
                <a:lnTo>
                  <a:pt x="2976" y="33067"/>
                </a:lnTo>
                <a:lnTo>
                  <a:pt x="2480" y="29613"/>
                </a:lnTo>
                <a:lnTo>
                  <a:pt x="2480" y="25664"/>
                </a:lnTo>
                <a:lnTo>
                  <a:pt x="2728" y="21963"/>
                </a:lnTo>
                <a:lnTo>
                  <a:pt x="3224" y="18508"/>
                </a:lnTo>
                <a:lnTo>
                  <a:pt x="3968" y="14806"/>
                </a:lnTo>
                <a:lnTo>
                  <a:pt x="4960" y="11598"/>
                </a:lnTo>
                <a:lnTo>
                  <a:pt x="5952" y="8637"/>
                </a:lnTo>
                <a:lnTo>
                  <a:pt x="7192" y="5922"/>
                </a:lnTo>
                <a:lnTo>
                  <a:pt x="8680" y="3701"/>
                </a:lnTo>
                <a:lnTo>
                  <a:pt x="10416" y="1480"/>
                </a:lnTo>
                <a:lnTo>
                  <a:pt x="8432" y="0"/>
                </a:lnTo>
                <a:lnTo>
                  <a:pt x="6696" y="2220"/>
                </a:lnTo>
                <a:lnTo>
                  <a:pt x="5208" y="4935"/>
                </a:lnTo>
                <a:lnTo>
                  <a:pt x="3472" y="7650"/>
                </a:lnTo>
                <a:lnTo>
                  <a:pt x="2480" y="11104"/>
                </a:lnTo>
                <a:lnTo>
                  <a:pt x="1488" y="14312"/>
                </a:lnTo>
                <a:lnTo>
                  <a:pt x="744" y="18014"/>
                </a:lnTo>
                <a:lnTo>
                  <a:pt x="248" y="21963"/>
                </a:lnTo>
                <a:lnTo>
                  <a:pt x="0" y="25664"/>
                </a:lnTo>
                <a:lnTo>
                  <a:pt x="0" y="29613"/>
                </a:lnTo>
                <a:lnTo>
                  <a:pt x="496" y="33561"/>
                </a:lnTo>
                <a:lnTo>
                  <a:pt x="992" y="37509"/>
                </a:lnTo>
                <a:lnTo>
                  <a:pt x="1736" y="41211"/>
                </a:lnTo>
                <a:lnTo>
                  <a:pt x="2976" y="45159"/>
                </a:lnTo>
                <a:lnTo>
                  <a:pt x="4216" y="48614"/>
                </a:lnTo>
                <a:lnTo>
                  <a:pt x="6200" y="52069"/>
                </a:lnTo>
                <a:lnTo>
                  <a:pt x="8184" y="55030"/>
                </a:lnTo>
                <a:close/>
              </a:path>
            </a:pathLst>
          </a:custGeom>
          <a:solidFill>
            <a:srgbClr val="000000"/>
          </a:solidFill>
        </p:spPr>
        <p:txBody>
          <a:bodyPr wrap="square" lIns="0" tIns="0" rIns="0" bIns="0" rtlCol="0">
            <a:noAutofit/>
          </a:bodyPr>
          <a:lstStyle/>
          <a:p>
            <a:endParaRPr/>
          </a:p>
        </p:txBody>
      </p:sp>
      <p:sp>
        <p:nvSpPr>
          <p:cNvPr id="1519" name="object 1519"/>
          <p:cNvSpPr/>
          <p:nvPr/>
        </p:nvSpPr>
        <p:spPr>
          <a:xfrm>
            <a:off x="9461791" y="1750215"/>
            <a:ext cx="2232" cy="4688"/>
          </a:xfrm>
          <a:custGeom>
            <a:avLst/>
            <a:gdLst/>
            <a:ahLst/>
            <a:cxnLst/>
            <a:rect l="l" t="t" r="r" b="b"/>
            <a:pathLst>
              <a:path w="2232" h="4688">
                <a:moveTo>
                  <a:pt x="1984" y="2961"/>
                </a:moveTo>
                <a:lnTo>
                  <a:pt x="0" y="0"/>
                </a:lnTo>
                <a:lnTo>
                  <a:pt x="248" y="2714"/>
                </a:lnTo>
                <a:lnTo>
                  <a:pt x="1736" y="4688"/>
                </a:lnTo>
                <a:lnTo>
                  <a:pt x="2232" y="3948"/>
                </a:lnTo>
                <a:lnTo>
                  <a:pt x="1984" y="2961"/>
                </a:lnTo>
                <a:close/>
              </a:path>
            </a:pathLst>
          </a:custGeom>
          <a:solidFill>
            <a:srgbClr val="000000"/>
          </a:solidFill>
        </p:spPr>
        <p:txBody>
          <a:bodyPr wrap="square" lIns="0" tIns="0" rIns="0" bIns="0" rtlCol="0">
            <a:noAutofit/>
          </a:bodyPr>
          <a:lstStyle/>
          <a:p>
            <a:endParaRPr/>
          </a:p>
        </p:txBody>
      </p:sp>
      <p:sp>
        <p:nvSpPr>
          <p:cNvPr id="1520" name="object 1520"/>
          <p:cNvSpPr/>
          <p:nvPr/>
        </p:nvSpPr>
        <p:spPr>
          <a:xfrm>
            <a:off x="9455343" y="1719121"/>
            <a:ext cx="12648" cy="15300"/>
          </a:xfrm>
          <a:custGeom>
            <a:avLst/>
            <a:gdLst/>
            <a:ahLst/>
            <a:cxnLst/>
            <a:rect l="l" t="t" r="r" b="b"/>
            <a:pathLst>
              <a:path w="12648" h="15300">
                <a:moveTo>
                  <a:pt x="12648" y="0"/>
                </a:moveTo>
                <a:lnTo>
                  <a:pt x="496" y="0"/>
                </a:lnTo>
                <a:lnTo>
                  <a:pt x="248" y="1974"/>
                </a:lnTo>
                <a:lnTo>
                  <a:pt x="0" y="3948"/>
                </a:lnTo>
                <a:lnTo>
                  <a:pt x="0" y="11598"/>
                </a:lnTo>
                <a:lnTo>
                  <a:pt x="248" y="13325"/>
                </a:lnTo>
                <a:lnTo>
                  <a:pt x="496" y="15300"/>
                </a:lnTo>
                <a:lnTo>
                  <a:pt x="12648" y="15300"/>
                </a:lnTo>
                <a:lnTo>
                  <a:pt x="12648" y="0"/>
                </a:lnTo>
                <a:close/>
              </a:path>
            </a:pathLst>
          </a:custGeom>
          <a:solidFill>
            <a:srgbClr val="404040"/>
          </a:solidFill>
        </p:spPr>
        <p:txBody>
          <a:bodyPr wrap="square" lIns="0" tIns="0" rIns="0" bIns="0" rtlCol="0">
            <a:noAutofit/>
          </a:bodyPr>
          <a:lstStyle/>
          <a:p>
            <a:endParaRPr/>
          </a:p>
        </p:txBody>
      </p:sp>
      <p:sp>
        <p:nvSpPr>
          <p:cNvPr id="1521" name="object 1521"/>
          <p:cNvSpPr/>
          <p:nvPr/>
        </p:nvSpPr>
        <p:spPr>
          <a:xfrm>
            <a:off x="9454847" y="1717888"/>
            <a:ext cx="13144" cy="2467"/>
          </a:xfrm>
          <a:custGeom>
            <a:avLst/>
            <a:gdLst/>
            <a:ahLst/>
            <a:cxnLst/>
            <a:rect l="l" t="t" r="r" b="b"/>
            <a:pathLst>
              <a:path w="13144" h="2467">
                <a:moveTo>
                  <a:pt x="202" y="628"/>
                </a:moveTo>
                <a:lnTo>
                  <a:pt x="0" y="1233"/>
                </a:lnTo>
                <a:lnTo>
                  <a:pt x="248" y="1974"/>
                </a:lnTo>
                <a:lnTo>
                  <a:pt x="992" y="2467"/>
                </a:lnTo>
                <a:lnTo>
                  <a:pt x="13144" y="2467"/>
                </a:lnTo>
                <a:lnTo>
                  <a:pt x="13144" y="0"/>
                </a:lnTo>
                <a:lnTo>
                  <a:pt x="2232" y="1480"/>
                </a:lnTo>
                <a:lnTo>
                  <a:pt x="992" y="0"/>
                </a:lnTo>
                <a:lnTo>
                  <a:pt x="248" y="493"/>
                </a:lnTo>
                <a:lnTo>
                  <a:pt x="202" y="628"/>
                </a:lnTo>
                <a:close/>
              </a:path>
            </a:pathLst>
          </a:custGeom>
          <a:solidFill>
            <a:srgbClr val="000000"/>
          </a:solidFill>
        </p:spPr>
        <p:txBody>
          <a:bodyPr wrap="square" lIns="0" tIns="0" rIns="0" bIns="0" rtlCol="0">
            <a:noAutofit/>
          </a:bodyPr>
          <a:lstStyle/>
          <a:p>
            <a:endParaRPr/>
          </a:p>
        </p:txBody>
      </p:sp>
      <p:sp>
        <p:nvSpPr>
          <p:cNvPr id="1522" name="object 1522"/>
          <p:cNvSpPr/>
          <p:nvPr/>
        </p:nvSpPr>
        <p:spPr>
          <a:xfrm>
            <a:off x="9455839" y="1717887"/>
            <a:ext cx="12152" cy="1480"/>
          </a:xfrm>
          <a:custGeom>
            <a:avLst/>
            <a:gdLst/>
            <a:ahLst/>
            <a:cxnLst/>
            <a:rect l="l" t="t" r="r" b="b"/>
            <a:pathLst>
              <a:path w="12152" h="1480">
                <a:moveTo>
                  <a:pt x="0" y="0"/>
                </a:moveTo>
                <a:lnTo>
                  <a:pt x="1240" y="1480"/>
                </a:lnTo>
                <a:lnTo>
                  <a:pt x="12152" y="0"/>
                </a:lnTo>
                <a:lnTo>
                  <a:pt x="0" y="0"/>
                </a:lnTo>
                <a:close/>
              </a:path>
            </a:pathLst>
          </a:custGeom>
          <a:solidFill>
            <a:srgbClr val="000000"/>
          </a:solidFill>
        </p:spPr>
        <p:txBody>
          <a:bodyPr wrap="square" lIns="0" tIns="0" rIns="0" bIns="0" rtlCol="0">
            <a:noAutofit/>
          </a:bodyPr>
          <a:lstStyle/>
          <a:p>
            <a:endParaRPr/>
          </a:p>
        </p:txBody>
      </p:sp>
      <p:sp>
        <p:nvSpPr>
          <p:cNvPr id="1523" name="object 1523"/>
          <p:cNvSpPr/>
          <p:nvPr/>
        </p:nvSpPr>
        <p:spPr>
          <a:xfrm>
            <a:off x="9454103" y="1718876"/>
            <a:ext cx="2976" cy="16533"/>
          </a:xfrm>
          <a:custGeom>
            <a:avLst/>
            <a:gdLst/>
            <a:ahLst/>
            <a:cxnLst/>
            <a:rect l="l" t="t" r="r" b="b"/>
            <a:pathLst>
              <a:path w="2976" h="16533">
                <a:moveTo>
                  <a:pt x="248" y="13819"/>
                </a:moveTo>
                <a:lnTo>
                  <a:pt x="496" y="15793"/>
                </a:lnTo>
                <a:lnTo>
                  <a:pt x="992" y="16533"/>
                </a:lnTo>
                <a:lnTo>
                  <a:pt x="1984" y="16533"/>
                </a:lnTo>
                <a:lnTo>
                  <a:pt x="2728" y="16287"/>
                </a:lnTo>
                <a:lnTo>
                  <a:pt x="2976" y="15300"/>
                </a:lnTo>
                <a:lnTo>
                  <a:pt x="2728" y="13325"/>
                </a:lnTo>
                <a:lnTo>
                  <a:pt x="2480" y="11845"/>
                </a:lnTo>
                <a:lnTo>
                  <a:pt x="1736" y="14312"/>
                </a:lnTo>
                <a:lnTo>
                  <a:pt x="2480" y="4195"/>
                </a:lnTo>
                <a:lnTo>
                  <a:pt x="2728" y="2467"/>
                </a:lnTo>
                <a:lnTo>
                  <a:pt x="2976" y="493"/>
                </a:lnTo>
                <a:lnTo>
                  <a:pt x="496" y="0"/>
                </a:lnTo>
                <a:lnTo>
                  <a:pt x="248" y="1974"/>
                </a:lnTo>
                <a:lnTo>
                  <a:pt x="0" y="4195"/>
                </a:lnTo>
                <a:lnTo>
                  <a:pt x="0" y="11845"/>
                </a:lnTo>
                <a:lnTo>
                  <a:pt x="248" y="13819"/>
                </a:lnTo>
                <a:close/>
              </a:path>
            </a:pathLst>
          </a:custGeom>
          <a:solidFill>
            <a:srgbClr val="000000"/>
          </a:solidFill>
        </p:spPr>
        <p:txBody>
          <a:bodyPr wrap="square" lIns="0" tIns="0" rIns="0" bIns="0" rtlCol="0">
            <a:noAutofit/>
          </a:bodyPr>
          <a:lstStyle/>
          <a:p>
            <a:endParaRPr/>
          </a:p>
        </p:txBody>
      </p:sp>
      <p:sp>
        <p:nvSpPr>
          <p:cNvPr id="1524" name="object 1524"/>
          <p:cNvSpPr/>
          <p:nvPr/>
        </p:nvSpPr>
        <p:spPr>
          <a:xfrm>
            <a:off x="9455839" y="1723071"/>
            <a:ext cx="744" cy="10117"/>
          </a:xfrm>
          <a:custGeom>
            <a:avLst/>
            <a:gdLst/>
            <a:ahLst/>
            <a:cxnLst/>
            <a:rect l="l" t="t" r="r" b="b"/>
            <a:pathLst>
              <a:path w="744" h="10117">
                <a:moveTo>
                  <a:pt x="744" y="0"/>
                </a:moveTo>
                <a:lnTo>
                  <a:pt x="0" y="10117"/>
                </a:lnTo>
                <a:lnTo>
                  <a:pt x="744" y="7650"/>
                </a:lnTo>
                <a:lnTo>
                  <a:pt x="744" y="0"/>
                </a:lnTo>
                <a:close/>
              </a:path>
            </a:pathLst>
          </a:custGeom>
          <a:solidFill>
            <a:srgbClr val="000000"/>
          </a:solidFill>
        </p:spPr>
        <p:txBody>
          <a:bodyPr wrap="square" lIns="0" tIns="0" rIns="0" bIns="0" rtlCol="0">
            <a:noAutofit/>
          </a:bodyPr>
          <a:lstStyle/>
          <a:p>
            <a:endParaRPr/>
          </a:p>
        </p:txBody>
      </p:sp>
      <p:sp>
        <p:nvSpPr>
          <p:cNvPr id="1525" name="object 1525"/>
          <p:cNvSpPr/>
          <p:nvPr/>
        </p:nvSpPr>
        <p:spPr>
          <a:xfrm>
            <a:off x="9455839" y="1733189"/>
            <a:ext cx="13392" cy="2467"/>
          </a:xfrm>
          <a:custGeom>
            <a:avLst/>
            <a:gdLst/>
            <a:ahLst/>
            <a:cxnLst/>
            <a:rect l="l" t="t" r="r" b="b"/>
            <a:pathLst>
              <a:path w="13392" h="2467">
                <a:moveTo>
                  <a:pt x="12896" y="1974"/>
                </a:moveTo>
                <a:lnTo>
                  <a:pt x="13392" y="1233"/>
                </a:lnTo>
                <a:lnTo>
                  <a:pt x="12896" y="493"/>
                </a:lnTo>
                <a:lnTo>
                  <a:pt x="12152" y="0"/>
                </a:lnTo>
                <a:lnTo>
                  <a:pt x="0" y="0"/>
                </a:lnTo>
                <a:lnTo>
                  <a:pt x="0" y="2467"/>
                </a:lnTo>
                <a:lnTo>
                  <a:pt x="12152" y="2467"/>
                </a:lnTo>
                <a:lnTo>
                  <a:pt x="10912" y="1233"/>
                </a:lnTo>
                <a:lnTo>
                  <a:pt x="12152" y="2467"/>
                </a:lnTo>
                <a:lnTo>
                  <a:pt x="12896" y="1974"/>
                </a:lnTo>
                <a:close/>
              </a:path>
            </a:pathLst>
          </a:custGeom>
          <a:solidFill>
            <a:srgbClr val="000000"/>
          </a:solidFill>
        </p:spPr>
        <p:txBody>
          <a:bodyPr wrap="square" lIns="0" tIns="0" rIns="0" bIns="0" rtlCol="0">
            <a:noAutofit/>
          </a:bodyPr>
          <a:lstStyle/>
          <a:p>
            <a:endParaRPr/>
          </a:p>
        </p:txBody>
      </p:sp>
      <p:sp>
        <p:nvSpPr>
          <p:cNvPr id="1526" name="object 1526"/>
          <p:cNvSpPr/>
          <p:nvPr/>
        </p:nvSpPr>
        <p:spPr>
          <a:xfrm>
            <a:off x="9467247" y="1717888"/>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1527" name="object 1527"/>
          <p:cNvSpPr/>
          <p:nvPr/>
        </p:nvSpPr>
        <p:spPr>
          <a:xfrm>
            <a:off x="9466751" y="1717888"/>
            <a:ext cx="2480" cy="16533"/>
          </a:xfrm>
          <a:custGeom>
            <a:avLst/>
            <a:gdLst/>
            <a:ahLst/>
            <a:cxnLst/>
            <a:rect l="l" t="t" r="r" b="b"/>
            <a:pathLst>
              <a:path w="2480" h="16533">
                <a:moveTo>
                  <a:pt x="496" y="493"/>
                </a:moveTo>
                <a:lnTo>
                  <a:pt x="0" y="1233"/>
                </a:lnTo>
                <a:lnTo>
                  <a:pt x="0" y="16533"/>
                </a:lnTo>
                <a:lnTo>
                  <a:pt x="2480" y="16533"/>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1528" name="object 1528"/>
          <p:cNvSpPr/>
          <p:nvPr/>
        </p:nvSpPr>
        <p:spPr>
          <a:xfrm>
            <a:off x="9463775" y="1719121"/>
            <a:ext cx="8928" cy="15546"/>
          </a:xfrm>
          <a:custGeom>
            <a:avLst/>
            <a:gdLst/>
            <a:ahLst/>
            <a:cxnLst/>
            <a:rect l="l" t="t" r="r" b="b"/>
            <a:pathLst>
              <a:path w="8928" h="15546">
                <a:moveTo>
                  <a:pt x="4464" y="0"/>
                </a:moveTo>
                <a:lnTo>
                  <a:pt x="3472" y="246"/>
                </a:lnTo>
                <a:lnTo>
                  <a:pt x="2728" y="493"/>
                </a:lnTo>
                <a:lnTo>
                  <a:pt x="1984" y="1233"/>
                </a:lnTo>
                <a:lnTo>
                  <a:pt x="1240" y="2220"/>
                </a:lnTo>
                <a:lnTo>
                  <a:pt x="744" y="3454"/>
                </a:lnTo>
                <a:lnTo>
                  <a:pt x="248" y="4688"/>
                </a:lnTo>
                <a:lnTo>
                  <a:pt x="0" y="6169"/>
                </a:lnTo>
                <a:lnTo>
                  <a:pt x="0" y="9130"/>
                </a:lnTo>
                <a:lnTo>
                  <a:pt x="248" y="10611"/>
                </a:lnTo>
                <a:lnTo>
                  <a:pt x="744" y="12092"/>
                </a:lnTo>
                <a:lnTo>
                  <a:pt x="1240" y="13079"/>
                </a:lnTo>
                <a:lnTo>
                  <a:pt x="1984" y="14066"/>
                </a:lnTo>
                <a:lnTo>
                  <a:pt x="2728" y="14806"/>
                </a:lnTo>
                <a:lnTo>
                  <a:pt x="3472" y="15300"/>
                </a:lnTo>
                <a:lnTo>
                  <a:pt x="4464" y="15546"/>
                </a:lnTo>
                <a:lnTo>
                  <a:pt x="5456" y="15300"/>
                </a:lnTo>
                <a:lnTo>
                  <a:pt x="6200" y="14806"/>
                </a:lnTo>
                <a:lnTo>
                  <a:pt x="6944" y="14066"/>
                </a:lnTo>
                <a:lnTo>
                  <a:pt x="7688" y="13079"/>
                </a:lnTo>
                <a:lnTo>
                  <a:pt x="8184" y="12092"/>
                </a:lnTo>
                <a:lnTo>
                  <a:pt x="8680" y="10611"/>
                </a:lnTo>
                <a:lnTo>
                  <a:pt x="8928" y="9130"/>
                </a:lnTo>
                <a:lnTo>
                  <a:pt x="8928" y="6169"/>
                </a:lnTo>
                <a:lnTo>
                  <a:pt x="8680" y="4688"/>
                </a:lnTo>
                <a:lnTo>
                  <a:pt x="8184" y="3454"/>
                </a:lnTo>
                <a:lnTo>
                  <a:pt x="7688" y="2220"/>
                </a:lnTo>
                <a:lnTo>
                  <a:pt x="6944" y="1233"/>
                </a:lnTo>
                <a:lnTo>
                  <a:pt x="6200" y="493"/>
                </a:lnTo>
                <a:lnTo>
                  <a:pt x="5456" y="246"/>
                </a:lnTo>
                <a:lnTo>
                  <a:pt x="4464" y="0"/>
                </a:lnTo>
                <a:close/>
              </a:path>
            </a:pathLst>
          </a:custGeom>
          <a:solidFill>
            <a:srgbClr val="000000"/>
          </a:solidFill>
        </p:spPr>
        <p:txBody>
          <a:bodyPr wrap="square" lIns="0" tIns="0" rIns="0" bIns="0" rtlCol="0">
            <a:noAutofit/>
          </a:bodyPr>
          <a:lstStyle/>
          <a:p>
            <a:endParaRPr/>
          </a:p>
        </p:txBody>
      </p:sp>
      <p:sp>
        <p:nvSpPr>
          <p:cNvPr id="1529" name="object 1529"/>
          <p:cNvSpPr/>
          <p:nvPr/>
        </p:nvSpPr>
        <p:spPr>
          <a:xfrm>
            <a:off x="9468239" y="1717395"/>
            <a:ext cx="6200" cy="9377"/>
          </a:xfrm>
          <a:custGeom>
            <a:avLst/>
            <a:gdLst/>
            <a:ahLst/>
            <a:cxnLst/>
            <a:rect l="l" t="t" r="r" b="b"/>
            <a:pathLst>
              <a:path w="6200" h="9377">
                <a:moveTo>
                  <a:pt x="496" y="3701"/>
                </a:moveTo>
                <a:lnTo>
                  <a:pt x="744" y="3701"/>
                </a:lnTo>
                <a:lnTo>
                  <a:pt x="1240" y="4195"/>
                </a:lnTo>
                <a:lnTo>
                  <a:pt x="1736" y="4688"/>
                </a:lnTo>
                <a:lnTo>
                  <a:pt x="1984" y="5922"/>
                </a:lnTo>
                <a:lnTo>
                  <a:pt x="2480" y="6909"/>
                </a:lnTo>
                <a:lnTo>
                  <a:pt x="2728" y="8143"/>
                </a:lnTo>
                <a:lnTo>
                  <a:pt x="2728" y="9377"/>
                </a:lnTo>
                <a:lnTo>
                  <a:pt x="6200" y="9377"/>
                </a:lnTo>
                <a:lnTo>
                  <a:pt x="6200" y="7650"/>
                </a:lnTo>
                <a:lnTo>
                  <a:pt x="5952" y="5922"/>
                </a:lnTo>
                <a:lnTo>
                  <a:pt x="5456" y="4441"/>
                </a:lnTo>
                <a:lnTo>
                  <a:pt x="4712" y="3208"/>
                </a:lnTo>
                <a:lnTo>
                  <a:pt x="3720" y="1727"/>
                </a:lnTo>
                <a:lnTo>
                  <a:pt x="2728" y="740"/>
                </a:lnTo>
                <a:lnTo>
                  <a:pt x="1488" y="246"/>
                </a:lnTo>
                <a:lnTo>
                  <a:pt x="0" y="0"/>
                </a:lnTo>
                <a:lnTo>
                  <a:pt x="0" y="3454"/>
                </a:lnTo>
                <a:lnTo>
                  <a:pt x="496" y="3701"/>
                </a:lnTo>
                <a:close/>
              </a:path>
            </a:pathLst>
          </a:custGeom>
          <a:solidFill>
            <a:srgbClr val="000000"/>
          </a:solidFill>
        </p:spPr>
        <p:txBody>
          <a:bodyPr wrap="square" lIns="0" tIns="0" rIns="0" bIns="0" rtlCol="0">
            <a:noAutofit/>
          </a:bodyPr>
          <a:lstStyle/>
          <a:p>
            <a:endParaRPr/>
          </a:p>
        </p:txBody>
      </p:sp>
      <p:sp>
        <p:nvSpPr>
          <p:cNvPr id="1530" name="object 1530"/>
          <p:cNvSpPr/>
          <p:nvPr/>
        </p:nvSpPr>
        <p:spPr>
          <a:xfrm>
            <a:off x="9468239" y="1726771"/>
            <a:ext cx="6200" cy="9624"/>
          </a:xfrm>
          <a:custGeom>
            <a:avLst/>
            <a:gdLst/>
            <a:ahLst/>
            <a:cxnLst/>
            <a:rect l="l" t="t" r="r" b="b"/>
            <a:pathLst>
              <a:path w="6200" h="9624">
                <a:moveTo>
                  <a:pt x="2480" y="2467"/>
                </a:moveTo>
                <a:lnTo>
                  <a:pt x="1984" y="3701"/>
                </a:lnTo>
                <a:lnTo>
                  <a:pt x="1736" y="4441"/>
                </a:lnTo>
                <a:lnTo>
                  <a:pt x="1240" y="5182"/>
                </a:lnTo>
                <a:lnTo>
                  <a:pt x="744" y="5922"/>
                </a:lnTo>
                <a:lnTo>
                  <a:pt x="248" y="6169"/>
                </a:lnTo>
                <a:lnTo>
                  <a:pt x="0" y="6169"/>
                </a:lnTo>
                <a:lnTo>
                  <a:pt x="0" y="9624"/>
                </a:lnTo>
                <a:lnTo>
                  <a:pt x="1736" y="9130"/>
                </a:lnTo>
                <a:lnTo>
                  <a:pt x="2728" y="8390"/>
                </a:lnTo>
                <a:lnTo>
                  <a:pt x="3720" y="7650"/>
                </a:lnTo>
                <a:lnTo>
                  <a:pt x="4712" y="6416"/>
                </a:lnTo>
                <a:lnTo>
                  <a:pt x="5456" y="5182"/>
                </a:lnTo>
                <a:lnTo>
                  <a:pt x="5952" y="3454"/>
                </a:lnTo>
                <a:lnTo>
                  <a:pt x="6200" y="1727"/>
                </a:lnTo>
                <a:lnTo>
                  <a:pt x="6200" y="0"/>
                </a:lnTo>
                <a:lnTo>
                  <a:pt x="2728" y="0"/>
                </a:lnTo>
                <a:lnTo>
                  <a:pt x="2728" y="1233"/>
                </a:lnTo>
                <a:lnTo>
                  <a:pt x="2480" y="2467"/>
                </a:lnTo>
                <a:close/>
              </a:path>
            </a:pathLst>
          </a:custGeom>
          <a:solidFill>
            <a:srgbClr val="000000"/>
          </a:solidFill>
        </p:spPr>
        <p:txBody>
          <a:bodyPr wrap="square" lIns="0" tIns="0" rIns="0" bIns="0" rtlCol="0">
            <a:noAutofit/>
          </a:bodyPr>
          <a:lstStyle/>
          <a:p>
            <a:endParaRPr/>
          </a:p>
        </p:txBody>
      </p:sp>
      <p:sp>
        <p:nvSpPr>
          <p:cNvPr id="1531" name="object 1531"/>
          <p:cNvSpPr/>
          <p:nvPr/>
        </p:nvSpPr>
        <p:spPr>
          <a:xfrm>
            <a:off x="9462039" y="1726771"/>
            <a:ext cx="6200" cy="9624"/>
          </a:xfrm>
          <a:custGeom>
            <a:avLst/>
            <a:gdLst/>
            <a:ahLst/>
            <a:cxnLst/>
            <a:rect l="l" t="t" r="r" b="b"/>
            <a:pathLst>
              <a:path w="6200" h="9624">
                <a:moveTo>
                  <a:pt x="6200" y="9624"/>
                </a:moveTo>
                <a:lnTo>
                  <a:pt x="6200" y="6169"/>
                </a:lnTo>
                <a:lnTo>
                  <a:pt x="5952" y="6169"/>
                </a:lnTo>
                <a:lnTo>
                  <a:pt x="5456" y="5922"/>
                </a:lnTo>
                <a:lnTo>
                  <a:pt x="4960" y="5182"/>
                </a:lnTo>
                <a:lnTo>
                  <a:pt x="4464" y="4441"/>
                </a:lnTo>
                <a:lnTo>
                  <a:pt x="4216" y="3701"/>
                </a:lnTo>
                <a:lnTo>
                  <a:pt x="3720" y="2467"/>
                </a:lnTo>
                <a:lnTo>
                  <a:pt x="3472" y="1233"/>
                </a:lnTo>
                <a:lnTo>
                  <a:pt x="3472" y="0"/>
                </a:lnTo>
                <a:lnTo>
                  <a:pt x="0" y="0"/>
                </a:lnTo>
                <a:lnTo>
                  <a:pt x="0" y="1727"/>
                </a:lnTo>
                <a:lnTo>
                  <a:pt x="248" y="3454"/>
                </a:lnTo>
                <a:lnTo>
                  <a:pt x="744" y="5182"/>
                </a:lnTo>
                <a:lnTo>
                  <a:pt x="1488" y="6416"/>
                </a:lnTo>
                <a:lnTo>
                  <a:pt x="2480" y="7650"/>
                </a:lnTo>
                <a:lnTo>
                  <a:pt x="3472" y="8390"/>
                </a:lnTo>
                <a:lnTo>
                  <a:pt x="4464" y="9130"/>
                </a:lnTo>
                <a:lnTo>
                  <a:pt x="6200" y="9624"/>
                </a:lnTo>
                <a:close/>
              </a:path>
            </a:pathLst>
          </a:custGeom>
          <a:solidFill>
            <a:srgbClr val="000000"/>
          </a:solidFill>
        </p:spPr>
        <p:txBody>
          <a:bodyPr wrap="square" lIns="0" tIns="0" rIns="0" bIns="0" rtlCol="0">
            <a:noAutofit/>
          </a:bodyPr>
          <a:lstStyle/>
          <a:p>
            <a:endParaRPr/>
          </a:p>
        </p:txBody>
      </p:sp>
      <p:sp>
        <p:nvSpPr>
          <p:cNvPr id="1532" name="object 1532"/>
          <p:cNvSpPr/>
          <p:nvPr/>
        </p:nvSpPr>
        <p:spPr>
          <a:xfrm>
            <a:off x="9462039" y="1717395"/>
            <a:ext cx="6200" cy="9377"/>
          </a:xfrm>
          <a:custGeom>
            <a:avLst/>
            <a:gdLst/>
            <a:ahLst/>
            <a:cxnLst/>
            <a:rect l="l" t="t" r="r" b="b"/>
            <a:pathLst>
              <a:path w="6200" h="9377">
                <a:moveTo>
                  <a:pt x="3472" y="740"/>
                </a:moveTo>
                <a:lnTo>
                  <a:pt x="2480" y="1727"/>
                </a:lnTo>
                <a:lnTo>
                  <a:pt x="1488" y="3208"/>
                </a:lnTo>
                <a:lnTo>
                  <a:pt x="744" y="4441"/>
                </a:lnTo>
                <a:lnTo>
                  <a:pt x="248" y="5922"/>
                </a:lnTo>
                <a:lnTo>
                  <a:pt x="0" y="7650"/>
                </a:lnTo>
                <a:lnTo>
                  <a:pt x="0" y="9377"/>
                </a:lnTo>
                <a:lnTo>
                  <a:pt x="3472" y="9377"/>
                </a:lnTo>
                <a:lnTo>
                  <a:pt x="3472" y="8143"/>
                </a:lnTo>
                <a:lnTo>
                  <a:pt x="3720" y="6909"/>
                </a:lnTo>
                <a:lnTo>
                  <a:pt x="4216" y="5922"/>
                </a:lnTo>
                <a:lnTo>
                  <a:pt x="4464" y="4688"/>
                </a:lnTo>
                <a:lnTo>
                  <a:pt x="4960" y="4195"/>
                </a:lnTo>
                <a:lnTo>
                  <a:pt x="5456" y="3701"/>
                </a:lnTo>
                <a:lnTo>
                  <a:pt x="5704" y="3701"/>
                </a:lnTo>
                <a:lnTo>
                  <a:pt x="6200" y="3454"/>
                </a:lnTo>
                <a:lnTo>
                  <a:pt x="6200" y="0"/>
                </a:lnTo>
                <a:lnTo>
                  <a:pt x="4712" y="246"/>
                </a:lnTo>
                <a:lnTo>
                  <a:pt x="3472" y="740"/>
                </a:lnTo>
                <a:close/>
              </a:path>
            </a:pathLst>
          </a:custGeom>
          <a:solidFill>
            <a:srgbClr val="000000"/>
          </a:solidFill>
        </p:spPr>
        <p:txBody>
          <a:bodyPr wrap="square" lIns="0" tIns="0" rIns="0" bIns="0" rtlCol="0">
            <a:noAutofit/>
          </a:bodyPr>
          <a:lstStyle/>
          <a:p>
            <a:endParaRPr/>
          </a:p>
        </p:txBody>
      </p:sp>
      <p:sp>
        <p:nvSpPr>
          <p:cNvPr id="1533" name="object 1533"/>
          <p:cNvSpPr/>
          <p:nvPr/>
        </p:nvSpPr>
        <p:spPr>
          <a:xfrm>
            <a:off x="9464023" y="1719863"/>
            <a:ext cx="8184" cy="5429"/>
          </a:xfrm>
          <a:custGeom>
            <a:avLst/>
            <a:gdLst/>
            <a:ahLst/>
            <a:cxnLst/>
            <a:rect l="l" t="t" r="r" b="b"/>
            <a:pathLst>
              <a:path w="8184" h="5429">
                <a:moveTo>
                  <a:pt x="4216" y="987"/>
                </a:moveTo>
                <a:lnTo>
                  <a:pt x="5208" y="1233"/>
                </a:lnTo>
                <a:lnTo>
                  <a:pt x="6448" y="2220"/>
                </a:lnTo>
                <a:lnTo>
                  <a:pt x="7440" y="3701"/>
                </a:lnTo>
                <a:lnTo>
                  <a:pt x="8184" y="5429"/>
                </a:lnTo>
                <a:lnTo>
                  <a:pt x="7440" y="2714"/>
                </a:lnTo>
                <a:lnTo>
                  <a:pt x="6200" y="987"/>
                </a:lnTo>
                <a:lnTo>
                  <a:pt x="5208" y="246"/>
                </a:lnTo>
                <a:lnTo>
                  <a:pt x="3968" y="0"/>
                </a:lnTo>
                <a:lnTo>
                  <a:pt x="2728" y="493"/>
                </a:lnTo>
                <a:lnTo>
                  <a:pt x="1736" y="1480"/>
                </a:lnTo>
                <a:lnTo>
                  <a:pt x="744" y="3208"/>
                </a:lnTo>
                <a:lnTo>
                  <a:pt x="0" y="5429"/>
                </a:lnTo>
                <a:lnTo>
                  <a:pt x="992" y="3454"/>
                </a:lnTo>
                <a:lnTo>
                  <a:pt x="1984" y="1974"/>
                </a:lnTo>
                <a:lnTo>
                  <a:pt x="2976" y="1233"/>
                </a:lnTo>
                <a:lnTo>
                  <a:pt x="4216" y="987"/>
                </a:lnTo>
                <a:close/>
              </a:path>
            </a:pathLst>
          </a:custGeom>
          <a:solidFill>
            <a:srgbClr val="FFFFFF"/>
          </a:solidFill>
        </p:spPr>
        <p:txBody>
          <a:bodyPr wrap="square" lIns="0" tIns="0" rIns="0" bIns="0" rtlCol="0">
            <a:noAutofit/>
          </a:bodyPr>
          <a:lstStyle/>
          <a:p>
            <a:endParaRPr/>
          </a:p>
        </p:txBody>
      </p:sp>
      <p:sp>
        <p:nvSpPr>
          <p:cNvPr id="1534" name="object 1534"/>
          <p:cNvSpPr/>
          <p:nvPr/>
        </p:nvSpPr>
        <p:spPr>
          <a:xfrm>
            <a:off x="9462287" y="1718135"/>
            <a:ext cx="11656" cy="8883"/>
          </a:xfrm>
          <a:custGeom>
            <a:avLst/>
            <a:gdLst/>
            <a:ahLst/>
            <a:cxnLst/>
            <a:rect l="l" t="t" r="r" b="b"/>
            <a:pathLst>
              <a:path w="11656" h="8883">
                <a:moveTo>
                  <a:pt x="5456" y="0"/>
                </a:moveTo>
                <a:lnTo>
                  <a:pt x="3472" y="740"/>
                </a:lnTo>
                <a:lnTo>
                  <a:pt x="1984" y="2220"/>
                </a:lnTo>
                <a:lnTo>
                  <a:pt x="992" y="4195"/>
                </a:lnTo>
                <a:lnTo>
                  <a:pt x="0" y="6662"/>
                </a:lnTo>
                <a:lnTo>
                  <a:pt x="3472" y="7650"/>
                </a:lnTo>
                <a:lnTo>
                  <a:pt x="3968" y="5675"/>
                </a:lnTo>
                <a:lnTo>
                  <a:pt x="4960" y="4195"/>
                </a:lnTo>
                <a:lnTo>
                  <a:pt x="5456" y="3701"/>
                </a:lnTo>
                <a:lnTo>
                  <a:pt x="5952" y="3454"/>
                </a:lnTo>
                <a:lnTo>
                  <a:pt x="6200" y="3454"/>
                </a:lnTo>
                <a:lnTo>
                  <a:pt x="6696" y="3948"/>
                </a:lnTo>
                <a:lnTo>
                  <a:pt x="7688" y="5182"/>
                </a:lnTo>
                <a:lnTo>
                  <a:pt x="8184" y="7650"/>
                </a:lnTo>
                <a:lnTo>
                  <a:pt x="8928" y="8637"/>
                </a:lnTo>
                <a:lnTo>
                  <a:pt x="10416" y="8883"/>
                </a:lnTo>
                <a:lnTo>
                  <a:pt x="11408" y="8143"/>
                </a:lnTo>
                <a:lnTo>
                  <a:pt x="11656" y="6662"/>
                </a:lnTo>
                <a:lnTo>
                  <a:pt x="10664" y="3701"/>
                </a:lnTo>
                <a:lnTo>
                  <a:pt x="9176" y="1480"/>
                </a:lnTo>
                <a:lnTo>
                  <a:pt x="7688" y="493"/>
                </a:lnTo>
                <a:lnTo>
                  <a:pt x="5456" y="0"/>
                </a:lnTo>
                <a:close/>
              </a:path>
            </a:pathLst>
          </a:custGeom>
          <a:solidFill>
            <a:srgbClr val="FFFFFF"/>
          </a:solidFill>
        </p:spPr>
        <p:txBody>
          <a:bodyPr wrap="square" lIns="0" tIns="0" rIns="0" bIns="0" rtlCol="0">
            <a:noAutofit/>
          </a:bodyPr>
          <a:lstStyle/>
          <a:p>
            <a:endParaRPr/>
          </a:p>
        </p:txBody>
      </p:sp>
      <p:sp>
        <p:nvSpPr>
          <p:cNvPr id="1535" name="object 1535"/>
          <p:cNvSpPr/>
          <p:nvPr/>
        </p:nvSpPr>
        <p:spPr>
          <a:xfrm>
            <a:off x="9462287" y="1719121"/>
            <a:ext cx="11656" cy="7896"/>
          </a:xfrm>
          <a:custGeom>
            <a:avLst/>
            <a:gdLst/>
            <a:ahLst/>
            <a:cxnLst/>
            <a:rect l="l" t="t" r="r" b="b"/>
            <a:pathLst>
              <a:path w="11656" h="7896">
                <a:moveTo>
                  <a:pt x="2480" y="1480"/>
                </a:moveTo>
                <a:lnTo>
                  <a:pt x="1240" y="3454"/>
                </a:lnTo>
                <a:lnTo>
                  <a:pt x="0" y="5675"/>
                </a:lnTo>
                <a:lnTo>
                  <a:pt x="248" y="7156"/>
                </a:lnTo>
                <a:lnTo>
                  <a:pt x="1488" y="7896"/>
                </a:lnTo>
                <a:lnTo>
                  <a:pt x="2728" y="7650"/>
                </a:lnTo>
                <a:lnTo>
                  <a:pt x="3472" y="6662"/>
                </a:lnTo>
                <a:lnTo>
                  <a:pt x="4216" y="4935"/>
                </a:lnTo>
                <a:lnTo>
                  <a:pt x="4960" y="3948"/>
                </a:lnTo>
                <a:lnTo>
                  <a:pt x="5456" y="3454"/>
                </a:lnTo>
                <a:lnTo>
                  <a:pt x="6200" y="3454"/>
                </a:lnTo>
                <a:lnTo>
                  <a:pt x="6944" y="4195"/>
                </a:lnTo>
                <a:lnTo>
                  <a:pt x="7688" y="5182"/>
                </a:lnTo>
                <a:lnTo>
                  <a:pt x="8184" y="6662"/>
                </a:lnTo>
                <a:lnTo>
                  <a:pt x="11656" y="5675"/>
                </a:lnTo>
                <a:lnTo>
                  <a:pt x="10664" y="3701"/>
                </a:lnTo>
                <a:lnTo>
                  <a:pt x="9424" y="1727"/>
                </a:lnTo>
                <a:lnTo>
                  <a:pt x="7688" y="493"/>
                </a:lnTo>
                <a:lnTo>
                  <a:pt x="5952" y="0"/>
                </a:lnTo>
                <a:lnTo>
                  <a:pt x="3968" y="493"/>
                </a:lnTo>
                <a:lnTo>
                  <a:pt x="2480" y="1480"/>
                </a:lnTo>
                <a:close/>
              </a:path>
            </a:pathLst>
          </a:custGeom>
          <a:solidFill>
            <a:srgbClr val="FFFFFF"/>
          </a:solidFill>
        </p:spPr>
        <p:txBody>
          <a:bodyPr wrap="square" lIns="0" tIns="0" rIns="0" bIns="0" rtlCol="0">
            <a:noAutofit/>
          </a:bodyPr>
          <a:lstStyle/>
          <a:p>
            <a:endParaRPr/>
          </a:p>
        </p:txBody>
      </p:sp>
      <p:sp>
        <p:nvSpPr>
          <p:cNvPr id="1536" name="object 1536"/>
          <p:cNvSpPr/>
          <p:nvPr/>
        </p:nvSpPr>
        <p:spPr>
          <a:xfrm>
            <a:off x="8290434" y="994342"/>
            <a:ext cx="1307018" cy="715649"/>
          </a:xfrm>
          <a:custGeom>
            <a:avLst/>
            <a:gdLst/>
            <a:ahLst/>
            <a:cxnLst/>
            <a:rect l="l" t="t" r="r" b="b"/>
            <a:pathLst>
              <a:path w="1307018" h="715649">
                <a:moveTo>
                  <a:pt x="724688" y="615705"/>
                </a:moveTo>
                <a:lnTo>
                  <a:pt x="724688" y="680607"/>
                </a:lnTo>
                <a:lnTo>
                  <a:pt x="762386" y="715649"/>
                </a:lnTo>
                <a:lnTo>
                  <a:pt x="1143579" y="690724"/>
                </a:lnTo>
                <a:lnTo>
                  <a:pt x="1170364" y="666787"/>
                </a:lnTo>
                <a:lnTo>
                  <a:pt x="1307018" y="661605"/>
                </a:lnTo>
                <a:lnTo>
                  <a:pt x="1307018" y="294156"/>
                </a:lnTo>
                <a:lnTo>
                  <a:pt x="1306770" y="289714"/>
                </a:lnTo>
                <a:lnTo>
                  <a:pt x="427323" y="2961"/>
                </a:lnTo>
                <a:lnTo>
                  <a:pt x="417402" y="987"/>
                </a:lnTo>
                <a:lnTo>
                  <a:pt x="414178" y="493"/>
                </a:lnTo>
                <a:lnTo>
                  <a:pt x="410954" y="246"/>
                </a:lnTo>
                <a:lnTo>
                  <a:pt x="407978" y="0"/>
                </a:lnTo>
                <a:lnTo>
                  <a:pt x="401530" y="0"/>
                </a:lnTo>
                <a:lnTo>
                  <a:pt x="398305" y="246"/>
                </a:lnTo>
                <a:lnTo>
                  <a:pt x="395081" y="246"/>
                </a:lnTo>
                <a:lnTo>
                  <a:pt x="391857" y="740"/>
                </a:lnTo>
                <a:lnTo>
                  <a:pt x="388633" y="987"/>
                </a:lnTo>
                <a:lnTo>
                  <a:pt x="385409" y="1480"/>
                </a:lnTo>
                <a:lnTo>
                  <a:pt x="381937" y="1974"/>
                </a:lnTo>
                <a:lnTo>
                  <a:pt x="378465" y="2467"/>
                </a:lnTo>
                <a:lnTo>
                  <a:pt x="374992" y="2961"/>
                </a:lnTo>
                <a:lnTo>
                  <a:pt x="33481" y="61200"/>
                </a:lnTo>
                <a:lnTo>
                  <a:pt x="29513" y="62187"/>
                </a:lnTo>
                <a:lnTo>
                  <a:pt x="26041" y="63668"/>
                </a:lnTo>
                <a:lnTo>
                  <a:pt x="22569" y="65148"/>
                </a:lnTo>
                <a:lnTo>
                  <a:pt x="8928" y="77487"/>
                </a:lnTo>
                <a:lnTo>
                  <a:pt x="1240" y="96736"/>
                </a:lnTo>
                <a:lnTo>
                  <a:pt x="0" y="111295"/>
                </a:lnTo>
                <a:lnTo>
                  <a:pt x="0" y="615458"/>
                </a:lnTo>
                <a:lnTo>
                  <a:pt x="724688" y="615705"/>
                </a:lnTo>
                <a:close/>
              </a:path>
            </a:pathLst>
          </a:custGeom>
          <a:solidFill>
            <a:srgbClr val="FFFFFF"/>
          </a:solidFill>
        </p:spPr>
        <p:txBody>
          <a:bodyPr wrap="square" lIns="0" tIns="0" rIns="0" bIns="0" rtlCol="0">
            <a:noAutofit/>
          </a:bodyPr>
          <a:lstStyle/>
          <a:p>
            <a:endParaRPr/>
          </a:p>
        </p:txBody>
      </p:sp>
      <p:sp>
        <p:nvSpPr>
          <p:cNvPr id="1537" name="object 1537"/>
          <p:cNvSpPr/>
          <p:nvPr/>
        </p:nvSpPr>
        <p:spPr>
          <a:xfrm>
            <a:off x="8289195" y="1054309"/>
            <a:ext cx="35961" cy="51329"/>
          </a:xfrm>
          <a:custGeom>
            <a:avLst/>
            <a:gdLst/>
            <a:ahLst/>
            <a:cxnLst/>
            <a:rect l="l" t="t" r="r" b="b"/>
            <a:pathLst>
              <a:path w="35961" h="51329">
                <a:moveTo>
                  <a:pt x="3472" y="27885"/>
                </a:moveTo>
                <a:lnTo>
                  <a:pt x="2232" y="32080"/>
                </a:lnTo>
                <a:lnTo>
                  <a:pt x="1240" y="36522"/>
                </a:lnTo>
                <a:lnTo>
                  <a:pt x="496" y="41211"/>
                </a:lnTo>
                <a:lnTo>
                  <a:pt x="248" y="46147"/>
                </a:lnTo>
                <a:lnTo>
                  <a:pt x="0" y="51329"/>
                </a:lnTo>
                <a:lnTo>
                  <a:pt x="2480" y="51329"/>
                </a:lnTo>
                <a:lnTo>
                  <a:pt x="2728" y="46147"/>
                </a:lnTo>
                <a:lnTo>
                  <a:pt x="2976" y="41705"/>
                </a:lnTo>
                <a:lnTo>
                  <a:pt x="3720" y="37016"/>
                </a:lnTo>
                <a:lnTo>
                  <a:pt x="4712" y="32574"/>
                </a:lnTo>
                <a:lnTo>
                  <a:pt x="5952" y="28872"/>
                </a:lnTo>
                <a:lnTo>
                  <a:pt x="7440" y="24924"/>
                </a:lnTo>
                <a:lnTo>
                  <a:pt x="8928" y="21469"/>
                </a:lnTo>
                <a:lnTo>
                  <a:pt x="11160" y="18261"/>
                </a:lnTo>
                <a:lnTo>
                  <a:pt x="13392" y="15300"/>
                </a:lnTo>
                <a:lnTo>
                  <a:pt x="15872" y="12832"/>
                </a:lnTo>
                <a:lnTo>
                  <a:pt x="18352" y="10364"/>
                </a:lnTo>
                <a:lnTo>
                  <a:pt x="21328" y="8143"/>
                </a:lnTo>
                <a:lnTo>
                  <a:pt x="24305" y="6169"/>
                </a:lnTo>
                <a:lnTo>
                  <a:pt x="27777" y="4935"/>
                </a:lnTo>
                <a:lnTo>
                  <a:pt x="31249" y="3454"/>
                </a:lnTo>
                <a:lnTo>
                  <a:pt x="34969" y="2467"/>
                </a:lnTo>
                <a:lnTo>
                  <a:pt x="35713" y="1974"/>
                </a:lnTo>
                <a:lnTo>
                  <a:pt x="35961" y="987"/>
                </a:lnTo>
                <a:lnTo>
                  <a:pt x="35465" y="246"/>
                </a:lnTo>
                <a:lnTo>
                  <a:pt x="34473" y="0"/>
                </a:lnTo>
                <a:lnTo>
                  <a:pt x="30257" y="987"/>
                </a:lnTo>
                <a:lnTo>
                  <a:pt x="26785" y="2467"/>
                </a:lnTo>
                <a:lnTo>
                  <a:pt x="23313" y="4195"/>
                </a:lnTo>
                <a:lnTo>
                  <a:pt x="19840" y="6169"/>
                </a:lnTo>
                <a:lnTo>
                  <a:pt x="16864" y="8390"/>
                </a:lnTo>
                <a:lnTo>
                  <a:pt x="13888" y="10858"/>
                </a:lnTo>
                <a:lnTo>
                  <a:pt x="11408" y="13819"/>
                </a:lnTo>
                <a:lnTo>
                  <a:pt x="9176" y="16780"/>
                </a:lnTo>
                <a:lnTo>
                  <a:pt x="6944" y="20482"/>
                </a:lnTo>
                <a:lnTo>
                  <a:pt x="4960" y="23937"/>
                </a:lnTo>
                <a:lnTo>
                  <a:pt x="3472" y="27885"/>
                </a:lnTo>
                <a:close/>
              </a:path>
            </a:pathLst>
          </a:custGeom>
          <a:solidFill>
            <a:srgbClr val="000000"/>
          </a:solidFill>
        </p:spPr>
        <p:txBody>
          <a:bodyPr wrap="square" lIns="0" tIns="0" rIns="0" bIns="0" rtlCol="0">
            <a:noAutofit/>
          </a:bodyPr>
          <a:lstStyle/>
          <a:p>
            <a:endParaRPr/>
          </a:p>
        </p:txBody>
      </p:sp>
      <p:sp>
        <p:nvSpPr>
          <p:cNvPr id="1538" name="object 1538"/>
          <p:cNvSpPr/>
          <p:nvPr/>
        </p:nvSpPr>
        <p:spPr>
          <a:xfrm>
            <a:off x="8323669" y="996069"/>
            <a:ext cx="342999" cy="60706"/>
          </a:xfrm>
          <a:custGeom>
            <a:avLst/>
            <a:gdLst/>
            <a:ahLst/>
            <a:cxnLst/>
            <a:rect l="l" t="t" r="r" b="b"/>
            <a:pathLst>
              <a:path w="342999" h="60706">
                <a:moveTo>
                  <a:pt x="341511" y="0"/>
                </a:moveTo>
                <a:lnTo>
                  <a:pt x="0" y="58239"/>
                </a:lnTo>
                <a:lnTo>
                  <a:pt x="496" y="60706"/>
                </a:lnTo>
                <a:lnTo>
                  <a:pt x="342007" y="2467"/>
                </a:lnTo>
                <a:lnTo>
                  <a:pt x="342751" y="1974"/>
                </a:lnTo>
                <a:lnTo>
                  <a:pt x="342999" y="987"/>
                </a:lnTo>
                <a:lnTo>
                  <a:pt x="342503" y="246"/>
                </a:lnTo>
                <a:lnTo>
                  <a:pt x="341511" y="0"/>
                </a:lnTo>
                <a:close/>
              </a:path>
            </a:pathLst>
          </a:custGeom>
          <a:solidFill>
            <a:srgbClr val="000000"/>
          </a:solidFill>
        </p:spPr>
        <p:txBody>
          <a:bodyPr wrap="square" lIns="0" tIns="0" rIns="0" bIns="0" rtlCol="0">
            <a:noAutofit/>
          </a:bodyPr>
          <a:lstStyle/>
          <a:p>
            <a:endParaRPr/>
          </a:p>
        </p:txBody>
      </p:sp>
      <p:sp>
        <p:nvSpPr>
          <p:cNvPr id="1539" name="object 1539"/>
          <p:cNvSpPr/>
          <p:nvPr/>
        </p:nvSpPr>
        <p:spPr>
          <a:xfrm>
            <a:off x="8665179" y="993108"/>
            <a:ext cx="53818" cy="5429"/>
          </a:xfrm>
          <a:custGeom>
            <a:avLst/>
            <a:gdLst/>
            <a:ahLst/>
            <a:cxnLst/>
            <a:rect l="l" t="t" r="r" b="b"/>
            <a:pathLst>
              <a:path w="53818" h="5429">
                <a:moveTo>
                  <a:pt x="17360" y="3208"/>
                </a:moveTo>
                <a:lnTo>
                  <a:pt x="20336" y="2714"/>
                </a:lnTo>
                <a:lnTo>
                  <a:pt x="23561" y="2714"/>
                </a:lnTo>
                <a:lnTo>
                  <a:pt x="26785" y="2467"/>
                </a:lnTo>
                <a:lnTo>
                  <a:pt x="33233" y="2467"/>
                </a:lnTo>
                <a:lnTo>
                  <a:pt x="36209" y="2714"/>
                </a:lnTo>
                <a:lnTo>
                  <a:pt x="39185" y="2961"/>
                </a:lnTo>
                <a:lnTo>
                  <a:pt x="42409" y="3454"/>
                </a:lnTo>
                <a:lnTo>
                  <a:pt x="45634" y="3948"/>
                </a:lnTo>
                <a:lnTo>
                  <a:pt x="49106" y="4688"/>
                </a:lnTo>
                <a:lnTo>
                  <a:pt x="52330" y="5429"/>
                </a:lnTo>
                <a:lnTo>
                  <a:pt x="53322" y="5182"/>
                </a:lnTo>
                <a:lnTo>
                  <a:pt x="53818" y="4441"/>
                </a:lnTo>
                <a:lnTo>
                  <a:pt x="53570" y="3454"/>
                </a:lnTo>
                <a:lnTo>
                  <a:pt x="52826" y="2961"/>
                </a:lnTo>
                <a:lnTo>
                  <a:pt x="49602" y="2220"/>
                </a:lnTo>
                <a:lnTo>
                  <a:pt x="46130" y="1480"/>
                </a:lnTo>
                <a:lnTo>
                  <a:pt x="42905" y="987"/>
                </a:lnTo>
                <a:lnTo>
                  <a:pt x="39681" y="493"/>
                </a:lnTo>
                <a:lnTo>
                  <a:pt x="36209" y="246"/>
                </a:lnTo>
                <a:lnTo>
                  <a:pt x="33233" y="0"/>
                </a:lnTo>
                <a:lnTo>
                  <a:pt x="26785" y="0"/>
                </a:lnTo>
                <a:lnTo>
                  <a:pt x="23561" y="246"/>
                </a:lnTo>
                <a:lnTo>
                  <a:pt x="20336" y="246"/>
                </a:lnTo>
                <a:lnTo>
                  <a:pt x="16864" y="740"/>
                </a:lnTo>
                <a:lnTo>
                  <a:pt x="13640" y="987"/>
                </a:lnTo>
                <a:lnTo>
                  <a:pt x="10416" y="1480"/>
                </a:lnTo>
                <a:lnTo>
                  <a:pt x="6944" y="1974"/>
                </a:lnTo>
                <a:lnTo>
                  <a:pt x="3472" y="2467"/>
                </a:lnTo>
                <a:lnTo>
                  <a:pt x="0" y="2961"/>
                </a:lnTo>
                <a:lnTo>
                  <a:pt x="496" y="5429"/>
                </a:lnTo>
                <a:lnTo>
                  <a:pt x="3968" y="4935"/>
                </a:lnTo>
                <a:lnTo>
                  <a:pt x="7440" y="4441"/>
                </a:lnTo>
                <a:lnTo>
                  <a:pt x="10912" y="3948"/>
                </a:lnTo>
                <a:lnTo>
                  <a:pt x="14136" y="3454"/>
                </a:lnTo>
                <a:lnTo>
                  <a:pt x="17360" y="3208"/>
                </a:lnTo>
                <a:close/>
              </a:path>
            </a:pathLst>
          </a:custGeom>
          <a:solidFill>
            <a:srgbClr val="000000"/>
          </a:solidFill>
        </p:spPr>
        <p:txBody>
          <a:bodyPr wrap="square" lIns="0" tIns="0" rIns="0" bIns="0" rtlCol="0">
            <a:noAutofit/>
          </a:bodyPr>
          <a:lstStyle/>
          <a:p>
            <a:endParaRPr/>
          </a:p>
        </p:txBody>
      </p:sp>
      <p:sp>
        <p:nvSpPr>
          <p:cNvPr id="1540" name="object 1540"/>
          <p:cNvSpPr/>
          <p:nvPr/>
        </p:nvSpPr>
        <p:spPr>
          <a:xfrm>
            <a:off x="8717510" y="996070"/>
            <a:ext cx="868535" cy="273427"/>
          </a:xfrm>
          <a:custGeom>
            <a:avLst/>
            <a:gdLst/>
            <a:ahLst/>
            <a:cxnLst/>
            <a:rect l="l" t="t" r="r" b="b"/>
            <a:pathLst>
              <a:path w="868535" h="273427">
                <a:moveTo>
                  <a:pt x="868535" y="272440"/>
                </a:moveTo>
                <a:lnTo>
                  <a:pt x="868287" y="271453"/>
                </a:lnTo>
                <a:lnTo>
                  <a:pt x="867543" y="270959"/>
                </a:lnTo>
                <a:lnTo>
                  <a:pt x="496" y="0"/>
                </a:lnTo>
                <a:lnTo>
                  <a:pt x="0" y="2467"/>
                </a:lnTo>
                <a:lnTo>
                  <a:pt x="867047" y="273427"/>
                </a:lnTo>
                <a:lnTo>
                  <a:pt x="868039" y="273180"/>
                </a:lnTo>
                <a:lnTo>
                  <a:pt x="868535" y="272440"/>
                </a:lnTo>
                <a:close/>
              </a:path>
            </a:pathLst>
          </a:custGeom>
          <a:solidFill>
            <a:srgbClr val="000000"/>
          </a:solidFill>
        </p:spPr>
        <p:txBody>
          <a:bodyPr wrap="square" lIns="0" tIns="0" rIns="0" bIns="0" rtlCol="0">
            <a:noAutofit/>
          </a:bodyPr>
          <a:lstStyle/>
          <a:p>
            <a:endParaRPr/>
          </a:p>
        </p:txBody>
      </p:sp>
      <p:sp>
        <p:nvSpPr>
          <p:cNvPr id="1541" name="object 1541"/>
          <p:cNvSpPr/>
          <p:nvPr/>
        </p:nvSpPr>
        <p:spPr>
          <a:xfrm>
            <a:off x="9584308" y="1267029"/>
            <a:ext cx="14384" cy="27145"/>
          </a:xfrm>
          <a:custGeom>
            <a:avLst/>
            <a:gdLst/>
            <a:ahLst/>
            <a:cxnLst/>
            <a:rect l="l" t="t" r="r" b="b"/>
            <a:pathLst>
              <a:path w="14384" h="27145">
                <a:moveTo>
                  <a:pt x="992" y="0"/>
                </a:moveTo>
                <a:lnTo>
                  <a:pt x="0" y="2467"/>
                </a:lnTo>
                <a:lnTo>
                  <a:pt x="3720" y="3948"/>
                </a:lnTo>
                <a:lnTo>
                  <a:pt x="6448" y="5922"/>
                </a:lnTo>
                <a:lnTo>
                  <a:pt x="8432" y="8143"/>
                </a:lnTo>
                <a:lnTo>
                  <a:pt x="9920" y="10611"/>
                </a:lnTo>
                <a:lnTo>
                  <a:pt x="10912" y="13572"/>
                </a:lnTo>
                <a:lnTo>
                  <a:pt x="11656" y="17274"/>
                </a:lnTo>
                <a:lnTo>
                  <a:pt x="11904" y="21469"/>
                </a:lnTo>
                <a:lnTo>
                  <a:pt x="11904" y="26158"/>
                </a:lnTo>
                <a:lnTo>
                  <a:pt x="12400" y="26898"/>
                </a:lnTo>
                <a:lnTo>
                  <a:pt x="13144" y="27145"/>
                </a:lnTo>
                <a:lnTo>
                  <a:pt x="13888" y="26898"/>
                </a:lnTo>
                <a:lnTo>
                  <a:pt x="14384" y="26158"/>
                </a:lnTo>
                <a:lnTo>
                  <a:pt x="14384" y="21469"/>
                </a:lnTo>
                <a:lnTo>
                  <a:pt x="14136" y="16780"/>
                </a:lnTo>
                <a:lnTo>
                  <a:pt x="13392" y="13079"/>
                </a:lnTo>
                <a:lnTo>
                  <a:pt x="12400" y="9624"/>
                </a:lnTo>
                <a:lnTo>
                  <a:pt x="10416" y="6662"/>
                </a:lnTo>
                <a:lnTo>
                  <a:pt x="7936" y="3948"/>
                </a:lnTo>
                <a:lnTo>
                  <a:pt x="4712" y="1974"/>
                </a:lnTo>
                <a:lnTo>
                  <a:pt x="992" y="0"/>
                </a:lnTo>
                <a:close/>
              </a:path>
            </a:pathLst>
          </a:custGeom>
          <a:solidFill>
            <a:srgbClr val="000000"/>
          </a:solidFill>
        </p:spPr>
        <p:txBody>
          <a:bodyPr wrap="square" lIns="0" tIns="0" rIns="0" bIns="0" rtlCol="0">
            <a:noAutofit/>
          </a:bodyPr>
          <a:lstStyle/>
          <a:p>
            <a:endParaRPr/>
          </a:p>
        </p:txBody>
      </p:sp>
      <p:sp>
        <p:nvSpPr>
          <p:cNvPr id="1542" name="object 1542"/>
          <p:cNvSpPr/>
          <p:nvPr/>
        </p:nvSpPr>
        <p:spPr>
          <a:xfrm>
            <a:off x="9596213" y="1654713"/>
            <a:ext cx="1612" cy="2220"/>
          </a:xfrm>
          <a:custGeom>
            <a:avLst/>
            <a:gdLst/>
            <a:ahLst/>
            <a:cxnLst/>
            <a:rect l="l" t="t" r="r" b="b"/>
            <a:pathLst>
              <a:path w="1612" h="2220">
                <a:moveTo>
                  <a:pt x="1240" y="0"/>
                </a:moveTo>
                <a:lnTo>
                  <a:pt x="0" y="1233"/>
                </a:lnTo>
                <a:lnTo>
                  <a:pt x="496" y="1974"/>
                </a:lnTo>
                <a:lnTo>
                  <a:pt x="1240" y="2220"/>
                </a:lnTo>
                <a:lnTo>
                  <a:pt x="1612" y="2097"/>
                </a:lnTo>
                <a:lnTo>
                  <a:pt x="1240" y="0"/>
                </a:lnTo>
                <a:close/>
              </a:path>
            </a:pathLst>
          </a:custGeom>
          <a:solidFill>
            <a:srgbClr val="000000"/>
          </a:solidFill>
        </p:spPr>
        <p:txBody>
          <a:bodyPr wrap="square" lIns="0" tIns="0" rIns="0" bIns="0" rtlCol="0">
            <a:noAutofit/>
          </a:bodyPr>
          <a:lstStyle/>
          <a:p>
            <a:endParaRPr/>
          </a:p>
        </p:txBody>
      </p:sp>
      <p:sp>
        <p:nvSpPr>
          <p:cNvPr id="1543" name="object 1543"/>
          <p:cNvSpPr/>
          <p:nvPr/>
        </p:nvSpPr>
        <p:spPr>
          <a:xfrm>
            <a:off x="9459807" y="1654713"/>
            <a:ext cx="137646" cy="7650"/>
          </a:xfrm>
          <a:custGeom>
            <a:avLst/>
            <a:gdLst/>
            <a:ahLst/>
            <a:cxnLst/>
            <a:rect l="l" t="t" r="r" b="b"/>
            <a:pathLst>
              <a:path w="137646" h="7650">
                <a:moveTo>
                  <a:pt x="0" y="6416"/>
                </a:moveTo>
                <a:lnTo>
                  <a:pt x="248" y="7156"/>
                </a:lnTo>
                <a:lnTo>
                  <a:pt x="992" y="7650"/>
                </a:lnTo>
                <a:lnTo>
                  <a:pt x="1736" y="7403"/>
                </a:lnTo>
                <a:lnTo>
                  <a:pt x="137646" y="2467"/>
                </a:lnTo>
                <a:lnTo>
                  <a:pt x="137646" y="0"/>
                </a:lnTo>
                <a:lnTo>
                  <a:pt x="992" y="5182"/>
                </a:lnTo>
                <a:lnTo>
                  <a:pt x="248" y="5675"/>
                </a:lnTo>
                <a:lnTo>
                  <a:pt x="0" y="6416"/>
                </a:lnTo>
                <a:close/>
              </a:path>
            </a:pathLst>
          </a:custGeom>
          <a:solidFill>
            <a:srgbClr val="000000"/>
          </a:solidFill>
        </p:spPr>
        <p:txBody>
          <a:bodyPr wrap="square" lIns="0" tIns="0" rIns="0" bIns="0" rtlCol="0">
            <a:noAutofit/>
          </a:bodyPr>
          <a:lstStyle/>
          <a:p>
            <a:endParaRPr/>
          </a:p>
        </p:txBody>
      </p:sp>
      <p:sp>
        <p:nvSpPr>
          <p:cNvPr id="1544" name="object 1544"/>
          <p:cNvSpPr/>
          <p:nvPr/>
        </p:nvSpPr>
        <p:spPr>
          <a:xfrm>
            <a:off x="9460799" y="1657181"/>
            <a:ext cx="136654" cy="5182"/>
          </a:xfrm>
          <a:custGeom>
            <a:avLst/>
            <a:gdLst/>
            <a:ahLst/>
            <a:cxnLst/>
            <a:rect l="l" t="t" r="r" b="b"/>
            <a:pathLst>
              <a:path w="136654" h="5182">
                <a:moveTo>
                  <a:pt x="136654" y="0"/>
                </a:moveTo>
                <a:lnTo>
                  <a:pt x="744" y="4935"/>
                </a:lnTo>
                <a:lnTo>
                  <a:pt x="0" y="5182"/>
                </a:lnTo>
                <a:lnTo>
                  <a:pt x="136654" y="0"/>
                </a:lnTo>
                <a:close/>
              </a:path>
            </a:pathLst>
          </a:custGeom>
          <a:solidFill>
            <a:srgbClr val="000000"/>
          </a:solidFill>
        </p:spPr>
        <p:txBody>
          <a:bodyPr wrap="square" lIns="0" tIns="0" rIns="0" bIns="0" rtlCol="0">
            <a:noAutofit/>
          </a:bodyPr>
          <a:lstStyle/>
          <a:p>
            <a:endParaRPr/>
          </a:p>
        </p:txBody>
      </p:sp>
      <p:sp>
        <p:nvSpPr>
          <p:cNvPr id="1545" name="object 1545"/>
          <p:cNvSpPr/>
          <p:nvPr/>
        </p:nvSpPr>
        <p:spPr>
          <a:xfrm>
            <a:off x="9432775" y="1660142"/>
            <a:ext cx="28769" cy="26158"/>
          </a:xfrm>
          <a:custGeom>
            <a:avLst/>
            <a:gdLst/>
            <a:ahLst/>
            <a:cxnLst/>
            <a:rect l="l" t="t" r="r" b="b"/>
            <a:pathLst>
              <a:path w="28769" h="26158">
                <a:moveTo>
                  <a:pt x="0" y="24677"/>
                </a:moveTo>
                <a:lnTo>
                  <a:pt x="248" y="25664"/>
                </a:lnTo>
                <a:lnTo>
                  <a:pt x="992" y="26158"/>
                </a:lnTo>
                <a:lnTo>
                  <a:pt x="1984" y="25911"/>
                </a:lnTo>
                <a:lnTo>
                  <a:pt x="28769" y="1974"/>
                </a:lnTo>
                <a:lnTo>
                  <a:pt x="27281" y="0"/>
                </a:lnTo>
                <a:lnTo>
                  <a:pt x="1240" y="23690"/>
                </a:lnTo>
                <a:lnTo>
                  <a:pt x="496" y="23937"/>
                </a:lnTo>
                <a:lnTo>
                  <a:pt x="0" y="24677"/>
                </a:lnTo>
                <a:close/>
              </a:path>
              <a:path w="28769" h="26158">
                <a:moveTo>
                  <a:pt x="1240" y="23690"/>
                </a:moveTo>
                <a:lnTo>
                  <a:pt x="27281" y="0"/>
                </a:lnTo>
                <a:lnTo>
                  <a:pt x="496" y="23937"/>
                </a:lnTo>
                <a:lnTo>
                  <a:pt x="1240" y="23690"/>
                </a:lnTo>
                <a:close/>
              </a:path>
            </a:pathLst>
          </a:custGeom>
          <a:solidFill>
            <a:srgbClr val="000000"/>
          </a:solidFill>
        </p:spPr>
        <p:txBody>
          <a:bodyPr wrap="square" lIns="0" tIns="0" rIns="0" bIns="0" rtlCol="0">
            <a:noAutofit/>
          </a:bodyPr>
          <a:lstStyle/>
          <a:p>
            <a:endParaRPr/>
          </a:p>
        </p:txBody>
      </p:sp>
      <p:sp>
        <p:nvSpPr>
          <p:cNvPr id="1546" name="object 1546"/>
          <p:cNvSpPr/>
          <p:nvPr/>
        </p:nvSpPr>
        <p:spPr>
          <a:xfrm>
            <a:off x="9051829" y="1683832"/>
            <a:ext cx="382185" cy="27392"/>
          </a:xfrm>
          <a:custGeom>
            <a:avLst/>
            <a:gdLst/>
            <a:ahLst/>
            <a:cxnLst/>
            <a:rect l="l" t="t" r="r" b="b"/>
            <a:pathLst>
              <a:path w="382185" h="27392">
                <a:moveTo>
                  <a:pt x="0" y="26158"/>
                </a:moveTo>
                <a:lnTo>
                  <a:pt x="248" y="26898"/>
                </a:lnTo>
                <a:lnTo>
                  <a:pt x="992" y="27392"/>
                </a:lnTo>
                <a:lnTo>
                  <a:pt x="1736" y="25171"/>
                </a:lnTo>
                <a:lnTo>
                  <a:pt x="382185" y="2467"/>
                </a:lnTo>
                <a:lnTo>
                  <a:pt x="382185" y="0"/>
                </a:lnTo>
                <a:lnTo>
                  <a:pt x="992" y="24924"/>
                </a:lnTo>
                <a:lnTo>
                  <a:pt x="248" y="25417"/>
                </a:lnTo>
                <a:lnTo>
                  <a:pt x="0" y="26158"/>
                </a:lnTo>
                <a:close/>
              </a:path>
              <a:path w="382185" h="27392">
                <a:moveTo>
                  <a:pt x="1736" y="25171"/>
                </a:moveTo>
                <a:lnTo>
                  <a:pt x="992" y="27392"/>
                </a:lnTo>
                <a:lnTo>
                  <a:pt x="382185" y="2467"/>
                </a:lnTo>
                <a:lnTo>
                  <a:pt x="1736" y="25171"/>
                </a:lnTo>
                <a:close/>
              </a:path>
            </a:pathLst>
          </a:custGeom>
          <a:solidFill>
            <a:srgbClr val="000000"/>
          </a:solidFill>
        </p:spPr>
        <p:txBody>
          <a:bodyPr wrap="square" lIns="0" tIns="0" rIns="0" bIns="0" rtlCol="0">
            <a:noAutofit/>
          </a:bodyPr>
          <a:lstStyle/>
          <a:p>
            <a:endParaRPr/>
          </a:p>
        </p:txBody>
      </p:sp>
      <p:sp>
        <p:nvSpPr>
          <p:cNvPr id="1547" name="object 1547"/>
          <p:cNvSpPr/>
          <p:nvPr/>
        </p:nvSpPr>
        <p:spPr>
          <a:xfrm>
            <a:off x="9013884" y="1673716"/>
            <a:ext cx="39681" cy="37263"/>
          </a:xfrm>
          <a:custGeom>
            <a:avLst/>
            <a:gdLst/>
            <a:ahLst/>
            <a:cxnLst/>
            <a:rect l="l" t="t" r="r" b="b"/>
            <a:pathLst>
              <a:path w="39681" h="37263">
                <a:moveTo>
                  <a:pt x="39681" y="35288"/>
                </a:moveTo>
                <a:lnTo>
                  <a:pt x="2480" y="1233"/>
                </a:lnTo>
                <a:lnTo>
                  <a:pt x="992" y="0"/>
                </a:lnTo>
                <a:lnTo>
                  <a:pt x="248" y="493"/>
                </a:lnTo>
                <a:lnTo>
                  <a:pt x="0" y="1233"/>
                </a:lnTo>
                <a:lnTo>
                  <a:pt x="496" y="2220"/>
                </a:lnTo>
                <a:lnTo>
                  <a:pt x="38193" y="37263"/>
                </a:lnTo>
                <a:lnTo>
                  <a:pt x="39681" y="35288"/>
                </a:lnTo>
                <a:close/>
              </a:path>
              <a:path w="39681" h="37263">
                <a:moveTo>
                  <a:pt x="2480" y="1233"/>
                </a:moveTo>
                <a:lnTo>
                  <a:pt x="39681" y="35288"/>
                </a:lnTo>
                <a:lnTo>
                  <a:pt x="1984" y="246"/>
                </a:lnTo>
                <a:lnTo>
                  <a:pt x="992" y="0"/>
                </a:lnTo>
                <a:lnTo>
                  <a:pt x="2480" y="1233"/>
                </a:lnTo>
                <a:close/>
              </a:path>
            </a:pathLst>
          </a:custGeom>
          <a:solidFill>
            <a:srgbClr val="000000"/>
          </a:solidFill>
        </p:spPr>
        <p:txBody>
          <a:bodyPr wrap="square" lIns="0" tIns="0" rIns="0" bIns="0" rtlCol="0">
            <a:noAutofit/>
          </a:bodyPr>
          <a:lstStyle/>
          <a:p>
            <a:endParaRPr/>
          </a:p>
        </p:txBody>
      </p:sp>
      <p:sp>
        <p:nvSpPr>
          <p:cNvPr id="1548" name="object 1548"/>
          <p:cNvSpPr/>
          <p:nvPr/>
        </p:nvSpPr>
        <p:spPr>
          <a:xfrm>
            <a:off x="9014379" y="1608814"/>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1549" name="object 1549"/>
          <p:cNvSpPr/>
          <p:nvPr/>
        </p:nvSpPr>
        <p:spPr>
          <a:xfrm>
            <a:off x="9013883" y="1608814"/>
            <a:ext cx="2480" cy="66135"/>
          </a:xfrm>
          <a:custGeom>
            <a:avLst/>
            <a:gdLst/>
            <a:ahLst/>
            <a:cxnLst/>
            <a:rect l="l" t="t" r="r" b="b"/>
            <a:pathLst>
              <a:path w="2480" h="66135">
                <a:moveTo>
                  <a:pt x="496" y="493"/>
                </a:moveTo>
                <a:lnTo>
                  <a:pt x="0" y="1233"/>
                </a:lnTo>
                <a:lnTo>
                  <a:pt x="0" y="66135"/>
                </a:lnTo>
                <a:lnTo>
                  <a:pt x="2480" y="66135"/>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1550" name="object 1550"/>
          <p:cNvSpPr/>
          <p:nvPr/>
        </p:nvSpPr>
        <p:spPr>
          <a:xfrm>
            <a:off x="8290683" y="995328"/>
            <a:ext cx="394585" cy="614718"/>
          </a:xfrm>
          <a:custGeom>
            <a:avLst/>
            <a:gdLst/>
            <a:ahLst/>
            <a:cxnLst/>
            <a:rect l="l" t="t" r="r" b="b"/>
            <a:pathLst>
              <a:path w="394585" h="614718">
                <a:moveTo>
                  <a:pt x="376232" y="614718"/>
                </a:moveTo>
                <a:lnTo>
                  <a:pt x="375984" y="34301"/>
                </a:lnTo>
                <a:lnTo>
                  <a:pt x="376232" y="26651"/>
                </a:lnTo>
                <a:lnTo>
                  <a:pt x="376976" y="19742"/>
                </a:lnTo>
                <a:lnTo>
                  <a:pt x="389625" y="1233"/>
                </a:lnTo>
                <a:lnTo>
                  <a:pt x="394585" y="0"/>
                </a:lnTo>
                <a:lnTo>
                  <a:pt x="33233" y="60460"/>
                </a:lnTo>
                <a:lnTo>
                  <a:pt x="29017" y="61693"/>
                </a:lnTo>
                <a:lnTo>
                  <a:pt x="25297" y="63174"/>
                </a:lnTo>
                <a:lnTo>
                  <a:pt x="21576" y="64901"/>
                </a:lnTo>
                <a:lnTo>
                  <a:pt x="18352" y="67122"/>
                </a:lnTo>
                <a:lnTo>
                  <a:pt x="15376" y="69343"/>
                </a:lnTo>
                <a:lnTo>
                  <a:pt x="12648" y="72058"/>
                </a:lnTo>
                <a:lnTo>
                  <a:pt x="10168" y="75019"/>
                </a:lnTo>
                <a:lnTo>
                  <a:pt x="7936" y="77981"/>
                </a:lnTo>
                <a:lnTo>
                  <a:pt x="5952" y="81189"/>
                </a:lnTo>
                <a:lnTo>
                  <a:pt x="4464" y="84397"/>
                </a:lnTo>
                <a:lnTo>
                  <a:pt x="2976" y="87852"/>
                </a:lnTo>
                <a:lnTo>
                  <a:pt x="1984" y="91306"/>
                </a:lnTo>
                <a:lnTo>
                  <a:pt x="992" y="94761"/>
                </a:lnTo>
                <a:lnTo>
                  <a:pt x="496" y="98216"/>
                </a:lnTo>
                <a:lnTo>
                  <a:pt x="0" y="101424"/>
                </a:lnTo>
                <a:lnTo>
                  <a:pt x="0" y="614471"/>
                </a:lnTo>
                <a:lnTo>
                  <a:pt x="376232" y="614718"/>
                </a:lnTo>
                <a:close/>
              </a:path>
            </a:pathLst>
          </a:custGeom>
          <a:solidFill>
            <a:srgbClr val="EFEFEF"/>
          </a:solidFill>
        </p:spPr>
        <p:txBody>
          <a:bodyPr wrap="square" lIns="0" tIns="0" rIns="0" bIns="0" rtlCol="0">
            <a:noAutofit/>
          </a:bodyPr>
          <a:lstStyle/>
          <a:p>
            <a:endParaRPr/>
          </a:p>
        </p:txBody>
      </p:sp>
      <p:sp>
        <p:nvSpPr>
          <p:cNvPr id="1551" name="object 1551"/>
          <p:cNvSpPr/>
          <p:nvPr/>
        </p:nvSpPr>
        <p:spPr>
          <a:xfrm>
            <a:off x="8289195" y="1054309"/>
            <a:ext cx="35961" cy="51329"/>
          </a:xfrm>
          <a:custGeom>
            <a:avLst/>
            <a:gdLst/>
            <a:ahLst/>
            <a:cxnLst/>
            <a:rect l="l" t="t" r="r" b="b"/>
            <a:pathLst>
              <a:path w="35961" h="51329">
                <a:moveTo>
                  <a:pt x="3472" y="27885"/>
                </a:moveTo>
                <a:lnTo>
                  <a:pt x="2232" y="32080"/>
                </a:lnTo>
                <a:lnTo>
                  <a:pt x="1240" y="36522"/>
                </a:lnTo>
                <a:lnTo>
                  <a:pt x="496" y="41211"/>
                </a:lnTo>
                <a:lnTo>
                  <a:pt x="248" y="46147"/>
                </a:lnTo>
                <a:lnTo>
                  <a:pt x="0" y="51329"/>
                </a:lnTo>
                <a:lnTo>
                  <a:pt x="2480" y="51329"/>
                </a:lnTo>
                <a:lnTo>
                  <a:pt x="2728" y="46147"/>
                </a:lnTo>
                <a:lnTo>
                  <a:pt x="2976" y="41705"/>
                </a:lnTo>
                <a:lnTo>
                  <a:pt x="3720" y="37016"/>
                </a:lnTo>
                <a:lnTo>
                  <a:pt x="4712" y="32574"/>
                </a:lnTo>
                <a:lnTo>
                  <a:pt x="5952" y="28872"/>
                </a:lnTo>
                <a:lnTo>
                  <a:pt x="7440" y="24924"/>
                </a:lnTo>
                <a:lnTo>
                  <a:pt x="8928" y="21469"/>
                </a:lnTo>
                <a:lnTo>
                  <a:pt x="11160" y="18261"/>
                </a:lnTo>
                <a:lnTo>
                  <a:pt x="13392" y="15300"/>
                </a:lnTo>
                <a:lnTo>
                  <a:pt x="15872" y="12832"/>
                </a:lnTo>
                <a:lnTo>
                  <a:pt x="18352" y="10364"/>
                </a:lnTo>
                <a:lnTo>
                  <a:pt x="21328" y="8143"/>
                </a:lnTo>
                <a:lnTo>
                  <a:pt x="24305" y="6169"/>
                </a:lnTo>
                <a:lnTo>
                  <a:pt x="27777" y="4935"/>
                </a:lnTo>
                <a:lnTo>
                  <a:pt x="31249" y="3454"/>
                </a:lnTo>
                <a:lnTo>
                  <a:pt x="34969" y="2467"/>
                </a:lnTo>
                <a:lnTo>
                  <a:pt x="35713" y="1974"/>
                </a:lnTo>
                <a:lnTo>
                  <a:pt x="35961" y="987"/>
                </a:lnTo>
                <a:lnTo>
                  <a:pt x="35465" y="246"/>
                </a:lnTo>
                <a:lnTo>
                  <a:pt x="34473" y="0"/>
                </a:lnTo>
                <a:lnTo>
                  <a:pt x="30257" y="987"/>
                </a:lnTo>
                <a:lnTo>
                  <a:pt x="26785" y="2467"/>
                </a:lnTo>
                <a:lnTo>
                  <a:pt x="23313" y="4195"/>
                </a:lnTo>
                <a:lnTo>
                  <a:pt x="19840" y="6169"/>
                </a:lnTo>
                <a:lnTo>
                  <a:pt x="16864" y="8390"/>
                </a:lnTo>
                <a:lnTo>
                  <a:pt x="13888" y="10858"/>
                </a:lnTo>
                <a:lnTo>
                  <a:pt x="11408" y="13819"/>
                </a:lnTo>
                <a:lnTo>
                  <a:pt x="9176" y="16780"/>
                </a:lnTo>
                <a:lnTo>
                  <a:pt x="6944" y="20482"/>
                </a:lnTo>
                <a:lnTo>
                  <a:pt x="4960" y="23937"/>
                </a:lnTo>
                <a:lnTo>
                  <a:pt x="3472" y="27885"/>
                </a:lnTo>
                <a:close/>
              </a:path>
            </a:pathLst>
          </a:custGeom>
          <a:solidFill>
            <a:srgbClr val="000000"/>
          </a:solidFill>
        </p:spPr>
        <p:txBody>
          <a:bodyPr wrap="square" lIns="0" tIns="0" rIns="0" bIns="0" rtlCol="0">
            <a:noAutofit/>
          </a:bodyPr>
          <a:lstStyle/>
          <a:p>
            <a:endParaRPr/>
          </a:p>
        </p:txBody>
      </p:sp>
      <p:sp>
        <p:nvSpPr>
          <p:cNvPr id="1552" name="object 1552"/>
          <p:cNvSpPr/>
          <p:nvPr/>
        </p:nvSpPr>
        <p:spPr>
          <a:xfrm>
            <a:off x="8323669" y="996069"/>
            <a:ext cx="342999" cy="60706"/>
          </a:xfrm>
          <a:custGeom>
            <a:avLst/>
            <a:gdLst/>
            <a:ahLst/>
            <a:cxnLst/>
            <a:rect l="l" t="t" r="r" b="b"/>
            <a:pathLst>
              <a:path w="342999" h="60706">
                <a:moveTo>
                  <a:pt x="341511" y="0"/>
                </a:moveTo>
                <a:lnTo>
                  <a:pt x="0" y="58239"/>
                </a:lnTo>
                <a:lnTo>
                  <a:pt x="496" y="60706"/>
                </a:lnTo>
                <a:lnTo>
                  <a:pt x="342007" y="2467"/>
                </a:lnTo>
                <a:lnTo>
                  <a:pt x="342751" y="1974"/>
                </a:lnTo>
                <a:lnTo>
                  <a:pt x="342999" y="987"/>
                </a:lnTo>
                <a:lnTo>
                  <a:pt x="342503" y="246"/>
                </a:lnTo>
                <a:lnTo>
                  <a:pt x="341511" y="0"/>
                </a:lnTo>
                <a:close/>
              </a:path>
            </a:pathLst>
          </a:custGeom>
          <a:solidFill>
            <a:srgbClr val="000000"/>
          </a:solidFill>
        </p:spPr>
        <p:txBody>
          <a:bodyPr wrap="square" lIns="0" tIns="0" rIns="0" bIns="0" rtlCol="0">
            <a:noAutofit/>
          </a:bodyPr>
          <a:lstStyle/>
          <a:p>
            <a:endParaRPr/>
          </a:p>
        </p:txBody>
      </p:sp>
      <p:sp>
        <p:nvSpPr>
          <p:cNvPr id="1553" name="object 1553"/>
          <p:cNvSpPr/>
          <p:nvPr/>
        </p:nvSpPr>
        <p:spPr>
          <a:xfrm>
            <a:off x="8665179" y="993108"/>
            <a:ext cx="53818" cy="5429"/>
          </a:xfrm>
          <a:custGeom>
            <a:avLst/>
            <a:gdLst/>
            <a:ahLst/>
            <a:cxnLst/>
            <a:rect l="l" t="t" r="r" b="b"/>
            <a:pathLst>
              <a:path w="53818" h="5429">
                <a:moveTo>
                  <a:pt x="17360" y="3208"/>
                </a:moveTo>
                <a:lnTo>
                  <a:pt x="20336" y="2714"/>
                </a:lnTo>
                <a:lnTo>
                  <a:pt x="23561" y="2714"/>
                </a:lnTo>
                <a:lnTo>
                  <a:pt x="26785" y="2467"/>
                </a:lnTo>
                <a:lnTo>
                  <a:pt x="33233" y="2467"/>
                </a:lnTo>
                <a:lnTo>
                  <a:pt x="36209" y="2714"/>
                </a:lnTo>
                <a:lnTo>
                  <a:pt x="39185" y="2961"/>
                </a:lnTo>
                <a:lnTo>
                  <a:pt x="42409" y="3454"/>
                </a:lnTo>
                <a:lnTo>
                  <a:pt x="45634" y="3948"/>
                </a:lnTo>
                <a:lnTo>
                  <a:pt x="49106" y="4688"/>
                </a:lnTo>
                <a:lnTo>
                  <a:pt x="52330" y="5429"/>
                </a:lnTo>
                <a:lnTo>
                  <a:pt x="53322" y="5182"/>
                </a:lnTo>
                <a:lnTo>
                  <a:pt x="53818" y="4441"/>
                </a:lnTo>
                <a:lnTo>
                  <a:pt x="53570" y="3454"/>
                </a:lnTo>
                <a:lnTo>
                  <a:pt x="52826" y="2961"/>
                </a:lnTo>
                <a:lnTo>
                  <a:pt x="49602" y="2220"/>
                </a:lnTo>
                <a:lnTo>
                  <a:pt x="46130" y="1480"/>
                </a:lnTo>
                <a:lnTo>
                  <a:pt x="42905" y="987"/>
                </a:lnTo>
                <a:lnTo>
                  <a:pt x="39681" y="493"/>
                </a:lnTo>
                <a:lnTo>
                  <a:pt x="36209" y="246"/>
                </a:lnTo>
                <a:lnTo>
                  <a:pt x="33233" y="0"/>
                </a:lnTo>
                <a:lnTo>
                  <a:pt x="26785" y="0"/>
                </a:lnTo>
                <a:lnTo>
                  <a:pt x="23561" y="246"/>
                </a:lnTo>
                <a:lnTo>
                  <a:pt x="20336" y="246"/>
                </a:lnTo>
                <a:lnTo>
                  <a:pt x="16864" y="740"/>
                </a:lnTo>
                <a:lnTo>
                  <a:pt x="13640" y="987"/>
                </a:lnTo>
                <a:lnTo>
                  <a:pt x="10416" y="1480"/>
                </a:lnTo>
                <a:lnTo>
                  <a:pt x="6944" y="1974"/>
                </a:lnTo>
                <a:lnTo>
                  <a:pt x="3472" y="2467"/>
                </a:lnTo>
                <a:lnTo>
                  <a:pt x="0" y="2961"/>
                </a:lnTo>
                <a:lnTo>
                  <a:pt x="496" y="5429"/>
                </a:lnTo>
                <a:lnTo>
                  <a:pt x="3968" y="4935"/>
                </a:lnTo>
                <a:lnTo>
                  <a:pt x="7440" y="4441"/>
                </a:lnTo>
                <a:lnTo>
                  <a:pt x="10912" y="3948"/>
                </a:lnTo>
                <a:lnTo>
                  <a:pt x="14136" y="3454"/>
                </a:lnTo>
                <a:lnTo>
                  <a:pt x="17360" y="3208"/>
                </a:lnTo>
                <a:close/>
              </a:path>
            </a:pathLst>
          </a:custGeom>
          <a:solidFill>
            <a:srgbClr val="000000"/>
          </a:solidFill>
        </p:spPr>
        <p:txBody>
          <a:bodyPr wrap="square" lIns="0" tIns="0" rIns="0" bIns="0" rtlCol="0">
            <a:noAutofit/>
          </a:bodyPr>
          <a:lstStyle/>
          <a:p>
            <a:endParaRPr/>
          </a:p>
        </p:txBody>
      </p:sp>
      <p:sp>
        <p:nvSpPr>
          <p:cNvPr id="1554" name="object 1554"/>
          <p:cNvSpPr/>
          <p:nvPr/>
        </p:nvSpPr>
        <p:spPr>
          <a:xfrm>
            <a:off x="8717510" y="996070"/>
            <a:ext cx="868535" cy="273427"/>
          </a:xfrm>
          <a:custGeom>
            <a:avLst/>
            <a:gdLst/>
            <a:ahLst/>
            <a:cxnLst/>
            <a:rect l="l" t="t" r="r" b="b"/>
            <a:pathLst>
              <a:path w="868535" h="273427">
                <a:moveTo>
                  <a:pt x="868535" y="272440"/>
                </a:moveTo>
                <a:lnTo>
                  <a:pt x="868287" y="271453"/>
                </a:lnTo>
                <a:lnTo>
                  <a:pt x="867543" y="270959"/>
                </a:lnTo>
                <a:lnTo>
                  <a:pt x="496" y="0"/>
                </a:lnTo>
                <a:lnTo>
                  <a:pt x="0" y="2467"/>
                </a:lnTo>
                <a:lnTo>
                  <a:pt x="867047" y="273427"/>
                </a:lnTo>
                <a:lnTo>
                  <a:pt x="868039" y="273180"/>
                </a:lnTo>
                <a:lnTo>
                  <a:pt x="868535" y="272440"/>
                </a:lnTo>
                <a:close/>
              </a:path>
            </a:pathLst>
          </a:custGeom>
          <a:solidFill>
            <a:srgbClr val="000000"/>
          </a:solidFill>
        </p:spPr>
        <p:txBody>
          <a:bodyPr wrap="square" lIns="0" tIns="0" rIns="0" bIns="0" rtlCol="0">
            <a:noAutofit/>
          </a:bodyPr>
          <a:lstStyle/>
          <a:p>
            <a:endParaRPr/>
          </a:p>
        </p:txBody>
      </p:sp>
      <p:sp>
        <p:nvSpPr>
          <p:cNvPr id="1555" name="object 1555"/>
          <p:cNvSpPr/>
          <p:nvPr/>
        </p:nvSpPr>
        <p:spPr>
          <a:xfrm>
            <a:off x="9584308" y="1267029"/>
            <a:ext cx="14384" cy="27145"/>
          </a:xfrm>
          <a:custGeom>
            <a:avLst/>
            <a:gdLst/>
            <a:ahLst/>
            <a:cxnLst/>
            <a:rect l="l" t="t" r="r" b="b"/>
            <a:pathLst>
              <a:path w="14384" h="27145">
                <a:moveTo>
                  <a:pt x="992" y="0"/>
                </a:moveTo>
                <a:lnTo>
                  <a:pt x="0" y="2467"/>
                </a:lnTo>
                <a:lnTo>
                  <a:pt x="3720" y="3948"/>
                </a:lnTo>
                <a:lnTo>
                  <a:pt x="6448" y="5922"/>
                </a:lnTo>
                <a:lnTo>
                  <a:pt x="8432" y="8143"/>
                </a:lnTo>
                <a:lnTo>
                  <a:pt x="9920" y="10611"/>
                </a:lnTo>
                <a:lnTo>
                  <a:pt x="10912" y="13572"/>
                </a:lnTo>
                <a:lnTo>
                  <a:pt x="11656" y="17274"/>
                </a:lnTo>
                <a:lnTo>
                  <a:pt x="11904" y="21469"/>
                </a:lnTo>
                <a:lnTo>
                  <a:pt x="11904" y="26158"/>
                </a:lnTo>
                <a:lnTo>
                  <a:pt x="12400" y="26898"/>
                </a:lnTo>
                <a:lnTo>
                  <a:pt x="13144" y="27145"/>
                </a:lnTo>
                <a:lnTo>
                  <a:pt x="13888" y="26898"/>
                </a:lnTo>
                <a:lnTo>
                  <a:pt x="14384" y="26158"/>
                </a:lnTo>
                <a:lnTo>
                  <a:pt x="14384" y="21469"/>
                </a:lnTo>
                <a:lnTo>
                  <a:pt x="14136" y="16780"/>
                </a:lnTo>
                <a:lnTo>
                  <a:pt x="13392" y="13079"/>
                </a:lnTo>
                <a:lnTo>
                  <a:pt x="12400" y="9624"/>
                </a:lnTo>
                <a:lnTo>
                  <a:pt x="10416" y="6662"/>
                </a:lnTo>
                <a:lnTo>
                  <a:pt x="7936" y="3948"/>
                </a:lnTo>
                <a:lnTo>
                  <a:pt x="4712" y="1974"/>
                </a:lnTo>
                <a:lnTo>
                  <a:pt x="992" y="0"/>
                </a:lnTo>
                <a:close/>
              </a:path>
            </a:pathLst>
          </a:custGeom>
          <a:solidFill>
            <a:srgbClr val="000000"/>
          </a:solidFill>
        </p:spPr>
        <p:txBody>
          <a:bodyPr wrap="square" lIns="0" tIns="0" rIns="0" bIns="0" rtlCol="0">
            <a:noAutofit/>
          </a:bodyPr>
          <a:lstStyle/>
          <a:p>
            <a:endParaRPr/>
          </a:p>
        </p:txBody>
      </p:sp>
      <p:sp>
        <p:nvSpPr>
          <p:cNvPr id="1556" name="object 1556"/>
          <p:cNvSpPr/>
          <p:nvPr/>
        </p:nvSpPr>
        <p:spPr>
          <a:xfrm>
            <a:off x="9596213" y="1654713"/>
            <a:ext cx="1612" cy="2220"/>
          </a:xfrm>
          <a:custGeom>
            <a:avLst/>
            <a:gdLst/>
            <a:ahLst/>
            <a:cxnLst/>
            <a:rect l="l" t="t" r="r" b="b"/>
            <a:pathLst>
              <a:path w="1612" h="2220">
                <a:moveTo>
                  <a:pt x="1240" y="0"/>
                </a:moveTo>
                <a:lnTo>
                  <a:pt x="0" y="1233"/>
                </a:lnTo>
                <a:lnTo>
                  <a:pt x="496" y="1974"/>
                </a:lnTo>
                <a:lnTo>
                  <a:pt x="1240" y="2220"/>
                </a:lnTo>
                <a:lnTo>
                  <a:pt x="1612" y="2097"/>
                </a:lnTo>
                <a:lnTo>
                  <a:pt x="1240" y="0"/>
                </a:lnTo>
                <a:close/>
              </a:path>
            </a:pathLst>
          </a:custGeom>
          <a:solidFill>
            <a:srgbClr val="000000"/>
          </a:solidFill>
        </p:spPr>
        <p:txBody>
          <a:bodyPr wrap="square" lIns="0" tIns="0" rIns="0" bIns="0" rtlCol="0">
            <a:noAutofit/>
          </a:bodyPr>
          <a:lstStyle/>
          <a:p>
            <a:endParaRPr/>
          </a:p>
        </p:txBody>
      </p:sp>
      <p:sp>
        <p:nvSpPr>
          <p:cNvPr id="1557" name="object 1557"/>
          <p:cNvSpPr/>
          <p:nvPr/>
        </p:nvSpPr>
        <p:spPr>
          <a:xfrm>
            <a:off x="9459807" y="1654713"/>
            <a:ext cx="137646" cy="7650"/>
          </a:xfrm>
          <a:custGeom>
            <a:avLst/>
            <a:gdLst/>
            <a:ahLst/>
            <a:cxnLst/>
            <a:rect l="l" t="t" r="r" b="b"/>
            <a:pathLst>
              <a:path w="137646" h="7650">
                <a:moveTo>
                  <a:pt x="0" y="6416"/>
                </a:moveTo>
                <a:lnTo>
                  <a:pt x="248" y="7156"/>
                </a:lnTo>
                <a:lnTo>
                  <a:pt x="992" y="7650"/>
                </a:lnTo>
                <a:lnTo>
                  <a:pt x="1736" y="7403"/>
                </a:lnTo>
                <a:lnTo>
                  <a:pt x="137646" y="2467"/>
                </a:lnTo>
                <a:lnTo>
                  <a:pt x="137646" y="0"/>
                </a:lnTo>
                <a:lnTo>
                  <a:pt x="992" y="5182"/>
                </a:lnTo>
                <a:lnTo>
                  <a:pt x="248" y="5675"/>
                </a:lnTo>
                <a:lnTo>
                  <a:pt x="0" y="6416"/>
                </a:lnTo>
                <a:close/>
              </a:path>
            </a:pathLst>
          </a:custGeom>
          <a:solidFill>
            <a:srgbClr val="000000"/>
          </a:solidFill>
        </p:spPr>
        <p:txBody>
          <a:bodyPr wrap="square" lIns="0" tIns="0" rIns="0" bIns="0" rtlCol="0">
            <a:noAutofit/>
          </a:bodyPr>
          <a:lstStyle/>
          <a:p>
            <a:endParaRPr/>
          </a:p>
        </p:txBody>
      </p:sp>
      <p:sp>
        <p:nvSpPr>
          <p:cNvPr id="1558" name="object 1558"/>
          <p:cNvSpPr/>
          <p:nvPr/>
        </p:nvSpPr>
        <p:spPr>
          <a:xfrm>
            <a:off x="9460799" y="1657181"/>
            <a:ext cx="136654" cy="5182"/>
          </a:xfrm>
          <a:custGeom>
            <a:avLst/>
            <a:gdLst/>
            <a:ahLst/>
            <a:cxnLst/>
            <a:rect l="l" t="t" r="r" b="b"/>
            <a:pathLst>
              <a:path w="136654" h="5182">
                <a:moveTo>
                  <a:pt x="136654" y="0"/>
                </a:moveTo>
                <a:lnTo>
                  <a:pt x="744" y="4935"/>
                </a:lnTo>
                <a:lnTo>
                  <a:pt x="0" y="5182"/>
                </a:lnTo>
                <a:lnTo>
                  <a:pt x="136654" y="0"/>
                </a:lnTo>
                <a:close/>
              </a:path>
            </a:pathLst>
          </a:custGeom>
          <a:solidFill>
            <a:srgbClr val="000000"/>
          </a:solidFill>
        </p:spPr>
        <p:txBody>
          <a:bodyPr wrap="square" lIns="0" tIns="0" rIns="0" bIns="0" rtlCol="0">
            <a:noAutofit/>
          </a:bodyPr>
          <a:lstStyle/>
          <a:p>
            <a:endParaRPr/>
          </a:p>
        </p:txBody>
      </p:sp>
      <p:sp>
        <p:nvSpPr>
          <p:cNvPr id="1559" name="object 1559"/>
          <p:cNvSpPr/>
          <p:nvPr/>
        </p:nvSpPr>
        <p:spPr>
          <a:xfrm>
            <a:off x="9432775" y="1660142"/>
            <a:ext cx="28769" cy="26158"/>
          </a:xfrm>
          <a:custGeom>
            <a:avLst/>
            <a:gdLst/>
            <a:ahLst/>
            <a:cxnLst/>
            <a:rect l="l" t="t" r="r" b="b"/>
            <a:pathLst>
              <a:path w="28769" h="26158">
                <a:moveTo>
                  <a:pt x="0" y="24677"/>
                </a:moveTo>
                <a:lnTo>
                  <a:pt x="248" y="25664"/>
                </a:lnTo>
                <a:lnTo>
                  <a:pt x="992" y="26158"/>
                </a:lnTo>
                <a:lnTo>
                  <a:pt x="1984" y="25911"/>
                </a:lnTo>
                <a:lnTo>
                  <a:pt x="28769" y="1974"/>
                </a:lnTo>
                <a:lnTo>
                  <a:pt x="27281" y="0"/>
                </a:lnTo>
                <a:lnTo>
                  <a:pt x="1240" y="23690"/>
                </a:lnTo>
                <a:lnTo>
                  <a:pt x="496" y="23937"/>
                </a:lnTo>
                <a:lnTo>
                  <a:pt x="0" y="24677"/>
                </a:lnTo>
                <a:close/>
              </a:path>
              <a:path w="28769" h="26158">
                <a:moveTo>
                  <a:pt x="1240" y="23690"/>
                </a:moveTo>
                <a:lnTo>
                  <a:pt x="27281" y="0"/>
                </a:lnTo>
                <a:lnTo>
                  <a:pt x="496" y="23937"/>
                </a:lnTo>
                <a:lnTo>
                  <a:pt x="1240" y="23690"/>
                </a:lnTo>
                <a:close/>
              </a:path>
            </a:pathLst>
          </a:custGeom>
          <a:solidFill>
            <a:srgbClr val="000000"/>
          </a:solidFill>
        </p:spPr>
        <p:txBody>
          <a:bodyPr wrap="square" lIns="0" tIns="0" rIns="0" bIns="0" rtlCol="0">
            <a:noAutofit/>
          </a:bodyPr>
          <a:lstStyle/>
          <a:p>
            <a:endParaRPr/>
          </a:p>
        </p:txBody>
      </p:sp>
      <p:sp>
        <p:nvSpPr>
          <p:cNvPr id="1560" name="object 1560"/>
          <p:cNvSpPr/>
          <p:nvPr/>
        </p:nvSpPr>
        <p:spPr>
          <a:xfrm>
            <a:off x="9051829" y="1683832"/>
            <a:ext cx="382185" cy="27392"/>
          </a:xfrm>
          <a:custGeom>
            <a:avLst/>
            <a:gdLst/>
            <a:ahLst/>
            <a:cxnLst/>
            <a:rect l="l" t="t" r="r" b="b"/>
            <a:pathLst>
              <a:path w="382185" h="27392">
                <a:moveTo>
                  <a:pt x="0" y="26158"/>
                </a:moveTo>
                <a:lnTo>
                  <a:pt x="248" y="26898"/>
                </a:lnTo>
                <a:lnTo>
                  <a:pt x="992" y="27392"/>
                </a:lnTo>
                <a:lnTo>
                  <a:pt x="1736" y="25171"/>
                </a:lnTo>
                <a:lnTo>
                  <a:pt x="382185" y="2467"/>
                </a:lnTo>
                <a:lnTo>
                  <a:pt x="382185" y="0"/>
                </a:lnTo>
                <a:lnTo>
                  <a:pt x="992" y="24924"/>
                </a:lnTo>
                <a:lnTo>
                  <a:pt x="248" y="25417"/>
                </a:lnTo>
                <a:lnTo>
                  <a:pt x="0" y="26158"/>
                </a:lnTo>
                <a:close/>
              </a:path>
              <a:path w="382185" h="27392">
                <a:moveTo>
                  <a:pt x="1736" y="25171"/>
                </a:moveTo>
                <a:lnTo>
                  <a:pt x="992" y="27392"/>
                </a:lnTo>
                <a:lnTo>
                  <a:pt x="382185" y="2467"/>
                </a:lnTo>
                <a:lnTo>
                  <a:pt x="1736" y="25171"/>
                </a:lnTo>
                <a:close/>
              </a:path>
            </a:pathLst>
          </a:custGeom>
          <a:solidFill>
            <a:srgbClr val="000000"/>
          </a:solidFill>
        </p:spPr>
        <p:txBody>
          <a:bodyPr wrap="square" lIns="0" tIns="0" rIns="0" bIns="0" rtlCol="0">
            <a:noAutofit/>
          </a:bodyPr>
          <a:lstStyle/>
          <a:p>
            <a:endParaRPr/>
          </a:p>
        </p:txBody>
      </p:sp>
      <p:sp>
        <p:nvSpPr>
          <p:cNvPr id="1561" name="object 1561"/>
          <p:cNvSpPr/>
          <p:nvPr/>
        </p:nvSpPr>
        <p:spPr>
          <a:xfrm>
            <a:off x="9013884" y="1673716"/>
            <a:ext cx="39681" cy="37263"/>
          </a:xfrm>
          <a:custGeom>
            <a:avLst/>
            <a:gdLst/>
            <a:ahLst/>
            <a:cxnLst/>
            <a:rect l="l" t="t" r="r" b="b"/>
            <a:pathLst>
              <a:path w="39681" h="37263">
                <a:moveTo>
                  <a:pt x="39681" y="35288"/>
                </a:moveTo>
                <a:lnTo>
                  <a:pt x="2480" y="1233"/>
                </a:lnTo>
                <a:lnTo>
                  <a:pt x="992" y="0"/>
                </a:lnTo>
                <a:lnTo>
                  <a:pt x="248" y="493"/>
                </a:lnTo>
                <a:lnTo>
                  <a:pt x="0" y="1233"/>
                </a:lnTo>
                <a:lnTo>
                  <a:pt x="496" y="2220"/>
                </a:lnTo>
                <a:lnTo>
                  <a:pt x="38193" y="37263"/>
                </a:lnTo>
                <a:lnTo>
                  <a:pt x="39681" y="35288"/>
                </a:lnTo>
                <a:close/>
              </a:path>
              <a:path w="39681" h="37263">
                <a:moveTo>
                  <a:pt x="2480" y="1233"/>
                </a:moveTo>
                <a:lnTo>
                  <a:pt x="39681" y="35288"/>
                </a:lnTo>
                <a:lnTo>
                  <a:pt x="1984" y="246"/>
                </a:lnTo>
                <a:lnTo>
                  <a:pt x="992" y="0"/>
                </a:lnTo>
                <a:lnTo>
                  <a:pt x="2480" y="1233"/>
                </a:lnTo>
                <a:close/>
              </a:path>
            </a:pathLst>
          </a:custGeom>
          <a:solidFill>
            <a:srgbClr val="000000"/>
          </a:solidFill>
        </p:spPr>
        <p:txBody>
          <a:bodyPr wrap="square" lIns="0" tIns="0" rIns="0" bIns="0" rtlCol="0">
            <a:noAutofit/>
          </a:bodyPr>
          <a:lstStyle/>
          <a:p>
            <a:endParaRPr/>
          </a:p>
        </p:txBody>
      </p:sp>
      <p:sp>
        <p:nvSpPr>
          <p:cNvPr id="1562" name="object 1562"/>
          <p:cNvSpPr/>
          <p:nvPr/>
        </p:nvSpPr>
        <p:spPr>
          <a:xfrm>
            <a:off x="9014379" y="1608814"/>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1563" name="object 1563"/>
          <p:cNvSpPr/>
          <p:nvPr/>
        </p:nvSpPr>
        <p:spPr>
          <a:xfrm>
            <a:off x="9013883" y="1608814"/>
            <a:ext cx="2480" cy="66135"/>
          </a:xfrm>
          <a:custGeom>
            <a:avLst/>
            <a:gdLst/>
            <a:ahLst/>
            <a:cxnLst/>
            <a:rect l="l" t="t" r="r" b="b"/>
            <a:pathLst>
              <a:path w="2480" h="66135">
                <a:moveTo>
                  <a:pt x="496" y="493"/>
                </a:moveTo>
                <a:lnTo>
                  <a:pt x="0" y="1233"/>
                </a:lnTo>
                <a:lnTo>
                  <a:pt x="0" y="66135"/>
                </a:lnTo>
                <a:lnTo>
                  <a:pt x="2480" y="66135"/>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1564" name="object 1564"/>
          <p:cNvSpPr/>
          <p:nvPr/>
        </p:nvSpPr>
        <p:spPr>
          <a:xfrm>
            <a:off x="8666916" y="1423238"/>
            <a:ext cx="927809" cy="225059"/>
          </a:xfrm>
          <a:custGeom>
            <a:avLst/>
            <a:gdLst/>
            <a:ahLst/>
            <a:cxnLst/>
            <a:rect l="l" t="t" r="r" b="b"/>
            <a:pathLst>
              <a:path w="927809" h="225059">
                <a:moveTo>
                  <a:pt x="594234" y="74526"/>
                </a:moveTo>
                <a:lnTo>
                  <a:pt x="588282" y="71071"/>
                </a:lnTo>
                <a:lnTo>
                  <a:pt x="582330" y="67369"/>
                </a:lnTo>
                <a:lnTo>
                  <a:pt x="576377" y="63914"/>
                </a:lnTo>
                <a:lnTo>
                  <a:pt x="570425" y="60460"/>
                </a:lnTo>
                <a:lnTo>
                  <a:pt x="564225" y="57005"/>
                </a:lnTo>
                <a:lnTo>
                  <a:pt x="558025" y="53550"/>
                </a:lnTo>
                <a:lnTo>
                  <a:pt x="551576" y="50342"/>
                </a:lnTo>
                <a:lnTo>
                  <a:pt x="545128" y="47134"/>
                </a:lnTo>
                <a:lnTo>
                  <a:pt x="538432" y="44172"/>
                </a:lnTo>
                <a:lnTo>
                  <a:pt x="531735" y="41211"/>
                </a:lnTo>
                <a:lnTo>
                  <a:pt x="524543" y="38743"/>
                </a:lnTo>
                <a:lnTo>
                  <a:pt x="517599" y="36276"/>
                </a:lnTo>
                <a:lnTo>
                  <a:pt x="510158" y="34055"/>
                </a:lnTo>
                <a:lnTo>
                  <a:pt x="486597" y="29613"/>
                </a:lnTo>
                <a:lnTo>
                  <a:pt x="0" y="0"/>
                </a:lnTo>
                <a:lnTo>
                  <a:pt x="0" y="99697"/>
                </a:lnTo>
                <a:lnTo>
                  <a:pt x="591258" y="99450"/>
                </a:lnTo>
                <a:lnTo>
                  <a:pt x="600683" y="100931"/>
                </a:lnTo>
                <a:lnTo>
                  <a:pt x="608867" y="104879"/>
                </a:lnTo>
                <a:lnTo>
                  <a:pt x="615811" y="111049"/>
                </a:lnTo>
                <a:lnTo>
                  <a:pt x="622259" y="119192"/>
                </a:lnTo>
                <a:lnTo>
                  <a:pt x="627964" y="128816"/>
                </a:lnTo>
                <a:lnTo>
                  <a:pt x="633668" y="139675"/>
                </a:lnTo>
                <a:lnTo>
                  <a:pt x="639620" y="151273"/>
                </a:lnTo>
                <a:lnTo>
                  <a:pt x="645821" y="163118"/>
                </a:lnTo>
                <a:lnTo>
                  <a:pt x="652765" y="174963"/>
                </a:lnTo>
                <a:lnTo>
                  <a:pt x="660701" y="186315"/>
                </a:lnTo>
                <a:lnTo>
                  <a:pt x="670126" y="196926"/>
                </a:lnTo>
                <a:lnTo>
                  <a:pt x="681286" y="206551"/>
                </a:lnTo>
                <a:lnTo>
                  <a:pt x="694431" y="214448"/>
                </a:lnTo>
                <a:lnTo>
                  <a:pt x="709559" y="220370"/>
                </a:lnTo>
                <a:lnTo>
                  <a:pt x="727416" y="224072"/>
                </a:lnTo>
                <a:lnTo>
                  <a:pt x="748249" y="225059"/>
                </a:lnTo>
                <a:lnTo>
                  <a:pt x="927809" y="219630"/>
                </a:lnTo>
                <a:lnTo>
                  <a:pt x="927809" y="107594"/>
                </a:lnTo>
                <a:lnTo>
                  <a:pt x="687734" y="107840"/>
                </a:lnTo>
                <a:lnTo>
                  <a:pt x="680790" y="107594"/>
                </a:lnTo>
                <a:lnTo>
                  <a:pt x="673846" y="107100"/>
                </a:lnTo>
                <a:lnTo>
                  <a:pt x="667150" y="106113"/>
                </a:lnTo>
                <a:lnTo>
                  <a:pt x="660453" y="104632"/>
                </a:lnTo>
                <a:lnTo>
                  <a:pt x="654005" y="103152"/>
                </a:lnTo>
                <a:lnTo>
                  <a:pt x="647805" y="101178"/>
                </a:lnTo>
                <a:lnTo>
                  <a:pt x="641604" y="98957"/>
                </a:lnTo>
                <a:lnTo>
                  <a:pt x="635652" y="96489"/>
                </a:lnTo>
                <a:lnTo>
                  <a:pt x="629452" y="93774"/>
                </a:lnTo>
                <a:lnTo>
                  <a:pt x="623500" y="91060"/>
                </a:lnTo>
                <a:lnTo>
                  <a:pt x="617547" y="87852"/>
                </a:lnTo>
                <a:lnTo>
                  <a:pt x="611843" y="84644"/>
                </a:lnTo>
                <a:lnTo>
                  <a:pt x="605891" y="81435"/>
                </a:lnTo>
                <a:lnTo>
                  <a:pt x="600186" y="77981"/>
                </a:lnTo>
                <a:lnTo>
                  <a:pt x="594234" y="74526"/>
                </a:lnTo>
                <a:close/>
              </a:path>
            </a:pathLst>
          </a:custGeom>
          <a:solidFill>
            <a:srgbClr val="00FFFF"/>
          </a:solidFill>
        </p:spPr>
        <p:txBody>
          <a:bodyPr wrap="square" lIns="0" tIns="0" rIns="0" bIns="0" rtlCol="0">
            <a:noAutofit/>
          </a:bodyPr>
          <a:lstStyle/>
          <a:p>
            <a:endParaRPr/>
          </a:p>
        </p:txBody>
      </p:sp>
      <p:sp>
        <p:nvSpPr>
          <p:cNvPr id="1565" name="object 1565"/>
          <p:cNvSpPr/>
          <p:nvPr/>
        </p:nvSpPr>
        <p:spPr>
          <a:xfrm>
            <a:off x="8294402" y="1422992"/>
            <a:ext cx="372512" cy="99697"/>
          </a:xfrm>
          <a:custGeom>
            <a:avLst/>
            <a:gdLst/>
            <a:ahLst/>
            <a:cxnLst/>
            <a:rect l="l" t="t" r="r" b="b"/>
            <a:pathLst>
              <a:path w="372512" h="99697">
                <a:moveTo>
                  <a:pt x="372264" y="0"/>
                </a:moveTo>
                <a:lnTo>
                  <a:pt x="0" y="7896"/>
                </a:lnTo>
                <a:lnTo>
                  <a:pt x="248" y="99450"/>
                </a:lnTo>
                <a:lnTo>
                  <a:pt x="372512" y="99697"/>
                </a:lnTo>
                <a:lnTo>
                  <a:pt x="372264" y="0"/>
                </a:lnTo>
                <a:close/>
              </a:path>
            </a:pathLst>
          </a:custGeom>
          <a:solidFill>
            <a:srgbClr val="00BEBE"/>
          </a:solidFill>
        </p:spPr>
        <p:txBody>
          <a:bodyPr wrap="square" lIns="0" tIns="0" rIns="0" bIns="0" rtlCol="0">
            <a:noAutofit/>
          </a:bodyPr>
          <a:lstStyle/>
          <a:p>
            <a:endParaRPr/>
          </a:p>
        </p:txBody>
      </p:sp>
      <p:sp>
        <p:nvSpPr>
          <p:cNvPr id="1566" name="object 1566"/>
          <p:cNvSpPr/>
          <p:nvPr/>
        </p:nvSpPr>
        <p:spPr>
          <a:xfrm>
            <a:off x="8666916" y="1282575"/>
            <a:ext cx="927809" cy="243814"/>
          </a:xfrm>
          <a:custGeom>
            <a:avLst/>
            <a:gdLst/>
            <a:ahLst/>
            <a:cxnLst/>
            <a:rect l="l" t="t" r="r" b="b"/>
            <a:pathLst>
              <a:path w="927809" h="243814">
                <a:moveTo>
                  <a:pt x="594234" y="98957"/>
                </a:moveTo>
                <a:lnTo>
                  <a:pt x="588282" y="95255"/>
                </a:lnTo>
                <a:lnTo>
                  <a:pt x="582330" y="91800"/>
                </a:lnTo>
                <a:lnTo>
                  <a:pt x="576377" y="88345"/>
                </a:lnTo>
                <a:lnTo>
                  <a:pt x="570425" y="84644"/>
                </a:lnTo>
                <a:lnTo>
                  <a:pt x="564225" y="81189"/>
                </a:lnTo>
                <a:lnTo>
                  <a:pt x="558025" y="77981"/>
                </a:lnTo>
                <a:lnTo>
                  <a:pt x="551576" y="74526"/>
                </a:lnTo>
                <a:lnTo>
                  <a:pt x="545128" y="71564"/>
                </a:lnTo>
                <a:lnTo>
                  <a:pt x="538432" y="68356"/>
                </a:lnTo>
                <a:lnTo>
                  <a:pt x="531735" y="65642"/>
                </a:lnTo>
                <a:lnTo>
                  <a:pt x="524543" y="62927"/>
                </a:lnTo>
                <a:lnTo>
                  <a:pt x="517599" y="60706"/>
                </a:lnTo>
                <a:lnTo>
                  <a:pt x="510158" y="58485"/>
                </a:lnTo>
                <a:lnTo>
                  <a:pt x="502470" y="56758"/>
                </a:lnTo>
                <a:lnTo>
                  <a:pt x="494534" y="55030"/>
                </a:lnTo>
                <a:lnTo>
                  <a:pt x="486597" y="53797"/>
                </a:lnTo>
                <a:lnTo>
                  <a:pt x="478165" y="53056"/>
                </a:lnTo>
                <a:lnTo>
                  <a:pt x="0" y="0"/>
                </a:lnTo>
                <a:lnTo>
                  <a:pt x="0" y="99697"/>
                </a:lnTo>
                <a:lnTo>
                  <a:pt x="591258" y="123634"/>
                </a:lnTo>
                <a:lnTo>
                  <a:pt x="600683" y="124868"/>
                </a:lnTo>
                <a:lnTo>
                  <a:pt x="608867" y="128816"/>
                </a:lnTo>
                <a:lnTo>
                  <a:pt x="615811" y="134739"/>
                </a:lnTo>
                <a:lnTo>
                  <a:pt x="622259" y="142636"/>
                </a:lnTo>
                <a:lnTo>
                  <a:pt x="627964" y="151767"/>
                </a:lnTo>
                <a:lnTo>
                  <a:pt x="633668" y="162131"/>
                </a:lnTo>
                <a:lnTo>
                  <a:pt x="639620" y="172989"/>
                </a:lnTo>
                <a:lnTo>
                  <a:pt x="645821" y="184341"/>
                </a:lnTo>
                <a:lnTo>
                  <a:pt x="652765" y="195693"/>
                </a:lnTo>
                <a:lnTo>
                  <a:pt x="660701" y="206797"/>
                </a:lnTo>
                <a:lnTo>
                  <a:pt x="670126" y="216915"/>
                </a:lnTo>
                <a:lnTo>
                  <a:pt x="681286" y="225799"/>
                </a:lnTo>
                <a:lnTo>
                  <a:pt x="694431" y="233449"/>
                </a:lnTo>
                <a:lnTo>
                  <a:pt x="709559" y="239125"/>
                </a:lnTo>
                <a:lnTo>
                  <a:pt x="727416" y="242580"/>
                </a:lnTo>
                <a:lnTo>
                  <a:pt x="748249" y="243567"/>
                </a:lnTo>
                <a:lnTo>
                  <a:pt x="927809" y="243814"/>
                </a:lnTo>
                <a:lnTo>
                  <a:pt x="927809" y="146831"/>
                </a:lnTo>
                <a:lnTo>
                  <a:pt x="687734" y="132271"/>
                </a:lnTo>
                <a:lnTo>
                  <a:pt x="680790" y="132024"/>
                </a:lnTo>
                <a:lnTo>
                  <a:pt x="673846" y="131531"/>
                </a:lnTo>
                <a:lnTo>
                  <a:pt x="667150" y="130544"/>
                </a:lnTo>
                <a:lnTo>
                  <a:pt x="660453" y="129063"/>
                </a:lnTo>
                <a:lnTo>
                  <a:pt x="654005" y="127583"/>
                </a:lnTo>
                <a:lnTo>
                  <a:pt x="647805" y="125608"/>
                </a:lnTo>
                <a:lnTo>
                  <a:pt x="641604" y="123387"/>
                </a:lnTo>
                <a:lnTo>
                  <a:pt x="635652" y="120920"/>
                </a:lnTo>
                <a:lnTo>
                  <a:pt x="629452" y="118205"/>
                </a:lnTo>
                <a:lnTo>
                  <a:pt x="623500" y="115244"/>
                </a:lnTo>
                <a:lnTo>
                  <a:pt x="617547" y="112282"/>
                </a:lnTo>
                <a:lnTo>
                  <a:pt x="611843" y="109074"/>
                </a:lnTo>
                <a:lnTo>
                  <a:pt x="605891" y="105866"/>
                </a:lnTo>
                <a:lnTo>
                  <a:pt x="600186" y="102411"/>
                </a:lnTo>
                <a:lnTo>
                  <a:pt x="594234" y="98957"/>
                </a:lnTo>
                <a:close/>
              </a:path>
            </a:pathLst>
          </a:custGeom>
          <a:solidFill>
            <a:srgbClr val="FF0000"/>
          </a:solidFill>
        </p:spPr>
        <p:txBody>
          <a:bodyPr wrap="square" lIns="0" tIns="0" rIns="0" bIns="0" rtlCol="0">
            <a:noAutofit/>
          </a:bodyPr>
          <a:lstStyle/>
          <a:p>
            <a:endParaRPr/>
          </a:p>
        </p:txBody>
      </p:sp>
      <p:sp>
        <p:nvSpPr>
          <p:cNvPr id="1567" name="object 1567"/>
          <p:cNvSpPr/>
          <p:nvPr/>
        </p:nvSpPr>
        <p:spPr>
          <a:xfrm>
            <a:off x="8294402" y="1282576"/>
            <a:ext cx="372512" cy="111049"/>
          </a:xfrm>
          <a:custGeom>
            <a:avLst/>
            <a:gdLst/>
            <a:ahLst/>
            <a:cxnLst/>
            <a:rect l="l" t="t" r="r" b="b"/>
            <a:pathLst>
              <a:path w="372512" h="111049">
                <a:moveTo>
                  <a:pt x="372264" y="0"/>
                </a:moveTo>
                <a:lnTo>
                  <a:pt x="0" y="19495"/>
                </a:lnTo>
                <a:lnTo>
                  <a:pt x="248" y="111049"/>
                </a:lnTo>
                <a:lnTo>
                  <a:pt x="372512" y="99697"/>
                </a:lnTo>
                <a:lnTo>
                  <a:pt x="372264" y="0"/>
                </a:lnTo>
                <a:close/>
              </a:path>
            </a:pathLst>
          </a:custGeom>
          <a:solidFill>
            <a:srgbClr val="BE0000"/>
          </a:solidFill>
        </p:spPr>
        <p:txBody>
          <a:bodyPr wrap="square" lIns="0" tIns="0" rIns="0" bIns="0" rtlCol="0">
            <a:noAutofit/>
          </a:bodyPr>
          <a:lstStyle/>
          <a:p>
            <a:endParaRPr/>
          </a:p>
        </p:txBody>
      </p:sp>
      <p:sp>
        <p:nvSpPr>
          <p:cNvPr id="1568" name="object 1568"/>
          <p:cNvSpPr/>
          <p:nvPr/>
        </p:nvSpPr>
        <p:spPr>
          <a:xfrm>
            <a:off x="8713045" y="1071090"/>
            <a:ext cx="1240" cy="2467"/>
          </a:xfrm>
          <a:custGeom>
            <a:avLst/>
            <a:gdLst/>
            <a:ahLst/>
            <a:cxnLst/>
            <a:rect l="l" t="t" r="r" b="b"/>
            <a:pathLst>
              <a:path w="1240" h="2467">
                <a:moveTo>
                  <a:pt x="1240" y="0"/>
                </a:moveTo>
                <a:lnTo>
                  <a:pt x="248" y="246"/>
                </a:lnTo>
                <a:lnTo>
                  <a:pt x="0" y="987"/>
                </a:lnTo>
                <a:lnTo>
                  <a:pt x="0" y="1974"/>
                </a:lnTo>
                <a:lnTo>
                  <a:pt x="744" y="2467"/>
                </a:lnTo>
                <a:lnTo>
                  <a:pt x="1240" y="0"/>
                </a:lnTo>
                <a:close/>
              </a:path>
            </a:pathLst>
          </a:custGeom>
          <a:solidFill>
            <a:srgbClr val="000000"/>
          </a:solidFill>
        </p:spPr>
        <p:txBody>
          <a:bodyPr wrap="square" lIns="0" tIns="0" rIns="0" bIns="0" rtlCol="0">
            <a:noAutofit/>
          </a:bodyPr>
          <a:lstStyle/>
          <a:p>
            <a:endParaRPr/>
          </a:p>
        </p:txBody>
      </p:sp>
      <p:sp>
        <p:nvSpPr>
          <p:cNvPr id="1569" name="object 1569"/>
          <p:cNvSpPr/>
          <p:nvPr/>
        </p:nvSpPr>
        <p:spPr>
          <a:xfrm>
            <a:off x="8713790" y="1071089"/>
            <a:ext cx="875479" cy="234930"/>
          </a:xfrm>
          <a:custGeom>
            <a:avLst/>
            <a:gdLst/>
            <a:ahLst/>
            <a:cxnLst/>
            <a:rect l="l" t="t" r="r" b="b"/>
            <a:pathLst>
              <a:path w="875479" h="234930">
                <a:moveTo>
                  <a:pt x="875231" y="233696"/>
                </a:moveTo>
                <a:lnTo>
                  <a:pt x="875479" y="232462"/>
                </a:lnTo>
                <a:lnTo>
                  <a:pt x="496" y="0"/>
                </a:lnTo>
                <a:lnTo>
                  <a:pt x="0" y="2467"/>
                </a:lnTo>
                <a:lnTo>
                  <a:pt x="874983" y="234930"/>
                </a:lnTo>
                <a:lnTo>
                  <a:pt x="875231" y="233696"/>
                </a:lnTo>
                <a:close/>
              </a:path>
            </a:pathLst>
          </a:custGeom>
          <a:solidFill>
            <a:srgbClr val="000000"/>
          </a:solidFill>
        </p:spPr>
        <p:txBody>
          <a:bodyPr wrap="square" lIns="0" tIns="0" rIns="0" bIns="0" rtlCol="0">
            <a:noAutofit/>
          </a:bodyPr>
          <a:lstStyle/>
          <a:p>
            <a:endParaRPr/>
          </a:p>
        </p:txBody>
      </p:sp>
      <p:sp>
        <p:nvSpPr>
          <p:cNvPr id="1570" name="object 1570"/>
          <p:cNvSpPr/>
          <p:nvPr/>
        </p:nvSpPr>
        <p:spPr>
          <a:xfrm>
            <a:off x="9588773" y="1303552"/>
            <a:ext cx="1488" cy="2467"/>
          </a:xfrm>
          <a:custGeom>
            <a:avLst/>
            <a:gdLst/>
            <a:ahLst/>
            <a:cxnLst/>
            <a:rect l="l" t="t" r="r" b="b"/>
            <a:pathLst>
              <a:path w="1488" h="2467">
                <a:moveTo>
                  <a:pt x="0" y="2467"/>
                </a:moveTo>
                <a:lnTo>
                  <a:pt x="992" y="2220"/>
                </a:lnTo>
                <a:lnTo>
                  <a:pt x="1488" y="1480"/>
                </a:lnTo>
                <a:lnTo>
                  <a:pt x="1240" y="493"/>
                </a:lnTo>
                <a:lnTo>
                  <a:pt x="496" y="0"/>
                </a:lnTo>
                <a:lnTo>
                  <a:pt x="0" y="2467"/>
                </a:lnTo>
                <a:close/>
              </a:path>
            </a:pathLst>
          </a:custGeom>
          <a:solidFill>
            <a:srgbClr val="000000"/>
          </a:solidFill>
        </p:spPr>
        <p:txBody>
          <a:bodyPr wrap="square" lIns="0" tIns="0" rIns="0" bIns="0" rtlCol="0">
            <a:noAutofit/>
          </a:bodyPr>
          <a:lstStyle/>
          <a:p>
            <a:endParaRPr/>
          </a:p>
        </p:txBody>
      </p:sp>
      <p:sp>
        <p:nvSpPr>
          <p:cNvPr id="1571" name="object 1571"/>
          <p:cNvSpPr/>
          <p:nvPr/>
        </p:nvSpPr>
        <p:spPr>
          <a:xfrm>
            <a:off x="8713665" y="1588330"/>
            <a:ext cx="1116" cy="2220"/>
          </a:xfrm>
          <a:custGeom>
            <a:avLst/>
            <a:gdLst/>
            <a:ahLst/>
            <a:cxnLst/>
            <a:rect l="l" t="t" r="r" b="b"/>
            <a:pathLst>
              <a:path w="1116" h="2220">
                <a:moveTo>
                  <a:pt x="372" y="0"/>
                </a:moveTo>
                <a:lnTo>
                  <a:pt x="0" y="2097"/>
                </a:lnTo>
                <a:lnTo>
                  <a:pt x="372" y="2220"/>
                </a:lnTo>
                <a:lnTo>
                  <a:pt x="1116" y="1974"/>
                </a:lnTo>
                <a:lnTo>
                  <a:pt x="372" y="0"/>
                </a:lnTo>
                <a:close/>
              </a:path>
            </a:pathLst>
          </a:custGeom>
          <a:solidFill>
            <a:srgbClr val="000000"/>
          </a:solidFill>
        </p:spPr>
        <p:txBody>
          <a:bodyPr wrap="square" lIns="0" tIns="0" rIns="0" bIns="0" rtlCol="0">
            <a:noAutofit/>
          </a:bodyPr>
          <a:lstStyle/>
          <a:p>
            <a:endParaRPr/>
          </a:p>
        </p:txBody>
      </p:sp>
      <p:sp>
        <p:nvSpPr>
          <p:cNvPr id="1572" name="object 1572"/>
          <p:cNvSpPr/>
          <p:nvPr/>
        </p:nvSpPr>
        <p:spPr>
          <a:xfrm>
            <a:off x="9028143" y="1662856"/>
            <a:ext cx="1116" cy="2220"/>
          </a:xfrm>
          <a:custGeom>
            <a:avLst/>
            <a:gdLst/>
            <a:ahLst/>
            <a:cxnLst/>
            <a:rect l="l" t="t" r="r" b="b"/>
            <a:pathLst>
              <a:path w="1116" h="2220">
                <a:moveTo>
                  <a:pt x="372" y="0"/>
                </a:moveTo>
                <a:lnTo>
                  <a:pt x="0" y="2097"/>
                </a:lnTo>
                <a:lnTo>
                  <a:pt x="372" y="2220"/>
                </a:lnTo>
                <a:lnTo>
                  <a:pt x="1116" y="1974"/>
                </a:lnTo>
                <a:lnTo>
                  <a:pt x="372" y="0"/>
                </a:lnTo>
                <a:close/>
              </a:path>
            </a:pathLst>
          </a:custGeom>
          <a:solidFill>
            <a:srgbClr val="000000"/>
          </a:solidFill>
        </p:spPr>
        <p:txBody>
          <a:bodyPr wrap="square" lIns="0" tIns="0" rIns="0" bIns="0" rtlCol="0">
            <a:noAutofit/>
          </a:bodyPr>
          <a:lstStyle/>
          <a:p>
            <a:endParaRPr/>
          </a:p>
        </p:txBody>
      </p:sp>
      <p:sp>
        <p:nvSpPr>
          <p:cNvPr id="1573" name="object 1573"/>
          <p:cNvSpPr/>
          <p:nvPr/>
        </p:nvSpPr>
        <p:spPr>
          <a:xfrm>
            <a:off x="9026531" y="1589317"/>
            <a:ext cx="3224" cy="75636"/>
          </a:xfrm>
          <a:custGeom>
            <a:avLst/>
            <a:gdLst/>
            <a:ahLst/>
            <a:cxnLst/>
            <a:rect l="l" t="t" r="r" b="b"/>
            <a:pathLst>
              <a:path w="3224" h="75636">
                <a:moveTo>
                  <a:pt x="2728" y="75513"/>
                </a:moveTo>
                <a:lnTo>
                  <a:pt x="3224" y="74773"/>
                </a:lnTo>
                <a:lnTo>
                  <a:pt x="2480" y="0"/>
                </a:lnTo>
                <a:lnTo>
                  <a:pt x="0" y="0"/>
                </a:lnTo>
                <a:lnTo>
                  <a:pt x="744" y="74773"/>
                </a:lnTo>
                <a:lnTo>
                  <a:pt x="1240" y="75513"/>
                </a:lnTo>
                <a:lnTo>
                  <a:pt x="1612" y="75636"/>
                </a:lnTo>
                <a:lnTo>
                  <a:pt x="1984" y="73539"/>
                </a:lnTo>
                <a:lnTo>
                  <a:pt x="2728" y="75513"/>
                </a:lnTo>
                <a:close/>
              </a:path>
            </a:pathLst>
          </a:custGeom>
          <a:solidFill>
            <a:srgbClr val="000000"/>
          </a:solidFill>
        </p:spPr>
        <p:txBody>
          <a:bodyPr wrap="square" lIns="0" tIns="0" rIns="0" bIns="0" rtlCol="0">
            <a:noAutofit/>
          </a:bodyPr>
          <a:lstStyle/>
          <a:p>
            <a:endParaRPr/>
          </a:p>
        </p:txBody>
      </p:sp>
      <p:sp>
        <p:nvSpPr>
          <p:cNvPr id="1574" name="object 1574"/>
          <p:cNvSpPr/>
          <p:nvPr/>
        </p:nvSpPr>
        <p:spPr>
          <a:xfrm>
            <a:off x="9028516" y="1646569"/>
            <a:ext cx="561745" cy="18754"/>
          </a:xfrm>
          <a:custGeom>
            <a:avLst/>
            <a:gdLst/>
            <a:ahLst/>
            <a:cxnLst/>
            <a:rect l="l" t="t" r="r" b="b"/>
            <a:pathLst>
              <a:path w="561745" h="18754">
                <a:moveTo>
                  <a:pt x="561249" y="1974"/>
                </a:moveTo>
                <a:lnTo>
                  <a:pt x="561745" y="1233"/>
                </a:lnTo>
                <a:lnTo>
                  <a:pt x="561249" y="493"/>
                </a:lnTo>
                <a:lnTo>
                  <a:pt x="560505" y="0"/>
                </a:lnTo>
                <a:lnTo>
                  <a:pt x="0" y="16287"/>
                </a:lnTo>
                <a:lnTo>
                  <a:pt x="0" y="18754"/>
                </a:lnTo>
                <a:lnTo>
                  <a:pt x="560505" y="2467"/>
                </a:lnTo>
                <a:lnTo>
                  <a:pt x="559265" y="1233"/>
                </a:lnTo>
                <a:lnTo>
                  <a:pt x="560505" y="2467"/>
                </a:lnTo>
                <a:lnTo>
                  <a:pt x="561249" y="1974"/>
                </a:lnTo>
                <a:close/>
              </a:path>
            </a:pathLst>
          </a:custGeom>
          <a:solidFill>
            <a:srgbClr val="000000"/>
          </a:solidFill>
        </p:spPr>
        <p:txBody>
          <a:bodyPr wrap="square" lIns="0" tIns="0" rIns="0" bIns="0" rtlCol="0">
            <a:noAutofit/>
          </a:bodyPr>
          <a:lstStyle/>
          <a:p>
            <a:endParaRPr/>
          </a:p>
        </p:txBody>
      </p:sp>
      <p:sp>
        <p:nvSpPr>
          <p:cNvPr id="1575" name="object 1575"/>
          <p:cNvSpPr/>
          <p:nvPr/>
        </p:nvSpPr>
        <p:spPr>
          <a:xfrm>
            <a:off x="8712798" y="1008655"/>
            <a:ext cx="876471" cy="272687"/>
          </a:xfrm>
          <a:custGeom>
            <a:avLst/>
            <a:gdLst/>
            <a:ahLst/>
            <a:cxnLst/>
            <a:rect l="l" t="t" r="r" b="b"/>
            <a:pathLst>
              <a:path w="876471" h="272687">
                <a:moveTo>
                  <a:pt x="0" y="987"/>
                </a:moveTo>
                <a:lnTo>
                  <a:pt x="0" y="1974"/>
                </a:lnTo>
                <a:lnTo>
                  <a:pt x="744" y="2467"/>
                </a:lnTo>
                <a:lnTo>
                  <a:pt x="875975" y="272687"/>
                </a:lnTo>
                <a:lnTo>
                  <a:pt x="876471" y="270219"/>
                </a:lnTo>
                <a:lnTo>
                  <a:pt x="2232" y="1233"/>
                </a:lnTo>
                <a:lnTo>
                  <a:pt x="1240" y="0"/>
                </a:lnTo>
                <a:lnTo>
                  <a:pt x="248" y="246"/>
                </a:lnTo>
                <a:lnTo>
                  <a:pt x="0" y="987"/>
                </a:lnTo>
                <a:close/>
              </a:path>
              <a:path w="876471" h="272687">
                <a:moveTo>
                  <a:pt x="1240" y="0"/>
                </a:moveTo>
                <a:lnTo>
                  <a:pt x="2232" y="1233"/>
                </a:lnTo>
                <a:lnTo>
                  <a:pt x="876471" y="270219"/>
                </a:lnTo>
                <a:lnTo>
                  <a:pt x="1240" y="0"/>
                </a:lnTo>
                <a:close/>
              </a:path>
            </a:pathLst>
          </a:custGeom>
          <a:solidFill>
            <a:srgbClr val="000000"/>
          </a:solidFill>
        </p:spPr>
        <p:txBody>
          <a:bodyPr wrap="square" lIns="0" tIns="0" rIns="0" bIns="0" rtlCol="0">
            <a:noAutofit/>
          </a:bodyPr>
          <a:lstStyle/>
          <a:p>
            <a:endParaRPr/>
          </a:p>
        </p:txBody>
      </p:sp>
      <p:sp>
        <p:nvSpPr>
          <p:cNvPr id="1576" name="object 1576"/>
          <p:cNvSpPr/>
          <p:nvPr/>
        </p:nvSpPr>
        <p:spPr>
          <a:xfrm>
            <a:off x="8289938" y="1099715"/>
            <a:ext cx="1240" cy="2467"/>
          </a:xfrm>
          <a:custGeom>
            <a:avLst/>
            <a:gdLst/>
            <a:ahLst/>
            <a:cxnLst/>
            <a:rect l="l" t="t" r="r" b="b"/>
            <a:pathLst>
              <a:path w="1240" h="2467">
                <a:moveTo>
                  <a:pt x="744" y="0"/>
                </a:moveTo>
                <a:lnTo>
                  <a:pt x="0" y="493"/>
                </a:lnTo>
                <a:lnTo>
                  <a:pt x="0" y="1480"/>
                </a:lnTo>
                <a:lnTo>
                  <a:pt x="248" y="2220"/>
                </a:lnTo>
                <a:lnTo>
                  <a:pt x="1240" y="2467"/>
                </a:lnTo>
                <a:lnTo>
                  <a:pt x="744" y="0"/>
                </a:lnTo>
                <a:close/>
              </a:path>
            </a:pathLst>
          </a:custGeom>
          <a:solidFill>
            <a:srgbClr val="000000"/>
          </a:solidFill>
        </p:spPr>
        <p:txBody>
          <a:bodyPr wrap="square" lIns="0" tIns="0" rIns="0" bIns="0" rtlCol="0">
            <a:noAutofit/>
          </a:bodyPr>
          <a:lstStyle/>
          <a:p>
            <a:endParaRPr/>
          </a:p>
        </p:txBody>
      </p:sp>
      <p:sp>
        <p:nvSpPr>
          <p:cNvPr id="1577" name="object 1577"/>
          <p:cNvSpPr/>
          <p:nvPr/>
        </p:nvSpPr>
        <p:spPr>
          <a:xfrm>
            <a:off x="8290682" y="1047892"/>
            <a:ext cx="377224" cy="54290"/>
          </a:xfrm>
          <a:custGeom>
            <a:avLst/>
            <a:gdLst/>
            <a:ahLst/>
            <a:cxnLst/>
            <a:rect l="l" t="t" r="r" b="b"/>
            <a:pathLst>
              <a:path w="377224" h="54290">
                <a:moveTo>
                  <a:pt x="377224" y="987"/>
                </a:moveTo>
                <a:lnTo>
                  <a:pt x="376728" y="246"/>
                </a:lnTo>
                <a:lnTo>
                  <a:pt x="375736" y="0"/>
                </a:lnTo>
                <a:lnTo>
                  <a:pt x="374744" y="1233"/>
                </a:lnTo>
                <a:lnTo>
                  <a:pt x="375736" y="0"/>
                </a:lnTo>
                <a:lnTo>
                  <a:pt x="0" y="51822"/>
                </a:lnTo>
                <a:lnTo>
                  <a:pt x="496" y="54290"/>
                </a:lnTo>
                <a:lnTo>
                  <a:pt x="376232" y="2467"/>
                </a:lnTo>
                <a:lnTo>
                  <a:pt x="376976" y="1974"/>
                </a:lnTo>
                <a:lnTo>
                  <a:pt x="377173" y="1191"/>
                </a:lnTo>
                <a:lnTo>
                  <a:pt x="377224" y="987"/>
                </a:lnTo>
                <a:close/>
              </a:path>
            </a:pathLst>
          </a:custGeom>
          <a:solidFill>
            <a:srgbClr val="000000"/>
          </a:solidFill>
        </p:spPr>
        <p:txBody>
          <a:bodyPr wrap="square" lIns="0" tIns="0" rIns="0" bIns="0" rtlCol="0">
            <a:noAutofit/>
          </a:bodyPr>
          <a:lstStyle/>
          <a:p>
            <a:endParaRPr/>
          </a:p>
        </p:txBody>
      </p:sp>
      <p:sp>
        <p:nvSpPr>
          <p:cNvPr id="1578" name="object 1578"/>
          <p:cNvSpPr/>
          <p:nvPr/>
        </p:nvSpPr>
        <p:spPr>
          <a:xfrm>
            <a:off x="8665675" y="1609801"/>
            <a:ext cx="2480" cy="987"/>
          </a:xfrm>
          <a:custGeom>
            <a:avLst/>
            <a:gdLst/>
            <a:ahLst/>
            <a:cxnLst/>
            <a:rect l="l" t="t" r="r" b="b"/>
            <a:pathLst>
              <a:path w="2480" h="987">
                <a:moveTo>
                  <a:pt x="0" y="0"/>
                </a:moveTo>
                <a:lnTo>
                  <a:pt x="496" y="740"/>
                </a:lnTo>
                <a:lnTo>
                  <a:pt x="1240" y="987"/>
                </a:lnTo>
                <a:lnTo>
                  <a:pt x="1984" y="740"/>
                </a:lnTo>
                <a:lnTo>
                  <a:pt x="2480" y="0"/>
                </a:lnTo>
                <a:lnTo>
                  <a:pt x="0" y="0"/>
                </a:lnTo>
                <a:close/>
              </a:path>
            </a:pathLst>
          </a:custGeom>
          <a:solidFill>
            <a:srgbClr val="000000"/>
          </a:solidFill>
        </p:spPr>
        <p:txBody>
          <a:bodyPr wrap="square" lIns="0" tIns="0" rIns="0" bIns="0" rtlCol="0">
            <a:noAutofit/>
          </a:bodyPr>
          <a:lstStyle/>
          <a:p>
            <a:endParaRPr/>
          </a:p>
        </p:txBody>
      </p:sp>
      <p:sp>
        <p:nvSpPr>
          <p:cNvPr id="1579" name="object 1579"/>
          <p:cNvSpPr/>
          <p:nvPr/>
        </p:nvSpPr>
        <p:spPr>
          <a:xfrm>
            <a:off x="8126004" y="1064427"/>
            <a:ext cx="130453" cy="67369"/>
          </a:xfrm>
          <a:custGeom>
            <a:avLst/>
            <a:gdLst/>
            <a:ahLst/>
            <a:cxnLst/>
            <a:rect l="l" t="t" r="r" b="b"/>
            <a:pathLst>
              <a:path w="130453" h="67369">
                <a:moveTo>
                  <a:pt x="0" y="0"/>
                </a:moveTo>
                <a:lnTo>
                  <a:pt x="0" y="67369"/>
                </a:lnTo>
                <a:lnTo>
                  <a:pt x="19592" y="67122"/>
                </a:lnTo>
                <a:lnTo>
                  <a:pt x="36705" y="66629"/>
                </a:lnTo>
                <a:lnTo>
                  <a:pt x="51090" y="66135"/>
                </a:lnTo>
                <a:lnTo>
                  <a:pt x="62994" y="65642"/>
                </a:lnTo>
                <a:lnTo>
                  <a:pt x="73163" y="64901"/>
                </a:lnTo>
                <a:lnTo>
                  <a:pt x="81595" y="64408"/>
                </a:lnTo>
                <a:lnTo>
                  <a:pt x="88539" y="63668"/>
                </a:lnTo>
                <a:lnTo>
                  <a:pt x="94244" y="62927"/>
                </a:lnTo>
                <a:lnTo>
                  <a:pt x="99204" y="62434"/>
                </a:lnTo>
                <a:lnTo>
                  <a:pt x="103420" y="61693"/>
                </a:lnTo>
                <a:lnTo>
                  <a:pt x="107140" y="61200"/>
                </a:lnTo>
                <a:lnTo>
                  <a:pt x="110860" y="60953"/>
                </a:lnTo>
                <a:lnTo>
                  <a:pt x="114829" y="60706"/>
                </a:lnTo>
                <a:lnTo>
                  <a:pt x="119293" y="60460"/>
                </a:lnTo>
                <a:lnTo>
                  <a:pt x="124253" y="60706"/>
                </a:lnTo>
                <a:lnTo>
                  <a:pt x="130453" y="60953"/>
                </a:lnTo>
                <a:lnTo>
                  <a:pt x="0" y="0"/>
                </a:lnTo>
                <a:close/>
              </a:path>
            </a:pathLst>
          </a:custGeom>
          <a:solidFill>
            <a:srgbClr val="EFEFEF"/>
          </a:solidFill>
        </p:spPr>
        <p:txBody>
          <a:bodyPr wrap="square" lIns="0" tIns="0" rIns="0" bIns="0" rtlCol="0">
            <a:noAutofit/>
          </a:bodyPr>
          <a:lstStyle/>
          <a:p>
            <a:endParaRPr/>
          </a:p>
        </p:txBody>
      </p:sp>
      <p:sp>
        <p:nvSpPr>
          <p:cNvPr id="1580" name="object 1580"/>
          <p:cNvSpPr/>
          <p:nvPr/>
        </p:nvSpPr>
        <p:spPr>
          <a:xfrm>
            <a:off x="8125508" y="1063193"/>
            <a:ext cx="132189" cy="63421"/>
          </a:xfrm>
          <a:custGeom>
            <a:avLst/>
            <a:gdLst/>
            <a:ahLst/>
            <a:cxnLst/>
            <a:rect l="l" t="t" r="r" b="b"/>
            <a:pathLst>
              <a:path w="132189" h="63421">
                <a:moveTo>
                  <a:pt x="131445" y="60953"/>
                </a:moveTo>
                <a:lnTo>
                  <a:pt x="992" y="0"/>
                </a:lnTo>
                <a:lnTo>
                  <a:pt x="130949" y="60953"/>
                </a:lnTo>
                <a:lnTo>
                  <a:pt x="130949" y="63421"/>
                </a:lnTo>
                <a:lnTo>
                  <a:pt x="131445" y="63421"/>
                </a:lnTo>
                <a:lnTo>
                  <a:pt x="132189" y="62434"/>
                </a:lnTo>
                <a:lnTo>
                  <a:pt x="132189" y="61693"/>
                </a:lnTo>
                <a:lnTo>
                  <a:pt x="131445" y="60953"/>
                </a:lnTo>
                <a:close/>
              </a:path>
              <a:path w="132189" h="63421">
                <a:moveTo>
                  <a:pt x="130453" y="63421"/>
                </a:moveTo>
                <a:lnTo>
                  <a:pt x="130949" y="63421"/>
                </a:lnTo>
                <a:lnTo>
                  <a:pt x="130949" y="60953"/>
                </a:lnTo>
                <a:lnTo>
                  <a:pt x="992" y="0"/>
                </a:lnTo>
                <a:lnTo>
                  <a:pt x="0" y="2467"/>
                </a:lnTo>
                <a:lnTo>
                  <a:pt x="130453" y="63421"/>
                </a:lnTo>
                <a:close/>
              </a:path>
            </a:pathLst>
          </a:custGeom>
          <a:solidFill>
            <a:srgbClr val="000000"/>
          </a:solidFill>
        </p:spPr>
        <p:txBody>
          <a:bodyPr wrap="square" lIns="0" tIns="0" rIns="0" bIns="0" rtlCol="0">
            <a:noAutofit/>
          </a:bodyPr>
          <a:lstStyle/>
          <a:p>
            <a:endParaRPr/>
          </a:p>
        </p:txBody>
      </p:sp>
      <p:sp>
        <p:nvSpPr>
          <p:cNvPr id="1581" name="object 1581"/>
          <p:cNvSpPr/>
          <p:nvPr/>
        </p:nvSpPr>
        <p:spPr>
          <a:xfrm>
            <a:off x="8125012" y="1123653"/>
            <a:ext cx="131445" cy="9377"/>
          </a:xfrm>
          <a:custGeom>
            <a:avLst/>
            <a:gdLst/>
            <a:ahLst/>
            <a:cxnLst/>
            <a:rect l="l" t="t" r="r" b="b"/>
            <a:pathLst>
              <a:path w="131445" h="9377">
                <a:moveTo>
                  <a:pt x="992" y="9377"/>
                </a:moveTo>
                <a:lnTo>
                  <a:pt x="20584" y="9130"/>
                </a:lnTo>
                <a:lnTo>
                  <a:pt x="37697" y="8637"/>
                </a:lnTo>
                <a:lnTo>
                  <a:pt x="52082" y="8143"/>
                </a:lnTo>
                <a:lnTo>
                  <a:pt x="63986" y="7650"/>
                </a:lnTo>
                <a:lnTo>
                  <a:pt x="74155" y="6909"/>
                </a:lnTo>
                <a:lnTo>
                  <a:pt x="82587" y="6416"/>
                </a:lnTo>
                <a:lnTo>
                  <a:pt x="89780" y="5675"/>
                </a:lnTo>
                <a:lnTo>
                  <a:pt x="95484" y="4935"/>
                </a:lnTo>
                <a:lnTo>
                  <a:pt x="100444" y="4441"/>
                </a:lnTo>
                <a:lnTo>
                  <a:pt x="104660" y="3701"/>
                </a:lnTo>
                <a:lnTo>
                  <a:pt x="108132" y="3208"/>
                </a:lnTo>
                <a:lnTo>
                  <a:pt x="111853" y="2961"/>
                </a:lnTo>
                <a:lnTo>
                  <a:pt x="115821" y="2714"/>
                </a:lnTo>
                <a:lnTo>
                  <a:pt x="120285" y="2467"/>
                </a:lnTo>
                <a:lnTo>
                  <a:pt x="125245" y="2714"/>
                </a:lnTo>
                <a:lnTo>
                  <a:pt x="131445" y="2961"/>
                </a:lnTo>
                <a:lnTo>
                  <a:pt x="131445" y="493"/>
                </a:lnTo>
                <a:lnTo>
                  <a:pt x="125245" y="246"/>
                </a:lnTo>
                <a:lnTo>
                  <a:pt x="120285" y="0"/>
                </a:lnTo>
                <a:lnTo>
                  <a:pt x="115821" y="246"/>
                </a:lnTo>
                <a:lnTo>
                  <a:pt x="111853" y="493"/>
                </a:lnTo>
                <a:lnTo>
                  <a:pt x="108132" y="740"/>
                </a:lnTo>
                <a:lnTo>
                  <a:pt x="104164" y="1233"/>
                </a:lnTo>
                <a:lnTo>
                  <a:pt x="99948" y="1974"/>
                </a:lnTo>
                <a:lnTo>
                  <a:pt x="94988" y="2467"/>
                </a:lnTo>
                <a:lnTo>
                  <a:pt x="89284" y="3208"/>
                </a:lnTo>
                <a:lnTo>
                  <a:pt x="82587" y="3948"/>
                </a:lnTo>
                <a:lnTo>
                  <a:pt x="74155" y="4441"/>
                </a:lnTo>
                <a:lnTo>
                  <a:pt x="63986" y="5182"/>
                </a:lnTo>
                <a:lnTo>
                  <a:pt x="52082" y="5675"/>
                </a:lnTo>
                <a:lnTo>
                  <a:pt x="37697" y="6169"/>
                </a:lnTo>
                <a:lnTo>
                  <a:pt x="20584" y="6662"/>
                </a:lnTo>
                <a:lnTo>
                  <a:pt x="2232" y="8143"/>
                </a:lnTo>
                <a:lnTo>
                  <a:pt x="992" y="6909"/>
                </a:lnTo>
                <a:lnTo>
                  <a:pt x="248" y="7403"/>
                </a:lnTo>
                <a:lnTo>
                  <a:pt x="0" y="8143"/>
                </a:lnTo>
                <a:lnTo>
                  <a:pt x="124" y="8513"/>
                </a:lnTo>
                <a:lnTo>
                  <a:pt x="248" y="8883"/>
                </a:lnTo>
                <a:lnTo>
                  <a:pt x="992" y="9377"/>
                </a:lnTo>
                <a:close/>
              </a:path>
            </a:pathLst>
          </a:custGeom>
          <a:solidFill>
            <a:srgbClr val="000000"/>
          </a:solidFill>
        </p:spPr>
        <p:txBody>
          <a:bodyPr wrap="square" lIns="0" tIns="0" rIns="0" bIns="0" rtlCol="0">
            <a:noAutofit/>
          </a:bodyPr>
          <a:lstStyle/>
          <a:p>
            <a:endParaRPr/>
          </a:p>
        </p:txBody>
      </p:sp>
      <p:sp>
        <p:nvSpPr>
          <p:cNvPr id="1582" name="object 1582"/>
          <p:cNvSpPr/>
          <p:nvPr/>
        </p:nvSpPr>
        <p:spPr>
          <a:xfrm>
            <a:off x="8126003" y="1130315"/>
            <a:ext cx="19592" cy="1480"/>
          </a:xfrm>
          <a:custGeom>
            <a:avLst/>
            <a:gdLst/>
            <a:ahLst/>
            <a:cxnLst/>
            <a:rect l="l" t="t" r="r" b="b"/>
            <a:pathLst>
              <a:path w="19592" h="1480">
                <a:moveTo>
                  <a:pt x="1240" y="1480"/>
                </a:moveTo>
                <a:lnTo>
                  <a:pt x="19592" y="0"/>
                </a:lnTo>
                <a:lnTo>
                  <a:pt x="0" y="246"/>
                </a:lnTo>
                <a:lnTo>
                  <a:pt x="1240" y="1480"/>
                </a:lnTo>
                <a:close/>
              </a:path>
            </a:pathLst>
          </a:custGeom>
          <a:solidFill>
            <a:srgbClr val="000000"/>
          </a:solidFill>
        </p:spPr>
        <p:txBody>
          <a:bodyPr wrap="square" lIns="0" tIns="0" rIns="0" bIns="0" rtlCol="0">
            <a:noAutofit/>
          </a:bodyPr>
          <a:lstStyle/>
          <a:p>
            <a:endParaRPr/>
          </a:p>
        </p:txBody>
      </p:sp>
      <p:sp>
        <p:nvSpPr>
          <p:cNvPr id="1583" name="object 1583"/>
          <p:cNvSpPr/>
          <p:nvPr/>
        </p:nvSpPr>
        <p:spPr>
          <a:xfrm>
            <a:off x="8124763" y="1063193"/>
            <a:ext cx="2480" cy="2467"/>
          </a:xfrm>
          <a:custGeom>
            <a:avLst/>
            <a:gdLst/>
            <a:ahLst/>
            <a:cxnLst/>
            <a:rect l="l" t="t" r="r" b="b"/>
            <a:pathLst>
              <a:path w="2480" h="2467">
                <a:moveTo>
                  <a:pt x="1496" y="170"/>
                </a:moveTo>
                <a:lnTo>
                  <a:pt x="1240" y="0"/>
                </a:lnTo>
                <a:lnTo>
                  <a:pt x="496" y="493"/>
                </a:lnTo>
                <a:lnTo>
                  <a:pt x="0" y="1233"/>
                </a:lnTo>
                <a:lnTo>
                  <a:pt x="744" y="2467"/>
                </a:lnTo>
                <a:lnTo>
                  <a:pt x="2480" y="1233"/>
                </a:lnTo>
                <a:lnTo>
                  <a:pt x="1984" y="493"/>
                </a:lnTo>
                <a:lnTo>
                  <a:pt x="1496" y="170"/>
                </a:lnTo>
                <a:close/>
              </a:path>
            </a:pathLst>
          </a:custGeom>
          <a:solidFill>
            <a:srgbClr val="000000"/>
          </a:solidFill>
        </p:spPr>
        <p:txBody>
          <a:bodyPr wrap="square" lIns="0" tIns="0" rIns="0" bIns="0" rtlCol="0">
            <a:noAutofit/>
          </a:bodyPr>
          <a:lstStyle/>
          <a:p>
            <a:endParaRPr/>
          </a:p>
        </p:txBody>
      </p:sp>
      <p:sp>
        <p:nvSpPr>
          <p:cNvPr id="1584" name="object 1584"/>
          <p:cNvSpPr/>
          <p:nvPr/>
        </p:nvSpPr>
        <p:spPr>
          <a:xfrm>
            <a:off x="8124763" y="1064427"/>
            <a:ext cx="2480" cy="67369"/>
          </a:xfrm>
          <a:custGeom>
            <a:avLst/>
            <a:gdLst/>
            <a:ahLst/>
            <a:cxnLst/>
            <a:rect l="l" t="t" r="r" b="b"/>
            <a:pathLst>
              <a:path w="2480" h="67369">
                <a:moveTo>
                  <a:pt x="2480" y="67369"/>
                </a:moveTo>
                <a:lnTo>
                  <a:pt x="2480" y="0"/>
                </a:lnTo>
                <a:lnTo>
                  <a:pt x="744" y="1233"/>
                </a:lnTo>
                <a:lnTo>
                  <a:pt x="0" y="0"/>
                </a:lnTo>
                <a:lnTo>
                  <a:pt x="0" y="67369"/>
                </a:lnTo>
                <a:lnTo>
                  <a:pt x="2480" y="67369"/>
                </a:lnTo>
                <a:close/>
              </a:path>
            </a:pathLst>
          </a:custGeom>
          <a:solidFill>
            <a:srgbClr val="000000"/>
          </a:solidFill>
        </p:spPr>
        <p:txBody>
          <a:bodyPr wrap="square" lIns="0" tIns="0" rIns="0" bIns="0" rtlCol="0">
            <a:noAutofit/>
          </a:bodyPr>
          <a:lstStyle/>
          <a:p>
            <a:endParaRPr/>
          </a:p>
        </p:txBody>
      </p:sp>
      <p:sp>
        <p:nvSpPr>
          <p:cNvPr id="1585" name="object 1585"/>
          <p:cNvSpPr/>
          <p:nvPr/>
        </p:nvSpPr>
        <p:spPr>
          <a:xfrm>
            <a:off x="8184781" y="1072570"/>
            <a:ext cx="102180" cy="60953"/>
          </a:xfrm>
          <a:custGeom>
            <a:avLst/>
            <a:gdLst/>
            <a:ahLst/>
            <a:cxnLst/>
            <a:rect l="l" t="t" r="r" b="b"/>
            <a:pathLst>
              <a:path w="102180" h="60953">
                <a:moveTo>
                  <a:pt x="0" y="0"/>
                </a:moveTo>
                <a:lnTo>
                  <a:pt x="0" y="58485"/>
                </a:lnTo>
                <a:lnTo>
                  <a:pt x="2976" y="57251"/>
                </a:lnTo>
                <a:lnTo>
                  <a:pt x="5704" y="56018"/>
                </a:lnTo>
                <a:lnTo>
                  <a:pt x="8432" y="55030"/>
                </a:lnTo>
                <a:lnTo>
                  <a:pt x="11160" y="54043"/>
                </a:lnTo>
                <a:lnTo>
                  <a:pt x="13888" y="53056"/>
                </a:lnTo>
                <a:lnTo>
                  <a:pt x="16616" y="52316"/>
                </a:lnTo>
                <a:lnTo>
                  <a:pt x="19344" y="51576"/>
                </a:lnTo>
                <a:lnTo>
                  <a:pt x="22072" y="51082"/>
                </a:lnTo>
                <a:lnTo>
                  <a:pt x="25049" y="50589"/>
                </a:lnTo>
                <a:lnTo>
                  <a:pt x="27777" y="50342"/>
                </a:lnTo>
                <a:lnTo>
                  <a:pt x="30753" y="50095"/>
                </a:lnTo>
                <a:lnTo>
                  <a:pt x="36953" y="50095"/>
                </a:lnTo>
                <a:lnTo>
                  <a:pt x="40177" y="50589"/>
                </a:lnTo>
                <a:lnTo>
                  <a:pt x="43649" y="51082"/>
                </a:lnTo>
                <a:lnTo>
                  <a:pt x="47122" y="51822"/>
                </a:lnTo>
                <a:lnTo>
                  <a:pt x="102180" y="60953"/>
                </a:lnTo>
                <a:lnTo>
                  <a:pt x="47370" y="43926"/>
                </a:lnTo>
                <a:lnTo>
                  <a:pt x="43649" y="42692"/>
                </a:lnTo>
                <a:lnTo>
                  <a:pt x="39929" y="40964"/>
                </a:lnTo>
                <a:lnTo>
                  <a:pt x="36457" y="39237"/>
                </a:lnTo>
                <a:lnTo>
                  <a:pt x="32737" y="37016"/>
                </a:lnTo>
                <a:lnTo>
                  <a:pt x="29513" y="34795"/>
                </a:lnTo>
                <a:lnTo>
                  <a:pt x="26289" y="32080"/>
                </a:lnTo>
                <a:lnTo>
                  <a:pt x="23065" y="29366"/>
                </a:lnTo>
                <a:lnTo>
                  <a:pt x="20088" y="26404"/>
                </a:lnTo>
                <a:lnTo>
                  <a:pt x="17112" y="23443"/>
                </a:lnTo>
                <a:lnTo>
                  <a:pt x="14136" y="20235"/>
                </a:lnTo>
                <a:lnTo>
                  <a:pt x="11408" y="16780"/>
                </a:lnTo>
                <a:lnTo>
                  <a:pt x="8928" y="13572"/>
                </a:lnTo>
                <a:lnTo>
                  <a:pt x="6448" y="10117"/>
                </a:lnTo>
                <a:lnTo>
                  <a:pt x="4216" y="6662"/>
                </a:lnTo>
                <a:lnTo>
                  <a:pt x="1984" y="3454"/>
                </a:lnTo>
                <a:lnTo>
                  <a:pt x="0" y="0"/>
                </a:lnTo>
                <a:close/>
              </a:path>
            </a:pathLst>
          </a:custGeom>
          <a:solidFill>
            <a:srgbClr val="FFDF00"/>
          </a:solidFill>
        </p:spPr>
        <p:txBody>
          <a:bodyPr wrap="square" lIns="0" tIns="0" rIns="0" bIns="0" rtlCol="0">
            <a:noAutofit/>
          </a:bodyPr>
          <a:lstStyle/>
          <a:p>
            <a:endParaRPr/>
          </a:p>
        </p:txBody>
      </p:sp>
      <p:sp>
        <p:nvSpPr>
          <p:cNvPr id="1586" name="object 1586"/>
          <p:cNvSpPr/>
          <p:nvPr/>
        </p:nvSpPr>
        <p:spPr>
          <a:xfrm>
            <a:off x="8183789" y="1071829"/>
            <a:ext cx="49602" cy="45900"/>
          </a:xfrm>
          <a:custGeom>
            <a:avLst/>
            <a:gdLst/>
            <a:ahLst/>
            <a:cxnLst/>
            <a:rect l="l" t="t" r="r" b="b"/>
            <a:pathLst>
              <a:path w="49602" h="45900">
                <a:moveTo>
                  <a:pt x="49602" y="44913"/>
                </a:moveTo>
                <a:lnTo>
                  <a:pt x="49354" y="43926"/>
                </a:lnTo>
                <a:lnTo>
                  <a:pt x="48610" y="43432"/>
                </a:lnTo>
                <a:lnTo>
                  <a:pt x="45138" y="42198"/>
                </a:lnTo>
                <a:lnTo>
                  <a:pt x="41417" y="40717"/>
                </a:lnTo>
                <a:lnTo>
                  <a:pt x="37945" y="38990"/>
                </a:lnTo>
                <a:lnTo>
                  <a:pt x="34473" y="36769"/>
                </a:lnTo>
                <a:lnTo>
                  <a:pt x="31249" y="34548"/>
                </a:lnTo>
                <a:lnTo>
                  <a:pt x="28025" y="31834"/>
                </a:lnTo>
                <a:lnTo>
                  <a:pt x="24801" y="29119"/>
                </a:lnTo>
                <a:lnTo>
                  <a:pt x="22072" y="26158"/>
                </a:lnTo>
                <a:lnTo>
                  <a:pt x="19096" y="23443"/>
                </a:lnTo>
                <a:lnTo>
                  <a:pt x="16120" y="20235"/>
                </a:lnTo>
                <a:lnTo>
                  <a:pt x="13392" y="16780"/>
                </a:lnTo>
                <a:lnTo>
                  <a:pt x="10912" y="13572"/>
                </a:lnTo>
                <a:lnTo>
                  <a:pt x="8432" y="10117"/>
                </a:lnTo>
                <a:lnTo>
                  <a:pt x="6200" y="6662"/>
                </a:lnTo>
                <a:lnTo>
                  <a:pt x="3968" y="3454"/>
                </a:lnTo>
                <a:lnTo>
                  <a:pt x="1984" y="0"/>
                </a:lnTo>
                <a:lnTo>
                  <a:pt x="0" y="1480"/>
                </a:lnTo>
                <a:lnTo>
                  <a:pt x="1984" y="4935"/>
                </a:lnTo>
                <a:lnTo>
                  <a:pt x="4216" y="8143"/>
                </a:lnTo>
                <a:lnTo>
                  <a:pt x="6448" y="11598"/>
                </a:lnTo>
                <a:lnTo>
                  <a:pt x="8928" y="15053"/>
                </a:lnTo>
                <a:lnTo>
                  <a:pt x="11408" y="18261"/>
                </a:lnTo>
                <a:lnTo>
                  <a:pt x="14136" y="21716"/>
                </a:lnTo>
                <a:lnTo>
                  <a:pt x="17112" y="24924"/>
                </a:lnTo>
                <a:lnTo>
                  <a:pt x="20088" y="28132"/>
                </a:lnTo>
                <a:lnTo>
                  <a:pt x="23313" y="31093"/>
                </a:lnTo>
                <a:lnTo>
                  <a:pt x="26537" y="33808"/>
                </a:lnTo>
                <a:lnTo>
                  <a:pt x="29761" y="36522"/>
                </a:lnTo>
                <a:lnTo>
                  <a:pt x="32985" y="38743"/>
                </a:lnTo>
                <a:lnTo>
                  <a:pt x="36953" y="40964"/>
                </a:lnTo>
                <a:lnTo>
                  <a:pt x="40425" y="42692"/>
                </a:lnTo>
                <a:lnTo>
                  <a:pt x="44145" y="44666"/>
                </a:lnTo>
                <a:lnTo>
                  <a:pt x="48114" y="45900"/>
                </a:lnTo>
                <a:lnTo>
                  <a:pt x="49106" y="45653"/>
                </a:lnTo>
                <a:lnTo>
                  <a:pt x="49602" y="44913"/>
                </a:lnTo>
                <a:close/>
              </a:path>
            </a:pathLst>
          </a:custGeom>
          <a:solidFill>
            <a:srgbClr val="000000"/>
          </a:solidFill>
        </p:spPr>
        <p:txBody>
          <a:bodyPr wrap="square" lIns="0" tIns="0" rIns="0" bIns="0" rtlCol="0">
            <a:noAutofit/>
          </a:bodyPr>
          <a:lstStyle/>
          <a:p>
            <a:endParaRPr/>
          </a:p>
        </p:txBody>
      </p:sp>
      <p:sp>
        <p:nvSpPr>
          <p:cNvPr id="1587" name="object 1587"/>
          <p:cNvSpPr/>
          <p:nvPr/>
        </p:nvSpPr>
        <p:spPr>
          <a:xfrm>
            <a:off x="8231904" y="1115262"/>
            <a:ext cx="56298" cy="19495"/>
          </a:xfrm>
          <a:custGeom>
            <a:avLst/>
            <a:gdLst/>
            <a:ahLst/>
            <a:cxnLst/>
            <a:rect l="l" t="t" r="r" b="b"/>
            <a:pathLst>
              <a:path w="56298" h="19495">
                <a:moveTo>
                  <a:pt x="54810" y="19495"/>
                </a:moveTo>
                <a:lnTo>
                  <a:pt x="55306" y="17027"/>
                </a:lnTo>
                <a:lnTo>
                  <a:pt x="496" y="0"/>
                </a:lnTo>
                <a:lnTo>
                  <a:pt x="0" y="2467"/>
                </a:lnTo>
                <a:lnTo>
                  <a:pt x="54810" y="19495"/>
                </a:lnTo>
                <a:lnTo>
                  <a:pt x="55306" y="17027"/>
                </a:lnTo>
                <a:lnTo>
                  <a:pt x="54810" y="19495"/>
                </a:lnTo>
                <a:lnTo>
                  <a:pt x="55802" y="19248"/>
                </a:lnTo>
                <a:lnTo>
                  <a:pt x="56298" y="18508"/>
                </a:lnTo>
                <a:lnTo>
                  <a:pt x="56050" y="17521"/>
                </a:lnTo>
                <a:lnTo>
                  <a:pt x="55306" y="17027"/>
                </a:lnTo>
                <a:lnTo>
                  <a:pt x="54810" y="19495"/>
                </a:lnTo>
                <a:close/>
              </a:path>
            </a:pathLst>
          </a:custGeom>
          <a:solidFill>
            <a:srgbClr val="000000"/>
          </a:solidFill>
        </p:spPr>
        <p:txBody>
          <a:bodyPr wrap="square" lIns="0" tIns="0" rIns="0" bIns="0" rtlCol="0">
            <a:noAutofit/>
          </a:bodyPr>
          <a:lstStyle/>
          <a:p>
            <a:endParaRPr/>
          </a:p>
        </p:txBody>
      </p:sp>
      <p:sp>
        <p:nvSpPr>
          <p:cNvPr id="1588" name="object 1588"/>
          <p:cNvSpPr/>
          <p:nvPr/>
        </p:nvSpPr>
        <p:spPr>
          <a:xfrm>
            <a:off x="8230912" y="1123158"/>
            <a:ext cx="56298" cy="11598"/>
          </a:xfrm>
          <a:custGeom>
            <a:avLst/>
            <a:gdLst/>
            <a:ahLst/>
            <a:cxnLst/>
            <a:rect l="l" t="t" r="r" b="b"/>
            <a:pathLst>
              <a:path w="56298" h="11598">
                <a:moveTo>
                  <a:pt x="744" y="2467"/>
                </a:moveTo>
                <a:lnTo>
                  <a:pt x="55802" y="11598"/>
                </a:lnTo>
                <a:lnTo>
                  <a:pt x="56298" y="9130"/>
                </a:lnTo>
                <a:lnTo>
                  <a:pt x="1240" y="0"/>
                </a:lnTo>
                <a:lnTo>
                  <a:pt x="248" y="246"/>
                </a:lnTo>
                <a:lnTo>
                  <a:pt x="0" y="987"/>
                </a:lnTo>
                <a:lnTo>
                  <a:pt x="0" y="1974"/>
                </a:lnTo>
                <a:lnTo>
                  <a:pt x="744" y="2467"/>
                </a:lnTo>
                <a:close/>
              </a:path>
            </a:pathLst>
          </a:custGeom>
          <a:solidFill>
            <a:srgbClr val="000000"/>
          </a:solidFill>
        </p:spPr>
        <p:txBody>
          <a:bodyPr wrap="square" lIns="0" tIns="0" rIns="0" bIns="0" rtlCol="0">
            <a:noAutofit/>
          </a:bodyPr>
          <a:lstStyle/>
          <a:p>
            <a:endParaRPr/>
          </a:p>
        </p:txBody>
      </p:sp>
      <p:sp>
        <p:nvSpPr>
          <p:cNvPr id="1589" name="object 1589"/>
          <p:cNvSpPr/>
          <p:nvPr/>
        </p:nvSpPr>
        <p:spPr>
          <a:xfrm>
            <a:off x="8185278" y="1131056"/>
            <a:ext cx="2976" cy="1233"/>
          </a:xfrm>
          <a:custGeom>
            <a:avLst/>
            <a:gdLst/>
            <a:ahLst/>
            <a:cxnLst/>
            <a:rect l="l" t="t" r="r" b="b"/>
            <a:pathLst>
              <a:path w="2976" h="1233">
                <a:moveTo>
                  <a:pt x="744" y="0"/>
                </a:moveTo>
                <a:lnTo>
                  <a:pt x="0" y="1233"/>
                </a:lnTo>
                <a:lnTo>
                  <a:pt x="2976" y="0"/>
                </a:lnTo>
                <a:lnTo>
                  <a:pt x="744" y="0"/>
                </a:lnTo>
                <a:close/>
              </a:path>
            </a:pathLst>
          </a:custGeom>
          <a:solidFill>
            <a:srgbClr val="000000"/>
          </a:solidFill>
        </p:spPr>
        <p:txBody>
          <a:bodyPr wrap="square" lIns="0" tIns="0" rIns="0" bIns="0" rtlCol="0">
            <a:noAutofit/>
          </a:bodyPr>
          <a:lstStyle/>
          <a:p>
            <a:endParaRPr/>
          </a:p>
        </p:txBody>
      </p:sp>
      <p:sp>
        <p:nvSpPr>
          <p:cNvPr id="1590" name="object 1590"/>
          <p:cNvSpPr/>
          <p:nvPr/>
        </p:nvSpPr>
        <p:spPr>
          <a:xfrm>
            <a:off x="8183541" y="1121431"/>
            <a:ext cx="48610" cy="10858"/>
          </a:xfrm>
          <a:custGeom>
            <a:avLst/>
            <a:gdLst/>
            <a:ahLst/>
            <a:cxnLst/>
            <a:rect l="l" t="t" r="r" b="b"/>
            <a:pathLst>
              <a:path w="48610" h="10858">
                <a:moveTo>
                  <a:pt x="217" y="9778"/>
                </a:moveTo>
                <a:lnTo>
                  <a:pt x="744" y="10858"/>
                </a:lnTo>
                <a:lnTo>
                  <a:pt x="1736" y="10858"/>
                </a:lnTo>
                <a:lnTo>
                  <a:pt x="2480" y="9624"/>
                </a:lnTo>
                <a:lnTo>
                  <a:pt x="4712" y="9624"/>
                </a:lnTo>
                <a:lnTo>
                  <a:pt x="7440" y="8390"/>
                </a:lnTo>
                <a:lnTo>
                  <a:pt x="10168" y="7403"/>
                </a:lnTo>
                <a:lnTo>
                  <a:pt x="12896" y="6416"/>
                </a:lnTo>
                <a:lnTo>
                  <a:pt x="15624" y="5429"/>
                </a:lnTo>
                <a:lnTo>
                  <a:pt x="18104" y="4688"/>
                </a:lnTo>
                <a:lnTo>
                  <a:pt x="20832" y="3948"/>
                </a:lnTo>
                <a:lnTo>
                  <a:pt x="23561" y="3454"/>
                </a:lnTo>
                <a:lnTo>
                  <a:pt x="26537" y="2961"/>
                </a:lnTo>
                <a:lnTo>
                  <a:pt x="29017" y="2714"/>
                </a:lnTo>
                <a:lnTo>
                  <a:pt x="31993" y="2467"/>
                </a:lnTo>
                <a:lnTo>
                  <a:pt x="38193" y="2467"/>
                </a:lnTo>
                <a:lnTo>
                  <a:pt x="41169" y="2961"/>
                </a:lnTo>
                <a:lnTo>
                  <a:pt x="44642" y="3454"/>
                </a:lnTo>
                <a:lnTo>
                  <a:pt x="48114" y="4195"/>
                </a:lnTo>
                <a:lnTo>
                  <a:pt x="48610" y="1727"/>
                </a:lnTo>
                <a:lnTo>
                  <a:pt x="45138" y="987"/>
                </a:lnTo>
                <a:lnTo>
                  <a:pt x="41665" y="493"/>
                </a:lnTo>
                <a:lnTo>
                  <a:pt x="38193" y="0"/>
                </a:lnTo>
                <a:lnTo>
                  <a:pt x="31993" y="0"/>
                </a:lnTo>
                <a:lnTo>
                  <a:pt x="29017" y="246"/>
                </a:lnTo>
                <a:lnTo>
                  <a:pt x="26041" y="493"/>
                </a:lnTo>
                <a:lnTo>
                  <a:pt x="23065" y="987"/>
                </a:lnTo>
                <a:lnTo>
                  <a:pt x="20336" y="1480"/>
                </a:lnTo>
                <a:lnTo>
                  <a:pt x="17608" y="2220"/>
                </a:lnTo>
                <a:lnTo>
                  <a:pt x="14632" y="2961"/>
                </a:lnTo>
                <a:lnTo>
                  <a:pt x="11904" y="3948"/>
                </a:lnTo>
                <a:lnTo>
                  <a:pt x="9176" y="4935"/>
                </a:lnTo>
                <a:lnTo>
                  <a:pt x="6448" y="5922"/>
                </a:lnTo>
                <a:lnTo>
                  <a:pt x="3720" y="7156"/>
                </a:lnTo>
                <a:lnTo>
                  <a:pt x="744" y="8390"/>
                </a:lnTo>
                <a:lnTo>
                  <a:pt x="0" y="9130"/>
                </a:lnTo>
                <a:lnTo>
                  <a:pt x="217" y="9778"/>
                </a:lnTo>
                <a:close/>
              </a:path>
            </a:pathLst>
          </a:custGeom>
          <a:solidFill>
            <a:srgbClr val="000000"/>
          </a:solidFill>
        </p:spPr>
        <p:txBody>
          <a:bodyPr wrap="square" lIns="0" tIns="0" rIns="0" bIns="0" rtlCol="0">
            <a:noAutofit/>
          </a:bodyPr>
          <a:lstStyle/>
          <a:p>
            <a:endParaRPr/>
          </a:p>
        </p:txBody>
      </p:sp>
      <p:sp>
        <p:nvSpPr>
          <p:cNvPr id="1591" name="object 1591"/>
          <p:cNvSpPr/>
          <p:nvPr/>
        </p:nvSpPr>
        <p:spPr>
          <a:xfrm>
            <a:off x="8183541" y="1071335"/>
            <a:ext cx="2480" cy="1974"/>
          </a:xfrm>
          <a:custGeom>
            <a:avLst/>
            <a:gdLst/>
            <a:ahLst/>
            <a:cxnLst/>
            <a:rect l="l" t="t" r="r" b="b"/>
            <a:pathLst>
              <a:path w="2480" h="1974">
                <a:moveTo>
                  <a:pt x="2029" y="560"/>
                </a:moveTo>
                <a:lnTo>
                  <a:pt x="1240" y="0"/>
                </a:lnTo>
                <a:lnTo>
                  <a:pt x="496" y="493"/>
                </a:lnTo>
                <a:lnTo>
                  <a:pt x="0" y="1233"/>
                </a:lnTo>
                <a:lnTo>
                  <a:pt x="248" y="1974"/>
                </a:lnTo>
                <a:lnTo>
                  <a:pt x="2480" y="1233"/>
                </a:lnTo>
                <a:lnTo>
                  <a:pt x="2029" y="560"/>
                </a:lnTo>
                <a:close/>
              </a:path>
            </a:pathLst>
          </a:custGeom>
          <a:solidFill>
            <a:srgbClr val="000000"/>
          </a:solidFill>
        </p:spPr>
        <p:txBody>
          <a:bodyPr wrap="square" lIns="0" tIns="0" rIns="0" bIns="0" rtlCol="0">
            <a:noAutofit/>
          </a:bodyPr>
          <a:lstStyle/>
          <a:p>
            <a:endParaRPr/>
          </a:p>
        </p:txBody>
      </p:sp>
      <p:sp>
        <p:nvSpPr>
          <p:cNvPr id="1592" name="object 1592"/>
          <p:cNvSpPr/>
          <p:nvPr/>
        </p:nvSpPr>
        <p:spPr>
          <a:xfrm>
            <a:off x="8183541" y="1072570"/>
            <a:ext cx="2480" cy="58485"/>
          </a:xfrm>
          <a:custGeom>
            <a:avLst/>
            <a:gdLst/>
            <a:ahLst/>
            <a:cxnLst/>
            <a:rect l="l" t="t" r="r" b="b"/>
            <a:pathLst>
              <a:path w="2480" h="58485">
                <a:moveTo>
                  <a:pt x="2480" y="58485"/>
                </a:moveTo>
                <a:lnTo>
                  <a:pt x="2480" y="0"/>
                </a:lnTo>
                <a:lnTo>
                  <a:pt x="248" y="740"/>
                </a:lnTo>
                <a:lnTo>
                  <a:pt x="0" y="0"/>
                </a:lnTo>
                <a:lnTo>
                  <a:pt x="0" y="58485"/>
                </a:lnTo>
                <a:lnTo>
                  <a:pt x="2480" y="58485"/>
                </a:lnTo>
                <a:close/>
              </a:path>
            </a:pathLst>
          </a:custGeom>
          <a:solidFill>
            <a:srgbClr val="000000"/>
          </a:solidFill>
        </p:spPr>
        <p:txBody>
          <a:bodyPr wrap="square" lIns="0" tIns="0" rIns="0" bIns="0" rtlCol="0">
            <a:noAutofit/>
          </a:bodyPr>
          <a:lstStyle/>
          <a:p>
            <a:endParaRPr/>
          </a:p>
        </p:txBody>
      </p:sp>
      <p:sp>
        <p:nvSpPr>
          <p:cNvPr id="1593" name="object 1593"/>
          <p:cNvSpPr/>
          <p:nvPr/>
        </p:nvSpPr>
        <p:spPr>
          <a:xfrm>
            <a:off x="8160724" y="1072323"/>
            <a:ext cx="46130" cy="58485"/>
          </a:xfrm>
          <a:custGeom>
            <a:avLst/>
            <a:gdLst/>
            <a:ahLst/>
            <a:cxnLst/>
            <a:rect l="l" t="t" r="r" b="b"/>
            <a:pathLst>
              <a:path w="46130" h="58485">
                <a:moveTo>
                  <a:pt x="23065" y="0"/>
                </a:moveTo>
                <a:lnTo>
                  <a:pt x="18352" y="493"/>
                </a:lnTo>
                <a:lnTo>
                  <a:pt x="14136" y="2220"/>
                </a:lnTo>
                <a:lnTo>
                  <a:pt x="10168" y="4935"/>
                </a:lnTo>
                <a:lnTo>
                  <a:pt x="6696" y="8637"/>
                </a:lnTo>
                <a:lnTo>
                  <a:pt x="3968" y="12832"/>
                </a:lnTo>
                <a:lnTo>
                  <a:pt x="1736" y="18014"/>
                </a:lnTo>
                <a:lnTo>
                  <a:pt x="496" y="23443"/>
                </a:lnTo>
                <a:lnTo>
                  <a:pt x="0" y="29366"/>
                </a:lnTo>
                <a:lnTo>
                  <a:pt x="496" y="35288"/>
                </a:lnTo>
                <a:lnTo>
                  <a:pt x="1736" y="40717"/>
                </a:lnTo>
                <a:lnTo>
                  <a:pt x="3968" y="45653"/>
                </a:lnTo>
                <a:lnTo>
                  <a:pt x="6696" y="49848"/>
                </a:lnTo>
                <a:lnTo>
                  <a:pt x="10168" y="53550"/>
                </a:lnTo>
                <a:lnTo>
                  <a:pt x="14136" y="56264"/>
                </a:lnTo>
                <a:lnTo>
                  <a:pt x="18352" y="57992"/>
                </a:lnTo>
                <a:lnTo>
                  <a:pt x="23065" y="58485"/>
                </a:lnTo>
                <a:lnTo>
                  <a:pt x="27777" y="57992"/>
                </a:lnTo>
                <a:lnTo>
                  <a:pt x="31993" y="56264"/>
                </a:lnTo>
                <a:lnTo>
                  <a:pt x="35961" y="53550"/>
                </a:lnTo>
                <a:lnTo>
                  <a:pt x="39433" y="49848"/>
                </a:lnTo>
                <a:lnTo>
                  <a:pt x="42161" y="45653"/>
                </a:lnTo>
                <a:lnTo>
                  <a:pt x="44393" y="40717"/>
                </a:lnTo>
                <a:lnTo>
                  <a:pt x="45634" y="35288"/>
                </a:lnTo>
                <a:lnTo>
                  <a:pt x="46130" y="29366"/>
                </a:lnTo>
                <a:lnTo>
                  <a:pt x="45634" y="23443"/>
                </a:lnTo>
                <a:lnTo>
                  <a:pt x="44393" y="18014"/>
                </a:lnTo>
                <a:lnTo>
                  <a:pt x="42161" y="12832"/>
                </a:lnTo>
                <a:lnTo>
                  <a:pt x="39433" y="8637"/>
                </a:lnTo>
                <a:lnTo>
                  <a:pt x="35961" y="4935"/>
                </a:lnTo>
                <a:lnTo>
                  <a:pt x="31993" y="2220"/>
                </a:lnTo>
                <a:lnTo>
                  <a:pt x="27777" y="493"/>
                </a:lnTo>
                <a:lnTo>
                  <a:pt x="23065" y="0"/>
                </a:lnTo>
                <a:close/>
              </a:path>
            </a:pathLst>
          </a:custGeom>
          <a:solidFill>
            <a:srgbClr val="FFBE00"/>
          </a:solidFill>
        </p:spPr>
        <p:txBody>
          <a:bodyPr wrap="square" lIns="0" tIns="0" rIns="0" bIns="0" rtlCol="0">
            <a:noAutofit/>
          </a:bodyPr>
          <a:lstStyle/>
          <a:p>
            <a:endParaRPr/>
          </a:p>
        </p:txBody>
      </p:sp>
      <p:sp>
        <p:nvSpPr>
          <p:cNvPr id="1594" name="object 1594"/>
          <p:cNvSpPr/>
          <p:nvPr/>
        </p:nvSpPr>
        <p:spPr>
          <a:xfrm>
            <a:off x="8183790" y="1071089"/>
            <a:ext cx="24305" cy="30600"/>
          </a:xfrm>
          <a:custGeom>
            <a:avLst/>
            <a:gdLst/>
            <a:ahLst/>
            <a:cxnLst/>
            <a:rect l="l" t="t" r="r" b="b"/>
            <a:pathLst>
              <a:path w="24305" h="30600">
                <a:moveTo>
                  <a:pt x="4464" y="2961"/>
                </a:moveTo>
                <a:lnTo>
                  <a:pt x="8432" y="4441"/>
                </a:lnTo>
                <a:lnTo>
                  <a:pt x="12152" y="7156"/>
                </a:lnTo>
                <a:lnTo>
                  <a:pt x="15376" y="10611"/>
                </a:lnTo>
                <a:lnTo>
                  <a:pt x="18104" y="14559"/>
                </a:lnTo>
                <a:lnTo>
                  <a:pt x="20088" y="19742"/>
                </a:lnTo>
                <a:lnTo>
                  <a:pt x="21328" y="24924"/>
                </a:lnTo>
                <a:lnTo>
                  <a:pt x="21824" y="30600"/>
                </a:lnTo>
                <a:lnTo>
                  <a:pt x="24305" y="30600"/>
                </a:lnTo>
                <a:lnTo>
                  <a:pt x="23809" y="24430"/>
                </a:lnTo>
                <a:lnTo>
                  <a:pt x="22569" y="18754"/>
                </a:lnTo>
                <a:lnTo>
                  <a:pt x="20088" y="13572"/>
                </a:lnTo>
                <a:lnTo>
                  <a:pt x="17360" y="9130"/>
                </a:lnTo>
                <a:lnTo>
                  <a:pt x="13640" y="5182"/>
                </a:lnTo>
                <a:lnTo>
                  <a:pt x="9424" y="2467"/>
                </a:lnTo>
                <a:lnTo>
                  <a:pt x="4960" y="493"/>
                </a:lnTo>
                <a:lnTo>
                  <a:pt x="0" y="0"/>
                </a:lnTo>
                <a:lnTo>
                  <a:pt x="0" y="2467"/>
                </a:lnTo>
                <a:lnTo>
                  <a:pt x="4464" y="2961"/>
                </a:lnTo>
                <a:close/>
              </a:path>
            </a:pathLst>
          </a:custGeom>
          <a:solidFill>
            <a:srgbClr val="000000"/>
          </a:solidFill>
        </p:spPr>
        <p:txBody>
          <a:bodyPr wrap="square" lIns="0" tIns="0" rIns="0" bIns="0" rtlCol="0">
            <a:noAutofit/>
          </a:bodyPr>
          <a:lstStyle/>
          <a:p>
            <a:endParaRPr/>
          </a:p>
        </p:txBody>
      </p:sp>
      <p:sp>
        <p:nvSpPr>
          <p:cNvPr id="1595" name="object 1595"/>
          <p:cNvSpPr/>
          <p:nvPr/>
        </p:nvSpPr>
        <p:spPr>
          <a:xfrm>
            <a:off x="8183790" y="1101690"/>
            <a:ext cx="24305" cy="30353"/>
          </a:xfrm>
          <a:custGeom>
            <a:avLst/>
            <a:gdLst/>
            <a:ahLst/>
            <a:cxnLst/>
            <a:rect l="l" t="t" r="r" b="b"/>
            <a:pathLst>
              <a:path w="24305" h="30353">
                <a:moveTo>
                  <a:pt x="0" y="27885"/>
                </a:moveTo>
                <a:lnTo>
                  <a:pt x="0" y="30353"/>
                </a:lnTo>
                <a:lnTo>
                  <a:pt x="4960" y="29859"/>
                </a:lnTo>
                <a:lnTo>
                  <a:pt x="9424" y="27885"/>
                </a:lnTo>
                <a:lnTo>
                  <a:pt x="13640" y="25171"/>
                </a:lnTo>
                <a:lnTo>
                  <a:pt x="17360" y="21222"/>
                </a:lnTo>
                <a:lnTo>
                  <a:pt x="20088" y="16780"/>
                </a:lnTo>
                <a:lnTo>
                  <a:pt x="22569" y="11845"/>
                </a:lnTo>
                <a:lnTo>
                  <a:pt x="23809" y="6169"/>
                </a:lnTo>
                <a:lnTo>
                  <a:pt x="24305" y="0"/>
                </a:lnTo>
                <a:lnTo>
                  <a:pt x="21824" y="0"/>
                </a:lnTo>
                <a:lnTo>
                  <a:pt x="21328" y="5675"/>
                </a:lnTo>
                <a:lnTo>
                  <a:pt x="20088" y="10858"/>
                </a:lnTo>
                <a:lnTo>
                  <a:pt x="18104" y="15793"/>
                </a:lnTo>
                <a:lnTo>
                  <a:pt x="15376" y="19742"/>
                </a:lnTo>
                <a:lnTo>
                  <a:pt x="12152" y="23196"/>
                </a:lnTo>
                <a:lnTo>
                  <a:pt x="8432" y="25911"/>
                </a:lnTo>
                <a:lnTo>
                  <a:pt x="4464" y="27392"/>
                </a:lnTo>
                <a:lnTo>
                  <a:pt x="0" y="27885"/>
                </a:lnTo>
                <a:close/>
              </a:path>
            </a:pathLst>
          </a:custGeom>
          <a:solidFill>
            <a:srgbClr val="000000"/>
          </a:solidFill>
        </p:spPr>
        <p:txBody>
          <a:bodyPr wrap="square" lIns="0" tIns="0" rIns="0" bIns="0" rtlCol="0">
            <a:noAutofit/>
          </a:bodyPr>
          <a:lstStyle/>
          <a:p>
            <a:endParaRPr/>
          </a:p>
        </p:txBody>
      </p:sp>
      <p:sp>
        <p:nvSpPr>
          <p:cNvPr id="1596" name="object 1596"/>
          <p:cNvSpPr/>
          <p:nvPr/>
        </p:nvSpPr>
        <p:spPr>
          <a:xfrm>
            <a:off x="8159485" y="1101690"/>
            <a:ext cx="24305" cy="30353"/>
          </a:xfrm>
          <a:custGeom>
            <a:avLst/>
            <a:gdLst/>
            <a:ahLst/>
            <a:cxnLst/>
            <a:rect l="l" t="t" r="r" b="b"/>
            <a:pathLst>
              <a:path w="24305" h="30353">
                <a:moveTo>
                  <a:pt x="6200" y="15793"/>
                </a:moveTo>
                <a:lnTo>
                  <a:pt x="4216" y="10858"/>
                </a:lnTo>
                <a:lnTo>
                  <a:pt x="2976" y="5675"/>
                </a:lnTo>
                <a:lnTo>
                  <a:pt x="2480" y="0"/>
                </a:lnTo>
                <a:lnTo>
                  <a:pt x="0" y="0"/>
                </a:lnTo>
                <a:lnTo>
                  <a:pt x="496" y="6169"/>
                </a:lnTo>
                <a:lnTo>
                  <a:pt x="1736" y="11845"/>
                </a:lnTo>
                <a:lnTo>
                  <a:pt x="4216" y="16780"/>
                </a:lnTo>
                <a:lnTo>
                  <a:pt x="6944" y="21222"/>
                </a:lnTo>
                <a:lnTo>
                  <a:pt x="10664" y="25171"/>
                </a:lnTo>
                <a:lnTo>
                  <a:pt x="14880" y="27885"/>
                </a:lnTo>
                <a:lnTo>
                  <a:pt x="19344" y="29859"/>
                </a:lnTo>
                <a:lnTo>
                  <a:pt x="24305" y="30353"/>
                </a:lnTo>
                <a:lnTo>
                  <a:pt x="24305" y="27885"/>
                </a:lnTo>
                <a:lnTo>
                  <a:pt x="19840" y="27392"/>
                </a:lnTo>
                <a:lnTo>
                  <a:pt x="15872" y="25911"/>
                </a:lnTo>
                <a:lnTo>
                  <a:pt x="12152" y="23196"/>
                </a:lnTo>
                <a:lnTo>
                  <a:pt x="8928" y="19742"/>
                </a:lnTo>
                <a:lnTo>
                  <a:pt x="6200" y="15793"/>
                </a:lnTo>
                <a:close/>
              </a:path>
            </a:pathLst>
          </a:custGeom>
          <a:solidFill>
            <a:srgbClr val="000000"/>
          </a:solidFill>
        </p:spPr>
        <p:txBody>
          <a:bodyPr wrap="square" lIns="0" tIns="0" rIns="0" bIns="0" rtlCol="0">
            <a:noAutofit/>
          </a:bodyPr>
          <a:lstStyle/>
          <a:p>
            <a:endParaRPr/>
          </a:p>
        </p:txBody>
      </p:sp>
      <p:sp>
        <p:nvSpPr>
          <p:cNvPr id="1597" name="object 1597"/>
          <p:cNvSpPr/>
          <p:nvPr/>
        </p:nvSpPr>
        <p:spPr>
          <a:xfrm>
            <a:off x="8159485" y="1071089"/>
            <a:ext cx="24305" cy="30600"/>
          </a:xfrm>
          <a:custGeom>
            <a:avLst/>
            <a:gdLst/>
            <a:ahLst/>
            <a:cxnLst/>
            <a:rect l="l" t="t" r="r" b="b"/>
            <a:pathLst>
              <a:path w="24305" h="30600">
                <a:moveTo>
                  <a:pt x="2480" y="30600"/>
                </a:moveTo>
                <a:lnTo>
                  <a:pt x="2976" y="24924"/>
                </a:lnTo>
                <a:lnTo>
                  <a:pt x="4216" y="19742"/>
                </a:lnTo>
                <a:lnTo>
                  <a:pt x="6200" y="14559"/>
                </a:lnTo>
                <a:lnTo>
                  <a:pt x="8928" y="10611"/>
                </a:lnTo>
                <a:lnTo>
                  <a:pt x="12152" y="7156"/>
                </a:lnTo>
                <a:lnTo>
                  <a:pt x="15872" y="4441"/>
                </a:lnTo>
                <a:lnTo>
                  <a:pt x="19840" y="2961"/>
                </a:lnTo>
                <a:lnTo>
                  <a:pt x="24305" y="2467"/>
                </a:lnTo>
                <a:lnTo>
                  <a:pt x="24305" y="0"/>
                </a:lnTo>
                <a:lnTo>
                  <a:pt x="19344" y="493"/>
                </a:lnTo>
                <a:lnTo>
                  <a:pt x="14880" y="2467"/>
                </a:lnTo>
                <a:lnTo>
                  <a:pt x="10664" y="5182"/>
                </a:lnTo>
                <a:lnTo>
                  <a:pt x="6944" y="9130"/>
                </a:lnTo>
                <a:lnTo>
                  <a:pt x="4216" y="13572"/>
                </a:lnTo>
                <a:lnTo>
                  <a:pt x="1736" y="18754"/>
                </a:lnTo>
                <a:lnTo>
                  <a:pt x="496" y="24430"/>
                </a:lnTo>
                <a:lnTo>
                  <a:pt x="0" y="30600"/>
                </a:lnTo>
                <a:lnTo>
                  <a:pt x="2480" y="30600"/>
                </a:lnTo>
                <a:close/>
              </a:path>
            </a:pathLst>
          </a:custGeom>
          <a:solidFill>
            <a:srgbClr val="000000"/>
          </a:solidFill>
        </p:spPr>
        <p:txBody>
          <a:bodyPr wrap="square" lIns="0" tIns="0" rIns="0" bIns="0" rtlCol="0">
            <a:noAutofit/>
          </a:bodyPr>
          <a:lstStyle/>
          <a:p>
            <a:endParaRPr/>
          </a:p>
        </p:txBody>
      </p:sp>
      <p:sp>
        <p:nvSpPr>
          <p:cNvPr id="1598" name="object 1598"/>
          <p:cNvSpPr/>
          <p:nvPr/>
        </p:nvSpPr>
        <p:spPr>
          <a:xfrm>
            <a:off x="8181558" y="1094780"/>
            <a:ext cx="22817" cy="29119"/>
          </a:xfrm>
          <a:custGeom>
            <a:avLst/>
            <a:gdLst/>
            <a:ahLst/>
            <a:cxnLst/>
            <a:rect l="l" t="t" r="r" b="b"/>
            <a:pathLst>
              <a:path w="22817" h="29119">
                <a:moveTo>
                  <a:pt x="11408" y="0"/>
                </a:moveTo>
                <a:lnTo>
                  <a:pt x="9176" y="246"/>
                </a:lnTo>
                <a:lnTo>
                  <a:pt x="6944" y="1233"/>
                </a:lnTo>
                <a:lnTo>
                  <a:pt x="4960" y="2467"/>
                </a:lnTo>
                <a:lnTo>
                  <a:pt x="3472" y="4195"/>
                </a:lnTo>
                <a:lnTo>
                  <a:pt x="1984" y="6416"/>
                </a:lnTo>
                <a:lnTo>
                  <a:pt x="992" y="8883"/>
                </a:lnTo>
                <a:lnTo>
                  <a:pt x="248" y="11598"/>
                </a:lnTo>
                <a:lnTo>
                  <a:pt x="0" y="14559"/>
                </a:lnTo>
                <a:lnTo>
                  <a:pt x="248" y="17521"/>
                </a:lnTo>
                <a:lnTo>
                  <a:pt x="992" y="20235"/>
                </a:lnTo>
                <a:lnTo>
                  <a:pt x="1984" y="22703"/>
                </a:lnTo>
                <a:lnTo>
                  <a:pt x="3472" y="24677"/>
                </a:lnTo>
                <a:lnTo>
                  <a:pt x="4960" y="26651"/>
                </a:lnTo>
                <a:lnTo>
                  <a:pt x="6944" y="27885"/>
                </a:lnTo>
                <a:lnTo>
                  <a:pt x="9176" y="28872"/>
                </a:lnTo>
                <a:lnTo>
                  <a:pt x="11408" y="29119"/>
                </a:lnTo>
                <a:lnTo>
                  <a:pt x="13640" y="28872"/>
                </a:lnTo>
                <a:lnTo>
                  <a:pt x="15872" y="27885"/>
                </a:lnTo>
                <a:lnTo>
                  <a:pt x="17856" y="26651"/>
                </a:lnTo>
                <a:lnTo>
                  <a:pt x="19592" y="24677"/>
                </a:lnTo>
                <a:lnTo>
                  <a:pt x="20832" y="22703"/>
                </a:lnTo>
                <a:lnTo>
                  <a:pt x="21824" y="20235"/>
                </a:lnTo>
                <a:lnTo>
                  <a:pt x="22569" y="17521"/>
                </a:lnTo>
                <a:lnTo>
                  <a:pt x="22817" y="14559"/>
                </a:lnTo>
                <a:lnTo>
                  <a:pt x="22569" y="11598"/>
                </a:lnTo>
                <a:lnTo>
                  <a:pt x="21824" y="8883"/>
                </a:lnTo>
                <a:lnTo>
                  <a:pt x="20832" y="6416"/>
                </a:lnTo>
                <a:lnTo>
                  <a:pt x="19592" y="4195"/>
                </a:lnTo>
                <a:lnTo>
                  <a:pt x="17856" y="2467"/>
                </a:lnTo>
                <a:lnTo>
                  <a:pt x="15872" y="1233"/>
                </a:lnTo>
                <a:lnTo>
                  <a:pt x="13640" y="246"/>
                </a:lnTo>
                <a:lnTo>
                  <a:pt x="11408" y="0"/>
                </a:lnTo>
                <a:close/>
              </a:path>
            </a:pathLst>
          </a:custGeom>
          <a:solidFill>
            <a:srgbClr val="000000"/>
          </a:solidFill>
        </p:spPr>
        <p:txBody>
          <a:bodyPr wrap="square" lIns="0" tIns="0" rIns="0" bIns="0" rtlCol="0">
            <a:noAutofit/>
          </a:bodyPr>
          <a:lstStyle/>
          <a:p>
            <a:endParaRPr/>
          </a:p>
        </p:txBody>
      </p:sp>
      <p:sp>
        <p:nvSpPr>
          <p:cNvPr id="1599" name="object 1599"/>
          <p:cNvSpPr/>
          <p:nvPr/>
        </p:nvSpPr>
        <p:spPr>
          <a:xfrm>
            <a:off x="8192966" y="1093546"/>
            <a:ext cx="12648" cy="15793"/>
          </a:xfrm>
          <a:custGeom>
            <a:avLst/>
            <a:gdLst/>
            <a:ahLst/>
            <a:cxnLst/>
            <a:rect l="l" t="t" r="r" b="b"/>
            <a:pathLst>
              <a:path w="12648" h="15793">
                <a:moveTo>
                  <a:pt x="0" y="0"/>
                </a:moveTo>
                <a:lnTo>
                  <a:pt x="0" y="2467"/>
                </a:lnTo>
                <a:lnTo>
                  <a:pt x="1984" y="2714"/>
                </a:lnTo>
                <a:lnTo>
                  <a:pt x="3968" y="3454"/>
                </a:lnTo>
                <a:lnTo>
                  <a:pt x="5704" y="4688"/>
                </a:lnTo>
                <a:lnTo>
                  <a:pt x="7192" y="6169"/>
                </a:lnTo>
                <a:lnTo>
                  <a:pt x="8184" y="8143"/>
                </a:lnTo>
                <a:lnTo>
                  <a:pt x="9176" y="10611"/>
                </a:lnTo>
                <a:lnTo>
                  <a:pt x="9920" y="13079"/>
                </a:lnTo>
                <a:lnTo>
                  <a:pt x="10168" y="15793"/>
                </a:lnTo>
                <a:lnTo>
                  <a:pt x="12648" y="15793"/>
                </a:lnTo>
                <a:lnTo>
                  <a:pt x="12400" y="12585"/>
                </a:lnTo>
                <a:lnTo>
                  <a:pt x="11656" y="9624"/>
                </a:lnTo>
                <a:lnTo>
                  <a:pt x="10664" y="7156"/>
                </a:lnTo>
                <a:lnTo>
                  <a:pt x="9176" y="4688"/>
                </a:lnTo>
                <a:lnTo>
                  <a:pt x="7192" y="2714"/>
                </a:lnTo>
                <a:lnTo>
                  <a:pt x="4960" y="1480"/>
                </a:lnTo>
                <a:lnTo>
                  <a:pt x="2480" y="246"/>
                </a:lnTo>
                <a:lnTo>
                  <a:pt x="0" y="0"/>
                </a:lnTo>
                <a:close/>
              </a:path>
            </a:pathLst>
          </a:custGeom>
          <a:solidFill>
            <a:srgbClr val="000000"/>
          </a:solidFill>
        </p:spPr>
        <p:txBody>
          <a:bodyPr wrap="square" lIns="0" tIns="0" rIns="0" bIns="0" rtlCol="0">
            <a:noAutofit/>
          </a:bodyPr>
          <a:lstStyle/>
          <a:p>
            <a:endParaRPr/>
          </a:p>
        </p:txBody>
      </p:sp>
      <p:sp>
        <p:nvSpPr>
          <p:cNvPr id="1600" name="object 1600"/>
          <p:cNvSpPr/>
          <p:nvPr/>
        </p:nvSpPr>
        <p:spPr>
          <a:xfrm>
            <a:off x="8192966" y="1109340"/>
            <a:ext cx="12648" cy="15793"/>
          </a:xfrm>
          <a:custGeom>
            <a:avLst/>
            <a:gdLst/>
            <a:ahLst/>
            <a:cxnLst/>
            <a:rect l="l" t="t" r="r" b="b"/>
            <a:pathLst>
              <a:path w="12648" h="15793">
                <a:moveTo>
                  <a:pt x="9176" y="10858"/>
                </a:moveTo>
                <a:lnTo>
                  <a:pt x="10416" y="8637"/>
                </a:lnTo>
                <a:lnTo>
                  <a:pt x="11656" y="6169"/>
                </a:lnTo>
                <a:lnTo>
                  <a:pt x="12400" y="3208"/>
                </a:lnTo>
                <a:lnTo>
                  <a:pt x="12648" y="0"/>
                </a:lnTo>
                <a:lnTo>
                  <a:pt x="10168" y="0"/>
                </a:lnTo>
                <a:lnTo>
                  <a:pt x="9920" y="2714"/>
                </a:lnTo>
                <a:lnTo>
                  <a:pt x="9176" y="5182"/>
                </a:lnTo>
                <a:lnTo>
                  <a:pt x="8432" y="7650"/>
                </a:lnTo>
                <a:lnTo>
                  <a:pt x="7192" y="9377"/>
                </a:lnTo>
                <a:lnTo>
                  <a:pt x="5704" y="11104"/>
                </a:lnTo>
                <a:lnTo>
                  <a:pt x="3968" y="12338"/>
                </a:lnTo>
                <a:lnTo>
                  <a:pt x="1984" y="13079"/>
                </a:lnTo>
                <a:lnTo>
                  <a:pt x="0" y="13325"/>
                </a:lnTo>
                <a:lnTo>
                  <a:pt x="0" y="15793"/>
                </a:lnTo>
                <a:lnTo>
                  <a:pt x="2480" y="15546"/>
                </a:lnTo>
                <a:lnTo>
                  <a:pt x="4960" y="14312"/>
                </a:lnTo>
                <a:lnTo>
                  <a:pt x="7192" y="13079"/>
                </a:lnTo>
                <a:lnTo>
                  <a:pt x="9176" y="10858"/>
                </a:lnTo>
                <a:close/>
              </a:path>
            </a:pathLst>
          </a:custGeom>
          <a:solidFill>
            <a:srgbClr val="000000"/>
          </a:solidFill>
        </p:spPr>
        <p:txBody>
          <a:bodyPr wrap="square" lIns="0" tIns="0" rIns="0" bIns="0" rtlCol="0">
            <a:noAutofit/>
          </a:bodyPr>
          <a:lstStyle/>
          <a:p>
            <a:endParaRPr/>
          </a:p>
        </p:txBody>
      </p:sp>
      <p:sp>
        <p:nvSpPr>
          <p:cNvPr id="1601" name="object 1601"/>
          <p:cNvSpPr/>
          <p:nvPr/>
        </p:nvSpPr>
        <p:spPr>
          <a:xfrm>
            <a:off x="8180317" y="1109340"/>
            <a:ext cx="12648" cy="15793"/>
          </a:xfrm>
          <a:custGeom>
            <a:avLst/>
            <a:gdLst/>
            <a:ahLst/>
            <a:cxnLst/>
            <a:rect l="l" t="t" r="r" b="b"/>
            <a:pathLst>
              <a:path w="12648" h="15793">
                <a:moveTo>
                  <a:pt x="248" y="3208"/>
                </a:moveTo>
                <a:lnTo>
                  <a:pt x="992" y="6169"/>
                </a:lnTo>
                <a:lnTo>
                  <a:pt x="2232" y="8637"/>
                </a:lnTo>
                <a:lnTo>
                  <a:pt x="3720" y="10858"/>
                </a:lnTo>
                <a:lnTo>
                  <a:pt x="5456" y="13079"/>
                </a:lnTo>
                <a:lnTo>
                  <a:pt x="7688" y="14312"/>
                </a:lnTo>
                <a:lnTo>
                  <a:pt x="10168" y="15546"/>
                </a:lnTo>
                <a:lnTo>
                  <a:pt x="12648" y="15793"/>
                </a:lnTo>
                <a:lnTo>
                  <a:pt x="12648" y="13325"/>
                </a:lnTo>
                <a:lnTo>
                  <a:pt x="10664" y="13079"/>
                </a:lnTo>
                <a:lnTo>
                  <a:pt x="8680" y="12338"/>
                </a:lnTo>
                <a:lnTo>
                  <a:pt x="6944" y="11104"/>
                </a:lnTo>
                <a:lnTo>
                  <a:pt x="5704" y="9377"/>
                </a:lnTo>
                <a:lnTo>
                  <a:pt x="4216" y="7650"/>
                </a:lnTo>
                <a:lnTo>
                  <a:pt x="3472" y="5182"/>
                </a:lnTo>
                <a:lnTo>
                  <a:pt x="2728" y="2714"/>
                </a:lnTo>
                <a:lnTo>
                  <a:pt x="2480" y="0"/>
                </a:lnTo>
                <a:lnTo>
                  <a:pt x="0" y="0"/>
                </a:lnTo>
                <a:lnTo>
                  <a:pt x="248" y="3208"/>
                </a:lnTo>
                <a:close/>
              </a:path>
            </a:pathLst>
          </a:custGeom>
          <a:solidFill>
            <a:srgbClr val="000000"/>
          </a:solidFill>
        </p:spPr>
        <p:txBody>
          <a:bodyPr wrap="square" lIns="0" tIns="0" rIns="0" bIns="0" rtlCol="0">
            <a:noAutofit/>
          </a:bodyPr>
          <a:lstStyle/>
          <a:p>
            <a:endParaRPr/>
          </a:p>
        </p:txBody>
      </p:sp>
      <p:sp>
        <p:nvSpPr>
          <p:cNvPr id="1602" name="object 1602"/>
          <p:cNvSpPr/>
          <p:nvPr/>
        </p:nvSpPr>
        <p:spPr>
          <a:xfrm>
            <a:off x="8180317" y="1093546"/>
            <a:ext cx="12648" cy="15793"/>
          </a:xfrm>
          <a:custGeom>
            <a:avLst/>
            <a:gdLst/>
            <a:ahLst/>
            <a:cxnLst/>
            <a:rect l="l" t="t" r="r" b="b"/>
            <a:pathLst>
              <a:path w="12648" h="15793">
                <a:moveTo>
                  <a:pt x="2232" y="7156"/>
                </a:moveTo>
                <a:lnTo>
                  <a:pt x="992" y="9624"/>
                </a:lnTo>
                <a:lnTo>
                  <a:pt x="248" y="12585"/>
                </a:lnTo>
                <a:lnTo>
                  <a:pt x="0" y="15793"/>
                </a:lnTo>
                <a:lnTo>
                  <a:pt x="2480" y="15793"/>
                </a:lnTo>
                <a:lnTo>
                  <a:pt x="2728" y="13079"/>
                </a:lnTo>
                <a:lnTo>
                  <a:pt x="3472" y="10611"/>
                </a:lnTo>
                <a:lnTo>
                  <a:pt x="4216" y="8143"/>
                </a:lnTo>
                <a:lnTo>
                  <a:pt x="5704" y="6169"/>
                </a:lnTo>
                <a:lnTo>
                  <a:pt x="6944" y="4688"/>
                </a:lnTo>
                <a:lnTo>
                  <a:pt x="8680" y="3454"/>
                </a:lnTo>
                <a:lnTo>
                  <a:pt x="10664" y="2714"/>
                </a:lnTo>
                <a:lnTo>
                  <a:pt x="12648" y="2467"/>
                </a:lnTo>
                <a:lnTo>
                  <a:pt x="12648" y="0"/>
                </a:lnTo>
                <a:lnTo>
                  <a:pt x="10168" y="246"/>
                </a:lnTo>
                <a:lnTo>
                  <a:pt x="7688" y="1480"/>
                </a:lnTo>
                <a:lnTo>
                  <a:pt x="5456" y="2714"/>
                </a:lnTo>
                <a:lnTo>
                  <a:pt x="3720" y="4688"/>
                </a:lnTo>
                <a:lnTo>
                  <a:pt x="2232" y="7156"/>
                </a:lnTo>
                <a:close/>
              </a:path>
            </a:pathLst>
          </a:custGeom>
          <a:solidFill>
            <a:srgbClr val="000000"/>
          </a:solidFill>
        </p:spPr>
        <p:txBody>
          <a:bodyPr wrap="square" lIns="0" tIns="0" rIns="0" bIns="0" rtlCol="0">
            <a:noAutofit/>
          </a:bodyPr>
          <a:lstStyle/>
          <a:p>
            <a:endParaRPr/>
          </a:p>
        </p:txBody>
      </p:sp>
      <p:sp>
        <p:nvSpPr>
          <p:cNvPr id="1603" name="object 1603"/>
          <p:cNvSpPr/>
          <p:nvPr/>
        </p:nvSpPr>
        <p:spPr>
          <a:xfrm>
            <a:off x="8185527" y="1623372"/>
            <a:ext cx="741553" cy="103398"/>
          </a:xfrm>
          <a:custGeom>
            <a:avLst/>
            <a:gdLst/>
            <a:ahLst/>
            <a:cxnLst/>
            <a:rect l="l" t="t" r="r" b="b"/>
            <a:pathLst>
              <a:path w="741553" h="103398">
                <a:moveTo>
                  <a:pt x="0" y="0"/>
                </a:moveTo>
                <a:lnTo>
                  <a:pt x="496" y="103398"/>
                </a:lnTo>
                <a:lnTo>
                  <a:pt x="741553" y="74032"/>
                </a:lnTo>
                <a:lnTo>
                  <a:pt x="741553" y="0"/>
                </a:lnTo>
                <a:lnTo>
                  <a:pt x="0" y="0"/>
                </a:lnTo>
                <a:close/>
              </a:path>
            </a:pathLst>
          </a:custGeom>
          <a:solidFill>
            <a:srgbClr val="404040"/>
          </a:solidFill>
        </p:spPr>
        <p:txBody>
          <a:bodyPr wrap="square" lIns="0" tIns="0" rIns="0" bIns="0" rtlCol="0">
            <a:noAutofit/>
          </a:bodyPr>
          <a:lstStyle/>
          <a:p>
            <a:endParaRPr/>
          </a:p>
        </p:txBody>
      </p:sp>
      <p:sp>
        <p:nvSpPr>
          <p:cNvPr id="1604" name="object 1604"/>
          <p:cNvSpPr/>
          <p:nvPr/>
        </p:nvSpPr>
        <p:spPr>
          <a:xfrm>
            <a:off x="8925839" y="1623372"/>
            <a:ext cx="2480" cy="74896"/>
          </a:xfrm>
          <a:custGeom>
            <a:avLst/>
            <a:gdLst/>
            <a:ahLst/>
            <a:cxnLst/>
            <a:rect l="l" t="t" r="r" b="b"/>
            <a:pathLst>
              <a:path w="2480" h="74896">
                <a:moveTo>
                  <a:pt x="1984" y="74773"/>
                </a:moveTo>
                <a:lnTo>
                  <a:pt x="2480" y="74032"/>
                </a:lnTo>
                <a:lnTo>
                  <a:pt x="2480" y="0"/>
                </a:lnTo>
                <a:lnTo>
                  <a:pt x="0" y="0"/>
                </a:lnTo>
                <a:lnTo>
                  <a:pt x="0" y="74032"/>
                </a:lnTo>
                <a:lnTo>
                  <a:pt x="1240" y="72798"/>
                </a:lnTo>
                <a:lnTo>
                  <a:pt x="1612" y="74896"/>
                </a:lnTo>
                <a:lnTo>
                  <a:pt x="1984" y="74773"/>
                </a:lnTo>
                <a:close/>
              </a:path>
            </a:pathLst>
          </a:custGeom>
          <a:solidFill>
            <a:srgbClr val="000000"/>
          </a:solidFill>
        </p:spPr>
        <p:txBody>
          <a:bodyPr wrap="square" lIns="0" tIns="0" rIns="0" bIns="0" rtlCol="0">
            <a:noAutofit/>
          </a:bodyPr>
          <a:lstStyle/>
          <a:p>
            <a:endParaRPr/>
          </a:p>
        </p:txBody>
      </p:sp>
      <p:sp>
        <p:nvSpPr>
          <p:cNvPr id="1605" name="object 1605"/>
          <p:cNvSpPr/>
          <p:nvPr/>
        </p:nvSpPr>
        <p:spPr>
          <a:xfrm>
            <a:off x="8925839" y="1696171"/>
            <a:ext cx="1612" cy="2220"/>
          </a:xfrm>
          <a:custGeom>
            <a:avLst/>
            <a:gdLst/>
            <a:ahLst/>
            <a:cxnLst/>
            <a:rect l="l" t="t" r="r" b="b"/>
            <a:pathLst>
              <a:path w="1612" h="2220">
                <a:moveTo>
                  <a:pt x="1240" y="0"/>
                </a:moveTo>
                <a:lnTo>
                  <a:pt x="0" y="1233"/>
                </a:lnTo>
                <a:lnTo>
                  <a:pt x="496" y="1974"/>
                </a:lnTo>
                <a:lnTo>
                  <a:pt x="1240" y="2220"/>
                </a:lnTo>
                <a:lnTo>
                  <a:pt x="1612" y="2097"/>
                </a:lnTo>
                <a:lnTo>
                  <a:pt x="1240" y="0"/>
                </a:lnTo>
                <a:close/>
              </a:path>
            </a:pathLst>
          </a:custGeom>
          <a:solidFill>
            <a:srgbClr val="000000"/>
          </a:solidFill>
        </p:spPr>
        <p:txBody>
          <a:bodyPr wrap="square" lIns="0" tIns="0" rIns="0" bIns="0" rtlCol="0">
            <a:noAutofit/>
          </a:bodyPr>
          <a:lstStyle/>
          <a:p>
            <a:endParaRPr/>
          </a:p>
        </p:txBody>
      </p:sp>
      <p:sp>
        <p:nvSpPr>
          <p:cNvPr id="1606" name="object 1606"/>
          <p:cNvSpPr/>
          <p:nvPr/>
        </p:nvSpPr>
        <p:spPr>
          <a:xfrm>
            <a:off x="8185030" y="1696171"/>
            <a:ext cx="742049" cy="31834"/>
          </a:xfrm>
          <a:custGeom>
            <a:avLst/>
            <a:gdLst/>
            <a:ahLst/>
            <a:cxnLst/>
            <a:rect l="l" t="t" r="r" b="b"/>
            <a:pathLst>
              <a:path w="742049" h="31834">
                <a:moveTo>
                  <a:pt x="2232" y="30600"/>
                </a:moveTo>
                <a:lnTo>
                  <a:pt x="992" y="31834"/>
                </a:lnTo>
                <a:lnTo>
                  <a:pt x="742049" y="2467"/>
                </a:lnTo>
                <a:lnTo>
                  <a:pt x="2232" y="30600"/>
                </a:lnTo>
                <a:close/>
              </a:path>
              <a:path w="742049" h="31834">
                <a:moveTo>
                  <a:pt x="0" y="30600"/>
                </a:moveTo>
                <a:lnTo>
                  <a:pt x="124" y="30970"/>
                </a:lnTo>
                <a:lnTo>
                  <a:pt x="248" y="31340"/>
                </a:lnTo>
                <a:lnTo>
                  <a:pt x="992" y="31834"/>
                </a:lnTo>
                <a:lnTo>
                  <a:pt x="2232" y="30600"/>
                </a:lnTo>
                <a:lnTo>
                  <a:pt x="742049" y="2467"/>
                </a:lnTo>
                <a:lnTo>
                  <a:pt x="742049" y="0"/>
                </a:lnTo>
                <a:lnTo>
                  <a:pt x="992" y="29366"/>
                </a:lnTo>
                <a:lnTo>
                  <a:pt x="248" y="29859"/>
                </a:lnTo>
                <a:lnTo>
                  <a:pt x="0" y="30600"/>
                </a:lnTo>
                <a:close/>
              </a:path>
            </a:pathLst>
          </a:custGeom>
          <a:solidFill>
            <a:srgbClr val="000000"/>
          </a:solidFill>
        </p:spPr>
        <p:txBody>
          <a:bodyPr wrap="square" lIns="0" tIns="0" rIns="0" bIns="0" rtlCol="0">
            <a:noAutofit/>
          </a:bodyPr>
          <a:lstStyle/>
          <a:p>
            <a:endParaRPr/>
          </a:p>
        </p:txBody>
      </p:sp>
      <p:sp>
        <p:nvSpPr>
          <p:cNvPr id="1607" name="object 1607"/>
          <p:cNvSpPr/>
          <p:nvPr/>
        </p:nvSpPr>
        <p:spPr>
          <a:xfrm>
            <a:off x="8184285" y="1622138"/>
            <a:ext cx="2480" cy="104632"/>
          </a:xfrm>
          <a:custGeom>
            <a:avLst/>
            <a:gdLst/>
            <a:ahLst/>
            <a:cxnLst/>
            <a:rect l="l" t="t" r="r" b="b"/>
            <a:pathLst>
              <a:path w="2480" h="104632">
                <a:moveTo>
                  <a:pt x="1240" y="0"/>
                </a:moveTo>
                <a:lnTo>
                  <a:pt x="496" y="493"/>
                </a:lnTo>
                <a:lnTo>
                  <a:pt x="0" y="1233"/>
                </a:lnTo>
                <a:lnTo>
                  <a:pt x="496" y="104632"/>
                </a:lnTo>
                <a:lnTo>
                  <a:pt x="1240" y="2467"/>
                </a:lnTo>
                <a:lnTo>
                  <a:pt x="2480" y="1233"/>
                </a:lnTo>
                <a:lnTo>
                  <a:pt x="1984" y="493"/>
                </a:lnTo>
                <a:lnTo>
                  <a:pt x="1240" y="0"/>
                </a:lnTo>
                <a:close/>
              </a:path>
            </a:pathLst>
          </a:custGeom>
          <a:solidFill>
            <a:srgbClr val="000000"/>
          </a:solidFill>
        </p:spPr>
        <p:txBody>
          <a:bodyPr wrap="square" lIns="0" tIns="0" rIns="0" bIns="0" rtlCol="0">
            <a:noAutofit/>
          </a:bodyPr>
          <a:lstStyle/>
          <a:p>
            <a:endParaRPr/>
          </a:p>
        </p:txBody>
      </p:sp>
      <p:sp>
        <p:nvSpPr>
          <p:cNvPr id="1608" name="object 1608"/>
          <p:cNvSpPr/>
          <p:nvPr/>
        </p:nvSpPr>
        <p:spPr>
          <a:xfrm>
            <a:off x="8184781" y="1623372"/>
            <a:ext cx="2480" cy="103398"/>
          </a:xfrm>
          <a:custGeom>
            <a:avLst/>
            <a:gdLst/>
            <a:ahLst/>
            <a:cxnLst/>
            <a:rect l="l" t="t" r="r" b="b"/>
            <a:pathLst>
              <a:path w="2480" h="103398">
                <a:moveTo>
                  <a:pt x="744" y="1233"/>
                </a:moveTo>
                <a:lnTo>
                  <a:pt x="0" y="103398"/>
                </a:lnTo>
                <a:lnTo>
                  <a:pt x="2480" y="103398"/>
                </a:lnTo>
                <a:lnTo>
                  <a:pt x="1984" y="0"/>
                </a:lnTo>
                <a:lnTo>
                  <a:pt x="744" y="1233"/>
                </a:lnTo>
                <a:close/>
              </a:path>
            </a:pathLst>
          </a:custGeom>
          <a:solidFill>
            <a:srgbClr val="000000"/>
          </a:solidFill>
        </p:spPr>
        <p:txBody>
          <a:bodyPr wrap="square" lIns="0" tIns="0" rIns="0" bIns="0" rtlCol="0">
            <a:noAutofit/>
          </a:bodyPr>
          <a:lstStyle/>
          <a:p>
            <a:endParaRPr/>
          </a:p>
        </p:txBody>
      </p:sp>
      <p:sp>
        <p:nvSpPr>
          <p:cNvPr id="1609" name="object 1609"/>
          <p:cNvSpPr/>
          <p:nvPr/>
        </p:nvSpPr>
        <p:spPr>
          <a:xfrm>
            <a:off x="8341277" y="1635218"/>
            <a:ext cx="195680" cy="149546"/>
          </a:xfrm>
          <a:custGeom>
            <a:avLst/>
            <a:gdLst/>
            <a:ahLst/>
            <a:cxnLst/>
            <a:rect l="l" t="t" r="r" b="b"/>
            <a:pathLst>
              <a:path w="195680" h="149546">
                <a:moveTo>
                  <a:pt x="59522" y="115737"/>
                </a:moveTo>
                <a:lnTo>
                  <a:pt x="98212" y="57992"/>
                </a:lnTo>
                <a:lnTo>
                  <a:pt x="133926" y="58239"/>
                </a:lnTo>
                <a:lnTo>
                  <a:pt x="195680" y="59226"/>
                </a:lnTo>
                <a:lnTo>
                  <a:pt x="195680" y="0"/>
                </a:lnTo>
                <a:lnTo>
                  <a:pt x="0" y="0"/>
                </a:lnTo>
                <a:lnTo>
                  <a:pt x="0" y="48368"/>
                </a:lnTo>
                <a:lnTo>
                  <a:pt x="5208" y="53056"/>
                </a:lnTo>
                <a:lnTo>
                  <a:pt x="9920" y="57745"/>
                </a:lnTo>
                <a:lnTo>
                  <a:pt x="14632" y="62927"/>
                </a:lnTo>
                <a:lnTo>
                  <a:pt x="19344" y="68110"/>
                </a:lnTo>
                <a:lnTo>
                  <a:pt x="23561" y="73785"/>
                </a:lnTo>
                <a:lnTo>
                  <a:pt x="27529" y="79708"/>
                </a:lnTo>
                <a:lnTo>
                  <a:pt x="31497" y="85631"/>
                </a:lnTo>
                <a:lnTo>
                  <a:pt x="34969" y="91800"/>
                </a:lnTo>
                <a:lnTo>
                  <a:pt x="38193" y="98463"/>
                </a:lnTo>
                <a:lnTo>
                  <a:pt x="41417" y="105126"/>
                </a:lnTo>
                <a:lnTo>
                  <a:pt x="44145" y="112036"/>
                </a:lnTo>
                <a:lnTo>
                  <a:pt x="46626" y="119192"/>
                </a:lnTo>
                <a:lnTo>
                  <a:pt x="48858" y="126595"/>
                </a:lnTo>
                <a:lnTo>
                  <a:pt x="50594" y="133999"/>
                </a:lnTo>
                <a:lnTo>
                  <a:pt x="52330" y="141649"/>
                </a:lnTo>
                <a:lnTo>
                  <a:pt x="53570" y="149546"/>
                </a:lnTo>
                <a:lnTo>
                  <a:pt x="59522" y="149546"/>
                </a:lnTo>
                <a:lnTo>
                  <a:pt x="59522" y="115737"/>
                </a:lnTo>
                <a:close/>
              </a:path>
            </a:pathLst>
          </a:custGeom>
          <a:solidFill>
            <a:srgbClr val="000000"/>
          </a:solidFill>
        </p:spPr>
        <p:txBody>
          <a:bodyPr wrap="square" lIns="0" tIns="0" rIns="0" bIns="0" rtlCol="0">
            <a:noAutofit/>
          </a:bodyPr>
          <a:lstStyle/>
          <a:p>
            <a:endParaRPr/>
          </a:p>
        </p:txBody>
      </p:sp>
      <p:sp>
        <p:nvSpPr>
          <p:cNvPr id="1610" name="object 1610"/>
          <p:cNvSpPr/>
          <p:nvPr/>
        </p:nvSpPr>
        <p:spPr>
          <a:xfrm>
            <a:off x="8341277" y="1633985"/>
            <a:ext cx="196920" cy="2467"/>
          </a:xfrm>
          <a:custGeom>
            <a:avLst/>
            <a:gdLst/>
            <a:ahLst/>
            <a:cxnLst/>
            <a:rect l="l" t="t" r="r" b="b"/>
            <a:pathLst>
              <a:path w="196920" h="2467">
                <a:moveTo>
                  <a:pt x="195680" y="0"/>
                </a:moveTo>
                <a:lnTo>
                  <a:pt x="0" y="0"/>
                </a:lnTo>
                <a:lnTo>
                  <a:pt x="0" y="2467"/>
                </a:lnTo>
                <a:lnTo>
                  <a:pt x="195680" y="2467"/>
                </a:lnTo>
                <a:lnTo>
                  <a:pt x="196424" y="1974"/>
                </a:lnTo>
                <a:lnTo>
                  <a:pt x="196920" y="1233"/>
                </a:lnTo>
                <a:lnTo>
                  <a:pt x="196424" y="493"/>
                </a:lnTo>
                <a:lnTo>
                  <a:pt x="195680" y="0"/>
                </a:lnTo>
                <a:lnTo>
                  <a:pt x="194440" y="1233"/>
                </a:lnTo>
                <a:lnTo>
                  <a:pt x="195680" y="0"/>
                </a:lnTo>
                <a:close/>
              </a:path>
            </a:pathLst>
          </a:custGeom>
          <a:solidFill>
            <a:srgbClr val="000000"/>
          </a:solidFill>
        </p:spPr>
        <p:txBody>
          <a:bodyPr wrap="square" lIns="0" tIns="0" rIns="0" bIns="0" rtlCol="0">
            <a:noAutofit/>
          </a:bodyPr>
          <a:lstStyle/>
          <a:p>
            <a:endParaRPr/>
          </a:p>
        </p:txBody>
      </p:sp>
      <p:sp>
        <p:nvSpPr>
          <p:cNvPr id="1611" name="object 1611"/>
          <p:cNvSpPr/>
          <p:nvPr/>
        </p:nvSpPr>
        <p:spPr>
          <a:xfrm>
            <a:off x="8535717" y="1635219"/>
            <a:ext cx="2480" cy="60089"/>
          </a:xfrm>
          <a:custGeom>
            <a:avLst/>
            <a:gdLst/>
            <a:ahLst/>
            <a:cxnLst/>
            <a:rect l="l" t="t" r="r" b="b"/>
            <a:pathLst>
              <a:path w="2480" h="60089">
                <a:moveTo>
                  <a:pt x="1984" y="59966"/>
                </a:moveTo>
                <a:lnTo>
                  <a:pt x="2480" y="59226"/>
                </a:lnTo>
                <a:lnTo>
                  <a:pt x="2480" y="0"/>
                </a:lnTo>
                <a:lnTo>
                  <a:pt x="0" y="0"/>
                </a:lnTo>
                <a:lnTo>
                  <a:pt x="0" y="59226"/>
                </a:lnTo>
                <a:lnTo>
                  <a:pt x="1240" y="57992"/>
                </a:lnTo>
                <a:lnTo>
                  <a:pt x="1612" y="60089"/>
                </a:lnTo>
                <a:lnTo>
                  <a:pt x="1984" y="59966"/>
                </a:lnTo>
                <a:close/>
              </a:path>
            </a:pathLst>
          </a:custGeom>
          <a:solidFill>
            <a:srgbClr val="000000"/>
          </a:solidFill>
        </p:spPr>
        <p:txBody>
          <a:bodyPr wrap="square" lIns="0" tIns="0" rIns="0" bIns="0" rtlCol="0">
            <a:noAutofit/>
          </a:bodyPr>
          <a:lstStyle/>
          <a:p>
            <a:endParaRPr/>
          </a:p>
        </p:txBody>
      </p:sp>
      <p:sp>
        <p:nvSpPr>
          <p:cNvPr id="1612" name="object 1612"/>
          <p:cNvSpPr/>
          <p:nvPr/>
        </p:nvSpPr>
        <p:spPr>
          <a:xfrm>
            <a:off x="8535717" y="1693210"/>
            <a:ext cx="1612" cy="2220"/>
          </a:xfrm>
          <a:custGeom>
            <a:avLst/>
            <a:gdLst/>
            <a:ahLst/>
            <a:cxnLst/>
            <a:rect l="l" t="t" r="r" b="b"/>
            <a:pathLst>
              <a:path w="1612" h="2220">
                <a:moveTo>
                  <a:pt x="1240" y="0"/>
                </a:moveTo>
                <a:lnTo>
                  <a:pt x="0" y="1233"/>
                </a:lnTo>
                <a:lnTo>
                  <a:pt x="496" y="1974"/>
                </a:lnTo>
                <a:lnTo>
                  <a:pt x="1240" y="2220"/>
                </a:lnTo>
                <a:lnTo>
                  <a:pt x="1612" y="2097"/>
                </a:lnTo>
                <a:lnTo>
                  <a:pt x="1240" y="0"/>
                </a:lnTo>
                <a:close/>
              </a:path>
            </a:pathLst>
          </a:custGeom>
          <a:solidFill>
            <a:srgbClr val="000000"/>
          </a:solidFill>
        </p:spPr>
        <p:txBody>
          <a:bodyPr wrap="square" lIns="0" tIns="0" rIns="0" bIns="0" rtlCol="0">
            <a:noAutofit/>
          </a:bodyPr>
          <a:lstStyle/>
          <a:p>
            <a:endParaRPr/>
          </a:p>
        </p:txBody>
      </p:sp>
      <p:sp>
        <p:nvSpPr>
          <p:cNvPr id="1613" name="object 1613"/>
          <p:cNvSpPr/>
          <p:nvPr/>
        </p:nvSpPr>
        <p:spPr>
          <a:xfrm>
            <a:off x="8474210" y="1692223"/>
            <a:ext cx="62746" cy="3454"/>
          </a:xfrm>
          <a:custGeom>
            <a:avLst/>
            <a:gdLst/>
            <a:ahLst/>
            <a:cxnLst/>
            <a:rect l="l" t="t" r="r" b="b"/>
            <a:pathLst>
              <a:path w="62746" h="3454">
                <a:moveTo>
                  <a:pt x="992" y="2467"/>
                </a:moveTo>
                <a:lnTo>
                  <a:pt x="62746" y="3454"/>
                </a:lnTo>
                <a:lnTo>
                  <a:pt x="62746" y="987"/>
                </a:lnTo>
                <a:lnTo>
                  <a:pt x="992" y="0"/>
                </a:lnTo>
                <a:lnTo>
                  <a:pt x="248" y="493"/>
                </a:lnTo>
                <a:lnTo>
                  <a:pt x="0" y="1233"/>
                </a:lnTo>
                <a:lnTo>
                  <a:pt x="248" y="1974"/>
                </a:lnTo>
                <a:lnTo>
                  <a:pt x="992" y="2467"/>
                </a:lnTo>
                <a:close/>
              </a:path>
            </a:pathLst>
          </a:custGeom>
          <a:solidFill>
            <a:srgbClr val="000000"/>
          </a:solidFill>
        </p:spPr>
        <p:txBody>
          <a:bodyPr wrap="square" lIns="0" tIns="0" rIns="0" bIns="0" rtlCol="0">
            <a:noAutofit/>
          </a:bodyPr>
          <a:lstStyle/>
          <a:p>
            <a:endParaRPr/>
          </a:p>
        </p:txBody>
      </p:sp>
      <p:sp>
        <p:nvSpPr>
          <p:cNvPr id="1614" name="object 1614"/>
          <p:cNvSpPr/>
          <p:nvPr/>
        </p:nvSpPr>
        <p:spPr>
          <a:xfrm>
            <a:off x="8438498" y="1691976"/>
            <a:ext cx="36705" cy="2714"/>
          </a:xfrm>
          <a:custGeom>
            <a:avLst/>
            <a:gdLst/>
            <a:ahLst/>
            <a:cxnLst/>
            <a:rect l="l" t="t" r="r" b="b"/>
            <a:pathLst>
              <a:path w="36705" h="2714">
                <a:moveTo>
                  <a:pt x="0" y="1233"/>
                </a:moveTo>
                <a:lnTo>
                  <a:pt x="248" y="1974"/>
                </a:lnTo>
                <a:lnTo>
                  <a:pt x="992" y="2467"/>
                </a:lnTo>
                <a:lnTo>
                  <a:pt x="1984" y="1974"/>
                </a:lnTo>
                <a:lnTo>
                  <a:pt x="36705" y="2714"/>
                </a:lnTo>
                <a:lnTo>
                  <a:pt x="36705" y="246"/>
                </a:lnTo>
                <a:lnTo>
                  <a:pt x="992" y="0"/>
                </a:lnTo>
                <a:lnTo>
                  <a:pt x="248" y="493"/>
                </a:lnTo>
                <a:lnTo>
                  <a:pt x="0" y="1233"/>
                </a:lnTo>
                <a:close/>
              </a:path>
            </a:pathLst>
          </a:custGeom>
          <a:solidFill>
            <a:srgbClr val="000000"/>
          </a:solidFill>
        </p:spPr>
        <p:txBody>
          <a:bodyPr wrap="square" lIns="0" tIns="0" rIns="0" bIns="0" rtlCol="0">
            <a:noAutofit/>
          </a:bodyPr>
          <a:lstStyle/>
          <a:p>
            <a:endParaRPr/>
          </a:p>
        </p:txBody>
      </p:sp>
      <p:sp>
        <p:nvSpPr>
          <p:cNvPr id="1615" name="object 1615"/>
          <p:cNvSpPr/>
          <p:nvPr/>
        </p:nvSpPr>
        <p:spPr>
          <a:xfrm>
            <a:off x="8439490" y="1693950"/>
            <a:ext cx="35713" cy="740"/>
          </a:xfrm>
          <a:custGeom>
            <a:avLst/>
            <a:gdLst/>
            <a:ahLst/>
            <a:cxnLst/>
            <a:rect l="l" t="t" r="r" b="b"/>
            <a:pathLst>
              <a:path w="35713" h="740">
                <a:moveTo>
                  <a:pt x="35713" y="740"/>
                </a:moveTo>
                <a:lnTo>
                  <a:pt x="992" y="0"/>
                </a:lnTo>
                <a:lnTo>
                  <a:pt x="0" y="493"/>
                </a:lnTo>
                <a:lnTo>
                  <a:pt x="35713" y="740"/>
                </a:lnTo>
                <a:close/>
              </a:path>
            </a:pathLst>
          </a:custGeom>
          <a:solidFill>
            <a:srgbClr val="000000"/>
          </a:solidFill>
        </p:spPr>
        <p:txBody>
          <a:bodyPr wrap="square" lIns="0" tIns="0" rIns="0" bIns="0" rtlCol="0">
            <a:noAutofit/>
          </a:bodyPr>
          <a:lstStyle/>
          <a:p>
            <a:endParaRPr/>
          </a:p>
        </p:txBody>
      </p:sp>
      <p:sp>
        <p:nvSpPr>
          <p:cNvPr id="1616" name="object 1616"/>
          <p:cNvSpPr/>
          <p:nvPr/>
        </p:nvSpPr>
        <p:spPr>
          <a:xfrm>
            <a:off x="8399560" y="1692471"/>
            <a:ext cx="40921" cy="59719"/>
          </a:xfrm>
          <a:custGeom>
            <a:avLst/>
            <a:gdLst/>
            <a:ahLst/>
            <a:cxnLst/>
            <a:rect l="l" t="t" r="r" b="b"/>
            <a:pathLst>
              <a:path w="40921" h="59719">
                <a:moveTo>
                  <a:pt x="2232" y="59226"/>
                </a:moveTo>
                <a:lnTo>
                  <a:pt x="2480" y="58485"/>
                </a:lnTo>
                <a:lnTo>
                  <a:pt x="38937" y="0"/>
                </a:lnTo>
                <a:lnTo>
                  <a:pt x="248" y="57745"/>
                </a:lnTo>
                <a:lnTo>
                  <a:pt x="0" y="58732"/>
                </a:lnTo>
                <a:lnTo>
                  <a:pt x="496" y="59472"/>
                </a:lnTo>
                <a:lnTo>
                  <a:pt x="1488" y="59719"/>
                </a:lnTo>
                <a:lnTo>
                  <a:pt x="2232" y="59226"/>
                </a:lnTo>
                <a:close/>
              </a:path>
              <a:path w="40921" h="59719">
                <a:moveTo>
                  <a:pt x="2480" y="58485"/>
                </a:moveTo>
                <a:lnTo>
                  <a:pt x="2232" y="59226"/>
                </a:lnTo>
                <a:lnTo>
                  <a:pt x="40921" y="1480"/>
                </a:lnTo>
                <a:lnTo>
                  <a:pt x="38937" y="0"/>
                </a:lnTo>
                <a:lnTo>
                  <a:pt x="2480" y="58485"/>
                </a:lnTo>
                <a:close/>
              </a:path>
            </a:pathLst>
          </a:custGeom>
          <a:solidFill>
            <a:srgbClr val="000000"/>
          </a:solidFill>
        </p:spPr>
        <p:txBody>
          <a:bodyPr wrap="square" lIns="0" tIns="0" rIns="0" bIns="0" rtlCol="0">
            <a:noAutofit/>
          </a:bodyPr>
          <a:lstStyle/>
          <a:p>
            <a:endParaRPr/>
          </a:p>
        </p:txBody>
      </p:sp>
      <p:sp>
        <p:nvSpPr>
          <p:cNvPr id="1617" name="object 1617"/>
          <p:cNvSpPr/>
          <p:nvPr/>
        </p:nvSpPr>
        <p:spPr>
          <a:xfrm>
            <a:off x="8399559" y="1750956"/>
            <a:ext cx="2480" cy="34671"/>
          </a:xfrm>
          <a:custGeom>
            <a:avLst/>
            <a:gdLst/>
            <a:ahLst/>
            <a:cxnLst/>
            <a:rect l="l" t="t" r="r" b="b"/>
            <a:pathLst>
              <a:path w="2480" h="34671">
                <a:moveTo>
                  <a:pt x="1984" y="34548"/>
                </a:moveTo>
                <a:lnTo>
                  <a:pt x="2480" y="33808"/>
                </a:lnTo>
                <a:lnTo>
                  <a:pt x="2480" y="0"/>
                </a:lnTo>
                <a:lnTo>
                  <a:pt x="0" y="0"/>
                </a:lnTo>
                <a:lnTo>
                  <a:pt x="0" y="33808"/>
                </a:lnTo>
                <a:lnTo>
                  <a:pt x="1240" y="32574"/>
                </a:lnTo>
                <a:lnTo>
                  <a:pt x="1612" y="34671"/>
                </a:lnTo>
                <a:lnTo>
                  <a:pt x="1984" y="34548"/>
                </a:lnTo>
                <a:close/>
              </a:path>
            </a:pathLst>
          </a:custGeom>
          <a:solidFill>
            <a:srgbClr val="000000"/>
          </a:solidFill>
        </p:spPr>
        <p:txBody>
          <a:bodyPr wrap="square" lIns="0" tIns="0" rIns="0" bIns="0" rtlCol="0">
            <a:noAutofit/>
          </a:bodyPr>
          <a:lstStyle/>
          <a:p>
            <a:endParaRPr/>
          </a:p>
        </p:txBody>
      </p:sp>
      <p:sp>
        <p:nvSpPr>
          <p:cNvPr id="1618" name="object 1618"/>
          <p:cNvSpPr/>
          <p:nvPr/>
        </p:nvSpPr>
        <p:spPr>
          <a:xfrm>
            <a:off x="8399559" y="1783530"/>
            <a:ext cx="1612" cy="2220"/>
          </a:xfrm>
          <a:custGeom>
            <a:avLst/>
            <a:gdLst/>
            <a:ahLst/>
            <a:cxnLst/>
            <a:rect l="l" t="t" r="r" b="b"/>
            <a:pathLst>
              <a:path w="1612" h="2220">
                <a:moveTo>
                  <a:pt x="1240" y="0"/>
                </a:moveTo>
                <a:lnTo>
                  <a:pt x="0" y="1233"/>
                </a:lnTo>
                <a:lnTo>
                  <a:pt x="496" y="1974"/>
                </a:lnTo>
                <a:lnTo>
                  <a:pt x="1240" y="2220"/>
                </a:lnTo>
                <a:lnTo>
                  <a:pt x="1612" y="2097"/>
                </a:lnTo>
                <a:lnTo>
                  <a:pt x="1240" y="0"/>
                </a:lnTo>
                <a:close/>
              </a:path>
            </a:pathLst>
          </a:custGeom>
          <a:solidFill>
            <a:srgbClr val="000000"/>
          </a:solidFill>
        </p:spPr>
        <p:txBody>
          <a:bodyPr wrap="square" lIns="0" tIns="0" rIns="0" bIns="0" rtlCol="0">
            <a:noAutofit/>
          </a:bodyPr>
          <a:lstStyle/>
          <a:p>
            <a:endParaRPr/>
          </a:p>
        </p:txBody>
      </p:sp>
      <p:sp>
        <p:nvSpPr>
          <p:cNvPr id="1619" name="object 1619"/>
          <p:cNvSpPr/>
          <p:nvPr/>
        </p:nvSpPr>
        <p:spPr>
          <a:xfrm>
            <a:off x="8394847" y="1784517"/>
            <a:ext cx="5952" cy="1480"/>
          </a:xfrm>
          <a:custGeom>
            <a:avLst/>
            <a:gdLst/>
            <a:ahLst/>
            <a:cxnLst/>
            <a:rect l="l" t="t" r="r" b="b"/>
            <a:pathLst>
              <a:path w="5952" h="1480">
                <a:moveTo>
                  <a:pt x="1240" y="0"/>
                </a:moveTo>
                <a:lnTo>
                  <a:pt x="0" y="1480"/>
                </a:lnTo>
                <a:lnTo>
                  <a:pt x="5952" y="1480"/>
                </a:lnTo>
                <a:lnTo>
                  <a:pt x="1240" y="0"/>
                </a:lnTo>
                <a:close/>
              </a:path>
            </a:pathLst>
          </a:custGeom>
          <a:solidFill>
            <a:srgbClr val="000000"/>
          </a:solidFill>
        </p:spPr>
        <p:txBody>
          <a:bodyPr wrap="square" lIns="0" tIns="0" rIns="0" bIns="0" rtlCol="0">
            <a:noAutofit/>
          </a:bodyPr>
          <a:lstStyle/>
          <a:p>
            <a:endParaRPr/>
          </a:p>
        </p:txBody>
      </p:sp>
      <p:sp>
        <p:nvSpPr>
          <p:cNvPr id="1620" name="object 1620"/>
          <p:cNvSpPr/>
          <p:nvPr/>
        </p:nvSpPr>
        <p:spPr>
          <a:xfrm>
            <a:off x="8393855" y="1783531"/>
            <a:ext cx="6944" cy="2467"/>
          </a:xfrm>
          <a:custGeom>
            <a:avLst/>
            <a:gdLst/>
            <a:ahLst/>
            <a:cxnLst/>
            <a:rect l="l" t="t" r="r" b="b"/>
            <a:pathLst>
              <a:path w="6944" h="2467">
                <a:moveTo>
                  <a:pt x="0" y="1233"/>
                </a:moveTo>
                <a:lnTo>
                  <a:pt x="202" y="1839"/>
                </a:lnTo>
                <a:lnTo>
                  <a:pt x="248" y="1974"/>
                </a:lnTo>
                <a:lnTo>
                  <a:pt x="992" y="2467"/>
                </a:lnTo>
                <a:lnTo>
                  <a:pt x="2232" y="987"/>
                </a:lnTo>
                <a:lnTo>
                  <a:pt x="6944" y="2467"/>
                </a:lnTo>
                <a:lnTo>
                  <a:pt x="6944" y="0"/>
                </a:lnTo>
                <a:lnTo>
                  <a:pt x="992" y="0"/>
                </a:lnTo>
                <a:lnTo>
                  <a:pt x="248" y="493"/>
                </a:lnTo>
                <a:lnTo>
                  <a:pt x="0" y="1233"/>
                </a:lnTo>
                <a:close/>
              </a:path>
            </a:pathLst>
          </a:custGeom>
          <a:solidFill>
            <a:srgbClr val="000000"/>
          </a:solidFill>
        </p:spPr>
        <p:txBody>
          <a:bodyPr wrap="square" lIns="0" tIns="0" rIns="0" bIns="0" rtlCol="0">
            <a:noAutofit/>
          </a:bodyPr>
          <a:lstStyle/>
          <a:p>
            <a:endParaRPr/>
          </a:p>
        </p:txBody>
      </p:sp>
      <p:sp>
        <p:nvSpPr>
          <p:cNvPr id="1621" name="object 1621"/>
          <p:cNvSpPr/>
          <p:nvPr/>
        </p:nvSpPr>
        <p:spPr>
          <a:xfrm>
            <a:off x="8342021" y="1682599"/>
            <a:ext cx="5208" cy="4688"/>
          </a:xfrm>
          <a:custGeom>
            <a:avLst/>
            <a:gdLst/>
            <a:ahLst/>
            <a:cxnLst/>
            <a:rect l="l" t="t" r="r" b="b"/>
            <a:pathLst>
              <a:path w="5208" h="4688">
                <a:moveTo>
                  <a:pt x="496" y="987"/>
                </a:moveTo>
                <a:lnTo>
                  <a:pt x="5208" y="4688"/>
                </a:lnTo>
                <a:lnTo>
                  <a:pt x="0" y="0"/>
                </a:lnTo>
                <a:lnTo>
                  <a:pt x="496" y="987"/>
                </a:lnTo>
                <a:close/>
              </a:path>
            </a:pathLst>
          </a:custGeom>
          <a:solidFill>
            <a:srgbClr val="000000"/>
          </a:solidFill>
        </p:spPr>
        <p:txBody>
          <a:bodyPr wrap="square" lIns="0" tIns="0" rIns="0" bIns="0" rtlCol="0">
            <a:noAutofit/>
          </a:bodyPr>
          <a:lstStyle/>
          <a:p>
            <a:endParaRPr/>
          </a:p>
        </p:txBody>
      </p:sp>
      <p:sp>
        <p:nvSpPr>
          <p:cNvPr id="1622" name="object 1622"/>
          <p:cNvSpPr/>
          <p:nvPr/>
        </p:nvSpPr>
        <p:spPr>
          <a:xfrm>
            <a:off x="8340036" y="1682352"/>
            <a:ext cx="56050" cy="102658"/>
          </a:xfrm>
          <a:custGeom>
            <a:avLst/>
            <a:gdLst/>
            <a:ahLst/>
            <a:cxnLst/>
            <a:rect l="l" t="t" r="r" b="b"/>
            <a:pathLst>
              <a:path w="56050" h="102658">
                <a:moveTo>
                  <a:pt x="496" y="2220"/>
                </a:moveTo>
                <a:lnTo>
                  <a:pt x="5704" y="6909"/>
                </a:lnTo>
                <a:lnTo>
                  <a:pt x="10168" y="11351"/>
                </a:lnTo>
                <a:lnTo>
                  <a:pt x="14880" y="16533"/>
                </a:lnTo>
                <a:lnTo>
                  <a:pt x="19592" y="21716"/>
                </a:lnTo>
                <a:lnTo>
                  <a:pt x="23809" y="27392"/>
                </a:lnTo>
                <a:lnTo>
                  <a:pt x="27777" y="33314"/>
                </a:lnTo>
                <a:lnTo>
                  <a:pt x="31745" y="39237"/>
                </a:lnTo>
                <a:lnTo>
                  <a:pt x="35217" y="45159"/>
                </a:lnTo>
                <a:lnTo>
                  <a:pt x="38441" y="51822"/>
                </a:lnTo>
                <a:lnTo>
                  <a:pt x="41417" y="58485"/>
                </a:lnTo>
                <a:lnTo>
                  <a:pt x="44145" y="65395"/>
                </a:lnTo>
                <a:lnTo>
                  <a:pt x="46626" y="72552"/>
                </a:lnTo>
                <a:lnTo>
                  <a:pt x="48858" y="79708"/>
                </a:lnTo>
                <a:lnTo>
                  <a:pt x="50594" y="87111"/>
                </a:lnTo>
                <a:lnTo>
                  <a:pt x="52330" y="94761"/>
                </a:lnTo>
                <a:lnTo>
                  <a:pt x="53570" y="102658"/>
                </a:lnTo>
                <a:lnTo>
                  <a:pt x="56050" y="102165"/>
                </a:lnTo>
                <a:lnTo>
                  <a:pt x="54810" y="94268"/>
                </a:lnTo>
                <a:lnTo>
                  <a:pt x="53074" y="86618"/>
                </a:lnTo>
                <a:lnTo>
                  <a:pt x="51338" y="79214"/>
                </a:lnTo>
                <a:lnTo>
                  <a:pt x="49106" y="71564"/>
                </a:lnTo>
                <a:lnTo>
                  <a:pt x="46626" y="64408"/>
                </a:lnTo>
                <a:lnTo>
                  <a:pt x="43897" y="57498"/>
                </a:lnTo>
                <a:lnTo>
                  <a:pt x="40425" y="50835"/>
                </a:lnTo>
                <a:lnTo>
                  <a:pt x="37201" y="44172"/>
                </a:lnTo>
                <a:lnTo>
                  <a:pt x="33729" y="37756"/>
                </a:lnTo>
                <a:lnTo>
                  <a:pt x="29761" y="31834"/>
                </a:lnTo>
                <a:lnTo>
                  <a:pt x="25793" y="25911"/>
                </a:lnTo>
                <a:lnTo>
                  <a:pt x="21576" y="20235"/>
                </a:lnTo>
                <a:lnTo>
                  <a:pt x="16864" y="15053"/>
                </a:lnTo>
                <a:lnTo>
                  <a:pt x="12152" y="9871"/>
                </a:lnTo>
                <a:lnTo>
                  <a:pt x="7192" y="4935"/>
                </a:lnTo>
                <a:lnTo>
                  <a:pt x="2480" y="1233"/>
                </a:lnTo>
                <a:lnTo>
                  <a:pt x="1984" y="246"/>
                </a:lnTo>
                <a:lnTo>
                  <a:pt x="992" y="0"/>
                </a:lnTo>
                <a:lnTo>
                  <a:pt x="248" y="493"/>
                </a:lnTo>
                <a:lnTo>
                  <a:pt x="0" y="1233"/>
                </a:lnTo>
                <a:lnTo>
                  <a:pt x="496" y="2220"/>
                </a:lnTo>
                <a:close/>
              </a:path>
            </a:pathLst>
          </a:custGeom>
          <a:solidFill>
            <a:srgbClr val="000000"/>
          </a:solidFill>
        </p:spPr>
        <p:txBody>
          <a:bodyPr wrap="square" lIns="0" tIns="0" rIns="0" bIns="0" rtlCol="0">
            <a:noAutofit/>
          </a:bodyPr>
          <a:lstStyle/>
          <a:p>
            <a:endParaRPr/>
          </a:p>
        </p:txBody>
      </p:sp>
      <p:sp>
        <p:nvSpPr>
          <p:cNvPr id="1623" name="object 1623"/>
          <p:cNvSpPr/>
          <p:nvPr/>
        </p:nvSpPr>
        <p:spPr>
          <a:xfrm>
            <a:off x="8340036" y="1633985"/>
            <a:ext cx="2480" cy="49601"/>
          </a:xfrm>
          <a:custGeom>
            <a:avLst/>
            <a:gdLst/>
            <a:ahLst/>
            <a:cxnLst/>
            <a:rect l="l" t="t" r="r" b="b"/>
            <a:pathLst>
              <a:path w="2480" h="49601">
                <a:moveTo>
                  <a:pt x="1984" y="493"/>
                </a:moveTo>
                <a:lnTo>
                  <a:pt x="1240" y="0"/>
                </a:lnTo>
                <a:lnTo>
                  <a:pt x="1240" y="2467"/>
                </a:lnTo>
                <a:lnTo>
                  <a:pt x="0" y="1233"/>
                </a:lnTo>
                <a:lnTo>
                  <a:pt x="0" y="49601"/>
                </a:lnTo>
                <a:lnTo>
                  <a:pt x="2480" y="49601"/>
                </a:lnTo>
                <a:lnTo>
                  <a:pt x="2480" y="1233"/>
                </a:lnTo>
                <a:lnTo>
                  <a:pt x="1984" y="493"/>
                </a:lnTo>
                <a:close/>
              </a:path>
            </a:pathLst>
          </a:custGeom>
          <a:solidFill>
            <a:srgbClr val="000000"/>
          </a:solidFill>
        </p:spPr>
        <p:txBody>
          <a:bodyPr wrap="square" lIns="0" tIns="0" rIns="0" bIns="0" rtlCol="0">
            <a:noAutofit/>
          </a:bodyPr>
          <a:lstStyle/>
          <a:p>
            <a:endParaRPr/>
          </a:p>
        </p:txBody>
      </p:sp>
      <p:sp>
        <p:nvSpPr>
          <p:cNvPr id="1624" name="object 1624"/>
          <p:cNvSpPr/>
          <p:nvPr/>
        </p:nvSpPr>
        <p:spPr>
          <a:xfrm>
            <a:off x="8340036" y="1633985"/>
            <a:ext cx="1240" cy="2467"/>
          </a:xfrm>
          <a:custGeom>
            <a:avLst/>
            <a:gdLst/>
            <a:ahLst/>
            <a:cxnLst/>
            <a:rect l="l" t="t" r="r" b="b"/>
            <a:pathLst>
              <a:path w="1240" h="2467">
                <a:moveTo>
                  <a:pt x="1240" y="0"/>
                </a:moveTo>
                <a:lnTo>
                  <a:pt x="496" y="493"/>
                </a:lnTo>
                <a:lnTo>
                  <a:pt x="0" y="1233"/>
                </a:lnTo>
                <a:lnTo>
                  <a:pt x="1240" y="2467"/>
                </a:lnTo>
                <a:lnTo>
                  <a:pt x="1240" y="0"/>
                </a:lnTo>
                <a:close/>
              </a:path>
            </a:pathLst>
          </a:custGeom>
          <a:solidFill>
            <a:srgbClr val="000000"/>
          </a:solidFill>
        </p:spPr>
        <p:txBody>
          <a:bodyPr wrap="square" lIns="0" tIns="0" rIns="0" bIns="0" rtlCol="0">
            <a:noAutofit/>
          </a:bodyPr>
          <a:lstStyle/>
          <a:p>
            <a:endParaRPr/>
          </a:p>
        </p:txBody>
      </p:sp>
      <p:sp>
        <p:nvSpPr>
          <p:cNvPr id="1625" name="object 1625"/>
          <p:cNvSpPr/>
          <p:nvPr/>
        </p:nvSpPr>
        <p:spPr>
          <a:xfrm>
            <a:off x="8651042" y="1646569"/>
            <a:ext cx="155006" cy="249736"/>
          </a:xfrm>
          <a:custGeom>
            <a:avLst/>
            <a:gdLst/>
            <a:ahLst/>
            <a:cxnLst/>
            <a:rect l="l" t="t" r="r" b="b"/>
            <a:pathLst>
              <a:path w="155006" h="249736">
                <a:moveTo>
                  <a:pt x="77379" y="0"/>
                </a:moveTo>
                <a:lnTo>
                  <a:pt x="69443" y="740"/>
                </a:lnTo>
                <a:lnTo>
                  <a:pt x="61754" y="2467"/>
                </a:lnTo>
                <a:lnTo>
                  <a:pt x="47370" y="9871"/>
                </a:lnTo>
                <a:lnTo>
                  <a:pt x="40425" y="15053"/>
                </a:lnTo>
                <a:lnTo>
                  <a:pt x="34225" y="21469"/>
                </a:lnTo>
                <a:lnTo>
                  <a:pt x="28273" y="28625"/>
                </a:lnTo>
                <a:lnTo>
                  <a:pt x="22817" y="36522"/>
                </a:lnTo>
                <a:lnTo>
                  <a:pt x="17608" y="45406"/>
                </a:lnTo>
                <a:lnTo>
                  <a:pt x="13144" y="55030"/>
                </a:lnTo>
                <a:lnTo>
                  <a:pt x="9424" y="65395"/>
                </a:lnTo>
                <a:lnTo>
                  <a:pt x="6200" y="76253"/>
                </a:lnTo>
                <a:lnTo>
                  <a:pt x="3472" y="87852"/>
                </a:lnTo>
                <a:lnTo>
                  <a:pt x="1488" y="99697"/>
                </a:lnTo>
                <a:lnTo>
                  <a:pt x="496" y="112036"/>
                </a:lnTo>
                <a:lnTo>
                  <a:pt x="0" y="124868"/>
                </a:lnTo>
                <a:lnTo>
                  <a:pt x="496" y="137454"/>
                </a:lnTo>
                <a:lnTo>
                  <a:pt x="1488" y="150039"/>
                </a:lnTo>
                <a:lnTo>
                  <a:pt x="3472" y="161884"/>
                </a:lnTo>
                <a:lnTo>
                  <a:pt x="6200" y="173236"/>
                </a:lnTo>
                <a:lnTo>
                  <a:pt x="9424" y="184341"/>
                </a:lnTo>
                <a:lnTo>
                  <a:pt x="13144" y="194459"/>
                </a:lnTo>
                <a:lnTo>
                  <a:pt x="17608" y="204083"/>
                </a:lnTo>
                <a:lnTo>
                  <a:pt x="22817" y="212967"/>
                </a:lnTo>
                <a:lnTo>
                  <a:pt x="28273" y="221110"/>
                </a:lnTo>
                <a:lnTo>
                  <a:pt x="34225" y="228267"/>
                </a:lnTo>
                <a:lnTo>
                  <a:pt x="40425" y="234683"/>
                </a:lnTo>
                <a:lnTo>
                  <a:pt x="47370" y="239865"/>
                </a:lnTo>
                <a:lnTo>
                  <a:pt x="61754" y="247269"/>
                </a:lnTo>
                <a:lnTo>
                  <a:pt x="77379" y="249736"/>
                </a:lnTo>
                <a:lnTo>
                  <a:pt x="85315" y="248996"/>
                </a:lnTo>
                <a:lnTo>
                  <a:pt x="100444" y="244061"/>
                </a:lnTo>
                <a:lnTo>
                  <a:pt x="107636" y="239865"/>
                </a:lnTo>
                <a:lnTo>
                  <a:pt x="114333" y="234683"/>
                </a:lnTo>
                <a:lnTo>
                  <a:pt x="120781" y="228267"/>
                </a:lnTo>
                <a:lnTo>
                  <a:pt x="126733" y="221110"/>
                </a:lnTo>
                <a:lnTo>
                  <a:pt x="132189" y="212967"/>
                </a:lnTo>
                <a:lnTo>
                  <a:pt x="137398" y="204083"/>
                </a:lnTo>
                <a:lnTo>
                  <a:pt x="141862" y="194459"/>
                </a:lnTo>
                <a:lnTo>
                  <a:pt x="145582" y="184341"/>
                </a:lnTo>
                <a:lnTo>
                  <a:pt x="148806" y="173236"/>
                </a:lnTo>
                <a:lnTo>
                  <a:pt x="151534" y="161884"/>
                </a:lnTo>
                <a:lnTo>
                  <a:pt x="153518" y="150039"/>
                </a:lnTo>
                <a:lnTo>
                  <a:pt x="154510" y="137454"/>
                </a:lnTo>
                <a:lnTo>
                  <a:pt x="155006" y="124868"/>
                </a:lnTo>
                <a:lnTo>
                  <a:pt x="154510" y="112036"/>
                </a:lnTo>
                <a:lnTo>
                  <a:pt x="153518" y="99697"/>
                </a:lnTo>
                <a:lnTo>
                  <a:pt x="151534" y="87852"/>
                </a:lnTo>
                <a:lnTo>
                  <a:pt x="148806" y="76253"/>
                </a:lnTo>
                <a:lnTo>
                  <a:pt x="145582" y="65395"/>
                </a:lnTo>
                <a:lnTo>
                  <a:pt x="141862" y="55030"/>
                </a:lnTo>
                <a:lnTo>
                  <a:pt x="137398" y="45406"/>
                </a:lnTo>
                <a:lnTo>
                  <a:pt x="132189" y="36522"/>
                </a:lnTo>
                <a:lnTo>
                  <a:pt x="126733" y="28625"/>
                </a:lnTo>
                <a:lnTo>
                  <a:pt x="120781" y="21469"/>
                </a:lnTo>
                <a:lnTo>
                  <a:pt x="114333" y="15053"/>
                </a:lnTo>
                <a:lnTo>
                  <a:pt x="107636" y="9871"/>
                </a:lnTo>
                <a:lnTo>
                  <a:pt x="100444" y="5675"/>
                </a:lnTo>
                <a:lnTo>
                  <a:pt x="85315" y="740"/>
                </a:lnTo>
                <a:lnTo>
                  <a:pt x="77379" y="0"/>
                </a:lnTo>
                <a:close/>
              </a:path>
            </a:pathLst>
          </a:custGeom>
          <a:solidFill>
            <a:srgbClr val="000000"/>
          </a:solidFill>
        </p:spPr>
        <p:txBody>
          <a:bodyPr wrap="square" lIns="0" tIns="0" rIns="0" bIns="0" rtlCol="0">
            <a:noAutofit/>
          </a:bodyPr>
          <a:lstStyle/>
          <a:p>
            <a:endParaRPr/>
          </a:p>
        </p:txBody>
      </p:sp>
      <p:sp>
        <p:nvSpPr>
          <p:cNvPr id="1626" name="object 1626"/>
          <p:cNvSpPr/>
          <p:nvPr/>
        </p:nvSpPr>
        <p:spPr>
          <a:xfrm>
            <a:off x="8728423" y="1644843"/>
            <a:ext cx="79363" cy="126595"/>
          </a:xfrm>
          <a:custGeom>
            <a:avLst/>
            <a:gdLst/>
            <a:ahLst/>
            <a:cxnLst/>
            <a:rect l="l" t="t" r="r" b="b"/>
            <a:pathLst>
              <a:path w="79363" h="126595">
                <a:moveTo>
                  <a:pt x="0" y="0"/>
                </a:moveTo>
                <a:lnTo>
                  <a:pt x="0" y="3454"/>
                </a:lnTo>
                <a:lnTo>
                  <a:pt x="7688" y="4195"/>
                </a:lnTo>
                <a:lnTo>
                  <a:pt x="15128" y="5922"/>
                </a:lnTo>
                <a:lnTo>
                  <a:pt x="22321" y="8883"/>
                </a:lnTo>
                <a:lnTo>
                  <a:pt x="29265" y="13079"/>
                </a:lnTo>
                <a:lnTo>
                  <a:pt x="35713" y="18014"/>
                </a:lnTo>
                <a:lnTo>
                  <a:pt x="42161" y="24430"/>
                </a:lnTo>
                <a:lnTo>
                  <a:pt x="47866" y="31340"/>
                </a:lnTo>
                <a:lnTo>
                  <a:pt x="53322" y="39237"/>
                </a:lnTo>
                <a:lnTo>
                  <a:pt x="58530" y="47874"/>
                </a:lnTo>
                <a:lnTo>
                  <a:pt x="62994" y="57498"/>
                </a:lnTo>
                <a:lnTo>
                  <a:pt x="66466" y="67616"/>
                </a:lnTo>
                <a:lnTo>
                  <a:pt x="69691" y="78474"/>
                </a:lnTo>
                <a:lnTo>
                  <a:pt x="72419" y="89826"/>
                </a:lnTo>
                <a:lnTo>
                  <a:pt x="74403" y="101671"/>
                </a:lnTo>
                <a:lnTo>
                  <a:pt x="75395" y="113763"/>
                </a:lnTo>
                <a:lnTo>
                  <a:pt x="75891" y="126595"/>
                </a:lnTo>
                <a:lnTo>
                  <a:pt x="79363" y="126595"/>
                </a:lnTo>
                <a:lnTo>
                  <a:pt x="78867" y="113763"/>
                </a:lnTo>
                <a:lnTo>
                  <a:pt x="77875" y="101178"/>
                </a:lnTo>
                <a:lnTo>
                  <a:pt x="75891" y="89332"/>
                </a:lnTo>
                <a:lnTo>
                  <a:pt x="73163" y="77487"/>
                </a:lnTo>
                <a:lnTo>
                  <a:pt x="69939" y="66629"/>
                </a:lnTo>
                <a:lnTo>
                  <a:pt x="65970" y="56018"/>
                </a:lnTo>
                <a:lnTo>
                  <a:pt x="61506" y="46393"/>
                </a:lnTo>
                <a:lnTo>
                  <a:pt x="56298" y="37263"/>
                </a:lnTo>
                <a:lnTo>
                  <a:pt x="50842" y="29366"/>
                </a:lnTo>
                <a:lnTo>
                  <a:pt x="44642" y="21963"/>
                </a:lnTo>
                <a:lnTo>
                  <a:pt x="38193" y="15546"/>
                </a:lnTo>
                <a:lnTo>
                  <a:pt x="31249" y="10117"/>
                </a:lnTo>
                <a:lnTo>
                  <a:pt x="23809" y="5922"/>
                </a:lnTo>
                <a:lnTo>
                  <a:pt x="16120" y="2467"/>
                </a:lnTo>
                <a:lnTo>
                  <a:pt x="8184" y="740"/>
                </a:lnTo>
                <a:lnTo>
                  <a:pt x="0" y="0"/>
                </a:lnTo>
                <a:close/>
              </a:path>
            </a:pathLst>
          </a:custGeom>
          <a:solidFill>
            <a:srgbClr val="000000"/>
          </a:solidFill>
        </p:spPr>
        <p:txBody>
          <a:bodyPr wrap="square" lIns="0" tIns="0" rIns="0" bIns="0" rtlCol="0">
            <a:noAutofit/>
          </a:bodyPr>
          <a:lstStyle/>
          <a:p>
            <a:endParaRPr/>
          </a:p>
        </p:txBody>
      </p:sp>
      <p:sp>
        <p:nvSpPr>
          <p:cNvPr id="1627" name="object 1627"/>
          <p:cNvSpPr/>
          <p:nvPr/>
        </p:nvSpPr>
        <p:spPr>
          <a:xfrm>
            <a:off x="8728423" y="1771439"/>
            <a:ext cx="79363" cy="126595"/>
          </a:xfrm>
          <a:custGeom>
            <a:avLst/>
            <a:gdLst/>
            <a:ahLst/>
            <a:cxnLst/>
            <a:rect l="l" t="t" r="r" b="b"/>
            <a:pathLst>
              <a:path w="79363" h="126595">
                <a:moveTo>
                  <a:pt x="69939" y="59966"/>
                </a:moveTo>
                <a:lnTo>
                  <a:pt x="73163" y="48861"/>
                </a:lnTo>
                <a:lnTo>
                  <a:pt x="75891" y="37263"/>
                </a:lnTo>
                <a:lnTo>
                  <a:pt x="77875" y="25417"/>
                </a:lnTo>
                <a:lnTo>
                  <a:pt x="78867" y="12585"/>
                </a:lnTo>
                <a:lnTo>
                  <a:pt x="79363" y="0"/>
                </a:lnTo>
                <a:lnTo>
                  <a:pt x="75891" y="0"/>
                </a:lnTo>
                <a:lnTo>
                  <a:pt x="75395" y="12585"/>
                </a:lnTo>
                <a:lnTo>
                  <a:pt x="74403" y="24924"/>
                </a:lnTo>
                <a:lnTo>
                  <a:pt x="72419" y="36769"/>
                </a:lnTo>
                <a:lnTo>
                  <a:pt x="69691" y="47874"/>
                </a:lnTo>
                <a:lnTo>
                  <a:pt x="66466" y="58979"/>
                </a:lnTo>
                <a:lnTo>
                  <a:pt x="62994" y="68850"/>
                </a:lnTo>
                <a:lnTo>
                  <a:pt x="58530" y="78474"/>
                </a:lnTo>
                <a:lnTo>
                  <a:pt x="53322" y="87111"/>
                </a:lnTo>
                <a:lnTo>
                  <a:pt x="47866" y="95255"/>
                </a:lnTo>
                <a:lnTo>
                  <a:pt x="42161" y="102165"/>
                </a:lnTo>
                <a:lnTo>
                  <a:pt x="35713" y="108581"/>
                </a:lnTo>
                <a:lnTo>
                  <a:pt x="29265" y="113516"/>
                </a:lnTo>
                <a:lnTo>
                  <a:pt x="22321" y="117711"/>
                </a:lnTo>
                <a:lnTo>
                  <a:pt x="15128" y="120673"/>
                </a:lnTo>
                <a:lnTo>
                  <a:pt x="7688" y="122400"/>
                </a:lnTo>
                <a:lnTo>
                  <a:pt x="0" y="123141"/>
                </a:lnTo>
                <a:lnTo>
                  <a:pt x="0" y="126595"/>
                </a:lnTo>
                <a:lnTo>
                  <a:pt x="8184" y="125855"/>
                </a:lnTo>
                <a:lnTo>
                  <a:pt x="16120" y="124128"/>
                </a:lnTo>
                <a:lnTo>
                  <a:pt x="23809" y="120673"/>
                </a:lnTo>
                <a:lnTo>
                  <a:pt x="31249" y="116478"/>
                </a:lnTo>
                <a:lnTo>
                  <a:pt x="38193" y="111049"/>
                </a:lnTo>
                <a:lnTo>
                  <a:pt x="44642" y="104632"/>
                </a:lnTo>
                <a:lnTo>
                  <a:pt x="50842" y="97229"/>
                </a:lnTo>
                <a:lnTo>
                  <a:pt x="56298" y="89086"/>
                </a:lnTo>
                <a:lnTo>
                  <a:pt x="61506" y="79955"/>
                </a:lnTo>
                <a:lnTo>
                  <a:pt x="65970" y="70331"/>
                </a:lnTo>
                <a:lnTo>
                  <a:pt x="69939" y="59966"/>
                </a:lnTo>
                <a:close/>
              </a:path>
            </a:pathLst>
          </a:custGeom>
          <a:solidFill>
            <a:srgbClr val="000000"/>
          </a:solidFill>
        </p:spPr>
        <p:txBody>
          <a:bodyPr wrap="square" lIns="0" tIns="0" rIns="0" bIns="0" rtlCol="0">
            <a:noAutofit/>
          </a:bodyPr>
          <a:lstStyle/>
          <a:p>
            <a:endParaRPr/>
          </a:p>
        </p:txBody>
      </p:sp>
      <p:sp>
        <p:nvSpPr>
          <p:cNvPr id="1628" name="object 1628"/>
          <p:cNvSpPr/>
          <p:nvPr/>
        </p:nvSpPr>
        <p:spPr>
          <a:xfrm>
            <a:off x="8649307" y="1771439"/>
            <a:ext cx="79115" cy="126595"/>
          </a:xfrm>
          <a:custGeom>
            <a:avLst/>
            <a:gdLst/>
            <a:ahLst/>
            <a:cxnLst/>
            <a:rect l="l" t="t" r="r" b="b"/>
            <a:pathLst>
              <a:path w="79115" h="126595">
                <a:moveTo>
                  <a:pt x="496" y="12585"/>
                </a:moveTo>
                <a:lnTo>
                  <a:pt x="1488" y="25417"/>
                </a:lnTo>
                <a:lnTo>
                  <a:pt x="3472" y="37263"/>
                </a:lnTo>
                <a:lnTo>
                  <a:pt x="6200" y="48861"/>
                </a:lnTo>
                <a:lnTo>
                  <a:pt x="9424" y="59966"/>
                </a:lnTo>
                <a:lnTo>
                  <a:pt x="13392" y="70331"/>
                </a:lnTo>
                <a:lnTo>
                  <a:pt x="17856" y="79955"/>
                </a:lnTo>
                <a:lnTo>
                  <a:pt x="23065" y="89086"/>
                </a:lnTo>
                <a:lnTo>
                  <a:pt x="28521" y="97229"/>
                </a:lnTo>
                <a:lnTo>
                  <a:pt x="34721" y="104632"/>
                </a:lnTo>
                <a:lnTo>
                  <a:pt x="40921" y="111049"/>
                </a:lnTo>
                <a:lnTo>
                  <a:pt x="48114" y="116478"/>
                </a:lnTo>
                <a:lnTo>
                  <a:pt x="55306" y="120673"/>
                </a:lnTo>
                <a:lnTo>
                  <a:pt x="62994" y="124128"/>
                </a:lnTo>
                <a:lnTo>
                  <a:pt x="70931" y="125855"/>
                </a:lnTo>
                <a:lnTo>
                  <a:pt x="79115" y="126595"/>
                </a:lnTo>
                <a:lnTo>
                  <a:pt x="79115" y="123141"/>
                </a:lnTo>
                <a:lnTo>
                  <a:pt x="71427" y="122400"/>
                </a:lnTo>
                <a:lnTo>
                  <a:pt x="63986" y="120673"/>
                </a:lnTo>
                <a:lnTo>
                  <a:pt x="56794" y="117711"/>
                </a:lnTo>
                <a:lnTo>
                  <a:pt x="50098" y="113516"/>
                </a:lnTo>
                <a:lnTo>
                  <a:pt x="43401" y="108581"/>
                </a:lnTo>
                <a:lnTo>
                  <a:pt x="37201" y="102165"/>
                </a:lnTo>
                <a:lnTo>
                  <a:pt x="31497" y="95255"/>
                </a:lnTo>
                <a:lnTo>
                  <a:pt x="26041" y="87111"/>
                </a:lnTo>
                <a:lnTo>
                  <a:pt x="20832" y="78474"/>
                </a:lnTo>
                <a:lnTo>
                  <a:pt x="16368" y="68850"/>
                </a:lnTo>
                <a:lnTo>
                  <a:pt x="12896" y="58979"/>
                </a:lnTo>
                <a:lnTo>
                  <a:pt x="9672" y="47874"/>
                </a:lnTo>
                <a:lnTo>
                  <a:pt x="6944" y="36769"/>
                </a:lnTo>
                <a:lnTo>
                  <a:pt x="4960" y="24924"/>
                </a:lnTo>
                <a:lnTo>
                  <a:pt x="3968" y="12585"/>
                </a:lnTo>
                <a:lnTo>
                  <a:pt x="3472" y="0"/>
                </a:lnTo>
                <a:lnTo>
                  <a:pt x="0" y="0"/>
                </a:lnTo>
                <a:lnTo>
                  <a:pt x="496" y="12585"/>
                </a:lnTo>
                <a:close/>
              </a:path>
            </a:pathLst>
          </a:custGeom>
          <a:solidFill>
            <a:srgbClr val="000000"/>
          </a:solidFill>
        </p:spPr>
        <p:txBody>
          <a:bodyPr wrap="square" lIns="0" tIns="0" rIns="0" bIns="0" rtlCol="0">
            <a:noAutofit/>
          </a:bodyPr>
          <a:lstStyle/>
          <a:p>
            <a:endParaRPr/>
          </a:p>
        </p:txBody>
      </p:sp>
      <p:sp>
        <p:nvSpPr>
          <p:cNvPr id="1629" name="object 1629"/>
          <p:cNvSpPr/>
          <p:nvPr/>
        </p:nvSpPr>
        <p:spPr>
          <a:xfrm>
            <a:off x="8649307" y="1644843"/>
            <a:ext cx="79115" cy="126595"/>
          </a:xfrm>
          <a:custGeom>
            <a:avLst/>
            <a:gdLst/>
            <a:ahLst/>
            <a:cxnLst/>
            <a:rect l="l" t="t" r="r" b="b"/>
            <a:pathLst>
              <a:path w="79115" h="126595">
                <a:moveTo>
                  <a:pt x="3472" y="89332"/>
                </a:moveTo>
                <a:lnTo>
                  <a:pt x="1488" y="101178"/>
                </a:lnTo>
                <a:lnTo>
                  <a:pt x="496" y="113763"/>
                </a:lnTo>
                <a:lnTo>
                  <a:pt x="0" y="126595"/>
                </a:lnTo>
                <a:lnTo>
                  <a:pt x="3472" y="126595"/>
                </a:lnTo>
                <a:lnTo>
                  <a:pt x="3968" y="113763"/>
                </a:lnTo>
                <a:lnTo>
                  <a:pt x="4960" y="101671"/>
                </a:lnTo>
                <a:lnTo>
                  <a:pt x="6944" y="89826"/>
                </a:lnTo>
                <a:lnTo>
                  <a:pt x="9672" y="78474"/>
                </a:lnTo>
                <a:lnTo>
                  <a:pt x="12896" y="67616"/>
                </a:lnTo>
                <a:lnTo>
                  <a:pt x="16368" y="57498"/>
                </a:lnTo>
                <a:lnTo>
                  <a:pt x="20832" y="47874"/>
                </a:lnTo>
                <a:lnTo>
                  <a:pt x="26041" y="39237"/>
                </a:lnTo>
                <a:lnTo>
                  <a:pt x="31497" y="31340"/>
                </a:lnTo>
                <a:lnTo>
                  <a:pt x="37201" y="24430"/>
                </a:lnTo>
                <a:lnTo>
                  <a:pt x="43401" y="18014"/>
                </a:lnTo>
                <a:lnTo>
                  <a:pt x="50098" y="13079"/>
                </a:lnTo>
                <a:lnTo>
                  <a:pt x="56794" y="8883"/>
                </a:lnTo>
                <a:lnTo>
                  <a:pt x="63986" y="5922"/>
                </a:lnTo>
                <a:lnTo>
                  <a:pt x="71427" y="4195"/>
                </a:lnTo>
                <a:lnTo>
                  <a:pt x="79115" y="3454"/>
                </a:lnTo>
                <a:lnTo>
                  <a:pt x="79115" y="0"/>
                </a:lnTo>
                <a:lnTo>
                  <a:pt x="70931" y="740"/>
                </a:lnTo>
                <a:lnTo>
                  <a:pt x="62994" y="2467"/>
                </a:lnTo>
                <a:lnTo>
                  <a:pt x="55306" y="5922"/>
                </a:lnTo>
                <a:lnTo>
                  <a:pt x="48114" y="10117"/>
                </a:lnTo>
                <a:lnTo>
                  <a:pt x="40921" y="15546"/>
                </a:lnTo>
                <a:lnTo>
                  <a:pt x="34721" y="21963"/>
                </a:lnTo>
                <a:lnTo>
                  <a:pt x="28521" y="29366"/>
                </a:lnTo>
                <a:lnTo>
                  <a:pt x="23065" y="37263"/>
                </a:lnTo>
                <a:lnTo>
                  <a:pt x="17856" y="46393"/>
                </a:lnTo>
                <a:lnTo>
                  <a:pt x="13392" y="56018"/>
                </a:lnTo>
                <a:lnTo>
                  <a:pt x="9424" y="66629"/>
                </a:lnTo>
                <a:lnTo>
                  <a:pt x="6200" y="77487"/>
                </a:lnTo>
                <a:lnTo>
                  <a:pt x="3472" y="89332"/>
                </a:lnTo>
                <a:close/>
              </a:path>
            </a:pathLst>
          </a:custGeom>
          <a:solidFill>
            <a:srgbClr val="000000"/>
          </a:solidFill>
        </p:spPr>
        <p:txBody>
          <a:bodyPr wrap="square" lIns="0" tIns="0" rIns="0" bIns="0" rtlCol="0">
            <a:noAutofit/>
          </a:bodyPr>
          <a:lstStyle/>
          <a:p>
            <a:endParaRPr/>
          </a:p>
        </p:txBody>
      </p:sp>
      <p:sp>
        <p:nvSpPr>
          <p:cNvPr id="1630" name="object 1630"/>
          <p:cNvSpPr/>
          <p:nvPr/>
        </p:nvSpPr>
        <p:spPr>
          <a:xfrm>
            <a:off x="8728918" y="1887176"/>
            <a:ext cx="52578" cy="8390"/>
          </a:xfrm>
          <a:custGeom>
            <a:avLst/>
            <a:gdLst/>
            <a:ahLst/>
            <a:cxnLst/>
            <a:rect l="l" t="t" r="r" b="b"/>
            <a:pathLst>
              <a:path w="52578" h="8390">
                <a:moveTo>
                  <a:pt x="52578" y="8390"/>
                </a:moveTo>
                <a:lnTo>
                  <a:pt x="24801" y="0"/>
                </a:lnTo>
                <a:lnTo>
                  <a:pt x="0" y="8390"/>
                </a:lnTo>
                <a:lnTo>
                  <a:pt x="52578" y="8390"/>
                </a:lnTo>
                <a:close/>
              </a:path>
            </a:pathLst>
          </a:custGeom>
          <a:solidFill>
            <a:srgbClr val="000000"/>
          </a:solidFill>
        </p:spPr>
        <p:txBody>
          <a:bodyPr wrap="square" lIns="0" tIns="0" rIns="0" bIns="0" rtlCol="0">
            <a:noAutofit/>
          </a:bodyPr>
          <a:lstStyle/>
          <a:p>
            <a:endParaRPr/>
          </a:p>
        </p:txBody>
      </p:sp>
      <p:sp>
        <p:nvSpPr>
          <p:cNvPr id="1631" name="object 1631"/>
          <p:cNvSpPr/>
          <p:nvPr/>
        </p:nvSpPr>
        <p:spPr>
          <a:xfrm>
            <a:off x="8727430" y="1646817"/>
            <a:ext cx="51586" cy="8883"/>
          </a:xfrm>
          <a:custGeom>
            <a:avLst/>
            <a:gdLst/>
            <a:ahLst/>
            <a:cxnLst/>
            <a:rect l="l" t="t" r="r" b="b"/>
            <a:pathLst>
              <a:path w="51586" h="8883">
                <a:moveTo>
                  <a:pt x="51586" y="0"/>
                </a:moveTo>
                <a:lnTo>
                  <a:pt x="0" y="0"/>
                </a:lnTo>
                <a:lnTo>
                  <a:pt x="26289" y="8883"/>
                </a:lnTo>
                <a:lnTo>
                  <a:pt x="51586" y="0"/>
                </a:lnTo>
                <a:close/>
              </a:path>
            </a:pathLst>
          </a:custGeom>
          <a:solidFill>
            <a:srgbClr val="000000"/>
          </a:solidFill>
        </p:spPr>
        <p:txBody>
          <a:bodyPr wrap="square" lIns="0" tIns="0" rIns="0" bIns="0" rtlCol="0">
            <a:noAutofit/>
          </a:bodyPr>
          <a:lstStyle/>
          <a:p>
            <a:endParaRPr/>
          </a:p>
        </p:txBody>
      </p:sp>
      <p:sp>
        <p:nvSpPr>
          <p:cNvPr id="1632" name="object 1632"/>
          <p:cNvSpPr/>
          <p:nvPr/>
        </p:nvSpPr>
        <p:spPr>
          <a:xfrm>
            <a:off x="8727430" y="1645583"/>
            <a:ext cx="52826" cy="2467"/>
          </a:xfrm>
          <a:custGeom>
            <a:avLst/>
            <a:gdLst/>
            <a:ahLst/>
            <a:cxnLst/>
            <a:rect l="l" t="t" r="r" b="b"/>
            <a:pathLst>
              <a:path w="52826" h="2467">
                <a:moveTo>
                  <a:pt x="51090" y="0"/>
                </a:moveTo>
                <a:lnTo>
                  <a:pt x="0" y="0"/>
                </a:lnTo>
                <a:lnTo>
                  <a:pt x="0" y="2467"/>
                </a:lnTo>
                <a:lnTo>
                  <a:pt x="51586" y="2467"/>
                </a:lnTo>
                <a:lnTo>
                  <a:pt x="52024" y="2177"/>
                </a:lnTo>
                <a:lnTo>
                  <a:pt x="52330" y="1974"/>
                </a:lnTo>
                <a:lnTo>
                  <a:pt x="52826" y="1233"/>
                </a:lnTo>
                <a:lnTo>
                  <a:pt x="52330" y="493"/>
                </a:lnTo>
                <a:lnTo>
                  <a:pt x="51586" y="0"/>
                </a:lnTo>
                <a:lnTo>
                  <a:pt x="51090" y="0"/>
                </a:lnTo>
                <a:close/>
              </a:path>
            </a:pathLst>
          </a:custGeom>
          <a:solidFill>
            <a:srgbClr val="000000"/>
          </a:solidFill>
        </p:spPr>
        <p:txBody>
          <a:bodyPr wrap="square" lIns="0" tIns="0" rIns="0" bIns="0" rtlCol="0">
            <a:noAutofit/>
          </a:bodyPr>
          <a:lstStyle/>
          <a:p>
            <a:endParaRPr/>
          </a:p>
        </p:txBody>
      </p:sp>
      <p:sp>
        <p:nvSpPr>
          <p:cNvPr id="1633" name="object 1633"/>
          <p:cNvSpPr/>
          <p:nvPr/>
        </p:nvSpPr>
        <p:spPr>
          <a:xfrm>
            <a:off x="8752480" y="1645583"/>
            <a:ext cx="26041" cy="11351"/>
          </a:xfrm>
          <a:custGeom>
            <a:avLst/>
            <a:gdLst/>
            <a:ahLst/>
            <a:cxnLst/>
            <a:rect l="l" t="t" r="r" b="b"/>
            <a:pathLst>
              <a:path w="26041" h="11351">
                <a:moveTo>
                  <a:pt x="744" y="8883"/>
                </a:moveTo>
                <a:lnTo>
                  <a:pt x="0" y="9624"/>
                </a:lnTo>
                <a:lnTo>
                  <a:pt x="248" y="10364"/>
                </a:lnTo>
                <a:lnTo>
                  <a:pt x="744" y="11351"/>
                </a:lnTo>
                <a:lnTo>
                  <a:pt x="1736" y="11351"/>
                </a:lnTo>
                <a:lnTo>
                  <a:pt x="1736" y="8883"/>
                </a:lnTo>
                <a:lnTo>
                  <a:pt x="26041" y="0"/>
                </a:lnTo>
                <a:lnTo>
                  <a:pt x="744" y="8883"/>
                </a:lnTo>
                <a:close/>
              </a:path>
            </a:pathLst>
          </a:custGeom>
          <a:solidFill>
            <a:srgbClr val="000000"/>
          </a:solidFill>
        </p:spPr>
        <p:txBody>
          <a:bodyPr wrap="square" lIns="0" tIns="0" rIns="0" bIns="0" rtlCol="0">
            <a:noAutofit/>
          </a:bodyPr>
          <a:lstStyle/>
          <a:p>
            <a:endParaRPr/>
          </a:p>
        </p:txBody>
      </p:sp>
      <p:sp>
        <p:nvSpPr>
          <p:cNvPr id="1634" name="object 1634"/>
          <p:cNvSpPr/>
          <p:nvPr/>
        </p:nvSpPr>
        <p:spPr>
          <a:xfrm>
            <a:off x="8754216" y="1645583"/>
            <a:ext cx="25297" cy="11351"/>
          </a:xfrm>
          <a:custGeom>
            <a:avLst/>
            <a:gdLst/>
            <a:ahLst/>
            <a:cxnLst/>
            <a:rect l="l" t="t" r="r" b="b"/>
            <a:pathLst>
              <a:path w="25297" h="11351">
                <a:moveTo>
                  <a:pt x="0" y="8883"/>
                </a:moveTo>
                <a:lnTo>
                  <a:pt x="0" y="11351"/>
                </a:lnTo>
                <a:lnTo>
                  <a:pt x="25297" y="2467"/>
                </a:lnTo>
                <a:lnTo>
                  <a:pt x="24305" y="0"/>
                </a:lnTo>
                <a:lnTo>
                  <a:pt x="0" y="8883"/>
                </a:lnTo>
                <a:close/>
              </a:path>
            </a:pathLst>
          </a:custGeom>
          <a:solidFill>
            <a:srgbClr val="000000"/>
          </a:solidFill>
        </p:spPr>
        <p:txBody>
          <a:bodyPr wrap="square" lIns="0" tIns="0" rIns="0" bIns="0" rtlCol="0">
            <a:noAutofit/>
          </a:bodyPr>
          <a:lstStyle/>
          <a:p>
            <a:endParaRPr/>
          </a:p>
        </p:txBody>
      </p:sp>
      <p:sp>
        <p:nvSpPr>
          <p:cNvPr id="1635" name="object 1635"/>
          <p:cNvSpPr/>
          <p:nvPr/>
        </p:nvSpPr>
        <p:spPr>
          <a:xfrm>
            <a:off x="8726191" y="1645583"/>
            <a:ext cx="27033" cy="11351"/>
          </a:xfrm>
          <a:custGeom>
            <a:avLst/>
            <a:gdLst/>
            <a:ahLst/>
            <a:cxnLst/>
            <a:rect l="l" t="t" r="r" b="b"/>
            <a:pathLst>
              <a:path w="27033" h="11351">
                <a:moveTo>
                  <a:pt x="744" y="2467"/>
                </a:moveTo>
                <a:lnTo>
                  <a:pt x="27033" y="11351"/>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1636" name="object 1636"/>
          <p:cNvSpPr/>
          <p:nvPr/>
        </p:nvSpPr>
        <p:spPr>
          <a:xfrm>
            <a:off x="8727431" y="1645583"/>
            <a:ext cx="26785" cy="11351"/>
          </a:xfrm>
          <a:custGeom>
            <a:avLst/>
            <a:gdLst/>
            <a:ahLst/>
            <a:cxnLst/>
            <a:rect l="l" t="t" r="r" b="b"/>
            <a:pathLst>
              <a:path w="26785" h="11351">
                <a:moveTo>
                  <a:pt x="496" y="0"/>
                </a:moveTo>
                <a:lnTo>
                  <a:pt x="0" y="0"/>
                </a:lnTo>
                <a:lnTo>
                  <a:pt x="0" y="2467"/>
                </a:lnTo>
                <a:lnTo>
                  <a:pt x="25793" y="11351"/>
                </a:lnTo>
                <a:lnTo>
                  <a:pt x="26785" y="8883"/>
                </a:lnTo>
                <a:lnTo>
                  <a:pt x="496" y="0"/>
                </a:lnTo>
                <a:close/>
              </a:path>
            </a:pathLst>
          </a:custGeom>
          <a:solidFill>
            <a:srgbClr val="000000"/>
          </a:solidFill>
        </p:spPr>
        <p:txBody>
          <a:bodyPr wrap="square" lIns="0" tIns="0" rIns="0" bIns="0" rtlCol="0">
            <a:noAutofit/>
          </a:bodyPr>
          <a:lstStyle/>
          <a:p>
            <a:endParaRPr/>
          </a:p>
        </p:txBody>
      </p:sp>
      <p:sp>
        <p:nvSpPr>
          <p:cNvPr id="1637" name="object 1637"/>
          <p:cNvSpPr/>
          <p:nvPr/>
        </p:nvSpPr>
        <p:spPr>
          <a:xfrm>
            <a:off x="8728918" y="1894333"/>
            <a:ext cx="53818" cy="2467"/>
          </a:xfrm>
          <a:custGeom>
            <a:avLst/>
            <a:gdLst/>
            <a:ahLst/>
            <a:cxnLst/>
            <a:rect l="l" t="t" r="r" b="b"/>
            <a:pathLst>
              <a:path w="53818" h="2467">
                <a:moveTo>
                  <a:pt x="53818" y="1233"/>
                </a:moveTo>
                <a:lnTo>
                  <a:pt x="53322" y="493"/>
                </a:lnTo>
                <a:lnTo>
                  <a:pt x="52810" y="154"/>
                </a:lnTo>
                <a:lnTo>
                  <a:pt x="52578" y="0"/>
                </a:lnTo>
                <a:lnTo>
                  <a:pt x="0" y="0"/>
                </a:lnTo>
                <a:lnTo>
                  <a:pt x="0" y="2467"/>
                </a:lnTo>
                <a:lnTo>
                  <a:pt x="52578" y="2467"/>
                </a:lnTo>
                <a:lnTo>
                  <a:pt x="53322" y="1974"/>
                </a:lnTo>
                <a:lnTo>
                  <a:pt x="53818" y="1233"/>
                </a:lnTo>
                <a:close/>
              </a:path>
            </a:pathLst>
          </a:custGeom>
          <a:solidFill>
            <a:srgbClr val="000000"/>
          </a:solidFill>
        </p:spPr>
        <p:txBody>
          <a:bodyPr wrap="square" lIns="0" tIns="0" rIns="0" bIns="0" rtlCol="0">
            <a:noAutofit/>
          </a:bodyPr>
          <a:lstStyle/>
          <a:p>
            <a:endParaRPr/>
          </a:p>
        </p:txBody>
      </p:sp>
      <p:sp>
        <p:nvSpPr>
          <p:cNvPr id="1638" name="object 1638"/>
          <p:cNvSpPr/>
          <p:nvPr/>
        </p:nvSpPr>
        <p:spPr>
          <a:xfrm>
            <a:off x="8753472" y="1888409"/>
            <a:ext cx="27777" cy="8390"/>
          </a:xfrm>
          <a:custGeom>
            <a:avLst/>
            <a:gdLst/>
            <a:ahLst/>
            <a:cxnLst/>
            <a:rect l="l" t="t" r="r" b="b"/>
            <a:pathLst>
              <a:path w="27777" h="8390">
                <a:moveTo>
                  <a:pt x="27777" y="8390"/>
                </a:moveTo>
                <a:lnTo>
                  <a:pt x="744" y="0"/>
                </a:lnTo>
                <a:lnTo>
                  <a:pt x="0" y="0"/>
                </a:lnTo>
                <a:lnTo>
                  <a:pt x="27777" y="8390"/>
                </a:lnTo>
                <a:close/>
              </a:path>
            </a:pathLst>
          </a:custGeom>
          <a:solidFill>
            <a:srgbClr val="000000"/>
          </a:solidFill>
        </p:spPr>
        <p:txBody>
          <a:bodyPr wrap="square" lIns="0" tIns="0" rIns="0" bIns="0" rtlCol="0">
            <a:noAutofit/>
          </a:bodyPr>
          <a:lstStyle/>
          <a:p>
            <a:endParaRPr/>
          </a:p>
        </p:txBody>
      </p:sp>
      <p:sp>
        <p:nvSpPr>
          <p:cNvPr id="1639" name="object 1639"/>
          <p:cNvSpPr/>
          <p:nvPr/>
        </p:nvSpPr>
        <p:spPr>
          <a:xfrm>
            <a:off x="8752728" y="1885942"/>
            <a:ext cx="29017" cy="10858"/>
          </a:xfrm>
          <a:custGeom>
            <a:avLst/>
            <a:gdLst/>
            <a:ahLst/>
            <a:cxnLst/>
            <a:rect l="l" t="t" r="r" b="b"/>
            <a:pathLst>
              <a:path w="29017" h="10858">
                <a:moveTo>
                  <a:pt x="28521" y="10858"/>
                </a:moveTo>
                <a:lnTo>
                  <a:pt x="29017" y="8390"/>
                </a:lnTo>
                <a:lnTo>
                  <a:pt x="1240" y="0"/>
                </a:lnTo>
                <a:lnTo>
                  <a:pt x="248" y="246"/>
                </a:lnTo>
                <a:lnTo>
                  <a:pt x="0" y="987"/>
                </a:lnTo>
                <a:lnTo>
                  <a:pt x="0" y="1974"/>
                </a:lnTo>
                <a:lnTo>
                  <a:pt x="744" y="2467"/>
                </a:lnTo>
                <a:lnTo>
                  <a:pt x="1488" y="2467"/>
                </a:lnTo>
                <a:lnTo>
                  <a:pt x="28521" y="10858"/>
                </a:lnTo>
                <a:close/>
              </a:path>
            </a:pathLst>
          </a:custGeom>
          <a:solidFill>
            <a:srgbClr val="000000"/>
          </a:solidFill>
        </p:spPr>
        <p:txBody>
          <a:bodyPr wrap="square" lIns="0" tIns="0" rIns="0" bIns="0" rtlCol="0">
            <a:noAutofit/>
          </a:bodyPr>
          <a:lstStyle/>
          <a:p>
            <a:endParaRPr/>
          </a:p>
        </p:txBody>
      </p:sp>
      <p:sp>
        <p:nvSpPr>
          <p:cNvPr id="1640" name="object 1640"/>
          <p:cNvSpPr/>
          <p:nvPr/>
        </p:nvSpPr>
        <p:spPr>
          <a:xfrm>
            <a:off x="8728423" y="1885942"/>
            <a:ext cx="24801" cy="8390"/>
          </a:xfrm>
          <a:custGeom>
            <a:avLst/>
            <a:gdLst/>
            <a:ahLst/>
            <a:cxnLst/>
            <a:rect l="l" t="t" r="r" b="b"/>
            <a:pathLst>
              <a:path w="24801" h="8390">
                <a:moveTo>
                  <a:pt x="0" y="8390"/>
                </a:moveTo>
                <a:lnTo>
                  <a:pt x="496" y="8390"/>
                </a:lnTo>
                <a:lnTo>
                  <a:pt x="24801" y="0"/>
                </a:lnTo>
                <a:lnTo>
                  <a:pt x="0" y="8390"/>
                </a:lnTo>
                <a:close/>
              </a:path>
            </a:pathLst>
          </a:custGeom>
          <a:solidFill>
            <a:srgbClr val="000000"/>
          </a:solidFill>
        </p:spPr>
        <p:txBody>
          <a:bodyPr wrap="square" lIns="0" tIns="0" rIns="0" bIns="0" rtlCol="0">
            <a:noAutofit/>
          </a:bodyPr>
          <a:lstStyle/>
          <a:p>
            <a:endParaRPr/>
          </a:p>
        </p:txBody>
      </p:sp>
      <p:sp>
        <p:nvSpPr>
          <p:cNvPr id="1641" name="object 1641"/>
          <p:cNvSpPr/>
          <p:nvPr/>
        </p:nvSpPr>
        <p:spPr>
          <a:xfrm>
            <a:off x="8727679" y="1885942"/>
            <a:ext cx="26537" cy="10858"/>
          </a:xfrm>
          <a:custGeom>
            <a:avLst/>
            <a:gdLst/>
            <a:ahLst/>
            <a:cxnLst/>
            <a:rect l="l" t="t" r="r" b="b"/>
            <a:pathLst>
              <a:path w="26537" h="10858">
                <a:moveTo>
                  <a:pt x="248" y="9871"/>
                </a:moveTo>
                <a:lnTo>
                  <a:pt x="744" y="10858"/>
                </a:lnTo>
                <a:lnTo>
                  <a:pt x="1736" y="10858"/>
                </a:lnTo>
                <a:lnTo>
                  <a:pt x="26537" y="2467"/>
                </a:lnTo>
                <a:lnTo>
                  <a:pt x="25545" y="0"/>
                </a:lnTo>
                <a:lnTo>
                  <a:pt x="1240" y="8390"/>
                </a:lnTo>
                <a:lnTo>
                  <a:pt x="744" y="8390"/>
                </a:lnTo>
                <a:lnTo>
                  <a:pt x="0" y="9130"/>
                </a:lnTo>
                <a:lnTo>
                  <a:pt x="248" y="9871"/>
                </a:lnTo>
                <a:close/>
              </a:path>
            </a:pathLst>
          </a:custGeom>
          <a:solidFill>
            <a:srgbClr val="000000"/>
          </a:solidFill>
        </p:spPr>
        <p:txBody>
          <a:bodyPr wrap="square" lIns="0" tIns="0" rIns="0" bIns="0" rtlCol="0">
            <a:noAutofit/>
          </a:bodyPr>
          <a:lstStyle/>
          <a:p>
            <a:endParaRPr/>
          </a:p>
        </p:txBody>
      </p:sp>
      <p:sp>
        <p:nvSpPr>
          <p:cNvPr id="1642" name="object 1642"/>
          <p:cNvSpPr/>
          <p:nvPr/>
        </p:nvSpPr>
        <p:spPr>
          <a:xfrm>
            <a:off x="8702133" y="1646569"/>
            <a:ext cx="155006" cy="249736"/>
          </a:xfrm>
          <a:custGeom>
            <a:avLst/>
            <a:gdLst/>
            <a:ahLst/>
            <a:cxnLst/>
            <a:rect l="l" t="t" r="r" b="b"/>
            <a:pathLst>
              <a:path w="155006" h="249736">
                <a:moveTo>
                  <a:pt x="77379" y="0"/>
                </a:moveTo>
                <a:lnTo>
                  <a:pt x="69443" y="740"/>
                </a:lnTo>
                <a:lnTo>
                  <a:pt x="61754" y="2467"/>
                </a:lnTo>
                <a:lnTo>
                  <a:pt x="47370" y="9871"/>
                </a:lnTo>
                <a:lnTo>
                  <a:pt x="40425" y="15053"/>
                </a:lnTo>
                <a:lnTo>
                  <a:pt x="34225" y="21469"/>
                </a:lnTo>
                <a:lnTo>
                  <a:pt x="28273" y="28625"/>
                </a:lnTo>
                <a:lnTo>
                  <a:pt x="22817" y="36522"/>
                </a:lnTo>
                <a:lnTo>
                  <a:pt x="17608" y="45406"/>
                </a:lnTo>
                <a:lnTo>
                  <a:pt x="13144" y="55030"/>
                </a:lnTo>
                <a:lnTo>
                  <a:pt x="9424" y="65395"/>
                </a:lnTo>
                <a:lnTo>
                  <a:pt x="6200" y="76253"/>
                </a:lnTo>
                <a:lnTo>
                  <a:pt x="3472" y="87852"/>
                </a:lnTo>
                <a:lnTo>
                  <a:pt x="1488" y="99697"/>
                </a:lnTo>
                <a:lnTo>
                  <a:pt x="496" y="112036"/>
                </a:lnTo>
                <a:lnTo>
                  <a:pt x="0" y="124868"/>
                </a:lnTo>
                <a:lnTo>
                  <a:pt x="496" y="137454"/>
                </a:lnTo>
                <a:lnTo>
                  <a:pt x="1488" y="150039"/>
                </a:lnTo>
                <a:lnTo>
                  <a:pt x="3472" y="161884"/>
                </a:lnTo>
                <a:lnTo>
                  <a:pt x="6200" y="173236"/>
                </a:lnTo>
                <a:lnTo>
                  <a:pt x="9424" y="184341"/>
                </a:lnTo>
                <a:lnTo>
                  <a:pt x="13144" y="194459"/>
                </a:lnTo>
                <a:lnTo>
                  <a:pt x="17608" y="204083"/>
                </a:lnTo>
                <a:lnTo>
                  <a:pt x="22817" y="212967"/>
                </a:lnTo>
                <a:lnTo>
                  <a:pt x="28273" y="221110"/>
                </a:lnTo>
                <a:lnTo>
                  <a:pt x="34225" y="228267"/>
                </a:lnTo>
                <a:lnTo>
                  <a:pt x="40425" y="234683"/>
                </a:lnTo>
                <a:lnTo>
                  <a:pt x="47370" y="239865"/>
                </a:lnTo>
                <a:lnTo>
                  <a:pt x="61754" y="247269"/>
                </a:lnTo>
                <a:lnTo>
                  <a:pt x="77379" y="249736"/>
                </a:lnTo>
                <a:lnTo>
                  <a:pt x="85315" y="248996"/>
                </a:lnTo>
                <a:lnTo>
                  <a:pt x="100444" y="244061"/>
                </a:lnTo>
                <a:lnTo>
                  <a:pt x="107636" y="239865"/>
                </a:lnTo>
                <a:lnTo>
                  <a:pt x="114333" y="234683"/>
                </a:lnTo>
                <a:lnTo>
                  <a:pt x="120781" y="228267"/>
                </a:lnTo>
                <a:lnTo>
                  <a:pt x="126733" y="221110"/>
                </a:lnTo>
                <a:lnTo>
                  <a:pt x="132189" y="212967"/>
                </a:lnTo>
                <a:lnTo>
                  <a:pt x="137398" y="204083"/>
                </a:lnTo>
                <a:lnTo>
                  <a:pt x="141862" y="194459"/>
                </a:lnTo>
                <a:lnTo>
                  <a:pt x="145582" y="184341"/>
                </a:lnTo>
                <a:lnTo>
                  <a:pt x="148806" y="173236"/>
                </a:lnTo>
                <a:lnTo>
                  <a:pt x="151534" y="161884"/>
                </a:lnTo>
                <a:lnTo>
                  <a:pt x="153518" y="150039"/>
                </a:lnTo>
                <a:lnTo>
                  <a:pt x="154510" y="137454"/>
                </a:lnTo>
                <a:lnTo>
                  <a:pt x="155006" y="124868"/>
                </a:lnTo>
                <a:lnTo>
                  <a:pt x="154510" y="112036"/>
                </a:lnTo>
                <a:lnTo>
                  <a:pt x="153518" y="99697"/>
                </a:lnTo>
                <a:lnTo>
                  <a:pt x="151534" y="87852"/>
                </a:lnTo>
                <a:lnTo>
                  <a:pt x="148806" y="76253"/>
                </a:lnTo>
                <a:lnTo>
                  <a:pt x="145582" y="65395"/>
                </a:lnTo>
                <a:lnTo>
                  <a:pt x="141862" y="55030"/>
                </a:lnTo>
                <a:lnTo>
                  <a:pt x="137398" y="45406"/>
                </a:lnTo>
                <a:lnTo>
                  <a:pt x="132189" y="36522"/>
                </a:lnTo>
                <a:lnTo>
                  <a:pt x="126733" y="28625"/>
                </a:lnTo>
                <a:lnTo>
                  <a:pt x="120781" y="21469"/>
                </a:lnTo>
                <a:lnTo>
                  <a:pt x="114333" y="15053"/>
                </a:lnTo>
                <a:lnTo>
                  <a:pt x="107636" y="9871"/>
                </a:lnTo>
                <a:lnTo>
                  <a:pt x="100444" y="5675"/>
                </a:lnTo>
                <a:lnTo>
                  <a:pt x="85315" y="740"/>
                </a:lnTo>
                <a:lnTo>
                  <a:pt x="77379" y="0"/>
                </a:lnTo>
                <a:close/>
              </a:path>
            </a:pathLst>
          </a:custGeom>
          <a:solidFill>
            <a:srgbClr val="000000"/>
          </a:solidFill>
        </p:spPr>
        <p:txBody>
          <a:bodyPr wrap="square" lIns="0" tIns="0" rIns="0" bIns="0" rtlCol="0">
            <a:noAutofit/>
          </a:bodyPr>
          <a:lstStyle/>
          <a:p>
            <a:endParaRPr/>
          </a:p>
        </p:txBody>
      </p:sp>
      <p:sp>
        <p:nvSpPr>
          <p:cNvPr id="1643" name="object 1643"/>
          <p:cNvSpPr/>
          <p:nvPr/>
        </p:nvSpPr>
        <p:spPr>
          <a:xfrm>
            <a:off x="8779513" y="1644843"/>
            <a:ext cx="79363" cy="126595"/>
          </a:xfrm>
          <a:custGeom>
            <a:avLst/>
            <a:gdLst/>
            <a:ahLst/>
            <a:cxnLst/>
            <a:rect l="l" t="t" r="r" b="b"/>
            <a:pathLst>
              <a:path w="79363" h="126595">
                <a:moveTo>
                  <a:pt x="0" y="0"/>
                </a:moveTo>
                <a:lnTo>
                  <a:pt x="0" y="3454"/>
                </a:lnTo>
                <a:lnTo>
                  <a:pt x="7688" y="4195"/>
                </a:lnTo>
                <a:lnTo>
                  <a:pt x="15128" y="5922"/>
                </a:lnTo>
                <a:lnTo>
                  <a:pt x="22321" y="8883"/>
                </a:lnTo>
                <a:lnTo>
                  <a:pt x="29265" y="13079"/>
                </a:lnTo>
                <a:lnTo>
                  <a:pt x="35713" y="18014"/>
                </a:lnTo>
                <a:lnTo>
                  <a:pt x="42161" y="24430"/>
                </a:lnTo>
                <a:lnTo>
                  <a:pt x="47866" y="31340"/>
                </a:lnTo>
                <a:lnTo>
                  <a:pt x="53322" y="39237"/>
                </a:lnTo>
                <a:lnTo>
                  <a:pt x="58530" y="47874"/>
                </a:lnTo>
                <a:lnTo>
                  <a:pt x="62994" y="57498"/>
                </a:lnTo>
                <a:lnTo>
                  <a:pt x="66466" y="67616"/>
                </a:lnTo>
                <a:lnTo>
                  <a:pt x="69691" y="78474"/>
                </a:lnTo>
                <a:lnTo>
                  <a:pt x="72419" y="89826"/>
                </a:lnTo>
                <a:lnTo>
                  <a:pt x="74403" y="101671"/>
                </a:lnTo>
                <a:lnTo>
                  <a:pt x="75395" y="113763"/>
                </a:lnTo>
                <a:lnTo>
                  <a:pt x="75891" y="126595"/>
                </a:lnTo>
                <a:lnTo>
                  <a:pt x="79363" y="126595"/>
                </a:lnTo>
                <a:lnTo>
                  <a:pt x="78867" y="113763"/>
                </a:lnTo>
                <a:lnTo>
                  <a:pt x="77875" y="101178"/>
                </a:lnTo>
                <a:lnTo>
                  <a:pt x="75891" y="89332"/>
                </a:lnTo>
                <a:lnTo>
                  <a:pt x="73163" y="77487"/>
                </a:lnTo>
                <a:lnTo>
                  <a:pt x="69939" y="66629"/>
                </a:lnTo>
                <a:lnTo>
                  <a:pt x="65970" y="56018"/>
                </a:lnTo>
                <a:lnTo>
                  <a:pt x="61506" y="46393"/>
                </a:lnTo>
                <a:lnTo>
                  <a:pt x="56298" y="37263"/>
                </a:lnTo>
                <a:lnTo>
                  <a:pt x="50842" y="29366"/>
                </a:lnTo>
                <a:lnTo>
                  <a:pt x="44642" y="21963"/>
                </a:lnTo>
                <a:lnTo>
                  <a:pt x="38193" y="15546"/>
                </a:lnTo>
                <a:lnTo>
                  <a:pt x="31249" y="10117"/>
                </a:lnTo>
                <a:lnTo>
                  <a:pt x="23809" y="5922"/>
                </a:lnTo>
                <a:lnTo>
                  <a:pt x="16120" y="2467"/>
                </a:lnTo>
                <a:lnTo>
                  <a:pt x="8184" y="740"/>
                </a:lnTo>
                <a:lnTo>
                  <a:pt x="0" y="0"/>
                </a:lnTo>
                <a:close/>
              </a:path>
            </a:pathLst>
          </a:custGeom>
          <a:solidFill>
            <a:srgbClr val="000000"/>
          </a:solidFill>
        </p:spPr>
        <p:txBody>
          <a:bodyPr wrap="square" lIns="0" tIns="0" rIns="0" bIns="0" rtlCol="0">
            <a:noAutofit/>
          </a:bodyPr>
          <a:lstStyle/>
          <a:p>
            <a:endParaRPr/>
          </a:p>
        </p:txBody>
      </p:sp>
      <p:sp>
        <p:nvSpPr>
          <p:cNvPr id="1644" name="object 1644"/>
          <p:cNvSpPr/>
          <p:nvPr/>
        </p:nvSpPr>
        <p:spPr>
          <a:xfrm>
            <a:off x="8779513" y="1771439"/>
            <a:ext cx="79363" cy="126595"/>
          </a:xfrm>
          <a:custGeom>
            <a:avLst/>
            <a:gdLst/>
            <a:ahLst/>
            <a:cxnLst/>
            <a:rect l="l" t="t" r="r" b="b"/>
            <a:pathLst>
              <a:path w="79363" h="126595">
                <a:moveTo>
                  <a:pt x="69939" y="59966"/>
                </a:moveTo>
                <a:lnTo>
                  <a:pt x="73163" y="48861"/>
                </a:lnTo>
                <a:lnTo>
                  <a:pt x="75891" y="37263"/>
                </a:lnTo>
                <a:lnTo>
                  <a:pt x="77875" y="25417"/>
                </a:lnTo>
                <a:lnTo>
                  <a:pt x="78867" y="12585"/>
                </a:lnTo>
                <a:lnTo>
                  <a:pt x="79363" y="0"/>
                </a:lnTo>
                <a:lnTo>
                  <a:pt x="75891" y="0"/>
                </a:lnTo>
                <a:lnTo>
                  <a:pt x="75395" y="12585"/>
                </a:lnTo>
                <a:lnTo>
                  <a:pt x="74403" y="24924"/>
                </a:lnTo>
                <a:lnTo>
                  <a:pt x="72419" y="36769"/>
                </a:lnTo>
                <a:lnTo>
                  <a:pt x="69691" y="47874"/>
                </a:lnTo>
                <a:lnTo>
                  <a:pt x="66466" y="58979"/>
                </a:lnTo>
                <a:lnTo>
                  <a:pt x="62994" y="68850"/>
                </a:lnTo>
                <a:lnTo>
                  <a:pt x="58530" y="78474"/>
                </a:lnTo>
                <a:lnTo>
                  <a:pt x="53322" y="87111"/>
                </a:lnTo>
                <a:lnTo>
                  <a:pt x="47866" y="95255"/>
                </a:lnTo>
                <a:lnTo>
                  <a:pt x="42161" y="102165"/>
                </a:lnTo>
                <a:lnTo>
                  <a:pt x="35713" y="108581"/>
                </a:lnTo>
                <a:lnTo>
                  <a:pt x="29265" y="113516"/>
                </a:lnTo>
                <a:lnTo>
                  <a:pt x="22321" y="117711"/>
                </a:lnTo>
                <a:lnTo>
                  <a:pt x="15128" y="120673"/>
                </a:lnTo>
                <a:lnTo>
                  <a:pt x="7688" y="122400"/>
                </a:lnTo>
                <a:lnTo>
                  <a:pt x="0" y="123141"/>
                </a:lnTo>
                <a:lnTo>
                  <a:pt x="0" y="126595"/>
                </a:lnTo>
                <a:lnTo>
                  <a:pt x="8184" y="125855"/>
                </a:lnTo>
                <a:lnTo>
                  <a:pt x="16120" y="124128"/>
                </a:lnTo>
                <a:lnTo>
                  <a:pt x="23809" y="120673"/>
                </a:lnTo>
                <a:lnTo>
                  <a:pt x="31249" y="116478"/>
                </a:lnTo>
                <a:lnTo>
                  <a:pt x="38193" y="111049"/>
                </a:lnTo>
                <a:lnTo>
                  <a:pt x="44642" y="104632"/>
                </a:lnTo>
                <a:lnTo>
                  <a:pt x="50842" y="97229"/>
                </a:lnTo>
                <a:lnTo>
                  <a:pt x="56298" y="89086"/>
                </a:lnTo>
                <a:lnTo>
                  <a:pt x="61506" y="79955"/>
                </a:lnTo>
                <a:lnTo>
                  <a:pt x="65970" y="70331"/>
                </a:lnTo>
                <a:lnTo>
                  <a:pt x="69939" y="59966"/>
                </a:lnTo>
                <a:close/>
              </a:path>
            </a:pathLst>
          </a:custGeom>
          <a:solidFill>
            <a:srgbClr val="000000"/>
          </a:solidFill>
        </p:spPr>
        <p:txBody>
          <a:bodyPr wrap="square" lIns="0" tIns="0" rIns="0" bIns="0" rtlCol="0">
            <a:noAutofit/>
          </a:bodyPr>
          <a:lstStyle/>
          <a:p>
            <a:endParaRPr/>
          </a:p>
        </p:txBody>
      </p:sp>
      <p:sp>
        <p:nvSpPr>
          <p:cNvPr id="1645" name="object 1645"/>
          <p:cNvSpPr/>
          <p:nvPr/>
        </p:nvSpPr>
        <p:spPr>
          <a:xfrm>
            <a:off x="8700398" y="1771439"/>
            <a:ext cx="79115" cy="126595"/>
          </a:xfrm>
          <a:custGeom>
            <a:avLst/>
            <a:gdLst/>
            <a:ahLst/>
            <a:cxnLst/>
            <a:rect l="l" t="t" r="r" b="b"/>
            <a:pathLst>
              <a:path w="79115" h="126595">
                <a:moveTo>
                  <a:pt x="496" y="12585"/>
                </a:moveTo>
                <a:lnTo>
                  <a:pt x="1488" y="25417"/>
                </a:lnTo>
                <a:lnTo>
                  <a:pt x="3472" y="37263"/>
                </a:lnTo>
                <a:lnTo>
                  <a:pt x="6200" y="48861"/>
                </a:lnTo>
                <a:lnTo>
                  <a:pt x="9424" y="59966"/>
                </a:lnTo>
                <a:lnTo>
                  <a:pt x="13392" y="70331"/>
                </a:lnTo>
                <a:lnTo>
                  <a:pt x="17856" y="79955"/>
                </a:lnTo>
                <a:lnTo>
                  <a:pt x="23065" y="89086"/>
                </a:lnTo>
                <a:lnTo>
                  <a:pt x="28521" y="97229"/>
                </a:lnTo>
                <a:lnTo>
                  <a:pt x="34721" y="104632"/>
                </a:lnTo>
                <a:lnTo>
                  <a:pt x="40921" y="111049"/>
                </a:lnTo>
                <a:lnTo>
                  <a:pt x="48114" y="116478"/>
                </a:lnTo>
                <a:lnTo>
                  <a:pt x="55306" y="120673"/>
                </a:lnTo>
                <a:lnTo>
                  <a:pt x="62994" y="124128"/>
                </a:lnTo>
                <a:lnTo>
                  <a:pt x="70931" y="125855"/>
                </a:lnTo>
                <a:lnTo>
                  <a:pt x="79115" y="126595"/>
                </a:lnTo>
                <a:lnTo>
                  <a:pt x="79115" y="123141"/>
                </a:lnTo>
                <a:lnTo>
                  <a:pt x="71427" y="122400"/>
                </a:lnTo>
                <a:lnTo>
                  <a:pt x="63986" y="120673"/>
                </a:lnTo>
                <a:lnTo>
                  <a:pt x="56794" y="117711"/>
                </a:lnTo>
                <a:lnTo>
                  <a:pt x="50098" y="113516"/>
                </a:lnTo>
                <a:lnTo>
                  <a:pt x="43401" y="108581"/>
                </a:lnTo>
                <a:lnTo>
                  <a:pt x="37201" y="102165"/>
                </a:lnTo>
                <a:lnTo>
                  <a:pt x="31497" y="95255"/>
                </a:lnTo>
                <a:lnTo>
                  <a:pt x="26041" y="87111"/>
                </a:lnTo>
                <a:lnTo>
                  <a:pt x="20832" y="78474"/>
                </a:lnTo>
                <a:lnTo>
                  <a:pt x="16368" y="68850"/>
                </a:lnTo>
                <a:lnTo>
                  <a:pt x="12896" y="58979"/>
                </a:lnTo>
                <a:lnTo>
                  <a:pt x="9672" y="47874"/>
                </a:lnTo>
                <a:lnTo>
                  <a:pt x="6944" y="36769"/>
                </a:lnTo>
                <a:lnTo>
                  <a:pt x="4960" y="24924"/>
                </a:lnTo>
                <a:lnTo>
                  <a:pt x="3968" y="12585"/>
                </a:lnTo>
                <a:lnTo>
                  <a:pt x="3472" y="0"/>
                </a:lnTo>
                <a:lnTo>
                  <a:pt x="0" y="0"/>
                </a:lnTo>
                <a:lnTo>
                  <a:pt x="496" y="12585"/>
                </a:lnTo>
                <a:close/>
              </a:path>
            </a:pathLst>
          </a:custGeom>
          <a:solidFill>
            <a:srgbClr val="000000"/>
          </a:solidFill>
        </p:spPr>
        <p:txBody>
          <a:bodyPr wrap="square" lIns="0" tIns="0" rIns="0" bIns="0" rtlCol="0">
            <a:noAutofit/>
          </a:bodyPr>
          <a:lstStyle/>
          <a:p>
            <a:endParaRPr/>
          </a:p>
        </p:txBody>
      </p:sp>
      <p:sp>
        <p:nvSpPr>
          <p:cNvPr id="1646" name="object 1646"/>
          <p:cNvSpPr/>
          <p:nvPr/>
        </p:nvSpPr>
        <p:spPr>
          <a:xfrm>
            <a:off x="8700398" y="1644843"/>
            <a:ext cx="79115" cy="126595"/>
          </a:xfrm>
          <a:custGeom>
            <a:avLst/>
            <a:gdLst/>
            <a:ahLst/>
            <a:cxnLst/>
            <a:rect l="l" t="t" r="r" b="b"/>
            <a:pathLst>
              <a:path w="79115" h="126595">
                <a:moveTo>
                  <a:pt x="3472" y="89332"/>
                </a:moveTo>
                <a:lnTo>
                  <a:pt x="1488" y="101178"/>
                </a:lnTo>
                <a:lnTo>
                  <a:pt x="496" y="113763"/>
                </a:lnTo>
                <a:lnTo>
                  <a:pt x="0" y="126595"/>
                </a:lnTo>
                <a:lnTo>
                  <a:pt x="3472" y="126595"/>
                </a:lnTo>
                <a:lnTo>
                  <a:pt x="3968" y="113763"/>
                </a:lnTo>
                <a:lnTo>
                  <a:pt x="4960" y="101671"/>
                </a:lnTo>
                <a:lnTo>
                  <a:pt x="6944" y="89826"/>
                </a:lnTo>
                <a:lnTo>
                  <a:pt x="9672" y="78474"/>
                </a:lnTo>
                <a:lnTo>
                  <a:pt x="12896" y="67616"/>
                </a:lnTo>
                <a:lnTo>
                  <a:pt x="16368" y="57498"/>
                </a:lnTo>
                <a:lnTo>
                  <a:pt x="20832" y="47874"/>
                </a:lnTo>
                <a:lnTo>
                  <a:pt x="26041" y="39237"/>
                </a:lnTo>
                <a:lnTo>
                  <a:pt x="31497" y="31340"/>
                </a:lnTo>
                <a:lnTo>
                  <a:pt x="37201" y="24430"/>
                </a:lnTo>
                <a:lnTo>
                  <a:pt x="43401" y="18014"/>
                </a:lnTo>
                <a:lnTo>
                  <a:pt x="50098" y="13079"/>
                </a:lnTo>
                <a:lnTo>
                  <a:pt x="56794" y="8883"/>
                </a:lnTo>
                <a:lnTo>
                  <a:pt x="63986" y="5922"/>
                </a:lnTo>
                <a:lnTo>
                  <a:pt x="71427" y="4195"/>
                </a:lnTo>
                <a:lnTo>
                  <a:pt x="79115" y="3454"/>
                </a:lnTo>
                <a:lnTo>
                  <a:pt x="79115" y="0"/>
                </a:lnTo>
                <a:lnTo>
                  <a:pt x="70931" y="740"/>
                </a:lnTo>
                <a:lnTo>
                  <a:pt x="62994" y="2467"/>
                </a:lnTo>
                <a:lnTo>
                  <a:pt x="55306" y="5922"/>
                </a:lnTo>
                <a:lnTo>
                  <a:pt x="48114" y="10117"/>
                </a:lnTo>
                <a:lnTo>
                  <a:pt x="40921" y="15546"/>
                </a:lnTo>
                <a:lnTo>
                  <a:pt x="34721" y="21963"/>
                </a:lnTo>
                <a:lnTo>
                  <a:pt x="28521" y="29366"/>
                </a:lnTo>
                <a:lnTo>
                  <a:pt x="23065" y="37263"/>
                </a:lnTo>
                <a:lnTo>
                  <a:pt x="17856" y="46393"/>
                </a:lnTo>
                <a:lnTo>
                  <a:pt x="13392" y="56018"/>
                </a:lnTo>
                <a:lnTo>
                  <a:pt x="9424" y="66629"/>
                </a:lnTo>
                <a:lnTo>
                  <a:pt x="6200" y="77487"/>
                </a:lnTo>
                <a:lnTo>
                  <a:pt x="3472" y="89332"/>
                </a:lnTo>
                <a:close/>
              </a:path>
            </a:pathLst>
          </a:custGeom>
          <a:solidFill>
            <a:srgbClr val="000000"/>
          </a:solidFill>
        </p:spPr>
        <p:txBody>
          <a:bodyPr wrap="square" lIns="0" tIns="0" rIns="0" bIns="0" rtlCol="0">
            <a:noAutofit/>
          </a:bodyPr>
          <a:lstStyle/>
          <a:p>
            <a:endParaRPr/>
          </a:p>
        </p:txBody>
      </p:sp>
      <p:sp>
        <p:nvSpPr>
          <p:cNvPr id="1647" name="object 1647"/>
          <p:cNvSpPr/>
          <p:nvPr/>
        </p:nvSpPr>
        <p:spPr>
          <a:xfrm>
            <a:off x="7769860" y="1891864"/>
            <a:ext cx="530991" cy="281324"/>
          </a:xfrm>
          <a:custGeom>
            <a:avLst/>
            <a:gdLst/>
            <a:ahLst/>
            <a:cxnLst/>
            <a:rect l="l" t="t" r="r" b="b"/>
            <a:pathLst>
              <a:path w="530991" h="281324">
                <a:moveTo>
                  <a:pt x="167407" y="14806"/>
                </a:moveTo>
                <a:lnTo>
                  <a:pt x="0" y="0"/>
                </a:lnTo>
                <a:lnTo>
                  <a:pt x="2976" y="4441"/>
                </a:lnTo>
                <a:lnTo>
                  <a:pt x="6448" y="8883"/>
                </a:lnTo>
                <a:lnTo>
                  <a:pt x="10168" y="13079"/>
                </a:lnTo>
                <a:lnTo>
                  <a:pt x="18104" y="20975"/>
                </a:lnTo>
                <a:lnTo>
                  <a:pt x="27033" y="28132"/>
                </a:lnTo>
                <a:lnTo>
                  <a:pt x="31745" y="31340"/>
                </a:lnTo>
                <a:lnTo>
                  <a:pt x="36457" y="34301"/>
                </a:lnTo>
                <a:lnTo>
                  <a:pt x="41665" y="37263"/>
                </a:lnTo>
                <a:lnTo>
                  <a:pt x="46874" y="39730"/>
                </a:lnTo>
                <a:lnTo>
                  <a:pt x="52082" y="41951"/>
                </a:lnTo>
                <a:lnTo>
                  <a:pt x="57538" y="43926"/>
                </a:lnTo>
                <a:lnTo>
                  <a:pt x="63242" y="45900"/>
                </a:lnTo>
                <a:lnTo>
                  <a:pt x="68947" y="47134"/>
                </a:lnTo>
                <a:lnTo>
                  <a:pt x="74651" y="48368"/>
                </a:lnTo>
                <a:lnTo>
                  <a:pt x="80603" y="49108"/>
                </a:lnTo>
                <a:lnTo>
                  <a:pt x="86307" y="49601"/>
                </a:lnTo>
                <a:lnTo>
                  <a:pt x="92260" y="49848"/>
                </a:lnTo>
                <a:lnTo>
                  <a:pt x="98212" y="49601"/>
                </a:lnTo>
                <a:lnTo>
                  <a:pt x="104412" y="49108"/>
                </a:lnTo>
                <a:lnTo>
                  <a:pt x="110364" y="48121"/>
                </a:lnTo>
                <a:lnTo>
                  <a:pt x="116317" y="46887"/>
                </a:lnTo>
                <a:lnTo>
                  <a:pt x="122269" y="44913"/>
                </a:lnTo>
                <a:lnTo>
                  <a:pt x="128221" y="42938"/>
                </a:lnTo>
                <a:lnTo>
                  <a:pt x="133926" y="40224"/>
                </a:lnTo>
                <a:lnTo>
                  <a:pt x="139878" y="37263"/>
                </a:lnTo>
                <a:lnTo>
                  <a:pt x="145582" y="33561"/>
                </a:lnTo>
                <a:lnTo>
                  <a:pt x="151286" y="29613"/>
                </a:lnTo>
                <a:lnTo>
                  <a:pt x="156743" y="25171"/>
                </a:lnTo>
                <a:lnTo>
                  <a:pt x="162199" y="20235"/>
                </a:lnTo>
                <a:lnTo>
                  <a:pt x="167407" y="14806"/>
                </a:lnTo>
                <a:close/>
              </a:path>
              <a:path w="530991" h="281324">
                <a:moveTo>
                  <a:pt x="379457" y="-70084"/>
                </a:moveTo>
                <a:lnTo>
                  <a:pt x="344487" y="-71318"/>
                </a:lnTo>
                <a:lnTo>
                  <a:pt x="344983" y="-58239"/>
                </a:lnTo>
                <a:lnTo>
                  <a:pt x="346223" y="-45159"/>
                </a:lnTo>
                <a:lnTo>
                  <a:pt x="348703" y="-32080"/>
                </a:lnTo>
                <a:lnTo>
                  <a:pt x="351679" y="-19495"/>
                </a:lnTo>
                <a:lnTo>
                  <a:pt x="355647" y="-6909"/>
                </a:lnTo>
                <a:lnTo>
                  <a:pt x="360360" y="5182"/>
                </a:lnTo>
                <a:lnTo>
                  <a:pt x="365816" y="16533"/>
                </a:lnTo>
                <a:lnTo>
                  <a:pt x="372016" y="27392"/>
                </a:lnTo>
                <a:lnTo>
                  <a:pt x="378961" y="37509"/>
                </a:lnTo>
                <a:lnTo>
                  <a:pt x="386401" y="46887"/>
                </a:lnTo>
                <a:lnTo>
                  <a:pt x="394585" y="55524"/>
                </a:lnTo>
                <a:lnTo>
                  <a:pt x="403514" y="62927"/>
                </a:lnTo>
                <a:lnTo>
                  <a:pt x="412938" y="69345"/>
                </a:lnTo>
                <a:lnTo>
                  <a:pt x="422859" y="74527"/>
                </a:lnTo>
                <a:lnTo>
                  <a:pt x="433275" y="78229"/>
                </a:lnTo>
                <a:lnTo>
                  <a:pt x="444187" y="80696"/>
                </a:lnTo>
                <a:lnTo>
                  <a:pt x="452868" y="81683"/>
                </a:lnTo>
                <a:lnTo>
                  <a:pt x="457084" y="82177"/>
                </a:lnTo>
                <a:lnTo>
                  <a:pt x="461548" y="82671"/>
                </a:lnTo>
                <a:lnTo>
                  <a:pt x="465764" y="83164"/>
                </a:lnTo>
                <a:lnTo>
                  <a:pt x="470229" y="83411"/>
                </a:lnTo>
                <a:lnTo>
                  <a:pt x="474693" y="83904"/>
                </a:lnTo>
                <a:lnTo>
                  <a:pt x="478909" y="84151"/>
                </a:lnTo>
                <a:lnTo>
                  <a:pt x="483373" y="84398"/>
                </a:lnTo>
                <a:lnTo>
                  <a:pt x="487837" y="84645"/>
                </a:lnTo>
                <a:lnTo>
                  <a:pt x="492054" y="84645"/>
                </a:lnTo>
                <a:lnTo>
                  <a:pt x="496518" y="84892"/>
                </a:lnTo>
                <a:lnTo>
                  <a:pt x="513631" y="84892"/>
                </a:lnTo>
                <a:lnTo>
                  <a:pt x="503214" y="81930"/>
                </a:lnTo>
                <a:lnTo>
                  <a:pt x="493294" y="77242"/>
                </a:lnTo>
                <a:lnTo>
                  <a:pt x="483621" y="71566"/>
                </a:lnTo>
                <a:lnTo>
                  <a:pt x="474693" y="64408"/>
                </a:lnTo>
                <a:lnTo>
                  <a:pt x="466012" y="56264"/>
                </a:lnTo>
                <a:lnTo>
                  <a:pt x="457828" y="47134"/>
                </a:lnTo>
                <a:lnTo>
                  <a:pt x="450140" y="37263"/>
                </a:lnTo>
                <a:lnTo>
                  <a:pt x="443195" y="26404"/>
                </a:lnTo>
                <a:lnTo>
                  <a:pt x="436995" y="15053"/>
                </a:lnTo>
                <a:lnTo>
                  <a:pt x="431291" y="3454"/>
                </a:lnTo>
                <a:lnTo>
                  <a:pt x="426331" y="-8883"/>
                </a:lnTo>
                <a:lnTo>
                  <a:pt x="422114" y="-21222"/>
                </a:lnTo>
                <a:lnTo>
                  <a:pt x="418642" y="-33808"/>
                </a:lnTo>
                <a:lnTo>
                  <a:pt x="416162" y="-46640"/>
                </a:lnTo>
                <a:lnTo>
                  <a:pt x="414426" y="-58979"/>
                </a:lnTo>
                <a:lnTo>
                  <a:pt x="413682" y="-71318"/>
                </a:lnTo>
                <a:lnTo>
                  <a:pt x="414178" y="-82669"/>
                </a:lnTo>
                <a:lnTo>
                  <a:pt x="415914" y="-94515"/>
                </a:lnTo>
                <a:lnTo>
                  <a:pt x="418394" y="-106853"/>
                </a:lnTo>
                <a:lnTo>
                  <a:pt x="421866" y="-119192"/>
                </a:lnTo>
                <a:lnTo>
                  <a:pt x="426579" y="-131531"/>
                </a:lnTo>
                <a:lnTo>
                  <a:pt x="432035" y="-143623"/>
                </a:lnTo>
                <a:lnTo>
                  <a:pt x="438235" y="-155468"/>
                </a:lnTo>
                <a:lnTo>
                  <a:pt x="445676" y="-167067"/>
                </a:lnTo>
                <a:lnTo>
                  <a:pt x="453612" y="-177925"/>
                </a:lnTo>
                <a:lnTo>
                  <a:pt x="462540" y="-188289"/>
                </a:lnTo>
                <a:lnTo>
                  <a:pt x="472213" y="-197667"/>
                </a:lnTo>
                <a:lnTo>
                  <a:pt x="482629" y="-206057"/>
                </a:lnTo>
                <a:lnTo>
                  <a:pt x="493542" y="-213460"/>
                </a:lnTo>
                <a:lnTo>
                  <a:pt x="505446" y="-219630"/>
                </a:lnTo>
                <a:lnTo>
                  <a:pt x="517847" y="-224072"/>
                </a:lnTo>
                <a:lnTo>
                  <a:pt x="530991" y="-227280"/>
                </a:lnTo>
                <a:lnTo>
                  <a:pt x="526527" y="-227773"/>
                </a:lnTo>
                <a:lnTo>
                  <a:pt x="522311" y="-228267"/>
                </a:lnTo>
                <a:lnTo>
                  <a:pt x="517847" y="-228761"/>
                </a:lnTo>
                <a:lnTo>
                  <a:pt x="513383" y="-229007"/>
                </a:lnTo>
                <a:lnTo>
                  <a:pt x="509166" y="-229501"/>
                </a:lnTo>
                <a:lnTo>
                  <a:pt x="504702" y="-229748"/>
                </a:lnTo>
                <a:lnTo>
                  <a:pt x="500238" y="-229994"/>
                </a:lnTo>
                <a:lnTo>
                  <a:pt x="496022" y="-230488"/>
                </a:lnTo>
                <a:lnTo>
                  <a:pt x="491558" y="-230735"/>
                </a:lnTo>
                <a:lnTo>
                  <a:pt x="487093" y="-230981"/>
                </a:lnTo>
                <a:lnTo>
                  <a:pt x="482629" y="-230981"/>
                </a:lnTo>
                <a:lnTo>
                  <a:pt x="478165" y="-231228"/>
                </a:lnTo>
                <a:lnTo>
                  <a:pt x="473701" y="-231228"/>
                </a:lnTo>
                <a:lnTo>
                  <a:pt x="469237" y="-231475"/>
                </a:lnTo>
                <a:lnTo>
                  <a:pt x="460060" y="-231475"/>
                </a:lnTo>
                <a:lnTo>
                  <a:pt x="406490" y="-169534"/>
                </a:lnTo>
                <a:lnTo>
                  <a:pt x="379457" y="-169534"/>
                </a:lnTo>
                <a:lnTo>
                  <a:pt x="379457" y="-70084"/>
                </a:lnTo>
                <a:close/>
              </a:path>
            </a:pathLst>
          </a:custGeom>
          <a:solidFill>
            <a:srgbClr val="000000"/>
          </a:solidFill>
        </p:spPr>
        <p:txBody>
          <a:bodyPr wrap="square" lIns="0" tIns="0" rIns="0" bIns="0" rtlCol="0">
            <a:noAutofit/>
          </a:bodyPr>
          <a:lstStyle/>
          <a:p>
            <a:endParaRPr/>
          </a:p>
        </p:txBody>
      </p:sp>
      <p:sp>
        <p:nvSpPr>
          <p:cNvPr id="1648" name="object 1648"/>
          <p:cNvSpPr/>
          <p:nvPr/>
        </p:nvSpPr>
        <p:spPr>
          <a:xfrm>
            <a:off x="8213056" y="1971327"/>
            <a:ext cx="70435" cy="6662"/>
          </a:xfrm>
          <a:custGeom>
            <a:avLst/>
            <a:gdLst/>
            <a:ahLst/>
            <a:cxnLst/>
            <a:rect l="l" t="t" r="r" b="b"/>
            <a:pathLst>
              <a:path w="70435" h="6662">
                <a:moveTo>
                  <a:pt x="248" y="246"/>
                </a:moveTo>
                <a:lnTo>
                  <a:pt x="0" y="987"/>
                </a:lnTo>
                <a:lnTo>
                  <a:pt x="0" y="1974"/>
                </a:lnTo>
                <a:lnTo>
                  <a:pt x="744" y="2467"/>
                </a:lnTo>
                <a:lnTo>
                  <a:pt x="4960" y="2961"/>
                </a:lnTo>
                <a:lnTo>
                  <a:pt x="9424" y="3454"/>
                </a:lnTo>
                <a:lnTo>
                  <a:pt x="13640" y="3948"/>
                </a:lnTo>
                <a:lnTo>
                  <a:pt x="18104" y="4441"/>
                </a:lnTo>
                <a:lnTo>
                  <a:pt x="22569" y="4935"/>
                </a:lnTo>
                <a:lnTo>
                  <a:pt x="27033" y="5182"/>
                </a:lnTo>
                <a:lnTo>
                  <a:pt x="31497" y="5675"/>
                </a:lnTo>
                <a:lnTo>
                  <a:pt x="35713" y="5922"/>
                </a:lnTo>
                <a:lnTo>
                  <a:pt x="40177" y="6169"/>
                </a:lnTo>
                <a:lnTo>
                  <a:pt x="44642" y="6416"/>
                </a:lnTo>
                <a:lnTo>
                  <a:pt x="48858" y="6416"/>
                </a:lnTo>
                <a:lnTo>
                  <a:pt x="53322" y="6662"/>
                </a:lnTo>
                <a:lnTo>
                  <a:pt x="70435" y="6662"/>
                </a:lnTo>
                <a:lnTo>
                  <a:pt x="70435" y="4195"/>
                </a:lnTo>
                <a:lnTo>
                  <a:pt x="53322" y="4195"/>
                </a:lnTo>
                <a:lnTo>
                  <a:pt x="48858" y="3948"/>
                </a:lnTo>
                <a:lnTo>
                  <a:pt x="44642" y="3948"/>
                </a:lnTo>
                <a:lnTo>
                  <a:pt x="40177" y="3701"/>
                </a:lnTo>
                <a:lnTo>
                  <a:pt x="35713" y="3454"/>
                </a:lnTo>
                <a:lnTo>
                  <a:pt x="31497" y="3208"/>
                </a:lnTo>
                <a:lnTo>
                  <a:pt x="27033" y="2714"/>
                </a:lnTo>
                <a:lnTo>
                  <a:pt x="22569" y="2467"/>
                </a:lnTo>
                <a:lnTo>
                  <a:pt x="18600" y="1974"/>
                </a:lnTo>
                <a:lnTo>
                  <a:pt x="14136" y="1480"/>
                </a:lnTo>
                <a:lnTo>
                  <a:pt x="9920" y="987"/>
                </a:lnTo>
                <a:lnTo>
                  <a:pt x="5456" y="493"/>
                </a:lnTo>
                <a:lnTo>
                  <a:pt x="1240" y="0"/>
                </a:lnTo>
                <a:lnTo>
                  <a:pt x="248" y="246"/>
                </a:lnTo>
                <a:close/>
              </a:path>
            </a:pathLst>
          </a:custGeom>
          <a:solidFill>
            <a:srgbClr val="000000"/>
          </a:solidFill>
        </p:spPr>
        <p:txBody>
          <a:bodyPr wrap="square" lIns="0" tIns="0" rIns="0" bIns="0" rtlCol="0">
            <a:noAutofit/>
          </a:bodyPr>
          <a:lstStyle/>
          <a:p>
            <a:endParaRPr/>
          </a:p>
        </p:txBody>
      </p:sp>
      <p:sp>
        <p:nvSpPr>
          <p:cNvPr id="1649" name="object 1649"/>
          <p:cNvSpPr/>
          <p:nvPr/>
        </p:nvSpPr>
        <p:spPr>
          <a:xfrm>
            <a:off x="8113106" y="1819312"/>
            <a:ext cx="101188" cy="154482"/>
          </a:xfrm>
          <a:custGeom>
            <a:avLst/>
            <a:gdLst/>
            <a:ahLst/>
            <a:cxnLst/>
            <a:rect l="l" t="t" r="r" b="b"/>
            <a:pathLst>
              <a:path w="101188" h="154482">
                <a:moveTo>
                  <a:pt x="2976" y="14312"/>
                </a:moveTo>
                <a:lnTo>
                  <a:pt x="2480" y="1233"/>
                </a:lnTo>
                <a:lnTo>
                  <a:pt x="1240" y="2467"/>
                </a:lnTo>
                <a:lnTo>
                  <a:pt x="1240" y="0"/>
                </a:lnTo>
                <a:lnTo>
                  <a:pt x="496" y="493"/>
                </a:lnTo>
                <a:lnTo>
                  <a:pt x="0" y="1233"/>
                </a:lnTo>
                <a:lnTo>
                  <a:pt x="496" y="14312"/>
                </a:lnTo>
                <a:lnTo>
                  <a:pt x="1736" y="27638"/>
                </a:lnTo>
                <a:lnTo>
                  <a:pt x="4216" y="40717"/>
                </a:lnTo>
                <a:lnTo>
                  <a:pt x="7192" y="53303"/>
                </a:lnTo>
                <a:lnTo>
                  <a:pt x="11160" y="66135"/>
                </a:lnTo>
                <a:lnTo>
                  <a:pt x="15872" y="78227"/>
                </a:lnTo>
                <a:lnTo>
                  <a:pt x="21576" y="89579"/>
                </a:lnTo>
                <a:lnTo>
                  <a:pt x="27777" y="100684"/>
                </a:lnTo>
                <a:lnTo>
                  <a:pt x="34721" y="110802"/>
                </a:lnTo>
                <a:lnTo>
                  <a:pt x="42161" y="120179"/>
                </a:lnTo>
                <a:lnTo>
                  <a:pt x="50594" y="129063"/>
                </a:lnTo>
                <a:lnTo>
                  <a:pt x="59522" y="136466"/>
                </a:lnTo>
                <a:lnTo>
                  <a:pt x="68947" y="142884"/>
                </a:lnTo>
                <a:lnTo>
                  <a:pt x="79115" y="148313"/>
                </a:lnTo>
                <a:lnTo>
                  <a:pt x="89780" y="152015"/>
                </a:lnTo>
                <a:lnTo>
                  <a:pt x="100692" y="154482"/>
                </a:lnTo>
                <a:lnTo>
                  <a:pt x="101188" y="152015"/>
                </a:lnTo>
                <a:lnTo>
                  <a:pt x="90276" y="149547"/>
                </a:lnTo>
                <a:lnTo>
                  <a:pt x="80107" y="145845"/>
                </a:lnTo>
                <a:lnTo>
                  <a:pt x="70435" y="140910"/>
                </a:lnTo>
                <a:lnTo>
                  <a:pt x="61010" y="134492"/>
                </a:lnTo>
                <a:lnTo>
                  <a:pt x="52082" y="127089"/>
                </a:lnTo>
                <a:lnTo>
                  <a:pt x="44145" y="118699"/>
                </a:lnTo>
                <a:lnTo>
                  <a:pt x="36705" y="109321"/>
                </a:lnTo>
                <a:lnTo>
                  <a:pt x="29761" y="99203"/>
                </a:lnTo>
                <a:lnTo>
                  <a:pt x="23561" y="88592"/>
                </a:lnTo>
                <a:lnTo>
                  <a:pt x="18352" y="77240"/>
                </a:lnTo>
                <a:lnTo>
                  <a:pt x="13640" y="65148"/>
                </a:lnTo>
                <a:lnTo>
                  <a:pt x="9672" y="52809"/>
                </a:lnTo>
                <a:lnTo>
                  <a:pt x="6696" y="40224"/>
                </a:lnTo>
                <a:lnTo>
                  <a:pt x="4216" y="27145"/>
                </a:lnTo>
                <a:lnTo>
                  <a:pt x="2976" y="14312"/>
                </a:lnTo>
                <a:close/>
              </a:path>
            </a:pathLst>
          </a:custGeom>
          <a:solidFill>
            <a:srgbClr val="000000"/>
          </a:solidFill>
        </p:spPr>
        <p:txBody>
          <a:bodyPr wrap="square" lIns="0" tIns="0" rIns="0" bIns="0" rtlCol="0">
            <a:noAutofit/>
          </a:bodyPr>
          <a:lstStyle/>
          <a:p>
            <a:endParaRPr/>
          </a:p>
        </p:txBody>
      </p:sp>
      <p:sp>
        <p:nvSpPr>
          <p:cNvPr id="1650" name="object 1650"/>
          <p:cNvSpPr/>
          <p:nvPr/>
        </p:nvSpPr>
        <p:spPr>
          <a:xfrm>
            <a:off x="8114346" y="1819313"/>
            <a:ext cx="1240" cy="2467"/>
          </a:xfrm>
          <a:custGeom>
            <a:avLst/>
            <a:gdLst/>
            <a:ahLst/>
            <a:cxnLst/>
            <a:rect l="l" t="t" r="r" b="b"/>
            <a:pathLst>
              <a:path w="1240" h="2467">
                <a:moveTo>
                  <a:pt x="0" y="0"/>
                </a:moveTo>
                <a:lnTo>
                  <a:pt x="0" y="2467"/>
                </a:lnTo>
                <a:lnTo>
                  <a:pt x="1240" y="1233"/>
                </a:lnTo>
                <a:lnTo>
                  <a:pt x="744" y="493"/>
                </a:lnTo>
                <a:lnTo>
                  <a:pt x="0" y="0"/>
                </a:lnTo>
                <a:close/>
              </a:path>
            </a:pathLst>
          </a:custGeom>
          <a:solidFill>
            <a:srgbClr val="000000"/>
          </a:solidFill>
        </p:spPr>
        <p:txBody>
          <a:bodyPr wrap="square" lIns="0" tIns="0" rIns="0" bIns="0" rtlCol="0">
            <a:noAutofit/>
          </a:bodyPr>
          <a:lstStyle/>
          <a:p>
            <a:endParaRPr/>
          </a:p>
        </p:txBody>
      </p:sp>
      <p:sp>
        <p:nvSpPr>
          <p:cNvPr id="1651" name="object 1651"/>
          <p:cNvSpPr/>
          <p:nvPr/>
        </p:nvSpPr>
        <p:spPr>
          <a:xfrm>
            <a:off x="8114347" y="1819313"/>
            <a:ext cx="36209" cy="3701"/>
          </a:xfrm>
          <a:custGeom>
            <a:avLst/>
            <a:gdLst/>
            <a:ahLst/>
            <a:cxnLst/>
            <a:rect l="l" t="t" r="r" b="b"/>
            <a:pathLst>
              <a:path w="36209" h="3701">
                <a:moveTo>
                  <a:pt x="35713" y="3208"/>
                </a:moveTo>
                <a:lnTo>
                  <a:pt x="36209" y="2467"/>
                </a:lnTo>
                <a:lnTo>
                  <a:pt x="35713" y="1727"/>
                </a:lnTo>
                <a:lnTo>
                  <a:pt x="34969" y="1233"/>
                </a:lnTo>
                <a:lnTo>
                  <a:pt x="0" y="0"/>
                </a:lnTo>
                <a:lnTo>
                  <a:pt x="0" y="2467"/>
                </a:lnTo>
                <a:lnTo>
                  <a:pt x="34969" y="3701"/>
                </a:lnTo>
                <a:lnTo>
                  <a:pt x="33729" y="2467"/>
                </a:lnTo>
                <a:lnTo>
                  <a:pt x="34969" y="3701"/>
                </a:lnTo>
                <a:lnTo>
                  <a:pt x="35713" y="3208"/>
                </a:lnTo>
                <a:close/>
              </a:path>
            </a:pathLst>
          </a:custGeom>
          <a:solidFill>
            <a:srgbClr val="000000"/>
          </a:solidFill>
        </p:spPr>
        <p:txBody>
          <a:bodyPr wrap="square" lIns="0" tIns="0" rIns="0" bIns="0" rtlCol="0">
            <a:noAutofit/>
          </a:bodyPr>
          <a:lstStyle/>
          <a:p>
            <a:endParaRPr/>
          </a:p>
        </p:txBody>
      </p:sp>
      <p:sp>
        <p:nvSpPr>
          <p:cNvPr id="1652" name="object 1652"/>
          <p:cNvSpPr/>
          <p:nvPr/>
        </p:nvSpPr>
        <p:spPr>
          <a:xfrm>
            <a:off x="8148076" y="1721096"/>
            <a:ext cx="2480" cy="100684"/>
          </a:xfrm>
          <a:custGeom>
            <a:avLst/>
            <a:gdLst/>
            <a:ahLst/>
            <a:cxnLst/>
            <a:rect l="l" t="t" r="r" b="b"/>
            <a:pathLst>
              <a:path w="2480" h="100684">
                <a:moveTo>
                  <a:pt x="1984" y="493"/>
                </a:moveTo>
                <a:lnTo>
                  <a:pt x="1240" y="0"/>
                </a:lnTo>
                <a:lnTo>
                  <a:pt x="1240" y="2467"/>
                </a:lnTo>
                <a:lnTo>
                  <a:pt x="0" y="1233"/>
                </a:lnTo>
                <a:lnTo>
                  <a:pt x="0" y="100684"/>
                </a:lnTo>
                <a:lnTo>
                  <a:pt x="2480" y="100684"/>
                </a:lnTo>
                <a:lnTo>
                  <a:pt x="2480" y="1233"/>
                </a:lnTo>
                <a:lnTo>
                  <a:pt x="1984" y="493"/>
                </a:lnTo>
                <a:close/>
              </a:path>
            </a:pathLst>
          </a:custGeom>
          <a:solidFill>
            <a:srgbClr val="000000"/>
          </a:solidFill>
        </p:spPr>
        <p:txBody>
          <a:bodyPr wrap="square" lIns="0" tIns="0" rIns="0" bIns="0" rtlCol="0">
            <a:noAutofit/>
          </a:bodyPr>
          <a:lstStyle/>
          <a:p>
            <a:endParaRPr/>
          </a:p>
        </p:txBody>
      </p:sp>
      <p:sp>
        <p:nvSpPr>
          <p:cNvPr id="1653" name="object 1653"/>
          <p:cNvSpPr/>
          <p:nvPr/>
        </p:nvSpPr>
        <p:spPr>
          <a:xfrm>
            <a:off x="8148076" y="1721097"/>
            <a:ext cx="1240" cy="2467"/>
          </a:xfrm>
          <a:custGeom>
            <a:avLst/>
            <a:gdLst/>
            <a:ahLst/>
            <a:cxnLst/>
            <a:rect l="l" t="t" r="r" b="b"/>
            <a:pathLst>
              <a:path w="1240" h="2467">
                <a:moveTo>
                  <a:pt x="1240" y="0"/>
                </a:moveTo>
                <a:lnTo>
                  <a:pt x="496" y="493"/>
                </a:lnTo>
                <a:lnTo>
                  <a:pt x="0" y="1233"/>
                </a:lnTo>
                <a:lnTo>
                  <a:pt x="1240" y="2467"/>
                </a:lnTo>
                <a:lnTo>
                  <a:pt x="1240" y="0"/>
                </a:lnTo>
                <a:close/>
              </a:path>
            </a:pathLst>
          </a:custGeom>
          <a:solidFill>
            <a:srgbClr val="000000"/>
          </a:solidFill>
        </p:spPr>
        <p:txBody>
          <a:bodyPr wrap="square" lIns="0" tIns="0" rIns="0" bIns="0" rtlCol="0">
            <a:noAutofit/>
          </a:bodyPr>
          <a:lstStyle/>
          <a:p>
            <a:endParaRPr/>
          </a:p>
        </p:txBody>
      </p:sp>
      <p:sp>
        <p:nvSpPr>
          <p:cNvPr id="1654" name="object 1654"/>
          <p:cNvSpPr/>
          <p:nvPr/>
        </p:nvSpPr>
        <p:spPr>
          <a:xfrm>
            <a:off x="8149317" y="1721097"/>
            <a:ext cx="28273" cy="2467"/>
          </a:xfrm>
          <a:custGeom>
            <a:avLst/>
            <a:gdLst/>
            <a:ahLst/>
            <a:cxnLst/>
            <a:rect l="l" t="t" r="r" b="b"/>
            <a:pathLst>
              <a:path w="28273" h="2467">
                <a:moveTo>
                  <a:pt x="28273" y="1233"/>
                </a:moveTo>
                <a:lnTo>
                  <a:pt x="27777" y="493"/>
                </a:lnTo>
                <a:lnTo>
                  <a:pt x="27033" y="0"/>
                </a:lnTo>
                <a:lnTo>
                  <a:pt x="26041" y="493"/>
                </a:lnTo>
                <a:lnTo>
                  <a:pt x="27033" y="0"/>
                </a:lnTo>
                <a:lnTo>
                  <a:pt x="0" y="0"/>
                </a:lnTo>
                <a:lnTo>
                  <a:pt x="0" y="2467"/>
                </a:lnTo>
                <a:lnTo>
                  <a:pt x="27033" y="2467"/>
                </a:lnTo>
                <a:lnTo>
                  <a:pt x="27777" y="1974"/>
                </a:lnTo>
                <a:lnTo>
                  <a:pt x="28273" y="1233"/>
                </a:lnTo>
                <a:close/>
              </a:path>
            </a:pathLst>
          </a:custGeom>
          <a:solidFill>
            <a:srgbClr val="000000"/>
          </a:solidFill>
        </p:spPr>
        <p:txBody>
          <a:bodyPr wrap="square" lIns="0" tIns="0" rIns="0" bIns="0" rtlCol="0">
            <a:noAutofit/>
          </a:bodyPr>
          <a:lstStyle/>
          <a:p>
            <a:endParaRPr/>
          </a:p>
        </p:txBody>
      </p:sp>
      <p:sp>
        <p:nvSpPr>
          <p:cNvPr id="1655" name="object 1655"/>
          <p:cNvSpPr/>
          <p:nvPr/>
        </p:nvSpPr>
        <p:spPr>
          <a:xfrm>
            <a:off x="8175357" y="1659155"/>
            <a:ext cx="54562" cy="63914"/>
          </a:xfrm>
          <a:custGeom>
            <a:avLst/>
            <a:gdLst/>
            <a:ahLst/>
            <a:cxnLst/>
            <a:rect l="l" t="t" r="r" b="b"/>
            <a:pathLst>
              <a:path w="54562" h="63914">
                <a:moveTo>
                  <a:pt x="54562" y="2467"/>
                </a:moveTo>
                <a:lnTo>
                  <a:pt x="54562" y="0"/>
                </a:lnTo>
                <a:lnTo>
                  <a:pt x="53570" y="493"/>
                </a:lnTo>
                <a:lnTo>
                  <a:pt x="54562" y="2467"/>
                </a:lnTo>
                <a:close/>
              </a:path>
              <a:path w="54562" h="63914">
                <a:moveTo>
                  <a:pt x="55306" y="246"/>
                </a:moveTo>
                <a:lnTo>
                  <a:pt x="54562" y="0"/>
                </a:lnTo>
                <a:lnTo>
                  <a:pt x="54562" y="2467"/>
                </a:lnTo>
                <a:lnTo>
                  <a:pt x="53570" y="493"/>
                </a:lnTo>
                <a:lnTo>
                  <a:pt x="0" y="62434"/>
                </a:lnTo>
                <a:lnTo>
                  <a:pt x="1984" y="63914"/>
                </a:lnTo>
                <a:lnTo>
                  <a:pt x="55554" y="1974"/>
                </a:lnTo>
                <a:lnTo>
                  <a:pt x="55802" y="987"/>
                </a:lnTo>
                <a:lnTo>
                  <a:pt x="55306" y="246"/>
                </a:lnTo>
                <a:close/>
              </a:path>
            </a:pathLst>
          </a:custGeom>
          <a:solidFill>
            <a:srgbClr val="000000"/>
          </a:solidFill>
        </p:spPr>
        <p:txBody>
          <a:bodyPr wrap="square" lIns="0" tIns="0" rIns="0" bIns="0" rtlCol="0">
            <a:noAutofit/>
          </a:bodyPr>
          <a:lstStyle/>
          <a:p>
            <a:endParaRPr/>
          </a:p>
        </p:txBody>
      </p:sp>
      <p:sp>
        <p:nvSpPr>
          <p:cNvPr id="1656" name="object 1656"/>
          <p:cNvSpPr/>
          <p:nvPr/>
        </p:nvSpPr>
        <p:spPr>
          <a:xfrm>
            <a:off x="8229921" y="1659155"/>
            <a:ext cx="72171" cy="6662"/>
          </a:xfrm>
          <a:custGeom>
            <a:avLst/>
            <a:gdLst/>
            <a:ahLst/>
            <a:cxnLst/>
            <a:rect l="l" t="t" r="r" b="b"/>
            <a:pathLst>
              <a:path w="72171" h="6662">
                <a:moveTo>
                  <a:pt x="72171" y="5675"/>
                </a:moveTo>
                <a:lnTo>
                  <a:pt x="71923" y="4688"/>
                </a:lnTo>
                <a:lnTo>
                  <a:pt x="71179" y="4195"/>
                </a:lnTo>
                <a:lnTo>
                  <a:pt x="70683" y="4195"/>
                </a:lnTo>
                <a:lnTo>
                  <a:pt x="66715" y="3701"/>
                </a:lnTo>
                <a:lnTo>
                  <a:pt x="62498" y="3208"/>
                </a:lnTo>
                <a:lnTo>
                  <a:pt x="57786" y="2714"/>
                </a:lnTo>
                <a:lnTo>
                  <a:pt x="53322" y="2467"/>
                </a:lnTo>
                <a:lnTo>
                  <a:pt x="49106" y="1974"/>
                </a:lnTo>
                <a:lnTo>
                  <a:pt x="44642" y="1727"/>
                </a:lnTo>
                <a:lnTo>
                  <a:pt x="40177" y="1480"/>
                </a:lnTo>
                <a:lnTo>
                  <a:pt x="35961" y="987"/>
                </a:lnTo>
                <a:lnTo>
                  <a:pt x="31497" y="740"/>
                </a:lnTo>
                <a:lnTo>
                  <a:pt x="27033" y="493"/>
                </a:lnTo>
                <a:lnTo>
                  <a:pt x="22569" y="493"/>
                </a:lnTo>
                <a:lnTo>
                  <a:pt x="18104" y="246"/>
                </a:lnTo>
                <a:lnTo>
                  <a:pt x="13640" y="246"/>
                </a:lnTo>
                <a:lnTo>
                  <a:pt x="9176" y="0"/>
                </a:lnTo>
                <a:lnTo>
                  <a:pt x="0" y="0"/>
                </a:lnTo>
                <a:lnTo>
                  <a:pt x="0" y="2467"/>
                </a:lnTo>
                <a:lnTo>
                  <a:pt x="9176" y="2467"/>
                </a:lnTo>
                <a:lnTo>
                  <a:pt x="13640" y="2714"/>
                </a:lnTo>
                <a:lnTo>
                  <a:pt x="18104" y="2714"/>
                </a:lnTo>
                <a:lnTo>
                  <a:pt x="22569" y="2961"/>
                </a:lnTo>
                <a:lnTo>
                  <a:pt x="27033" y="2961"/>
                </a:lnTo>
                <a:lnTo>
                  <a:pt x="31497" y="3208"/>
                </a:lnTo>
                <a:lnTo>
                  <a:pt x="35961" y="3454"/>
                </a:lnTo>
                <a:lnTo>
                  <a:pt x="40177" y="3948"/>
                </a:lnTo>
                <a:lnTo>
                  <a:pt x="44642" y="4195"/>
                </a:lnTo>
                <a:lnTo>
                  <a:pt x="49106" y="4441"/>
                </a:lnTo>
                <a:lnTo>
                  <a:pt x="53322" y="4935"/>
                </a:lnTo>
                <a:lnTo>
                  <a:pt x="57786" y="5182"/>
                </a:lnTo>
                <a:lnTo>
                  <a:pt x="62002" y="5675"/>
                </a:lnTo>
                <a:lnTo>
                  <a:pt x="66218" y="6169"/>
                </a:lnTo>
                <a:lnTo>
                  <a:pt x="70683" y="6662"/>
                </a:lnTo>
                <a:lnTo>
                  <a:pt x="71179" y="6539"/>
                </a:lnTo>
                <a:lnTo>
                  <a:pt x="71675" y="6416"/>
                </a:lnTo>
                <a:lnTo>
                  <a:pt x="72171" y="5675"/>
                </a:lnTo>
                <a:close/>
              </a:path>
            </a:pathLst>
          </a:custGeom>
          <a:solidFill>
            <a:srgbClr val="000000"/>
          </a:solidFill>
        </p:spPr>
        <p:txBody>
          <a:bodyPr wrap="square" lIns="0" tIns="0" rIns="0" bIns="0" rtlCol="0">
            <a:noAutofit/>
          </a:bodyPr>
          <a:lstStyle/>
          <a:p>
            <a:endParaRPr/>
          </a:p>
        </p:txBody>
      </p:sp>
      <p:sp>
        <p:nvSpPr>
          <p:cNvPr id="1657" name="object 1657"/>
          <p:cNvSpPr/>
          <p:nvPr/>
        </p:nvSpPr>
        <p:spPr>
          <a:xfrm>
            <a:off x="8296635" y="1662857"/>
            <a:ext cx="4464" cy="493"/>
          </a:xfrm>
          <a:custGeom>
            <a:avLst/>
            <a:gdLst/>
            <a:ahLst/>
            <a:cxnLst/>
            <a:rect l="l" t="t" r="r" b="b"/>
            <a:pathLst>
              <a:path w="4464" h="493">
                <a:moveTo>
                  <a:pt x="0" y="0"/>
                </a:moveTo>
                <a:lnTo>
                  <a:pt x="3968" y="493"/>
                </a:lnTo>
                <a:lnTo>
                  <a:pt x="4464" y="493"/>
                </a:lnTo>
                <a:lnTo>
                  <a:pt x="0" y="0"/>
                </a:lnTo>
                <a:close/>
              </a:path>
            </a:pathLst>
          </a:custGeom>
          <a:solidFill>
            <a:srgbClr val="000000"/>
          </a:solidFill>
        </p:spPr>
        <p:txBody>
          <a:bodyPr wrap="square" lIns="0" tIns="0" rIns="0" bIns="0" rtlCol="0">
            <a:noAutofit/>
          </a:bodyPr>
          <a:lstStyle/>
          <a:p>
            <a:endParaRPr/>
          </a:p>
        </p:txBody>
      </p:sp>
      <p:sp>
        <p:nvSpPr>
          <p:cNvPr id="1658" name="object 1658"/>
          <p:cNvSpPr/>
          <p:nvPr/>
        </p:nvSpPr>
        <p:spPr>
          <a:xfrm>
            <a:off x="8182302" y="1663351"/>
            <a:ext cx="118797" cy="158183"/>
          </a:xfrm>
          <a:custGeom>
            <a:avLst/>
            <a:gdLst/>
            <a:ahLst/>
            <a:cxnLst/>
            <a:rect l="l" t="t" r="r" b="b"/>
            <a:pathLst>
              <a:path w="118797" h="158183">
                <a:moveTo>
                  <a:pt x="496" y="145844"/>
                </a:moveTo>
                <a:lnTo>
                  <a:pt x="0" y="157196"/>
                </a:lnTo>
                <a:lnTo>
                  <a:pt x="496" y="157936"/>
                </a:lnTo>
                <a:lnTo>
                  <a:pt x="1240" y="158183"/>
                </a:lnTo>
                <a:lnTo>
                  <a:pt x="1984" y="157936"/>
                </a:lnTo>
                <a:lnTo>
                  <a:pt x="2480" y="157196"/>
                </a:lnTo>
                <a:lnTo>
                  <a:pt x="2976" y="145844"/>
                </a:lnTo>
                <a:lnTo>
                  <a:pt x="4712" y="134245"/>
                </a:lnTo>
                <a:lnTo>
                  <a:pt x="7192" y="121907"/>
                </a:lnTo>
                <a:lnTo>
                  <a:pt x="10664" y="109815"/>
                </a:lnTo>
                <a:lnTo>
                  <a:pt x="15376" y="97476"/>
                </a:lnTo>
                <a:lnTo>
                  <a:pt x="20584" y="85384"/>
                </a:lnTo>
                <a:lnTo>
                  <a:pt x="26785" y="73785"/>
                </a:lnTo>
                <a:lnTo>
                  <a:pt x="34225" y="62187"/>
                </a:lnTo>
                <a:lnTo>
                  <a:pt x="42161" y="51329"/>
                </a:lnTo>
                <a:lnTo>
                  <a:pt x="51090" y="40964"/>
                </a:lnTo>
                <a:lnTo>
                  <a:pt x="60514" y="31834"/>
                </a:lnTo>
                <a:lnTo>
                  <a:pt x="70931" y="23443"/>
                </a:lnTo>
                <a:lnTo>
                  <a:pt x="81843" y="16040"/>
                </a:lnTo>
                <a:lnTo>
                  <a:pt x="93500" y="10117"/>
                </a:lnTo>
                <a:lnTo>
                  <a:pt x="105652" y="5675"/>
                </a:lnTo>
                <a:lnTo>
                  <a:pt x="118797" y="2467"/>
                </a:lnTo>
                <a:lnTo>
                  <a:pt x="118301" y="0"/>
                </a:lnTo>
                <a:lnTo>
                  <a:pt x="105156" y="3208"/>
                </a:lnTo>
                <a:lnTo>
                  <a:pt x="92508" y="7650"/>
                </a:lnTo>
                <a:lnTo>
                  <a:pt x="80355" y="14066"/>
                </a:lnTo>
                <a:lnTo>
                  <a:pt x="69443" y="21469"/>
                </a:lnTo>
                <a:lnTo>
                  <a:pt x="59026" y="29859"/>
                </a:lnTo>
                <a:lnTo>
                  <a:pt x="49106" y="39484"/>
                </a:lnTo>
                <a:lnTo>
                  <a:pt x="40177" y="49848"/>
                </a:lnTo>
                <a:lnTo>
                  <a:pt x="32241" y="60706"/>
                </a:lnTo>
                <a:lnTo>
                  <a:pt x="24801" y="72305"/>
                </a:lnTo>
                <a:lnTo>
                  <a:pt x="18600" y="84397"/>
                </a:lnTo>
                <a:lnTo>
                  <a:pt x="12896" y="96489"/>
                </a:lnTo>
                <a:lnTo>
                  <a:pt x="8184" y="108828"/>
                </a:lnTo>
                <a:lnTo>
                  <a:pt x="4712" y="121413"/>
                </a:lnTo>
                <a:lnTo>
                  <a:pt x="2232" y="133752"/>
                </a:lnTo>
                <a:lnTo>
                  <a:pt x="496" y="145844"/>
                </a:lnTo>
                <a:close/>
              </a:path>
            </a:pathLst>
          </a:custGeom>
          <a:solidFill>
            <a:srgbClr val="000000"/>
          </a:solidFill>
        </p:spPr>
        <p:txBody>
          <a:bodyPr wrap="square" lIns="0" tIns="0" rIns="0" bIns="0" rtlCol="0">
            <a:noAutofit/>
          </a:bodyPr>
          <a:lstStyle/>
          <a:p>
            <a:endParaRPr/>
          </a:p>
        </p:txBody>
      </p:sp>
      <p:sp>
        <p:nvSpPr>
          <p:cNvPr id="1659" name="object 1659"/>
          <p:cNvSpPr/>
          <p:nvPr/>
        </p:nvSpPr>
        <p:spPr>
          <a:xfrm>
            <a:off x="8273569" y="1972562"/>
            <a:ext cx="10168" cy="2961"/>
          </a:xfrm>
          <a:custGeom>
            <a:avLst/>
            <a:gdLst/>
            <a:ahLst/>
            <a:cxnLst/>
            <a:rect l="l" t="t" r="r" b="b"/>
            <a:pathLst>
              <a:path w="10168" h="2961">
                <a:moveTo>
                  <a:pt x="0" y="0"/>
                </a:moveTo>
                <a:lnTo>
                  <a:pt x="9920" y="2961"/>
                </a:lnTo>
                <a:lnTo>
                  <a:pt x="10168" y="2961"/>
                </a:lnTo>
                <a:lnTo>
                  <a:pt x="0" y="0"/>
                </a:lnTo>
                <a:close/>
              </a:path>
            </a:pathLst>
          </a:custGeom>
          <a:solidFill>
            <a:srgbClr val="000000"/>
          </a:solidFill>
        </p:spPr>
        <p:txBody>
          <a:bodyPr wrap="square" lIns="0" tIns="0" rIns="0" bIns="0" rtlCol="0">
            <a:noAutofit/>
          </a:bodyPr>
          <a:lstStyle/>
          <a:p>
            <a:endParaRPr/>
          </a:p>
        </p:txBody>
      </p:sp>
      <p:sp>
        <p:nvSpPr>
          <p:cNvPr id="1660" name="object 1660"/>
          <p:cNvSpPr/>
          <p:nvPr/>
        </p:nvSpPr>
        <p:spPr>
          <a:xfrm>
            <a:off x="8182301" y="1820546"/>
            <a:ext cx="102428" cy="157444"/>
          </a:xfrm>
          <a:custGeom>
            <a:avLst/>
            <a:gdLst/>
            <a:ahLst/>
            <a:cxnLst/>
            <a:rect l="l" t="t" r="r" b="b"/>
            <a:pathLst>
              <a:path w="102428" h="157444">
                <a:moveTo>
                  <a:pt x="102428" y="156456"/>
                </a:moveTo>
                <a:lnTo>
                  <a:pt x="102180" y="155469"/>
                </a:lnTo>
                <a:lnTo>
                  <a:pt x="101436" y="154976"/>
                </a:lnTo>
                <a:lnTo>
                  <a:pt x="101188" y="154976"/>
                </a:lnTo>
                <a:lnTo>
                  <a:pt x="91268" y="152015"/>
                </a:lnTo>
                <a:lnTo>
                  <a:pt x="81347" y="147573"/>
                </a:lnTo>
                <a:lnTo>
                  <a:pt x="71923" y="141897"/>
                </a:lnTo>
                <a:lnTo>
                  <a:pt x="62994" y="134739"/>
                </a:lnTo>
                <a:lnTo>
                  <a:pt x="54562" y="126842"/>
                </a:lnTo>
                <a:lnTo>
                  <a:pt x="46378" y="117711"/>
                </a:lnTo>
                <a:lnTo>
                  <a:pt x="38689" y="107840"/>
                </a:lnTo>
                <a:lnTo>
                  <a:pt x="31745" y="96982"/>
                </a:lnTo>
                <a:lnTo>
                  <a:pt x="25545" y="85877"/>
                </a:lnTo>
                <a:lnTo>
                  <a:pt x="20088" y="74279"/>
                </a:lnTo>
                <a:lnTo>
                  <a:pt x="15128" y="61940"/>
                </a:lnTo>
                <a:lnTo>
                  <a:pt x="10912" y="49848"/>
                </a:lnTo>
                <a:lnTo>
                  <a:pt x="7440" y="37263"/>
                </a:lnTo>
                <a:lnTo>
                  <a:pt x="4960" y="24430"/>
                </a:lnTo>
                <a:lnTo>
                  <a:pt x="3224" y="12338"/>
                </a:lnTo>
                <a:lnTo>
                  <a:pt x="2480" y="0"/>
                </a:lnTo>
                <a:lnTo>
                  <a:pt x="0" y="0"/>
                </a:lnTo>
                <a:lnTo>
                  <a:pt x="744" y="12338"/>
                </a:lnTo>
                <a:lnTo>
                  <a:pt x="2480" y="24924"/>
                </a:lnTo>
                <a:lnTo>
                  <a:pt x="4960" y="37756"/>
                </a:lnTo>
                <a:lnTo>
                  <a:pt x="8432" y="50342"/>
                </a:lnTo>
                <a:lnTo>
                  <a:pt x="12648" y="62927"/>
                </a:lnTo>
                <a:lnTo>
                  <a:pt x="17608" y="75266"/>
                </a:lnTo>
                <a:lnTo>
                  <a:pt x="23561" y="86865"/>
                </a:lnTo>
                <a:lnTo>
                  <a:pt x="29761" y="98463"/>
                </a:lnTo>
                <a:lnTo>
                  <a:pt x="36705" y="109321"/>
                </a:lnTo>
                <a:lnTo>
                  <a:pt x="44393" y="119192"/>
                </a:lnTo>
                <a:lnTo>
                  <a:pt x="52578" y="128323"/>
                </a:lnTo>
                <a:lnTo>
                  <a:pt x="61506" y="136714"/>
                </a:lnTo>
                <a:lnTo>
                  <a:pt x="70435" y="143871"/>
                </a:lnTo>
                <a:lnTo>
                  <a:pt x="80355" y="149547"/>
                </a:lnTo>
                <a:lnTo>
                  <a:pt x="90276" y="154482"/>
                </a:lnTo>
                <a:lnTo>
                  <a:pt x="100940" y="157444"/>
                </a:lnTo>
                <a:lnTo>
                  <a:pt x="101194" y="157380"/>
                </a:lnTo>
                <a:lnTo>
                  <a:pt x="101932" y="157197"/>
                </a:lnTo>
                <a:lnTo>
                  <a:pt x="102428" y="156456"/>
                </a:lnTo>
                <a:close/>
              </a:path>
            </a:pathLst>
          </a:custGeom>
          <a:solidFill>
            <a:srgbClr val="000000"/>
          </a:solidFill>
        </p:spPr>
        <p:txBody>
          <a:bodyPr wrap="square" lIns="0" tIns="0" rIns="0" bIns="0" rtlCol="0">
            <a:noAutofit/>
          </a:bodyPr>
          <a:lstStyle/>
          <a:p>
            <a:endParaRPr/>
          </a:p>
        </p:txBody>
      </p:sp>
      <p:sp>
        <p:nvSpPr>
          <p:cNvPr id="1661" name="object 1661"/>
          <p:cNvSpPr/>
          <p:nvPr/>
        </p:nvSpPr>
        <p:spPr>
          <a:xfrm>
            <a:off x="7932802" y="1907412"/>
            <a:ext cx="5456" cy="5675"/>
          </a:xfrm>
          <a:custGeom>
            <a:avLst/>
            <a:gdLst/>
            <a:ahLst/>
            <a:cxnLst/>
            <a:rect l="l" t="t" r="r" b="b"/>
            <a:pathLst>
              <a:path w="5456" h="5675">
                <a:moveTo>
                  <a:pt x="4464" y="493"/>
                </a:moveTo>
                <a:lnTo>
                  <a:pt x="0" y="5675"/>
                </a:lnTo>
                <a:lnTo>
                  <a:pt x="5456" y="0"/>
                </a:lnTo>
                <a:lnTo>
                  <a:pt x="4464" y="493"/>
                </a:lnTo>
                <a:close/>
              </a:path>
            </a:pathLst>
          </a:custGeom>
          <a:solidFill>
            <a:srgbClr val="000000"/>
          </a:solidFill>
        </p:spPr>
        <p:txBody>
          <a:bodyPr wrap="square" lIns="0" tIns="0" rIns="0" bIns="0" rtlCol="0">
            <a:noAutofit/>
          </a:bodyPr>
          <a:lstStyle/>
          <a:p>
            <a:endParaRPr/>
          </a:p>
        </p:txBody>
      </p:sp>
      <p:sp>
        <p:nvSpPr>
          <p:cNvPr id="1662" name="object 1662"/>
          <p:cNvSpPr/>
          <p:nvPr/>
        </p:nvSpPr>
        <p:spPr>
          <a:xfrm>
            <a:off x="7768868" y="1891124"/>
            <a:ext cx="169639" cy="51822"/>
          </a:xfrm>
          <a:custGeom>
            <a:avLst/>
            <a:gdLst/>
            <a:ahLst/>
            <a:cxnLst/>
            <a:rect l="l" t="t" r="r" b="b"/>
            <a:pathLst>
              <a:path w="169639" h="51822">
                <a:moveTo>
                  <a:pt x="169639" y="15300"/>
                </a:moveTo>
                <a:lnTo>
                  <a:pt x="169143" y="14559"/>
                </a:lnTo>
                <a:lnTo>
                  <a:pt x="168399" y="14312"/>
                </a:lnTo>
                <a:lnTo>
                  <a:pt x="167407" y="14806"/>
                </a:lnTo>
                <a:lnTo>
                  <a:pt x="162447" y="19988"/>
                </a:lnTo>
                <a:lnTo>
                  <a:pt x="156991" y="24924"/>
                </a:lnTo>
                <a:lnTo>
                  <a:pt x="151534" y="29366"/>
                </a:lnTo>
                <a:lnTo>
                  <a:pt x="145830" y="33314"/>
                </a:lnTo>
                <a:lnTo>
                  <a:pt x="140374" y="37016"/>
                </a:lnTo>
                <a:lnTo>
                  <a:pt x="134422" y="39977"/>
                </a:lnTo>
                <a:lnTo>
                  <a:pt x="128717" y="42445"/>
                </a:lnTo>
                <a:lnTo>
                  <a:pt x="122765" y="44419"/>
                </a:lnTo>
                <a:lnTo>
                  <a:pt x="117061" y="46393"/>
                </a:lnTo>
                <a:lnTo>
                  <a:pt x="111108" y="47627"/>
                </a:lnTo>
                <a:lnTo>
                  <a:pt x="105156" y="48614"/>
                </a:lnTo>
                <a:lnTo>
                  <a:pt x="99204" y="49108"/>
                </a:lnTo>
                <a:lnTo>
                  <a:pt x="93252" y="49355"/>
                </a:lnTo>
                <a:lnTo>
                  <a:pt x="87299" y="49108"/>
                </a:lnTo>
                <a:lnTo>
                  <a:pt x="81843" y="48614"/>
                </a:lnTo>
                <a:lnTo>
                  <a:pt x="75891" y="47874"/>
                </a:lnTo>
                <a:lnTo>
                  <a:pt x="70187" y="46640"/>
                </a:lnTo>
                <a:lnTo>
                  <a:pt x="64482" y="45406"/>
                </a:lnTo>
                <a:lnTo>
                  <a:pt x="59026" y="43432"/>
                </a:lnTo>
                <a:lnTo>
                  <a:pt x="53570" y="41458"/>
                </a:lnTo>
                <a:lnTo>
                  <a:pt x="48362" y="39237"/>
                </a:lnTo>
                <a:lnTo>
                  <a:pt x="43153" y="37016"/>
                </a:lnTo>
                <a:lnTo>
                  <a:pt x="38193" y="34055"/>
                </a:lnTo>
                <a:lnTo>
                  <a:pt x="33481" y="31093"/>
                </a:lnTo>
                <a:lnTo>
                  <a:pt x="28769" y="27885"/>
                </a:lnTo>
                <a:lnTo>
                  <a:pt x="24057" y="24184"/>
                </a:lnTo>
                <a:lnTo>
                  <a:pt x="19840" y="20729"/>
                </a:lnTo>
                <a:lnTo>
                  <a:pt x="15872" y="16780"/>
                </a:lnTo>
                <a:lnTo>
                  <a:pt x="12152" y="13079"/>
                </a:lnTo>
                <a:lnTo>
                  <a:pt x="8432" y="8883"/>
                </a:lnTo>
                <a:lnTo>
                  <a:pt x="4960" y="4441"/>
                </a:lnTo>
                <a:lnTo>
                  <a:pt x="1984" y="0"/>
                </a:lnTo>
                <a:lnTo>
                  <a:pt x="0" y="1480"/>
                </a:lnTo>
                <a:lnTo>
                  <a:pt x="2976" y="5922"/>
                </a:lnTo>
                <a:lnTo>
                  <a:pt x="6448" y="10364"/>
                </a:lnTo>
                <a:lnTo>
                  <a:pt x="10168" y="14559"/>
                </a:lnTo>
                <a:lnTo>
                  <a:pt x="13888" y="18754"/>
                </a:lnTo>
                <a:lnTo>
                  <a:pt x="18352" y="22703"/>
                </a:lnTo>
                <a:lnTo>
                  <a:pt x="22569" y="26158"/>
                </a:lnTo>
                <a:lnTo>
                  <a:pt x="27281" y="29859"/>
                </a:lnTo>
                <a:lnTo>
                  <a:pt x="31993" y="33067"/>
                </a:lnTo>
                <a:lnTo>
                  <a:pt x="36705" y="36029"/>
                </a:lnTo>
                <a:lnTo>
                  <a:pt x="42161" y="38990"/>
                </a:lnTo>
                <a:lnTo>
                  <a:pt x="47370" y="41705"/>
                </a:lnTo>
                <a:lnTo>
                  <a:pt x="52578" y="43926"/>
                </a:lnTo>
                <a:lnTo>
                  <a:pt x="58034" y="45900"/>
                </a:lnTo>
                <a:lnTo>
                  <a:pt x="63986" y="47874"/>
                </a:lnTo>
                <a:lnTo>
                  <a:pt x="69691" y="49108"/>
                </a:lnTo>
                <a:lnTo>
                  <a:pt x="75395" y="50342"/>
                </a:lnTo>
                <a:lnTo>
                  <a:pt x="81347" y="51082"/>
                </a:lnTo>
                <a:lnTo>
                  <a:pt x="87299" y="51576"/>
                </a:lnTo>
                <a:lnTo>
                  <a:pt x="93252" y="51822"/>
                </a:lnTo>
                <a:lnTo>
                  <a:pt x="99204" y="51576"/>
                </a:lnTo>
                <a:lnTo>
                  <a:pt x="105652" y="51082"/>
                </a:lnTo>
                <a:lnTo>
                  <a:pt x="111605" y="50095"/>
                </a:lnTo>
                <a:lnTo>
                  <a:pt x="117557" y="48861"/>
                </a:lnTo>
                <a:lnTo>
                  <a:pt x="123757" y="46887"/>
                </a:lnTo>
                <a:lnTo>
                  <a:pt x="129709" y="44913"/>
                </a:lnTo>
                <a:lnTo>
                  <a:pt x="135414" y="41951"/>
                </a:lnTo>
                <a:lnTo>
                  <a:pt x="141366" y="38990"/>
                </a:lnTo>
                <a:lnTo>
                  <a:pt x="147318" y="35288"/>
                </a:lnTo>
                <a:lnTo>
                  <a:pt x="153022" y="31340"/>
                </a:lnTo>
                <a:lnTo>
                  <a:pt x="158479" y="26898"/>
                </a:lnTo>
                <a:lnTo>
                  <a:pt x="163935" y="21963"/>
                </a:lnTo>
                <a:lnTo>
                  <a:pt x="168399" y="16780"/>
                </a:lnTo>
                <a:lnTo>
                  <a:pt x="169391" y="16287"/>
                </a:lnTo>
                <a:lnTo>
                  <a:pt x="169639" y="15300"/>
                </a:lnTo>
                <a:close/>
              </a:path>
            </a:pathLst>
          </a:custGeom>
          <a:solidFill>
            <a:srgbClr val="000000"/>
          </a:solidFill>
        </p:spPr>
        <p:txBody>
          <a:bodyPr wrap="square" lIns="0" tIns="0" rIns="0" bIns="0" rtlCol="0">
            <a:noAutofit/>
          </a:bodyPr>
          <a:lstStyle/>
          <a:p>
            <a:endParaRPr/>
          </a:p>
        </p:txBody>
      </p:sp>
      <p:sp>
        <p:nvSpPr>
          <p:cNvPr id="1663" name="object 1663"/>
          <p:cNvSpPr/>
          <p:nvPr/>
        </p:nvSpPr>
        <p:spPr>
          <a:xfrm>
            <a:off x="7768868" y="1890630"/>
            <a:ext cx="168399" cy="17274"/>
          </a:xfrm>
          <a:custGeom>
            <a:avLst/>
            <a:gdLst/>
            <a:ahLst/>
            <a:cxnLst/>
            <a:rect l="l" t="t" r="r" b="b"/>
            <a:pathLst>
              <a:path w="168399" h="17274">
                <a:moveTo>
                  <a:pt x="992" y="0"/>
                </a:moveTo>
                <a:lnTo>
                  <a:pt x="1984" y="493"/>
                </a:lnTo>
                <a:lnTo>
                  <a:pt x="168399" y="14806"/>
                </a:lnTo>
                <a:lnTo>
                  <a:pt x="992" y="0"/>
                </a:lnTo>
                <a:close/>
              </a:path>
              <a:path w="168399" h="17274">
                <a:moveTo>
                  <a:pt x="148" y="1678"/>
                </a:moveTo>
                <a:lnTo>
                  <a:pt x="248" y="1974"/>
                </a:lnTo>
                <a:lnTo>
                  <a:pt x="992" y="2467"/>
                </a:lnTo>
                <a:lnTo>
                  <a:pt x="168399" y="17274"/>
                </a:lnTo>
                <a:lnTo>
                  <a:pt x="168399" y="14806"/>
                </a:lnTo>
                <a:lnTo>
                  <a:pt x="1984" y="493"/>
                </a:lnTo>
                <a:lnTo>
                  <a:pt x="992" y="0"/>
                </a:lnTo>
                <a:lnTo>
                  <a:pt x="248" y="493"/>
                </a:lnTo>
                <a:lnTo>
                  <a:pt x="0" y="1233"/>
                </a:lnTo>
                <a:lnTo>
                  <a:pt x="148" y="1678"/>
                </a:lnTo>
                <a:close/>
              </a:path>
            </a:pathLst>
          </a:custGeom>
          <a:solidFill>
            <a:srgbClr val="000000"/>
          </a:solidFill>
        </p:spPr>
        <p:txBody>
          <a:bodyPr wrap="square" lIns="0" tIns="0" rIns="0" bIns="0" rtlCol="0">
            <a:noAutofit/>
          </a:bodyPr>
          <a:lstStyle/>
          <a:p>
            <a:endParaRPr/>
          </a:p>
        </p:txBody>
      </p:sp>
      <p:sp>
        <p:nvSpPr>
          <p:cNvPr id="1664" name="object 1664"/>
          <p:cNvSpPr/>
          <p:nvPr/>
        </p:nvSpPr>
        <p:spPr>
          <a:xfrm>
            <a:off x="7841038" y="1113782"/>
            <a:ext cx="102180" cy="60953"/>
          </a:xfrm>
          <a:custGeom>
            <a:avLst/>
            <a:gdLst/>
            <a:ahLst/>
            <a:cxnLst/>
            <a:rect l="l" t="t" r="r" b="b"/>
            <a:pathLst>
              <a:path w="102180" h="60953">
                <a:moveTo>
                  <a:pt x="0" y="0"/>
                </a:moveTo>
                <a:lnTo>
                  <a:pt x="0" y="58485"/>
                </a:lnTo>
                <a:lnTo>
                  <a:pt x="2976" y="57251"/>
                </a:lnTo>
                <a:lnTo>
                  <a:pt x="5704" y="56018"/>
                </a:lnTo>
                <a:lnTo>
                  <a:pt x="8432" y="55030"/>
                </a:lnTo>
                <a:lnTo>
                  <a:pt x="11160" y="54043"/>
                </a:lnTo>
                <a:lnTo>
                  <a:pt x="13888" y="53056"/>
                </a:lnTo>
                <a:lnTo>
                  <a:pt x="16616" y="52316"/>
                </a:lnTo>
                <a:lnTo>
                  <a:pt x="19344" y="51576"/>
                </a:lnTo>
                <a:lnTo>
                  <a:pt x="22072" y="51082"/>
                </a:lnTo>
                <a:lnTo>
                  <a:pt x="25049" y="50589"/>
                </a:lnTo>
                <a:lnTo>
                  <a:pt x="27777" y="50342"/>
                </a:lnTo>
                <a:lnTo>
                  <a:pt x="30753" y="50095"/>
                </a:lnTo>
                <a:lnTo>
                  <a:pt x="36953" y="50095"/>
                </a:lnTo>
                <a:lnTo>
                  <a:pt x="40177" y="50589"/>
                </a:lnTo>
                <a:lnTo>
                  <a:pt x="43649" y="51082"/>
                </a:lnTo>
                <a:lnTo>
                  <a:pt x="47122" y="51822"/>
                </a:lnTo>
                <a:lnTo>
                  <a:pt x="102180" y="60953"/>
                </a:lnTo>
                <a:lnTo>
                  <a:pt x="47370" y="43926"/>
                </a:lnTo>
                <a:lnTo>
                  <a:pt x="43649" y="42692"/>
                </a:lnTo>
                <a:lnTo>
                  <a:pt x="39929" y="40964"/>
                </a:lnTo>
                <a:lnTo>
                  <a:pt x="36457" y="39237"/>
                </a:lnTo>
                <a:lnTo>
                  <a:pt x="32737" y="37016"/>
                </a:lnTo>
                <a:lnTo>
                  <a:pt x="29513" y="34795"/>
                </a:lnTo>
                <a:lnTo>
                  <a:pt x="26289" y="32080"/>
                </a:lnTo>
                <a:lnTo>
                  <a:pt x="23065" y="29366"/>
                </a:lnTo>
                <a:lnTo>
                  <a:pt x="20088" y="26404"/>
                </a:lnTo>
                <a:lnTo>
                  <a:pt x="17112" y="23443"/>
                </a:lnTo>
                <a:lnTo>
                  <a:pt x="14136" y="20235"/>
                </a:lnTo>
                <a:lnTo>
                  <a:pt x="11408" y="16780"/>
                </a:lnTo>
                <a:lnTo>
                  <a:pt x="8928" y="13572"/>
                </a:lnTo>
                <a:lnTo>
                  <a:pt x="6448" y="10117"/>
                </a:lnTo>
                <a:lnTo>
                  <a:pt x="4216" y="6662"/>
                </a:lnTo>
                <a:lnTo>
                  <a:pt x="1984" y="3454"/>
                </a:lnTo>
                <a:lnTo>
                  <a:pt x="0" y="0"/>
                </a:lnTo>
                <a:close/>
              </a:path>
            </a:pathLst>
          </a:custGeom>
          <a:solidFill>
            <a:srgbClr val="FFDF00"/>
          </a:solidFill>
        </p:spPr>
        <p:txBody>
          <a:bodyPr wrap="square" lIns="0" tIns="0" rIns="0" bIns="0" rtlCol="0">
            <a:noAutofit/>
          </a:bodyPr>
          <a:lstStyle/>
          <a:p>
            <a:endParaRPr/>
          </a:p>
        </p:txBody>
      </p:sp>
      <p:sp>
        <p:nvSpPr>
          <p:cNvPr id="1665" name="object 1665"/>
          <p:cNvSpPr/>
          <p:nvPr/>
        </p:nvSpPr>
        <p:spPr>
          <a:xfrm>
            <a:off x="7840046" y="1113040"/>
            <a:ext cx="49602" cy="45900"/>
          </a:xfrm>
          <a:custGeom>
            <a:avLst/>
            <a:gdLst/>
            <a:ahLst/>
            <a:cxnLst/>
            <a:rect l="l" t="t" r="r" b="b"/>
            <a:pathLst>
              <a:path w="49602" h="45900">
                <a:moveTo>
                  <a:pt x="49602" y="44913"/>
                </a:moveTo>
                <a:lnTo>
                  <a:pt x="49354" y="43926"/>
                </a:lnTo>
                <a:lnTo>
                  <a:pt x="48610" y="43432"/>
                </a:lnTo>
                <a:lnTo>
                  <a:pt x="45138" y="42198"/>
                </a:lnTo>
                <a:lnTo>
                  <a:pt x="41417" y="40717"/>
                </a:lnTo>
                <a:lnTo>
                  <a:pt x="37945" y="38990"/>
                </a:lnTo>
                <a:lnTo>
                  <a:pt x="34473" y="36769"/>
                </a:lnTo>
                <a:lnTo>
                  <a:pt x="31249" y="34548"/>
                </a:lnTo>
                <a:lnTo>
                  <a:pt x="28025" y="31834"/>
                </a:lnTo>
                <a:lnTo>
                  <a:pt x="24801" y="29119"/>
                </a:lnTo>
                <a:lnTo>
                  <a:pt x="22072" y="26158"/>
                </a:lnTo>
                <a:lnTo>
                  <a:pt x="19096" y="23443"/>
                </a:lnTo>
                <a:lnTo>
                  <a:pt x="16120" y="20235"/>
                </a:lnTo>
                <a:lnTo>
                  <a:pt x="13392" y="16780"/>
                </a:lnTo>
                <a:lnTo>
                  <a:pt x="10912" y="13572"/>
                </a:lnTo>
                <a:lnTo>
                  <a:pt x="8432" y="10117"/>
                </a:lnTo>
                <a:lnTo>
                  <a:pt x="6200" y="6662"/>
                </a:lnTo>
                <a:lnTo>
                  <a:pt x="3968" y="3454"/>
                </a:lnTo>
                <a:lnTo>
                  <a:pt x="1984" y="0"/>
                </a:lnTo>
                <a:lnTo>
                  <a:pt x="0" y="1480"/>
                </a:lnTo>
                <a:lnTo>
                  <a:pt x="1984" y="4935"/>
                </a:lnTo>
                <a:lnTo>
                  <a:pt x="4216" y="8143"/>
                </a:lnTo>
                <a:lnTo>
                  <a:pt x="6448" y="11598"/>
                </a:lnTo>
                <a:lnTo>
                  <a:pt x="8928" y="15053"/>
                </a:lnTo>
                <a:lnTo>
                  <a:pt x="11408" y="18261"/>
                </a:lnTo>
                <a:lnTo>
                  <a:pt x="14136" y="21716"/>
                </a:lnTo>
                <a:lnTo>
                  <a:pt x="17112" y="24924"/>
                </a:lnTo>
                <a:lnTo>
                  <a:pt x="20088" y="28132"/>
                </a:lnTo>
                <a:lnTo>
                  <a:pt x="23313" y="31093"/>
                </a:lnTo>
                <a:lnTo>
                  <a:pt x="26537" y="33808"/>
                </a:lnTo>
                <a:lnTo>
                  <a:pt x="29761" y="36522"/>
                </a:lnTo>
                <a:lnTo>
                  <a:pt x="32985" y="38743"/>
                </a:lnTo>
                <a:lnTo>
                  <a:pt x="36953" y="40964"/>
                </a:lnTo>
                <a:lnTo>
                  <a:pt x="40425" y="42692"/>
                </a:lnTo>
                <a:lnTo>
                  <a:pt x="44145" y="44666"/>
                </a:lnTo>
                <a:lnTo>
                  <a:pt x="48114" y="45900"/>
                </a:lnTo>
                <a:lnTo>
                  <a:pt x="49106" y="45653"/>
                </a:lnTo>
                <a:lnTo>
                  <a:pt x="49602" y="44913"/>
                </a:lnTo>
                <a:close/>
              </a:path>
            </a:pathLst>
          </a:custGeom>
          <a:solidFill>
            <a:srgbClr val="000000"/>
          </a:solidFill>
        </p:spPr>
        <p:txBody>
          <a:bodyPr wrap="square" lIns="0" tIns="0" rIns="0" bIns="0" rtlCol="0">
            <a:noAutofit/>
          </a:bodyPr>
          <a:lstStyle/>
          <a:p>
            <a:endParaRPr/>
          </a:p>
        </p:txBody>
      </p:sp>
      <p:sp>
        <p:nvSpPr>
          <p:cNvPr id="1666" name="object 1666"/>
          <p:cNvSpPr/>
          <p:nvPr/>
        </p:nvSpPr>
        <p:spPr>
          <a:xfrm>
            <a:off x="7888160" y="1156474"/>
            <a:ext cx="56298" cy="19495"/>
          </a:xfrm>
          <a:custGeom>
            <a:avLst/>
            <a:gdLst/>
            <a:ahLst/>
            <a:cxnLst/>
            <a:rect l="l" t="t" r="r" b="b"/>
            <a:pathLst>
              <a:path w="56298" h="19495">
                <a:moveTo>
                  <a:pt x="54810" y="19495"/>
                </a:moveTo>
                <a:lnTo>
                  <a:pt x="55306" y="17027"/>
                </a:lnTo>
                <a:lnTo>
                  <a:pt x="496" y="0"/>
                </a:lnTo>
                <a:lnTo>
                  <a:pt x="0" y="2467"/>
                </a:lnTo>
                <a:lnTo>
                  <a:pt x="54810" y="19495"/>
                </a:lnTo>
                <a:lnTo>
                  <a:pt x="55306" y="17027"/>
                </a:lnTo>
                <a:lnTo>
                  <a:pt x="54810" y="19495"/>
                </a:lnTo>
                <a:lnTo>
                  <a:pt x="55802" y="19248"/>
                </a:lnTo>
                <a:lnTo>
                  <a:pt x="56298" y="18508"/>
                </a:lnTo>
                <a:lnTo>
                  <a:pt x="56050" y="17521"/>
                </a:lnTo>
                <a:lnTo>
                  <a:pt x="55306" y="17027"/>
                </a:lnTo>
                <a:lnTo>
                  <a:pt x="54810" y="19495"/>
                </a:lnTo>
                <a:close/>
              </a:path>
            </a:pathLst>
          </a:custGeom>
          <a:solidFill>
            <a:srgbClr val="000000"/>
          </a:solidFill>
        </p:spPr>
        <p:txBody>
          <a:bodyPr wrap="square" lIns="0" tIns="0" rIns="0" bIns="0" rtlCol="0">
            <a:noAutofit/>
          </a:bodyPr>
          <a:lstStyle/>
          <a:p>
            <a:endParaRPr/>
          </a:p>
        </p:txBody>
      </p:sp>
      <p:sp>
        <p:nvSpPr>
          <p:cNvPr id="1667" name="object 1667"/>
          <p:cNvSpPr/>
          <p:nvPr/>
        </p:nvSpPr>
        <p:spPr>
          <a:xfrm>
            <a:off x="7887168" y="1164370"/>
            <a:ext cx="56298" cy="11598"/>
          </a:xfrm>
          <a:custGeom>
            <a:avLst/>
            <a:gdLst/>
            <a:ahLst/>
            <a:cxnLst/>
            <a:rect l="l" t="t" r="r" b="b"/>
            <a:pathLst>
              <a:path w="56298" h="11598">
                <a:moveTo>
                  <a:pt x="744" y="2467"/>
                </a:moveTo>
                <a:lnTo>
                  <a:pt x="55802" y="11598"/>
                </a:lnTo>
                <a:lnTo>
                  <a:pt x="56298" y="9130"/>
                </a:lnTo>
                <a:lnTo>
                  <a:pt x="1240" y="0"/>
                </a:lnTo>
                <a:lnTo>
                  <a:pt x="248" y="246"/>
                </a:lnTo>
                <a:lnTo>
                  <a:pt x="0" y="987"/>
                </a:lnTo>
                <a:lnTo>
                  <a:pt x="0" y="1974"/>
                </a:lnTo>
                <a:lnTo>
                  <a:pt x="744" y="2467"/>
                </a:lnTo>
                <a:close/>
              </a:path>
            </a:pathLst>
          </a:custGeom>
          <a:solidFill>
            <a:srgbClr val="000000"/>
          </a:solidFill>
        </p:spPr>
        <p:txBody>
          <a:bodyPr wrap="square" lIns="0" tIns="0" rIns="0" bIns="0" rtlCol="0">
            <a:noAutofit/>
          </a:bodyPr>
          <a:lstStyle/>
          <a:p>
            <a:endParaRPr/>
          </a:p>
        </p:txBody>
      </p:sp>
      <p:sp>
        <p:nvSpPr>
          <p:cNvPr id="1668" name="object 1668"/>
          <p:cNvSpPr/>
          <p:nvPr/>
        </p:nvSpPr>
        <p:spPr>
          <a:xfrm>
            <a:off x="7841534" y="1172268"/>
            <a:ext cx="2976" cy="1233"/>
          </a:xfrm>
          <a:custGeom>
            <a:avLst/>
            <a:gdLst/>
            <a:ahLst/>
            <a:cxnLst/>
            <a:rect l="l" t="t" r="r" b="b"/>
            <a:pathLst>
              <a:path w="2976" h="1233">
                <a:moveTo>
                  <a:pt x="744" y="0"/>
                </a:moveTo>
                <a:lnTo>
                  <a:pt x="0" y="1233"/>
                </a:lnTo>
                <a:lnTo>
                  <a:pt x="2976" y="0"/>
                </a:lnTo>
                <a:lnTo>
                  <a:pt x="744" y="0"/>
                </a:lnTo>
                <a:close/>
              </a:path>
            </a:pathLst>
          </a:custGeom>
          <a:solidFill>
            <a:srgbClr val="000000"/>
          </a:solidFill>
        </p:spPr>
        <p:txBody>
          <a:bodyPr wrap="square" lIns="0" tIns="0" rIns="0" bIns="0" rtlCol="0">
            <a:noAutofit/>
          </a:bodyPr>
          <a:lstStyle/>
          <a:p>
            <a:endParaRPr/>
          </a:p>
        </p:txBody>
      </p:sp>
      <p:sp>
        <p:nvSpPr>
          <p:cNvPr id="1669" name="object 1669"/>
          <p:cNvSpPr/>
          <p:nvPr/>
        </p:nvSpPr>
        <p:spPr>
          <a:xfrm>
            <a:off x="7839798" y="1162642"/>
            <a:ext cx="48610" cy="10858"/>
          </a:xfrm>
          <a:custGeom>
            <a:avLst/>
            <a:gdLst/>
            <a:ahLst/>
            <a:cxnLst/>
            <a:rect l="l" t="t" r="r" b="b"/>
            <a:pathLst>
              <a:path w="48610" h="10858">
                <a:moveTo>
                  <a:pt x="217" y="9778"/>
                </a:moveTo>
                <a:lnTo>
                  <a:pt x="744" y="10858"/>
                </a:lnTo>
                <a:lnTo>
                  <a:pt x="1736" y="10858"/>
                </a:lnTo>
                <a:lnTo>
                  <a:pt x="2480" y="9624"/>
                </a:lnTo>
                <a:lnTo>
                  <a:pt x="4712" y="9624"/>
                </a:lnTo>
                <a:lnTo>
                  <a:pt x="7440" y="8390"/>
                </a:lnTo>
                <a:lnTo>
                  <a:pt x="10168" y="7403"/>
                </a:lnTo>
                <a:lnTo>
                  <a:pt x="12896" y="6416"/>
                </a:lnTo>
                <a:lnTo>
                  <a:pt x="15624" y="5429"/>
                </a:lnTo>
                <a:lnTo>
                  <a:pt x="18104" y="4688"/>
                </a:lnTo>
                <a:lnTo>
                  <a:pt x="20832" y="3948"/>
                </a:lnTo>
                <a:lnTo>
                  <a:pt x="23561" y="3454"/>
                </a:lnTo>
                <a:lnTo>
                  <a:pt x="26537" y="2961"/>
                </a:lnTo>
                <a:lnTo>
                  <a:pt x="29017" y="2714"/>
                </a:lnTo>
                <a:lnTo>
                  <a:pt x="31993" y="2467"/>
                </a:lnTo>
                <a:lnTo>
                  <a:pt x="38193" y="2467"/>
                </a:lnTo>
                <a:lnTo>
                  <a:pt x="41169" y="2961"/>
                </a:lnTo>
                <a:lnTo>
                  <a:pt x="44642" y="3454"/>
                </a:lnTo>
                <a:lnTo>
                  <a:pt x="48114" y="4195"/>
                </a:lnTo>
                <a:lnTo>
                  <a:pt x="48610" y="1727"/>
                </a:lnTo>
                <a:lnTo>
                  <a:pt x="45138" y="987"/>
                </a:lnTo>
                <a:lnTo>
                  <a:pt x="41665" y="493"/>
                </a:lnTo>
                <a:lnTo>
                  <a:pt x="38193" y="0"/>
                </a:lnTo>
                <a:lnTo>
                  <a:pt x="31993" y="0"/>
                </a:lnTo>
                <a:lnTo>
                  <a:pt x="29017" y="246"/>
                </a:lnTo>
                <a:lnTo>
                  <a:pt x="26041" y="493"/>
                </a:lnTo>
                <a:lnTo>
                  <a:pt x="23065" y="987"/>
                </a:lnTo>
                <a:lnTo>
                  <a:pt x="20336" y="1480"/>
                </a:lnTo>
                <a:lnTo>
                  <a:pt x="17608" y="2220"/>
                </a:lnTo>
                <a:lnTo>
                  <a:pt x="14632" y="2961"/>
                </a:lnTo>
                <a:lnTo>
                  <a:pt x="11904" y="3948"/>
                </a:lnTo>
                <a:lnTo>
                  <a:pt x="9176" y="4935"/>
                </a:lnTo>
                <a:lnTo>
                  <a:pt x="6448" y="5922"/>
                </a:lnTo>
                <a:lnTo>
                  <a:pt x="3720" y="7156"/>
                </a:lnTo>
                <a:lnTo>
                  <a:pt x="744" y="8390"/>
                </a:lnTo>
                <a:lnTo>
                  <a:pt x="0" y="9130"/>
                </a:lnTo>
                <a:lnTo>
                  <a:pt x="217" y="9778"/>
                </a:lnTo>
                <a:close/>
              </a:path>
            </a:pathLst>
          </a:custGeom>
          <a:solidFill>
            <a:srgbClr val="000000"/>
          </a:solidFill>
        </p:spPr>
        <p:txBody>
          <a:bodyPr wrap="square" lIns="0" tIns="0" rIns="0" bIns="0" rtlCol="0">
            <a:noAutofit/>
          </a:bodyPr>
          <a:lstStyle/>
          <a:p>
            <a:endParaRPr/>
          </a:p>
        </p:txBody>
      </p:sp>
      <p:sp>
        <p:nvSpPr>
          <p:cNvPr id="1670" name="object 1670"/>
          <p:cNvSpPr/>
          <p:nvPr/>
        </p:nvSpPr>
        <p:spPr>
          <a:xfrm>
            <a:off x="7839798" y="1112547"/>
            <a:ext cx="2480" cy="1974"/>
          </a:xfrm>
          <a:custGeom>
            <a:avLst/>
            <a:gdLst/>
            <a:ahLst/>
            <a:cxnLst/>
            <a:rect l="l" t="t" r="r" b="b"/>
            <a:pathLst>
              <a:path w="2480" h="1974">
                <a:moveTo>
                  <a:pt x="2029" y="560"/>
                </a:moveTo>
                <a:lnTo>
                  <a:pt x="1240" y="0"/>
                </a:lnTo>
                <a:lnTo>
                  <a:pt x="496" y="493"/>
                </a:lnTo>
                <a:lnTo>
                  <a:pt x="0" y="1233"/>
                </a:lnTo>
                <a:lnTo>
                  <a:pt x="248" y="1974"/>
                </a:lnTo>
                <a:lnTo>
                  <a:pt x="2480" y="1233"/>
                </a:lnTo>
                <a:lnTo>
                  <a:pt x="2029" y="560"/>
                </a:lnTo>
                <a:close/>
              </a:path>
            </a:pathLst>
          </a:custGeom>
          <a:solidFill>
            <a:srgbClr val="000000"/>
          </a:solidFill>
        </p:spPr>
        <p:txBody>
          <a:bodyPr wrap="square" lIns="0" tIns="0" rIns="0" bIns="0" rtlCol="0">
            <a:noAutofit/>
          </a:bodyPr>
          <a:lstStyle/>
          <a:p>
            <a:endParaRPr/>
          </a:p>
        </p:txBody>
      </p:sp>
      <p:sp>
        <p:nvSpPr>
          <p:cNvPr id="1671" name="object 1671"/>
          <p:cNvSpPr/>
          <p:nvPr/>
        </p:nvSpPr>
        <p:spPr>
          <a:xfrm>
            <a:off x="7839798" y="1113782"/>
            <a:ext cx="2480" cy="58485"/>
          </a:xfrm>
          <a:custGeom>
            <a:avLst/>
            <a:gdLst/>
            <a:ahLst/>
            <a:cxnLst/>
            <a:rect l="l" t="t" r="r" b="b"/>
            <a:pathLst>
              <a:path w="2480" h="58485">
                <a:moveTo>
                  <a:pt x="2480" y="58485"/>
                </a:moveTo>
                <a:lnTo>
                  <a:pt x="2480" y="0"/>
                </a:lnTo>
                <a:lnTo>
                  <a:pt x="248" y="740"/>
                </a:lnTo>
                <a:lnTo>
                  <a:pt x="0" y="0"/>
                </a:lnTo>
                <a:lnTo>
                  <a:pt x="0" y="58485"/>
                </a:lnTo>
                <a:lnTo>
                  <a:pt x="2480" y="58485"/>
                </a:lnTo>
                <a:close/>
              </a:path>
            </a:pathLst>
          </a:custGeom>
          <a:solidFill>
            <a:srgbClr val="000000"/>
          </a:solidFill>
        </p:spPr>
        <p:txBody>
          <a:bodyPr wrap="square" lIns="0" tIns="0" rIns="0" bIns="0" rtlCol="0">
            <a:noAutofit/>
          </a:bodyPr>
          <a:lstStyle/>
          <a:p>
            <a:endParaRPr/>
          </a:p>
        </p:txBody>
      </p:sp>
      <p:sp>
        <p:nvSpPr>
          <p:cNvPr id="1672" name="object 1672"/>
          <p:cNvSpPr/>
          <p:nvPr/>
        </p:nvSpPr>
        <p:spPr>
          <a:xfrm>
            <a:off x="7817229" y="1113535"/>
            <a:ext cx="46130" cy="58485"/>
          </a:xfrm>
          <a:custGeom>
            <a:avLst/>
            <a:gdLst/>
            <a:ahLst/>
            <a:cxnLst/>
            <a:rect l="l" t="t" r="r" b="b"/>
            <a:pathLst>
              <a:path w="46130" h="58485">
                <a:moveTo>
                  <a:pt x="23065" y="0"/>
                </a:moveTo>
                <a:lnTo>
                  <a:pt x="18352" y="493"/>
                </a:lnTo>
                <a:lnTo>
                  <a:pt x="14136" y="2220"/>
                </a:lnTo>
                <a:lnTo>
                  <a:pt x="10168" y="4935"/>
                </a:lnTo>
                <a:lnTo>
                  <a:pt x="6696" y="8637"/>
                </a:lnTo>
                <a:lnTo>
                  <a:pt x="3968" y="12832"/>
                </a:lnTo>
                <a:lnTo>
                  <a:pt x="1736" y="18014"/>
                </a:lnTo>
                <a:lnTo>
                  <a:pt x="496" y="23443"/>
                </a:lnTo>
                <a:lnTo>
                  <a:pt x="0" y="29366"/>
                </a:lnTo>
                <a:lnTo>
                  <a:pt x="496" y="35288"/>
                </a:lnTo>
                <a:lnTo>
                  <a:pt x="1736" y="40717"/>
                </a:lnTo>
                <a:lnTo>
                  <a:pt x="3968" y="45653"/>
                </a:lnTo>
                <a:lnTo>
                  <a:pt x="6696" y="49848"/>
                </a:lnTo>
                <a:lnTo>
                  <a:pt x="10168" y="53550"/>
                </a:lnTo>
                <a:lnTo>
                  <a:pt x="14136" y="56264"/>
                </a:lnTo>
                <a:lnTo>
                  <a:pt x="18352" y="57992"/>
                </a:lnTo>
                <a:lnTo>
                  <a:pt x="23065" y="58485"/>
                </a:lnTo>
                <a:lnTo>
                  <a:pt x="27777" y="57992"/>
                </a:lnTo>
                <a:lnTo>
                  <a:pt x="31993" y="56264"/>
                </a:lnTo>
                <a:lnTo>
                  <a:pt x="35961" y="53550"/>
                </a:lnTo>
                <a:lnTo>
                  <a:pt x="39433" y="49848"/>
                </a:lnTo>
                <a:lnTo>
                  <a:pt x="42161" y="45653"/>
                </a:lnTo>
                <a:lnTo>
                  <a:pt x="44393" y="40717"/>
                </a:lnTo>
                <a:lnTo>
                  <a:pt x="45634" y="35288"/>
                </a:lnTo>
                <a:lnTo>
                  <a:pt x="46130" y="29366"/>
                </a:lnTo>
                <a:lnTo>
                  <a:pt x="45634" y="23443"/>
                </a:lnTo>
                <a:lnTo>
                  <a:pt x="44393" y="18014"/>
                </a:lnTo>
                <a:lnTo>
                  <a:pt x="42161" y="12832"/>
                </a:lnTo>
                <a:lnTo>
                  <a:pt x="39433" y="8637"/>
                </a:lnTo>
                <a:lnTo>
                  <a:pt x="35961" y="4935"/>
                </a:lnTo>
                <a:lnTo>
                  <a:pt x="31993" y="2220"/>
                </a:lnTo>
                <a:lnTo>
                  <a:pt x="27777" y="493"/>
                </a:lnTo>
                <a:lnTo>
                  <a:pt x="23065" y="0"/>
                </a:lnTo>
                <a:close/>
              </a:path>
            </a:pathLst>
          </a:custGeom>
          <a:solidFill>
            <a:srgbClr val="FFBE00"/>
          </a:solidFill>
        </p:spPr>
        <p:txBody>
          <a:bodyPr wrap="square" lIns="0" tIns="0" rIns="0" bIns="0" rtlCol="0">
            <a:noAutofit/>
          </a:bodyPr>
          <a:lstStyle/>
          <a:p>
            <a:endParaRPr/>
          </a:p>
        </p:txBody>
      </p:sp>
      <p:sp>
        <p:nvSpPr>
          <p:cNvPr id="1673" name="object 1673"/>
          <p:cNvSpPr/>
          <p:nvPr/>
        </p:nvSpPr>
        <p:spPr>
          <a:xfrm>
            <a:off x="7840295" y="1112300"/>
            <a:ext cx="24305" cy="30600"/>
          </a:xfrm>
          <a:custGeom>
            <a:avLst/>
            <a:gdLst/>
            <a:ahLst/>
            <a:cxnLst/>
            <a:rect l="l" t="t" r="r" b="b"/>
            <a:pathLst>
              <a:path w="24305" h="30600">
                <a:moveTo>
                  <a:pt x="4464" y="2961"/>
                </a:moveTo>
                <a:lnTo>
                  <a:pt x="8432" y="4441"/>
                </a:lnTo>
                <a:lnTo>
                  <a:pt x="12152" y="7156"/>
                </a:lnTo>
                <a:lnTo>
                  <a:pt x="15376" y="10611"/>
                </a:lnTo>
                <a:lnTo>
                  <a:pt x="18104" y="14559"/>
                </a:lnTo>
                <a:lnTo>
                  <a:pt x="20088" y="19742"/>
                </a:lnTo>
                <a:lnTo>
                  <a:pt x="21328" y="24924"/>
                </a:lnTo>
                <a:lnTo>
                  <a:pt x="21824" y="30600"/>
                </a:lnTo>
                <a:lnTo>
                  <a:pt x="24305" y="30600"/>
                </a:lnTo>
                <a:lnTo>
                  <a:pt x="23809" y="24430"/>
                </a:lnTo>
                <a:lnTo>
                  <a:pt x="22569" y="18754"/>
                </a:lnTo>
                <a:lnTo>
                  <a:pt x="20088" y="13572"/>
                </a:lnTo>
                <a:lnTo>
                  <a:pt x="17360" y="9130"/>
                </a:lnTo>
                <a:lnTo>
                  <a:pt x="13640" y="5182"/>
                </a:lnTo>
                <a:lnTo>
                  <a:pt x="9424" y="2467"/>
                </a:lnTo>
                <a:lnTo>
                  <a:pt x="4960" y="493"/>
                </a:lnTo>
                <a:lnTo>
                  <a:pt x="0" y="0"/>
                </a:lnTo>
                <a:lnTo>
                  <a:pt x="0" y="2467"/>
                </a:lnTo>
                <a:lnTo>
                  <a:pt x="4464" y="2961"/>
                </a:lnTo>
                <a:close/>
              </a:path>
            </a:pathLst>
          </a:custGeom>
          <a:solidFill>
            <a:srgbClr val="000000"/>
          </a:solidFill>
        </p:spPr>
        <p:txBody>
          <a:bodyPr wrap="square" lIns="0" tIns="0" rIns="0" bIns="0" rtlCol="0">
            <a:noAutofit/>
          </a:bodyPr>
          <a:lstStyle/>
          <a:p>
            <a:endParaRPr/>
          </a:p>
        </p:txBody>
      </p:sp>
      <p:sp>
        <p:nvSpPr>
          <p:cNvPr id="1674" name="object 1674"/>
          <p:cNvSpPr/>
          <p:nvPr/>
        </p:nvSpPr>
        <p:spPr>
          <a:xfrm>
            <a:off x="7840295" y="1142901"/>
            <a:ext cx="24305" cy="30353"/>
          </a:xfrm>
          <a:custGeom>
            <a:avLst/>
            <a:gdLst/>
            <a:ahLst/>
            <a:cxnLst/>
            <a:rect l="l" t="t" r="r" b="b"/>
            <a:pathLst>
              <a:path w="24305" h="30353">
                <a:moveTo>
                  <a:pt x="0" y="27885"/>
                </a:moveTo>
                <a:lnTo>
                  <a:pt x="0" y="30353"/>
                </a:lnTo>
                <a:lnTo>
                  <a:pt x="4960" y="29859"/>
                </a:lnTo>
                <a:lnTo>
                  <a:pt x="9424" y="27885"/>
                </a:lnTo>
                <a:lnTo>
                  <a:pt x="13640" y="25171"/>
                </a:lnTo>
                <a:lnTo>
                  <a:pt x="17360" y="21222"/>
                </a:lnTo>
                <a:lnTo>
                  <a:pt x="20088" y="16780"/>
                </a:lnTo>
                <a:lnTo>
                  <a:pt x="22569" y="11845"/>
                </a:lnTo>
                <a:lnTo>
                  <a:pt x="23809" y="6169"/>
                </a:lnTo>
                <a:lnTo>
                  <a:pt x="24305" y="0"/>
                </a:lnTo>
                <a:lnTo>
                  <a:pt x="21824" y="0"/>
                </a:lnTo>
                <a:lnTo>
                  <a:pt x="21328" y="5675"/>
                </a:lnTo>
                <a:lnTo>
                  <a:pt x="20088" y="10858"/>
                </a:lnTo>
                <a:lnTo>
                  <a:pt x="18104" y="15793"/>
                </a:lnTo>
                <a:lnTo>
                  <a:pt x="15376" y="19742"/>
                </a:lnTo>
                <a:lnTo>
                  <a:pt x="12152" y="23196"/>
                </a:lnTo>
                <a:lnTo>
                  <a:pt x="8432" y="25911"/>
                </a:lnTo>
                <a:lnTo>
                  <a:pt x="4464" y="27392"/>
                </a:lnTo>
                <a:lnTo>
                  <a:pt x="0" y="27885"/>
                </a:lnTo>
                <a:close/>
              </a:path>
            </a:pathLst>
          </a:custGeom>
          <a:solidFill>
            <a:srgbClr val="000000"/>
          </a:solidFill>
        </p:spPr>
        <p:txBody>
          <a:bodyPr wrap="square" lIns="0" tIns="0" rIns="0" bIns="0" rtlCol="0">
            <a:noAutofit/>
          </a:bodyPr>
          <a:lstStyle/>
          <a:p>
            <a:endParaRPr/>
          </a:p>
        </p:txBody>
      </p:sp>
      <p:sp>
        <p:nvSpPr>
          <p:cNvPr id="1675" name="object 1675"/>
          <p:cNvSpPr/>
          <p:nvPr/>
        </p:nvSpPr>
        <p:spPr>
          <a:xfrm>
            <a:off x="7815990" y="1142901"/>
            <a:ext cx="24305" cy="30353"/>
          </a:xfrm>
          <a:custGeom>
            <a:avLst/>
            <a:gdLst/>
            <a:ahLst/>
            <a:cxnLst/>
            <a:rect l="l" t="t" r="r" b="b"/>
            <a:pathLst>
              <a:path w="24305" h="30353">
                <a:moveTo>
                  <a:pt x="6200" y="15793"/>
                </a:moveTo>
                <a:lnTo>
                  <a:pt x="4216" y="10858"/>
                </a:lnTo>
                <a:lnTo>
                  <a:pt x="2976" y="5675"/>
                </a:lnTo>
                <a:lnTo>
                  <a:pt x="2480" y="0"/>
                </a:lnTo>
                <a:lnTo>
                  <a:pt x="0" y="0"/>
                </a:lnTo>
                <a:lnTo>
                  <a:pt x="496" y="6169"/>
                </a:lnTo>
                <a:lnTo>
                  <a:pt x="1736" y="11845"/>
                </a:lnTo>
                <a:lnTo>
                  <a:pt x="4216" y="16780"/>
                </a:lnTo>
                <a:lnTo>
                  <a:pt x="6944" y="21222"/>
                </a:lnTo>
                <a:lnTo>
                  <a:pt x="10664" y="25171"/>
                </a:lnTo>
                <a:lnTo>
                  <a:pt x="14880" y="27885"/>
                </a:lnTo>
                <a:lnTo>
                  <a:pt x="19344" y="29859"/>
                </a:lnTo>
                <a:lnTo>
                  <a:pt x="24305" y="30353"/>
                </a:lnTo>
                <a:lnTo>
                  <a:pt x="24305" y="27885"/>
                </a:lnTo>
                <a:lnTo>
                  <a:pt x="19840" y="27392"/>
                </a:lnTo>
                <a:lnTo>
                  <a:pt x="15872" y="25911"/>
                </a:lnTo>
                <a:lnTo>
                  <a:pt x="12152" y="23196"/>
                </a:lnTo>
                <a:lnTo>
                  <a:pt x="8928" y="19742"/>
                </a:lnTo>
                <a:lnTo>
                  <a:pt x="6200" y="15793"/>
                </a:lnTo>
                <a:close/>
              </a:path>
            </a:pathLst>
          </a:custGeom>
          <a:solidFill>
            <a:srgbClr val="000000"/>
          </a:solidFill>
        </p:spPr>
        <p:txBody>
          <a:bodyPr wrap="square" lIns="0" tIns="0" rIns="0" bIns="0" rtlCol="0">
            <a:noAutofit/>
          </a:bodyPr>
          <a:lstStyle/>
          <a:p>
            <a:endParaRPr/>
          </a:p>
        </p:txBody>
      </p:sp>
      <p:sp>
        <p:nvSpPr>
          <p:cNvPr id="1676" name="object 1676"/>
          <p:cNvSpPr/>
          <p:nvPr/>
        </p:nvSpPr>
        <p:spPr>
          <a:xfrm>
            <a:off x="7815990" y="1112300"/>
            <a:ext cx="24305" cy="30600"/>
          </a:xfrm>
          <a:custGeom>
            <a:avLst/>
            <a:gdLst/>
            <a:ahLst/>
            <a:cxnLst/>
            <a:rect l="l" t="t" r="r" b="b"/>
            <a:pathLst>
              <a:path w="24305" h="30600">
                <a:moveTo>
                  <a:pt x="2480" y="30600"/>
                </a:moveTo>
                <a:lnTo>
                  <a:pt x="2976" y="24924"/>
                </a:lnTo>
                <a:lnTo>
                  <a:pt x="4216" y="19742"/>
                </a:lnTo>
                <a:lnTo>
                  <a:pt x="6200" y="14559"/>
                </a:lnTo>
                <a:lnTo>
                  <a:pt x="8928" y="10611"/>
                </a:lnTo>
                <a:lnTo>
                  <a:pt x="12152" y="7156"/>
                </a:lnTo>
                <a:lnTo>
                  <a:pt x="15872" y="4441"/>
                </a:lnTo>
                <a:lnTo>
                  <a:pt x="19840" y="2961"/>
                </a:lnTo>
                <a:lnTo>
                  <a:pt x="24305" y="2467"/>
                </a:lnTo>
                <a:lnTo>
                  <a:pt x="24305" y="0"/>
                </a:lnTo>
                <a:lnTo>
                  <a:pt x="19344" y="493"/>
                </a:lnTo>
                <a:lnTo>
                  <a:pt x="14880" y="2467"/>
                </a:lnTo>
                <a:lnTo>
                  <a:pt x="10664" y="5182"/>
                </a:lnTo>
                <a:lnTo>
                  <a:pt x="6944" y="9130"/>
                </a:lnTo>
                <a:lnTo>
                  <a:pt x="4216" y="13572"/>
                </a:lnTo>
                <a:lnTo>
                  <a:pt x="1736" y="18754"/>
                </a:lnTo>
                <a:lnTo>
                  <a:pt x="496" y="24430"/>
                </a:lnTo>
                <a:lnTo>
                  <a:pt x="0" y="30600"/>
                </a:lnTo>
                <a:lnTo>
                  <a:pt x="2480" y="30600"/>
                </a:lnTo>
                <a:close/>
              </a:path>
            </a:pathLst>
          </a:custGeom>
          <a:solidFill>
            <a:srgbClr val="000000"/>
          </a:solidFill>
        </p:spPr>
        <p:txBody>
          <a:bodyPr wrap="square" lIns="0" tIns="0" rIns="0" bIns="0" rtlCol="0">
            <a:noAutofit/>
          </a:bodyPr>
          <a:lstStyle/>
          <a:p>
            <a:endParaRPr/>
          </a:p>
        </p:txBody>
      </p:sp>
      <p:sp>
        <p:nvSpPr>
          <p:cNvPr id="1677" name="object 1677"/>
          <p:cNvSpPr/>
          <p:nvPr/>
        </p:nvSpPr>
        <p:spPr>
          <a:xfrm>
            <a:off x="7837815" y="1135745"/>
            <a:ext cx="22817" cy="29119"/>
          </a:xfrm>
          <a:custGeom>
            <a:avLst/>
            <a:gdLst/>
            <a:ahLst/>
            <a:cxnLst/>
            <a:rect l="l" t="t" r="r" b="b"/>
            <a:pathLst>
              <a:path w="22817" h="29119">
                <a:moveTo>
                  <a:pt x="11408" y="0"/>
                </a:moveTo>
                <a:lnTo>
                  <a:pt x="9176" y="246"/>
                </a:lnTo>
                <a:lnTo>
                  <a:pt x="6944" y="1233"/>
                </a:lnTo>
                <a:lnTo>
                  <a:pt x="4960" y="2467"/>
                </a:lnTo>
                <a:lnTo>
                  <a:pt x="3472" y="4195"/>
                </a:lnTo>
                <a:lnTo>
                  <a:pt x="1984" y="6416"/>
                </a:lnTo>
                <a:lnTo>
                  <a:pt x="992" y="8883"/>
                </a:lnTo>
                <a:lnTo>
                  <a:pt x="248" y="11598"/>
                </a:lnTo>
                <a:lnTo>
                  <a:pt x="0" y="14559"/>
                </a:lnTo>
                <a:lnTo>
                  <a:pt x="248" y="17521"/>
                </a:lnTo>
                <a:lnTo>
                  <a:pt x="992" y="20235"/>
                </a:lnTo>
                <a:lnTo>
                  <a:pt x="1984" y="22703"/>
                </a:lnTo>
                <a:lnTo>
                  <a:pt x="3472" y="24677"/>
                </a:lnTo>
                <a:lnTo>
                  <a:pt x="4960" y="26651"/>
                </a:lnTo>
                <a:lnTo>
                  <a:pt x="6944" y="27885"/>
                </a:lnTo>
                <a:lnTo>
                  <a:pt x="9176" y="28872"/>
                </a:lnTo>
                <a:lnTo>
                  <a:pt x="11408" y="29119"/>
                </a:lnTo>
                <a:lnTo>
                  <a:pt x="13640" y="28872"/>
                </a:lnTo>
                <a:lnTo>
                  <a:pt x="15872" y="27885"/>
                </a:lnTo>
                <a:lnTo>
                  <a:pt x="17856" y="26651"/>
                </a:lnTo>
                <a:lnTo>
                  <a:pt x="19592" y="24677"/>
                </a:lnTo>
                <a:lnTo>
                  <a:pt x="20832" y="22703"/>
                </a:lnTo>
                <a:lnTo>
                  <a:pt x="21824" y="20235"/>
                </a:lnTo>
                <a:lnTo>
                  <a:pt x="22569" y="17521"/>
                </a:lnTo>
                <a:lnTo>
                  <a:pt x="22817" y="14559"/>
                </a:lnTo>
                <a:lnTo>
                  <a:pt x="22569" y="11598"/>
                </a:lnTo>
                <a:lnTo>
                  <a:pt x="21824" y="8883"/>
                </a:lnTo>
                <a:lnTo>
                  <a:pt x="20832" y="6416"/>
                </a:lnTo>
                <a:lnTo>
                  <a:pt x="19592" y="4195"/>
                </a:lnTo>
                <a:lnTo>
                  <a:pt x="17856" y="2467"/>
                </a:lnTo>
                <a:lnTo>
                  <a:pt x="15872" y="1233"/>
                </a:lnTo>
                <a:lnTo>
                  <a:pt x="13640" y="246"/>
                </a:lnTo>
                <a:lnTo>
                  <a:pt x="11408" y="0"/>
                </a:lnTo>
                <a:close/>
              </a:path>
            </a:pathLst>
          </a:custGeom>
          <a:solidFill>
            <a:srgbClr val="000000"/>
          </a:solidFill>
        </p:spPr>
        <p:txBody>
          <a:bodyPr wrap="square" lIns="0" tIns="0" rIns="0" bIns="0" rtlCol="0">
            <a:noAutofit/>
          </a:bodyPr>
          <a:lstStyle/>
          <a:p>
            <a:endParaRPr/>
          </a:p>
        </p:txBody>
      </p:sp>
      <p:sp>
        <p:nvSpPr>
          <p:cNvPr id="1678" name="object 1678"/>
          <p:cNvSpPr/>
          <p:nvPr/>
        </p:nvSpPr>
        <p:spPr>
          <a:xfrm>
            <a:off x="7849222" y="1134511"/>
            <a:ext cx="12648" cy="15793"/>
          </a:xfrm>
          <a:custGeom>
            <a:avLst/>
            <a:gdLst/>
            <a:ahLst/>
            <a:cxnLst/>
            <a:rect l="l" t="t" r="r" b="b"/>
            <a:pathLst>
              <a:path w="12648" h="15793">
                <a:moveTo>
                  <a:pt x="0" y="0"/>
                </a:moveTo>
                <a:lnTo>
                  <a:pt x="0" y="2467"/>
                </a:lnTo>
                <a:lnTo>
                  <a:pt x="1984" y="2714"/>
                </a:lnTo>
                <a:lnTo>
                  <a:pt x="3968" y="3454"/>
                </a:lnTo>
                <a:lnTo>
                  <a:pt x="5704" y="4688"/>
                </a:lnTo>
                <a:lnTo>
                  <a:pt x="7192" y="6169"/>
                </a:lnTo>
                <a:lnTo>
                  <a:pt x="8184" y="8143"/>
                </a:lnTo>
                <a:lnTo>
                  <a:pt x="9176" y="10611"/>
                </a:lnTo>
                <a:lnTo>
                  <a:pt x="9920" y="13079"/>
                </a:lnTo>
                <a:lnTo>
                  <a:pt x="10168" y="15793"/>
                </a:lnTo>
                <a:lnTo>
                  <a:pt x="12648" y="15793"/>
                </a:lnTo>
                <a:lnTo>
                  <a:pt x="12400" y="12585"/>
                </a:lnTo>
                <a:lnTo>
                  <a:pt x="11656" y="9624"/>
                </a:lnTo>
                <a:lnTo>
                  <a:pt x="10664" y="7156"/>
                </a:lnTo>
                <a:lnTo>
                  <a:pt x="9176" y="4688"/>
                </a:lnTo>
                <a:lnTo>
                  <a:pt x="7192" y="2714"/>
                </a:lnTo>
                <a:lnTo>
                  <a:pt x="4960" y="1480"/>
                </a:lnTo>
                <a:lnTo>
                  <a:pt x="2480" y="246"/>
                </a:lnTo>
                <a:lnTo>
                  <a:pt x="0" y="0"/>
                </a:lnTo>
                <a:close/>
              </a:path>
            </a:pathLst>
          </a:custGeom>
          <a:solidFill>
            <a:srgbClr val="000000"/>
          </a:solidFill>
        </p:spPr>
        <p:txBody>
          <a:bodyPr wrap="square" lIns="0" tIns="0" rIns="0" bIns="0" rtlCol="0">
            <a:noAutofit/>
          </a:bodyPr>
          <a:lstStyle/>
          <a:p>
            <a:endParaRPr/>
          </a:p>
        </p:txBody>
      </p:sp>
      <p:sp>
        <p:nvSpPr>
          <p:cNvPr id="1679" name="object 1679"/>
          <p:cNvSpPr/>
          <p:nvPr/>
        </p:nvSpPr>
        <p:spPr>
          <a:xfrm>
            <a:off x="7849222" y="1150304"/>
            <a:ext cx="12648" cy="15793"/>
          </a:xfrm>
          <a:custGeom>
            <a:avLst/>
            <a:gdLst/>
            <a:ahLst/>
            <a:cxnLst/>
            <a:rect l="l" t="t" r="r" b="b"/>
            <a:pathLst>
              <a:path w="12648" h="15793">
                <a:moveTo>
                  <a:pt x="9176" y="10858"/>
                </a:moveTo>
                <a:lnTo>
                  <a:pt x="10416" y="8637"/>
                </a:lnTo>
                <a:lnTo>
                  <a:pt x="11656" y="6169"/>
                </a:lnTo>
                <a:lnTo>
                  <a:pt x="12400" y="3208"/>
                </a:lnTo>
                <a:lnTo>
                  <a:pt x="12648" y="0"/>
                </a:lnTo>
                <a:lnTo>
                  <a:pt x="10168" y="0"/>
                </a:lnTo>
                <a:lnTo>
                  <a:pt x="9920" y="2714"/>
                </a:lnTo>
                <a:lnTo>
                  <a:pt x="9176" y="5182"/>
                </a:lnTo>
                <a:lnTo>
                  <a:pt x="8432" y="7650"/>
                </a:lnTo>
                <a:lnTo>
                  <a:pt x="7192" y="9377"/>
                </a:lnTo>
                <a:lnTo>
                  <a:pt x="5704" y="11104"/>
                </a:lnTo>
                <a:lnTo>
                  <a:pt x="3968" y="12338"/>
                </a:lnTo>
                <a:lnTo>
                  <a:pt x="1984" y="13079"/>
                </a:lnTo>
                <a:lnTo>
                  <a:pt x="0" y="13325"/>
                </a:lnTo>
                <a:lnTo>
                  <a:pt x="0" y="15793"/>
                </a:lnTo>
                <a:lnTo>
                  <a:pt x="2480" y="15546"/>
                </a:lnTo>
                <a:lnTo>
                  <a:pt x="4960" y="14312"/>
                </a:lnTo>
                <a:lnTo>
                  <a:pt x="7192" y="13079"/>
                </a:lnTo>
                <a:lnTo>
                  <a:pt x="9176" y="10858"/>
                </a:lnTo>
                <a:close/>
              </a:path>
            </a:pathLst>
          </a:custGeom>
          <a:solidFill>
            <a:srgbClr val="000000"/>
          </a:solidFill>
        </p:spPr>
        <p:txBody>
          <a:bodyPr wrap="square" lIns="0" tIns="0" rIns="0" bIns="0" rtlCol="0">
            <a:noAutofit/>
          </a:bodyPr>
          <a:lstStyle/>
          <a:p>
            <a:endParaRPr/>
          </a:p>
        </p:txBody>
      </p:sp>
      <p:sp>
        <p:nvSpPr>
          <p:cNvPr id="1680" name="object 1680"/>
          <p:cNvSpPr/>
          <p:nvPr/>
        </p:nvSpPr>
        <p:spPr>
          <a:xfrm>
            <a:off x="7836574" y="1150304"/>
            <a:ext cx="12648" cy="15793"/>
          </a:xfrm>
          <a:custGeom>
            <a:avLst/>
            <a:gdLst/>
            <a:ahLst/>
            <a:cxnLst/>
            <a:rect l="l" t="t" r="r" b="b"/>
            <a:pathLst>
              <a:path w="12648" h="15793">
                <a:moveTo>
                  <a:pt x="248" y="3208"/>
                </a:moveTo>
                <a:lnTo>
                  <a:pt x="992" y="6169"/>
                </a:lnTo>
                <a:lnTo>
                  <a:pt x="2232" y="8637"/>
                </a:lnTo>
                <a:lnTo>
                  <a:pt x="3720" y="10858"/>
                </a:lnTo>
                <a:lnTo>
                  <a:pt x="5456" y="13079"/>
                </a:lnTo>
                <a:lnTo>
                  <a:pt x="7688" y="14312"/>
                </a:lnTo>
                <a:lnTo>
                  <a:pt x="10168" y="15546"/>
                </a:lnTo>
                <a:lnTo>
                  <a:pt x="12648" y="15793"/>
                </a:lnTo>
                <a:lnTo>
                  <a:pt x="12648" y="13325"/>
                </a:lnTo>
                <a:lnTo>
                  <a:pt x="10664" y="13079"/>
                </a:lnTo>
                <a:lnTo>
                  <a:pt x="8680" y="12338"/>
                </a:lnTo>
                <a:lnTo>
                  <a:pt x="6944" y="11104"/>
                </a:lnTo>
                <a:lnTo>
                  <a:pt x="5704" y="9377"/>
                </a:lnTo>
                <a:lnTo>
                  <a:pt x="4216" y="7650"/>
                </a:lnTo>
                <a:lnTo>
                  <a:pt x="3472" y="5182"/>
                </a:lnTo>
                <a:lnTo>
                  <a:pt x="2728" y="2714"/>
                </a:lnTo>
                <a:lnTo>
                  <a:pt x="2480" y="0"/>
                </a:lnTo>
                <a:lnTo>
                  <a:pt x="0" y="0"/>
                </a:lnTo>
                <a:lnTo>
                  <a:pt x="248" y="3208"/>
                </a:lnTo>
                <a:close/>
              </a:path>
            </a:pathLst>
          </a:custGeom>
          <a:solidFill>
            <a:srgbClr val="000000"/>
          </a:solidFill>
        </p:spPr>
        <p:txBody>
          <a:bodyPr wrap="square" lIns="0" tIns="0" rIns="0" bIns="0" rtlCol="0">
            <a:noAutofit/>
          </a:bodyPr>
          <a:lstStyle/>
          <a:p>
            <a:endParaRPr/>
          </a:p>
        </p:txBody>
      </p:sp>
      <p:sp>
        <p:nvSpPr>
          <p:cNvPr id="1681" name="object 1681"/>
          <p:cNvSpPr/>
          <p:nvPr/>
        </p:nvSpPr>
        <p:spPr>
          <a:xfrm>
            <a:off x="7836574" y="1134511"/>
            <a:ext cx="12648" cy="15793"/>
          </a:xfrm>
          <a:custGeom>
            <a:avLst/>
            <a:gdLst/>
            <a:ahLst/>
            <a:cxnLst/>
            <a:rect l="l" t="t" r="r" b="b"/>
            <a:pathLst>
              <a:path w="12648" h="15793">
                <a:moveTo>
                  <a:pt x="2232" y="7156"/>
                </a:moveTo>
                <a:lnTo>
                  <a:pt x="992" y="9624"/>
                </a:lnTo>
                <a:lnTo>
                  <a:pt x="248" y="12585"/>
                </a:lnTo>
                <a:lnTo>
                  <a:pt x="0" y="15793"/>
                </a:lnTo>
                <a:lnTo>
                  <a:pt x="2480" y="15793"/>
                </a:lnTo>
                <a:lnTo>
                  <a:pt x="2728" y="13079"/>
                </a:lnTo>
                <a:lnTo>
                  <a:pt x="3472" y="10611"/>
                </a:lnTo>
                <a:lnTo>
                  <a:pt x="4216" y="8143"/>
                </a:lnTo>
                <a:lnTo>
                  <a:pt x="5704" y="6169"/>
                </a:lnTo>
                <a:lnTo>
                  <a:pt x="6944" y="4688"/>
                </a:lnTo>
                <a:lnTo>
                  <a:pt x="8680" y="3454"/>
                </a:lnTo>
                <a:lnTo>
                  <a:pt x="10664" y="2714"/>
                </a:lnTo>
                <a:lnTo>
                  <a:pt x="12648" y="2467"/>
                </a:lnTo>
                <a:lnTo>
                  <a:pt x="12648" y="0"/>
                </a:lnTo>
                <a:lnTo>
                  <a:pt x="10168" y="246"/>
                </a:lnTo>
                <a:lnTo>
                  <a:pt x="7688" y="1480"/>
                </a:lnTo>
                <a:lnTo>
                  <a:pt x="5456" y="2714"/>
                </a:lnTo>
                <a:lnTo>
                  <a:pt x="3720" y="4688"/>
                </a:lnTo>
                <a:lnTo>
                  <a:pt x="2232" y="7156"/>
                </a:lnTo>
                <a:close/>
              </a:path>
            </a:pathLst>
          </a:custGeom>
          <a:solidFill>
            <a:srgbClr val="000000"/>
          </a:solidFill>
        </p:spPr>
        <p:txBody>
          <a:bodyPr wrap="square" lIns="0" tIns="0" rIns="0" bIns="0" rtlCol="0">
            <a:noAutofit/>
          </a:bodyPr>
          <a:lstStyle/>
          <a:p>
            <a:endParaRPr/>
          </a:p>
        </p:txBody>
      </p:sp>
      <p:sp>
        <p:nvSpPr>
          <p:cNvPr id="1682" name="object 1682"/>
          <p:cNvSpPr/>
          <p:nvPr/>
        </p:nvSpPr>
        <p:spPr>
          <a:xfrm>
            <a:off x="7720754" y="1125133"/>
            <a:ext cx="833813" cy="601885"/>
          </a:xfrm>
          <a:custGeom>
            <a:avLst/>
            <a:gdLst/>
            <a:ahLst/>
            <a:cxnLst/>
            <a:rect l="l" t="t" r="r" b="b"/>
            <a:pathLst>
              <a:path w="833813" h="601885">
                <a:moveTo>
                  <a:pt x="427571" y="601885"/>
                </a:moveTo>
                <a:lnTo>
                  <a:pt x="456836" y="601885"/>
                </a:lnTo>
                <a:lnTo>
                  <a:pt x="463036" y="600898"/>
                </a:lnTo>
                <a:lnTo>
                  <a:pt x="468741" y="597937"/>
                </a:lnTo>
                <a:lnTo>
                  <a:pt x="474693" y="593495"/>
                </a:lnTo>
                <a:lnTo>
                  <a:pt x="480149" y="587572"/>
                </a:lnTo>
                <a:lnTo>
                  <a:pt x="485853" y="580663"/>
                </a:lnTo>
                <a:lnTo>
                  <a:pt x="491310" y="573013"/>
                </a:lnTo>
                <a:lnTo>
                  <a:pt x="497014" y="564622"/>
                </a:lnTo>
                <a:lnTo>
                  <a:pt x="502718" y="556232"/>
                </a:lnTo>
                <a:lnTo>
                  <a:pt x="508670" y="547595"/>
                </a:lnTo>
                <a:lnTo>
                  <a:pt x="520823" y="531554"/>
                </a:lnTo>
                <a:lnTo>
                  <a:pt x="534216" y="518722"/>
                </a:lnTo>
                <a:lnTo>
                  <a:pt x="549344" y="511072"/>
                </a:lnTo>
                <a:lnTo>
                  <a:pt x="557529" y="510085"/>
                </a:lnTo>
                <a:lnTo>
                  <a:pt x="812980" y="510085"/>
                </a:lnTo>
                <a:lnTo>
                  <a:pt x="818684" y="509591"/>
                </a:lnTo>
                <a:lnTo>
                  <a:pt x="831581" y="497252"/>
                </a:lnTo>
                <a:lnTo>
                  <a:pt x="833813" y="476770"/>
                </a:lnTo>
                <a:lnTo>
                  <a:pt x="833813" y="119932"/>
                </a:lnTo>
                <a:lnTo>
                  <a:pt x="832325" y="97723"/>
                </a:lnTo>
                <a:lnTo>
                  <a:pt x="827117" y="77734"/>
                </a:lnTo>
                <a:lnTo>
                  <a:pt x="815956" y="64408"/>
                </a:lnTo>
                <a:lnTo>
                  <a:pt x="544880" y="1480"/>
                </a:lnTo>
                <a:lnTo>
                  <a:pt x="531983" y="0"/>
                </a:lnTo>
                <a:lnTo>
                  <a:pt x="519087" y="0"/>
                </a:lnTo>
                <a:lnTo>
                  <a:pt x="514375" y="246"/>
                </a:lnTo>
                <a:lnTo>
                  <a:pt x="509662" y="740"/>
                </a:lnTo>
                <a:lnTo>
                  <a:pt x="501726" y="1727"/>
                </a:lnTo>
                <a:lnTo>
                  <a:pt x="493790" y="2467"/>
                </a:lnTo>
                <a:lnTo>
                  <a:pt x="485853" y="3454"/>
                </a:lnTo>
                <a:lnTo>
                  <a:pt x="477917" y="3948"/>
                </a:lnTo>
                <a:lnTo>
                  <a:pt x="469733" y="4441"/>
                </a:lnTo>
                <a:lnTo>
                  <a:pt x="461796" y="4935"/>
                </a:lnTo>
                <a:lnTo>
                  <a:pt x="453860" y="5429"/>
                </a:lnTo>
                <a:lnTo>
                  <a:pt x="445924" y="5675"/>
                </a:lnTo>
                <a:lnTo>
                  <a:pt x="437739" y="5922"/>
                </a:lnTo>
                <a:lnTo>
                  <a:pt x="429803" y="6169"/>
                </a:lnTo>
                <a:lnTo>
                  <a:pt x="421866" y="6169"/>
                </a:lnTo>
                <a:lnTo>
                  <a:pt x="413682" y="6416"/>
                </a:lnTo>
                <a:lnTo>
                  <a:pt x="324894" y="6416"/>
                </a:lnTo>
                <a:lnTo>
                  <a:pt x="316710" y="6662"/>
                </a:lnTo>
                <a:lnTo>
                  <a:pt x="308525" y="6662"/>
                </a:lnTo>
                <a:lnTo>
                  <a:pt x="300341" y="6909"/>
                </a:lnTo>
                <a:lnTo>
                  <a:pt x="292157" y="7156"/>
                </a:lnTo>
                <a:lnTo>
                  <a:pt x="283972" y="7650"/>
                </a:lnTo>
                <a:lnTo>
                  <a:pt x="275788" y="8143"/>
                </a:lnTo>
                <a:lnTo>
                  <a:pt x="267604" y="8637"/>
                </a:lnTo>
                <a:lnTo>
                  <a:pt x="259419" y="9130"/>
                </a:lnTo>
                <a:lnTo>
                  <a:pt x="251235" y="9871"/>
                </a:lnTo>
                <a:lnTo>
                  <a:pt x="244290" y="10611"/>
                </a:lnTo>
                <a:lnTo>
                  <a:pt x="237594" y="11351"/>
                </a:lnTo>
                <a:lnTo>
                  <a:pt x="231394" y="12338"/>
                </a:lnTo>
                <a:lnTo>
                  <a:pt x="225194" y="13572"/>
                </a:lnTo>
                <a:lnTo>
                  <a:pt x="219241" y="14806"/>
                </a:lnTo>
                <a:lnTo>
                  <a:pt x="213785" y="16287"/>
                </a:lnTo>
                <a:lnTo>
                  <a:pt x="208329" y="17767"/>
                </a:lnTo>
                <a:lnTo>
                  <a:pt x="203121" y="19495"/>
                </a:lnTo>
                <a:lnTo>
                  <a:pt x="197912" y="21222"/>
                </a:lnTo>
                <a:lnTo>
                  <a:pt x="192952" y="23196"/>
                </a:lnTo>
                <a:lnTo>
                  <a:pt x="188240" y="24924"/>
                </a:lnTo>
                <a:lnTo>
                  <a:pt x="183528" y="26898"/>
                </a:lnTo>
                <a:lnTo>
                  <a:pt x="178816" y="29119"/>
                </a:lnTo>
                <a:lnTo>
                  <a:pt x="174103" y="31093"/>
                </a:lnTo>
                <a:lnTo>
                  <a:pt x="169639" y="33067"/>
                </a:lnTo>
                <a:lnTo>
                  <a:pt x="164927" y="35288"/>
                </a:lnTo>
                <a:lnTo>
                  <a:pt x="160215" y="37263"/>
                </a:lnTo>
                <a:lnTo>
                  <a:pt x="155502" y="39237"/>
                </a:lnTo>
                <a:lnTo>
                  <a:pt x="150790" y="41458"/>
                </a:lnTo>
                <a:lnTo>
                  <a:pt x="146078" y="43432"/>
                </a:lnTo>
                <a:lnTo>
                  <a:pt x="141118" y="45159"/>
                </a:lnTo>
                <a:lnTo>
                  <a:pt x="136158" y="47134"/>
                </a:lnTo>
                <a:lnTo>
                  <a:pt x="130949" y="48861"/>
                </a:lnTo>
                <a:lnTo>
                  <a:pt x="125493" y="50589"/>
                </a:lnTo>
                <a:lnTo>
                  <a:pt x="119789" y="52069"/>
                </a:lnTo>
                <a:lnTo>
                  <a:pt x="114085" y="53550"/>
                </a:lnTo>
                <a:lnTo>
                  <a:pt x="108132" y="55030"/>
                </a:lnTo>
                <a:lnTo>
                  <a:pt x="101684" y="56264"/>
                </a:lnTo>
                <a:lnTo>
                  <a:pt x="95236" y="57251"/>
                </a:lnTo>
                <a:lnTo>
                  <a:pt x="88291" y="57992"/>
                </a:lnTo>
                <a:lnTo>
                  <a:pt x="81099" y="58732"/>
                </a:lnTo>
                <a:lnTo>
                  <a:pt x="73411" y="59226"/>
                </a:lnTo>
                <a:lnTo>
                  <a:pt x="66963" y="60460"/>
                </a:lnTo>
                <a:lnTo>
                  <a:pt x="56546" y="65395"/>
                </a:lnTo>
                <a:lnTo>
                  <a:pt x="49106" y="74032"/>
                </a:lnTo>
                <a:lnTo>
                  <a:pt x="44145" y="86124"/>
                </a:lnTo>
                <a:lnTo>
                  <a:pt x="42161" y="93281"/>
                </a:lnTo>
                <a:lnTo>
                  <a:pt x="12896" y="255906"/>
                </a:lnTo>
                <a:lnTo>
                  <a:pt x="11904" y="259114"/>
                </a:lnTo>
                <a:lnTo>
                  <a:pt x="10168" y="261828"/>
                </a:lnTo>
                <a:lnTo>
                  <a:pt x="7936" y="264543"/>
                </a:lnTo>
                <a:lnTo>
                  <a:pt x="5952" y="267258"/>
                </a:lnTo>
                <a:lnTo>
                  <a:pt x="744" y="276635"/>
                </a:lnTo>
                <a:lnTo>
                  <a:pt x="0" y="587079"/>
                </a:lnTo>
                <a:lnTo>
                  <a:pt x="427571" y="601885"/>
                </a:lnTo>
                <a:close/>
              </a:path>
            </a:pathLst>
          </a:custGeom>
          <a:solidFill>
            <a:srgbClr val="FFFFFF"/>
          </a:solidFill>
        </p:spPr>
        <p:txBody>
          <a:bodyPr wrap="square" lIns="0" tIns="0" rIns="0" bIns="0" rtlCol="0">
            <a:noAutofit/>
          </a:bodyPr>
          <a:lstStyle/>
          <a:p>
            <a:endParaRPr/>
          </a:p>
        </p:txBody>
      </p:sp>
      <p:sp>
        <p:nvSpPr>
          <p:cNvPr id="1683" name="object 1683"/>
          <p:cNvSpPr/>
          <p:nvPr/>
        </p:nvSpPr>
        <p:spPr>
          <a:xfrm>
            <a:off x="7720754" y="1710978"/>
            <a:ext cx="428811" cy="17274"/>
          </a:xfrm>
          <a:custGeom>
            <a:avLst/>
            <a:gdLst/>
            <a:ahLst/>
            <a:cxnLst/>
            <a:rect l="l" t="t" r="r" b="b"/>
            <a:pathLst>
              <a:path w="428811" h="17274">
                <a:moveTo>
                  <a:pt x="427571" y="14806"/>
                </a:moveTo>
                <a:lnTo>
                  <a:pt x="0" y="0"/>
                </a:lnTo>
                <a:lnTo>
                  <a:pt x="0" y="2467"/>
                </a:lnTo>
                <a:lnTo>
                  <a:pt x="427571" y="17274"/>
                </a:lnTo>
                <a:lnTo>
                  <a:pt x="428315" y="16780"/>
                </a:lnTo>
                <a:lnTo>
                  <a:pt x="428811" y="16040"/>
                </a:lnTo>
                <a:lnTo>
                  <a:pt x="428315" y="15300"/>
                </a:lnTo>
                <a:lnTo>
                  <a:pt x="427571" y="14806"/>
                </a:lnTo>
                <a:close/>
              </a:path>
            </a:pathLst>
          </a:custGeom>
          <a:solidFill>
            <a:srgbClr val="000000"/>
          </a:solidFill>
        </p:spPr>
        <p:txBody>
          <a:bodyPr wrap="square" lIns="0" tIns="0" rIns="0" bIns="0" rtlCol="0">
            <a:noAutofit/>
          </a:bodyPr>
          <a:lstStyle/>
          <a:p>
            <a:endParaRPr/>
          </a:p>
        </p:txBody>
      </p:sp>
      <p:sp>
        <p:nvSpPr>
          <p:cNvPr id="1684" name="object 1684"/>
          <p:cNvSpPr/>
          <p:nvPr/>
        </p:nvSpPr>
        <p:spPr>
          <a:xfrm>
            <a:off x="8148325" y="1725785"/>
            <a:ext cx="30505" cy="2467"/>
          </a:xfrm>
          <a:custGeom>
            <a:avLst/>
            <a:gdLst/>
            <a:ahLst/>
            <a:cxnLst/>
            <a:rect l="l" t="t" r="r" b="b"/>
            <a:pathLst>
              <a:path w="30505" h="2467">
                <a:moveTo>
                  <a:pt x="29265" y="0"/>
                </a:moveTo>
                <a:lnTo>
                  <a:pt x="0" y="0"/>
                </a:lnTo>
                <a:lnTo>
                  <a:pt x="0" y="2467"/>
                </a:lnTo>
                <a:lnTo>
                  <a:pt x="29265" y="2467"/>
                </a:lnTo>
                <a:lnTo>
                  <a:pt x="30009" y="1974"/>
                </a:lnTo>
                <a:lnTo>
                  <a:pt x="30505" y="1233"/>
                </a:lnTo>
                <a:lnTo>
                  <a:pt x="30009" y="493"/>
                </a:lnTo>
                <a:lnTo>
                  <a:pt x="29265" y="0"/>
                </a:lnTo>
                <a:close/>
              </a:path>
            </a:pathLst>
          </a:custGeom>
          <a:solidFill>
            <a:srgbClr val="000000"/>
          </a:solidFill>
        </p:spPr>
        <p:txBody>
          <a:bodyPr wrap="square" lIns="0" tIns="0" rIns="0" bIns="0" rtlCol="0">
            <a:noAutofit/>
          </a:bodyPr>
          <a:lstStyle/>
          <a:p>
            <a:endParaRPr/>
          </a:p>
        </p:txBody>
      </p:sp>
      <p:sp>
        <p:nvSpPr>
          <p:cNvPr id="1685" name="object 1685"/>
          <p:cNvSpPr/>
          <p:nvPr/>
        </p:nvSpPr>
        <p:spPr>
          <a:xfrm>
            <a:off x="8177589" y="1633984"/>
            <a:ext cx="101932" cy="94268"/>
          </a:xfrm>
          <a:custGeom>
            <a:avLst/>
            <a:gdLst/>
            <a:ahLst/>
            <a:cxnLst/>
            <a:rect l="l" t="t" r="r" b="b"/>
            <a:pathLst>
              <a:path w="101932" h="94268">
                <a:moveTo>
                  <a:pt x="0" y="91800"/>
                </a:moveTo>
                <a:lnTo>
                  <a:pt x="0" y="94268"/>
                </a:lnTo>
                <a:lnTo>
                  <a:pt x="6696" y="93281"/>
                </a:lnTo>
                <a:lnTo>
                  <a:pt x="12648" y="90073"/>
                </a:lnTo>
                <a:lnTo>
                  <a:pt x="18600" y="85631"/>
                </a:lnTo>
                <a:lnTo>
                  <a:pt x="24305" y="79461"/>
                </a:lnTo>
                <a:lnTo>
                  <a:pt x="30009" y="72552"/>
                </a:lnTo>
                <a:lnTo>
                  <a:pt x="35465" y="64901"/>
                </a:lnTo>
                <a:lnTo>
                  <a:pt x="41169" y="56511"/>
                </a:lnTo>
                <a:lnTo>
                  <a:pt x="46874" y="48121"/>
                </a:lnTo>
                <a:lnTo>
                  <a:pt x="52826" y="39484"/>
                </a:lnTo>
                <a:lnTo>
                  <a:pt x="58778" y="31093"/>
                </a:lnTo>
                <a:lnTo>
                  <a:pt x="64978" y="23443"/>
                </a:lnTo>
                <a:lnTo>
                  <a:pt x="71427" y="16780"/>
                </a:lnTo>
                <a:lnTo>
                  <a:pt x="78123" y="10858"/>
                </a:lnTo>
                <a:lnTo>
                  <a:pt x="85315" y="6169"/>
                </a:lnTo>
                <a:lnTo>
                  <a:pt x="92756" y="3454"/>
                </a:lnTo>
                <a:lnTo>
                  <a:pt x="100692" y="2467"/>
                </a:lnTo>
                <a:lnTo>
                  <a:pt x="101436" y="1974"/>
                </a:lnTo>
                <a:lnTo>
                  <a:pt x="101932" y="1233"/>
                </a:lnTo>
                <a:lnTo>
                  <a:pt x="101436" y="493"/>
                </a:lnTo>
                <a:lnTo>
                  <a:pt x="100692" y="0"/>
                </a:lnTo>
                <a:lnTo>
                  <a:pt x="92260" y="987"/>
                </a:lnTo>
                <a:lnTo>
                  <a:pt x="84323" y="4195"/>
                </a:lnTo>
                <a:lnTo>
                  <a:pt x="76635" y="8883"/>
                </a:lnTo>
                <a:lnTo>
                  <a:pt x="69939" y="14806"/>
                </a:lnTo>
                <a:lnTo>
                  <a:pt x="62994" y="21963"/>
                </a:lnTo>
                <a:lnTo>
                  <a:pt x="56794" y="29613"/>
                </a:lnTo>
                <a:lnTo>
                  <a:pt x="50842" y="38003"/>
                </a:lnTo>
                <a:lnTo>
                  <a:pt x="44890" y="46640"/>
                </a:lnTo>
                <a:lnTo>
                  <a:pt x="39185" y="55030"/>
                </a:lnTo>
                <a:lnTo>
                  <a:pt x="33481" y="63421"/>
                </a:lnTo>
                <a:lnTo>
                  <a:pt x="28025" y="71071"/>
                </a:lnTo>
                <a:lnTo>
                  <a:pt x="22321" y="77981"/>
                </a:lnTo>
                <a:lnTo>
                  <a:pt x="17112" y="83656"/>
                </a:lnTo>
                <a:lnTo>
                  <a:pt x="11160" y="88098"/>
                </a:lnTo>
                <a:lnTo>
                  <a:pt x="5704" y="90813"/>
                </a:lnTo>
                <a:lnTo>
                  <a:pt x="0" y="91800"/>
                </a:lnTo>
                <a:close/>
              </a:path>
            </a:pathLst>
          </a:custGeom>
          <a:solidFill>
            <a:srgbClr val="000000"/>
          </a:solidFill>
        </p:spPr>
        <p:txBody>
          <a:bodyPr wrap="square" lIns="0" tIns="0" rIns="0" bIns="0" rtlCol="0">
            <a:noAutofit/>
          </a:bodyPr>
          <a:lstStyle/>
          <a:p>
            <a:endParaRPr/>
          </a:p>
        </p:txBody>
      </p:sp>
      <p:sp>
        <p:nvSpPr>
          <p:cNvPr id="1686" name="object 1686"/>
          <p:cNvSpPr/>
          <p:nvPr/>
        </p:nvSpPr>
        <p:spPr>
          <a:xfrm>
            <a:off x="8278283" y="1633985"/>
            <a:ext cx="256691" cy="2467"/>
          </a:xfrm>
          <a:custGeom>
            <a:avLst/>
            <a:gdLst/>
            <a:ahLst/>
            <a:cxnLst/>
            <a:rect l="l" t="t" r="r" b="b"/>
            <a:pathLst>
              <a:path w="256691" h="2467">
                <a:moveTo>
                  <a:pt x="255451" y="0"/>
                </a:moveTo>
                <a:lnTo>
                  <a:pt x="0" y="0"/>
                </a:lnTo>
                <a:lnTo>
                  <a:pt x="0" y="2467"/>
                </a:lnTo>
                <a:lnTo>
                  <a:pt x="255451" y="2467"/>
                </a:lnTo>
                <a:lnTo>
                  <a:pt x="256195" y="1974"/>
                </a:lnTo>
                <a:lnTo>
                  <a:pt x="256691" y="1233"/>
                </a:lnTo>
                <a:lnTo>
                  <a:pt x="256195" y="493"/>
                </a:lnTo>
                <a:lnTo>
                  <a:pt x="255451" y="0"/>
                </a:lnTo>
                <a:close/>
              </a:path>
            </a:pathLst>
          </a:custGeom>
          <a:solidFill>
            <a:srgbClr val="000000"/>
          </a:solidFill>
        </p:spPr>
        <p:txBody>
          <a:bodyPr wrap="square" lIns="0" tIns="0" rIns="0" bIns="0" rtlCol="0">
            <a:noAutofit/>
          </a:bodyPr>
          <a:lstStyle/>
          <a:p>
            <a:endParaRPr/>
          </a:p>
        </p:txBody>
      </p:sp>
      <p:sp>
        <p:nvSpPr>
          <p:cNvPr id="1687" name="object 1687"/>
          <p:cNvSpPr/>
          <p:nvPr/>
        </p:nvSpPr>
        <p:spPr>
          <a:xfrm>
            <a:off x="8533733" y="1600669"/>
            <a:ext cx="22072" cy="35782"/>
          </a:xfrm>
          <a:custGeom>
            <a:avLst/>
            <a:gdLst/>
            <a:ahLst/>
            <a:cxnLst/>
            <a:rect l="l" t="t" r="r" b="b"/>
            <a:pathLst>
              <a:path w="22072" h="35782">
                <a:moveTo>
                  <a:pt x="5952" y="35288"/>
                </a:moveTo>
                <a:lnTo>
                  <a:pt x="10912" y="33561"/>
                </a:lnTo>
                <a:lnTo>
                  <a:pt x="14632" y="30846"/>
                </a:lnTo>
                <a:lnTo>
                  <a:pt x="17856" y="26898"/>
                </a:lnTo>
                <a:lnTo>
                  <a:pt x="19840" y="21963"/>
                </a:lnTo>
                <a:lnTo>
                  <a:pt x="21080" y="16040"/>
                </a:lnTo>
                <a:lnTo>
                  <a:pt x="21824" y="9130"/>
                </a:lnTo>
                <a:lnTo>
                  <a:pt x="22072" y="1233"/>
                </a:lnTo>
                <a:lnTo>
                  <a:pt x="21576" y="493"/>
                </a:lnTo>
                <a:lnTo>
                  <a:pt x="20832" y="0"/>
                </a:lnTo>
                <a:lnTo>
                  <a:pt x="20088" y="493"/>
                </a:lnTo>
                <a:lnTo>
                  <a:pt x="19592" y="1233"/>
                </a:lnTo>
                <a:lnTo>
                  <a:pt x="19344" y="9130"/>
                </a:lnTo>
                <a:lnTo>
                  <a:pt x="18600" y="15546"/>
                </a:lnTo>
                <a:lnTo>
                  <a:pt x="17360" y="21469"/>
                </a:lnTo>
                <a:lnTo>
                  <a:pt x="15872" y="25911"/>
                </a:lnTo>
                <a:lnTo>
                  <a:pt x="13144" y="28872"/>
                </a:lnTo>
                <a:lnTo>
                  <a:pt x="9920" y="31587"/>
                </a:lnTo>
                <a:lnTo>
                  <a:pt x="5456" y="32821"/>
                </a:lnTo>
                <a:lnTo>
                  <a:pt x="0" y="33314"/>
                </a:lnTo>
                <a:lnTo>
                  <a:pt x="0" y="35782"/>
                </a:lnTo>
                <a:lnTo>
                  <a:pt x="5952" y="35288"/>
                </a:lnTo>
                <a:close/>
              </a:path>
            </a:pathLst>
          </a:custGeom>
          <a:solidFill>
            <a:srgbClr val="000000"/>
          </a:solidFill>
        </p:spPr>
        <p:txBody>
          <a:bodyPr wrap="square" lIns="0" tIns="0" rIns="0" bIns="0" rtlCol="0">
            <a:noAutofit/>
          </a:bodyPr>
          <a:lstStyle/>
          <a:p>
            <a:endParaRPr/>
          </a:p>
        </p:txBody>
      </p:sp>
      <p:sp>
        <p:nvSpPr>
          <p:cNvPr id="1688" name="object 1688"/>
          <p:cNvSpPr/>
          <p:nvPr/>
        </p:nvSpPr>
        <p:spPr>
          <a:xfrm>
            <a:off x="8524310" y="1183865"/>
            <a:ext cx="31497" cy="61200"/>
          </a:xfrm>
          <a:custGeom>
            <a:avLst/>
            <a:gdLst/>
            <a:ahLst/>
            <a:cxnLst/>
            <a:rect l="l" t="t" r="r" b="b"/>
            <a:pathLst>
              <a:path w="31497" h="61200">
                <a:moveTo>
                  <a:pt x="0" y="987"/>
                </a:moveTo>
                <a:lnTo>
                  <a:pt x="0" y="1974"/>
                </a:lnTo>
                <a:lnTo>
                  <a:pt x="744" y="2467"/>
                </a:lnTo>
                <a:lnTo>
                  <a:pt x="3720" y="3208"/>
                </a:lnTo>
                <a:lnTo>
                  <a:pt x="6448" y="4195"/>
                </a:lnTo>
                <a:lnTo>
                  <a:pt x="9176" y="5182"/>
                </a:lnTo>
                <a:lnTo>
                  <a:pt x="11656" y="6662"/>
                </a:lnTo>
                <a:lnTo>
                  <a:pt x="14136" y="8637"/>
                </a:lnTo>
                <a:lnTo>
                  <a:pt x="16368" y="10858"/>
                </a:lnTo>
                <a:lnTo>
                  <a:pt x="18600" y="13079"/>
                </a:lnTo>
                <a:lnTo>
                  <a:pt x="20584" y="16040"/>
                </a:lnTo>
                <a:lnTo>
                  <a:pt x="22569" y="19495"/>
                </a:lnTo>
                <a:lnTo>
                  <a:pt x="24057" y="23443"/>
                </a:lnTo>
                <a:lnTo>
                  <a:pt x="25297" y="27885"/>
                </a:lnTo>
                <a:lnTo>
                  <a:pt x="26537" y="33067"/>
                </a:lnTo>
                <a:lnTo>
                  <a:pt x="27529" y="39237"/>
                </a:lnTo>
                <a:lnTo>
                  <a:pt x="28273" y="45653"/>
                </a:lnTo>
                <a:lnTo>
                  <a:pt x="28769" y="53056"/>
                </a:lnTo>
                <a:lnTo>
                  <a:pt x="29017" y="61200"/>
                </a:lnTo>
                <a:lnTo>
                  <a:pt x="31497" y="61200"/>
                </a:lnTo>
                <a:lnTo>
                  <a:pt x="31249" y="53056"/>
                </a:lnTo>
                <a:lnTo>
                  <a:pt x="30753" y="45653"/>
                </a:lnTo>
                <a:lnTo>
                  <a:pt x="30009" y="38743"/>
                </a:lnTo>
                <a:lnTo>
                  <a:pt x="29017" y="32574"/>
                </a:lnTo>
                <a:lnTo>
                  <a:pt x="27777" y="27392"/>
                </a:lnTo>
                <a:lnTo>
                  <a:pt x="26537" y="22456"/>
                </a:lnTo>
                <a:lnTo>
                  <a:pt x="24553" y="18508"/>
                </a:lnTo>
                <a:lnTo>
                  <a:pt x="22569" y="14559"/>
                </a:lnTo>
                <a:lnTo>
                  <a:pt x="20584" y="11598"/>
                </a:lnTo>
                <a:lnTo>
                  <a:pt x="18352" y="8883"/>
                </a:lnTo>
                <a:lnTo>
                  <a:pt x="15624" y="6662"/>
                </a:lnTo>
                <a:lnTo>
                  <a:pt x="13144" y="4688"/>
                </a:lnTo>
                <a:lnTo>
                  <a:pt x="10168" y="3208"/>
                </a:lnTo>
                <a:lnTo>
                  <a:pt x="7440" y="1727"/>
                </a:lnTo>
                <a:lnTo>
                  <a:pt x="4216" y="740"/>
                </a:lnTo>
                <a:lnTo>
                  <a:pt x="1240" y="0"/>
                </a:lnTo>
                <a:lnTo>
                  <a:pt x="248" y="246"/>
                </a:lnTo>
                <a:lnTo>
                  <a:pt x="0" y="987"/>
                </a:lnTo>
                <a:close/>
              </a:path>
            </a:pathLst>
          </a:custGeom>
          <a:solidFill>
            <a:srgbClr val="000000"/>
          </a:solidFill>
        </p:spPr>
        <p:txBody>
          <a:bodyPr wrap="square" lIns="0" tIns="0" rIns="0" bIns="0" rtlCol="0">
            <a:noAutofit/>
          </a:bodyPr>
          <a:lstStyle/>
          <a:p>
            <a:endParaRPr/>
          </a:p>
        </p:txBody>
      </p:sp>
      <p:sp>
        <p:nvSpPr>
          <p:cNvPr id="1689" name="object 1689"/>
          <p:cNvSpPr/>
          <p:nvPr/>
        </p:nvSpPr>
        <p:spPr>
          <a:xfrm>
            <a:off x="8264642" y="1125380"/>
            <a:ext cx="260907" cy="60953"/>
          </a:xfrm>
          <a:custGeom>
            <a:avLst/>
            <a:gdLst/>
            <a:ahLst/>
            <a:cxnLst/>
            <a:rect l="l" t="t" r="r" b="b"/>
            <a:pathLst>
              <a:path w="260907" h="60953">
                <a:moveTo>
                  <a:pt x="744" y="2467"/>
                </a:moveTo>
                <a:lnTo>
                  <a:pt x="260411" y="60953"/>
                </a:lnTo>
                <a:lnTo>
                  <a:pt x="260907" y="58485"/>
                </a:lnTo>
                <a:lnTo>
                  <a:pt x="1240" y="0"/>
                </a:lnTo>
                <a:lnTo>
                  <a:pt x="248" y="246"/>
                </a:lnTo>
                <a:lnTo>
                  <a:pt x="0" y="987"/>
                </a:lnTo>
                <a:lnTo>
                  <a:pt x="0" y="1974"/>
                </a:lnTo>
                <a:lnTo>
                  <a:pt x="744" y="2467"/>
                </a:lnTo>
                <a:close/>
              </a:path>
            </a:pathLst>
          </a:custGeom>
          <a:solidFill>
            <a:srgbClr val="000000"/>
          </a:solidFill>
        </p:spPr>
        <p:txBody>
          <a:bodyPr wrap="square" lIns="0" tIns="0" rIns="0" bIns="0" rtlCol="0">
            <a:noAutofit/>
          </a:bodyPr>
          <a:lstStyle/>
          <a:p>
            <a:endParaRPr/>
          </a:p>
        </p:txBody>
      </p:sp>
      <p:sp>
        <p:nvSpPr>
          <p:cNvPr id="1690" name="object 1690"/>
          <p:cNvSpPr/>
          <p:nvPr/>
        </p:nvSpPr>
        <p:spPr>
          <a:xfrm>
            <a:off x="8229424" y="1123898"/>
            <a:ext cx="36457" cy="3948"/>
          </a:xfrm>
          <a:custGeom>
            <a:avLst/>
            <a:gdLst/>
            <a:ahLst/>
            <a:cxnLst/>
            <a:rect l="l" t="t" r="r" b="b"/>
            <a:pathLst>
              <a:path w="36457" h="3948">
                <a:moveTo>
                  <a:pt x="0" y="1974"/>
                </a:moveTo>
                <a:lnTo>
                  <a:pt x="248" y="2714"/>
                </a:lnTo>
                <a:lnTo>
                  <a:pt x="992" y="3208"/>
                </a:lnTo>
                <a:lnTo>
                  <a:pt x="5704" y="2714"/>
                </a:lnTo>
                <a:lnTo>
                  <a:pt x="10416" y="2467"/>
                </a:lnTo>
                <a:lnTo>
                  <a:pt x="23313" y="2467"/>
                </a:lnTo>
                <a:lnTo>
                  <a:pt x="27529" y="2714"/>
                </a:lnTo>
                <a:lnTo>
                  <a:pt x="31745" y="3208"/>
                </a:lnTo>
                <a:lnTo>
                  <a:pt x="35961" y="3948"/>
                </a:lnTo>
                <a:lnTo>
                  <a:pt x="36457" y="1480"/>
                </a:lnTo>
                <a:lnTo>
                  <a:pt x="32241" y="740"/>
                </a:lnTo>
                <a:lnTo>
                  <a:pt x="27529" y="246"/>
                </a:lnTo>
                <a:lnTo>
                  <a:pt x="23313" y="0"/>
                </a:lnTo>
                <a:lnTo>
                  <a:pt x="10416" y="0"/>
                </a:lnTo>
                <a:lnTo>
                  <a:pt x="5704" y="246"/>
                </a:lnTo>
                <a:lnTo>
                  <a:pt x="992" y="740"/>
                </a:lnTo>
                <a:lnTo>
                  <a:pt x="248" y="1233"/>
                </a:lnTo>
                <a:lnTo>
                  <a:pt x="0" y="1974"/>
                </a:lnTo>
                <a:close/>
              </a:path>
            </a:pathLst>
          </a:custGeom>
          <a:solidFill>
            <a:srgbClr val="000000"/>
          </a:solidFill>
        </p:spPr>
        <p:txBody>
          <a:bodyPr wrap="square" lIns="0" tIns="0" rIns="0" bIns="0" rtlCol="0">
            <a:noAutofit/>
          </a:bodyPr>
          <a:lstStyle/>
          <a:p>
            <a:endParaRPr/>
          </a:p>
        </p:txBody>
      </p:sp>
      <p:sp>
        <p:nvSpPr>
          <p:cNvPr id="1691" name="object 1691"/>
          <p:cNvSpPr/>
          <p:nvPr/>
        </p:nvSpPr>
        <p:spPr>
          <a:xfrm>
            <a:off x="7970997" y="1124639"/>
            <a:ext cx="259667" cy="11598"/>
          </a:xfrm>
          <a:custGeom>
            <a:avLst/>
            <a:gdLst/>
            <a:ahLst/>
            <a:cxnLst/>
            <a:rect l="l" t="t" r="r" b="b"/>
            <a:pathLst>
              <a:path w="259667" h="11598">
                <a:moveTo>
                  <a:pt x="259667" y="2467"/>
                </a:moveTo>
                <a:lnTo>
                  <a:pt x="259171" y="0"/>
                </a:lnTo>
                <a:lnTo>
                  <a:pt x="251235" y="987"/>
                </a:lnTo>
                <a:lnTo>
                  <a:pt x="243298" y="1727"/>
                </a:lnTo>
                <a:lnTo>
                  <a:pt x="235610" y="2714"/>
                </a:lnTo>
                <a:lnTo>
                  <a:pt x="227674" y="3208"/>
                </a:lnTo>
                <a:lnTo>
                  <a:pt x="219489" y="3701"/>
                </a:lnTo>
                <a:lnTo>
                  <a:pt x="211553" y="4195"/>
                </a:lnTo>
                <a:lnTo>
                  <a:pt x="203617" y="4688"/>
                </a:lnTo>
                <a:lnTo>
                  <a:pt x="195680" y="4935"/>
                </a:lnTo>
                <a:lnTo>
                  <a:pt x="187496" y="5182"/>
                </a:lnTo>
                <a:lnTo>
                  <a:pt x="179560" y="5429"/>
                </a:lnTo>
                <a:lnTo>
                  <a:pt x="171623" y="5429"/>
                </a:lnTo>
                <a:lnTo>
                  <a:pt x="163439" y="5675"/>
                </a:lnTo>
                <a:lnTo>
                  <a:pt x="74651" y="5675"/>
                </a:lnTo>
                <a:lnTo>
                  <a:pt x="66466" y="5922"/>
                </a:lnTo>
                <a:lnTo>
                  <a:pt x="58282" y="5922"/>
                </a:lnTo>
                <a:lnTo>
                  <a:pt x="50098" y="6169"/>
                </a:lnTo>
                <a:lnTo>
                  <a:pt x="41913" y="6416"/>
                </a:lnTo>
                <a:lnTo>
                  <a:pt x="33729" y="6909"/>
                </a:lnTo>
                <a:lnTo>
                  <a:pt x="25545" y="7403"/>
                </a:lnTo>
                <a:lnTo>
                  <a:pt x="17360" y="7896"/>
                </a:lnTo>
                <a:lnTo>
                  <a:pt x="9176" y="8390"/>
                </a:lnTo>
                <a:lnTo>
                  <a:pt x="992" y="9130"/>
                </a:lnTo>
                <a:lnTo>
                  <a:pt x="248" y="9624"/>
                </a:lnTo>
                <a:lnTo>
                  <a:pt x="0" y="10364"/>
                </a:lnTo>
                <a:lnTo>
                  <a:pt x="248" y="11104"/>
                </a:lnTo>
                <a:lnTo>
                  <a:pt x="992" y="11598"/>
                </a:lnTo>
                <a:lnTo>
                  <a:pt x="9176" y="10858"/>
                </a:lnTo>
                <a:lnTo>
                  <a:pt x="17360" y="10364"/>
                </a:lnTo>
                <a:lnTo>
                  <a:pt x="25545" y="9871"/>
                </a:lnTo>
                <a:lnTo>
                  <a:pt x="33729" y="9377"/>
                </a:lnTo>
                <a:lnTo>
                  <a:pt x="41913" y="8883"/>
                </a:lnTo>
                <a:lnTo>
                  <a:pt x="50098" y="8637"/>
                </a:lnTo>
                <a:lnTo>
                  <a:pt x="58282" y="8390"/>
                </a:lnTo>
                <a:lnTo>
                  <a:pt x="66466" y="8390"/>
                </a:lnTo>
                <a:lnTo>
                  <a:pt x="74651" y="8143"/>
                </a:lnTo>
                <a:lnTo>
                  <a:pt x="163439" y="8143"/>
                </a:lnTo>
                <a:lnTo>
                  <a:pt x="171623" y="7896"/>
                </a:lnTo>
                <a:lnTo>
                  <a:pt x="179560" y="7896"/>
                </a:lnTo>
                <a:lnTo>
                  <a:pt x="187496" y="7650"/>
                </a:lnTo>
                <a:lnTo>
                  <a:pt x="195680" y="7403"/>
                </a:lnTo>
                <a:lnTo>
                  <a:pt x="203617" y="7156"/>
                </a:lnTo>
                <a:lnTo>
                  <a:pt x="211553" y="6662"/>
                </a:lnTo>
                <a:lnTo>
                  <a:pt x="219489" y="6169"/>
                </a:lnTo>
                <a:lnTo>
                  <a:pt x="227674" y="5675"/>
                </a:lnTo>
                <a:lnTo>
                  <a:pt x="235610" y="5182"/>
                </a:lnTo>
                <a:lnTo>
                  <a:pt x="243794" y="4195"/>
                </a:lnTo>
                <a:lnTo>
                  <a:pt x="251731" y="3454"/>
                </a:lnTo>
                <a:lnTo>
                  <a:pt x="259667" y="2467"/>
                </a:lnTo>
                <a:close/>
              </a:path>
            </a:pathLst>
          </a:custGeom>
          <a:solidFill>
            <a:srgbClr val="000000"/>
          </a:solidFill>
        </p:spPr>
        <p:txBody>
          <a:bodyPr wrap="square" lIns="0" tIns="0" rIns="0" bIns="0" rtlCol="0">
            <a:noAutofit/>
          </a:bodyPr>
          <a:lstStyle/>
          <a:p>
            <a:endParaRPr/>
          </a:p>
        </p:txBody>
      </p:sp>
      <p:sp>
        <p:nvSpPr>
          <p:cNvPr id="1692" name="object 1692"/>
          <p:cNvSpPr/>
          <p:nvPr/>
        </p:nvSpPr>
        <p:spPr>
          <a:xfrm>
            <a:off x="7793172" y="1133770"/>
            <a:ext cx="178816" cy="51822"/>
          </a:xfrm>
          <a:custGeom>
            <a:avLst/>
            <a:gdLst/>
            <a:ahLst/>
            <a:cxnLst/>
            <a:rect l="l" t="t" r="r" b="b"/>
            <a:pathLst>
              <a:path w="178816" h="51822">
                <a:moveTo>
                  <a:pt x="178816" y="2467"/>
                </a:moveTo>
                <a:lnTo>
                  <a:pt x="178816" y="0"/>
                </a:lnTo>
                <a:lnTo>
                  <a:pt x="171623" y="740"/>
                </a:lnTo>
                <a:lnTo>
                  <a:pt x="164927" y="1480"/>
                </a:lnTo>
                <a:lnTo>
                  <a:pt x="158727" y="2467"/>
                </a:lnTo>
                <a:lnTo>
                  <a:pt x="152526" y="3701"/>
                </a:lnTo>
                <a:lnTo>
                  <a:pt x="146574" y="4935"/>
                </a:lnTo>
                <a:lnTo>
                  <a:pt x="141118" y="6416"/>
                </a:lnTo>
                <a:lnTo>
                  <a:pt x="135662" y="7896"/>
                </a:lnTo>
                <a:lnTo>
                  <a:pt x="130205" y="9624"/>
                </a:lnTo>
                <a:lnTo>
                  <a:pt x="124997" y="11351"/>
                </a:lnTo>
                <a:lnTo>
                  <a:pt x="120037" y="13325"/>
                </a:lnTo>
                <a:lnTo>
                  <a:pt x="115325" y="15053"/>
                </a:lnTo>
                <a:lnTo>
                  <a:pt x="110612" y="17027"/>
                </a:lnTo>
                <a:lnTo>
                  <a:pt x="105900" y="19248"/>
                </a:lnTo>
                <a:lnTo>
                  <a:pt x="101188" y="21222"/>
                </a:lnTo>
                <a:lnTo>
                  <a:pt x="96724" y="23196"/>
                </a:lnTo>
                <a:lnTo>
                  <a:pt x="92012" y="25417"/>
                </a:lnTo>
                <a:lnTo>
                  <a:pt x="87299" y="27392"/>
                </a:lnTo>
                <a:lnTo>
                  <a:pt x="82587" y="29366"/>
                </a:lnTo>
                <a:lnTo>
                  <a:pt x="77875" y="31587"/>
                </a:lnTo>
                <a:lnTo>
                  <a:pt x="73163" y="33561"/>
                </a:lnTo>
                <a:lnTo>
                  <a:pt x="68203" y="35288"/>
                </a:lnTo>
                <a:lnTo>
                  <a:pt x="63242" y="37263"/>
                </a:lnTo>
                <a:lnTo>
                  <a:pt x="58034" y="38990"/>
                </a:lnTo>
                <a:lnTo>
                  <a:pt x="52826" y="40717"/>
                </a:lnTo>
                <a:lnTo>
                  <a:pt x="47122" y="42198"/>
                </a:lnTo>
                <a:lnTo>
                  <a:pt x="41417" y="43679"/>
                </a:lnTo>
                <a:lnTo>
                  <a:pt x="35465" y="45159"/>
                </a:lnTo>
                <a:lnTo>
                  <a:pt x="29017" y="46393"/>
                </a:lnTo>
                <a:lnTo>
                  <a:pt x="22569" y="47380"/>
                </a:lnTo>
                <a:lnTo>
                  <a:pt x="15624" y="48121"/>
                </a:lnTo>
                <a:lnTo>
                  <a:pt x="8680" y="48861"/>
                </a:lnTo>
                <a:lnTo>
                  <a:pt x="992" y="49355"/>
                </a:lnTo>
                <a:lnTo>
                  <a:pt x="248" y="49848"/>
                </a:lnTo>
                <a:lnTo>
                  <a:pt x="0" y="50589"/>
                </a:lnTo>
                <a:lnTo>
                  <a:pt x="248" y="51329"/>
                </a:lnTo>
                <a:lnTo>
                  <a:pt x="992" y="51822"/>
                </a:lnTo>
                <a:lnTo>
                  <a:pt x="8680" y="51329"/>
                </a:lnTo>
                <a:lnTo>
                  <a:pt x="16120" y="50589"/>
                </a:lnTo>
                <a:lnTo>
                  <a:pt x="23065" y="49848"/>
                </a:lnTo>
                <a:lnTo>
                  <a:pt x="29513" y="48861"/>
                </a:lnTo>
                <a:lnTo>
                  <a:pt x="35961" y="47627"/>
                </a:lnTo>
                <a:lnTo>
                  <a:pt x="41913" y="46147"/>
                </a:lnTo>
                <a:lnTo>
                  <a:pt x="47618" y="44666"/>
                </a:lnTo>
                <a:lnTo>
                  <a:pt x="53322" y="43185"/>
                </a:lnTo>
                <a:lnTo>
                  <a:pt x="59026" y="41458"/>
                </a:lnTo>
                <a:lnTo>
                  <a:pt x="64234" y="39730"/>
                </a:lnTo>
                <a:lnTo>
                  <a:pt x="69195" y="37756"/>
                </a:lnTo>
                <a:lnTo>
                  <a:pt x="74155" y="36029"/>
                </a:lnTo>
                <a:lnTo>
                  <a:pt x="78867" y="34055"/>
                </a:lnTo>
                <a:lnTo>
                  <a:pt x="83579" y="31834"/>
                </a:lnTo>
                <a:lnTo>
                  <a:pt x="88291" y="29859"/>
                </a:lnTo>
                <a:lnTo>
                  <a:pt x="93004" y="27885"/>
                </a:lnTo>
                <a:lnTo>
                  <a:pt x="97716" y="25664"/>
                </a:lnTo>
                <a:lnTo>
                  <a:pt x="102180" y="23690"/>
                </a:lnTo>
                <a:lnTo>
                  <a:pt x="106892" y="21716"/>
                </a:lnTo>
                <a:lnTo>
                  <a:pt x="111605" y="19495"/>
                </a:lnTo>
                <a:lnTo>
                  <a:pt x="116317" y="17521"/>
                </a:lnTo>
                <a:lnTo>
                  <a:pt x="121029" y="15793"/>
                </a:lnTo>
                <a:lnTo>
                  <a:pt x="125989" y="13819"/>
                </a:lnTo>
                <a:lnTo>
                  <a:pt x="131197" y="12092"/>
                </a:lnTo>
                <a:lnTo>
                  <a:pt x="136158" y="10364"/>
                </a:lnTo>
                <a:lnTo>
                  <a:pt x="141614" y="8883"/>
                </a:lnTo>
                <a:lnTo>
                  <a:pt x="147070" y="7403"/>
                </a:lnTo>
                <a:lnTo>
                  <a:pt x="153022" y="6169"/>
                </a:lnTo>
                <a:lnTo>
                  <a:pt x="159223" y="4935"/>
                </a:lnTo>
                <a:lnTo>
                  <a:pt x="165423" y="3948"/>
                </a:lnTo>
                <a:lnTo>
                  <a:pt x="172119" y="3208"/>
                </a:lnTo>
                <a:lnTo>
                  <a:pt x="178816" y="2467"/>
                </a:lnTo>
                <a:close/>
              </a:path>
            </a:pathLst>
          </a:custGeom>
          <a:solidFill>
            <a:srgbClr val="000000"/>
          </a:solidFill>
        </p:spPr>
        <p:txBody>
          <a:bodyPr wrap="square" lIns="0" tIns="0" rIns="0" bIns="0" rtlCol="0">
            <a:noAutofit/>
          </a:bodyPr>
          <a:lstStyle/>
          <a:p>
            <a:endParaRPr/>
          </a:p>
        </p:txBody>
      </p:sp>
      <p:sp>
        <p:nvSpPr>
          <p:cNvPr id="1693" name="object 1693"/>
          <p:cNvSpPr/>
          <p:nvPr/>
        </p:nvSpPr>
        <p:spPr>
          <a:xfrm>
            <a:off x="7761675" y="1183125"/>
            <a:ext cx="32489" cy="36276"/>
          </a:xfrm>
          <a:custGeom>
            <a:avLst/>
            <a:gdLst/>
            <a:ahLst/>
            <a:cxnLst/>
            <a:rect l="l" t="t" r="r" b="b"/>
            <a:pathLst>
              <a:path w="32489" h="36276">
                <a:moveTo>
                  <a:pt x="1984" y="27885"/>
                </a:moveTo>
                <a:lnTo>
                  <a:pt x="0" y="35042"/>
                </a:lnTo>
                <a:lnTo>
                  <a:pt x="248" y="36029"/>
                </a:lnTo>
                <a:lnTo>
                  <a:pt x="992" y="36276"/>
                </a:lnTo>
                <a:lnTo>
                  <a:pt x="1984" y="36276"/>
                </a:lnTo>
                <a:lnTo>
                  <a:pt x="2480" y="35535"/>
                </a:lnTo>
                <a:lnTo>
                  <a:pt x="4464" y="28379"/>
                </a:lnTo>
                <a:lnTo>
                  <a:pt x="6696" y="22209"/>
                </a:lnTo>
                <a:lnTo>
                  <a:pt x="9176" y="16780"/>
                </a:lnTo>
                <a:lnTo>
                  <a:pt x="12648" y="12092"/>
                </a:lnTo>
                <a:lnTo>
                  <a:pt x="16368" y="8390"/>
                </a:lnTo>
                <a:lnTo>
                  <a:pt x="20832" y="5675"/>
                </a:lnTo>
                <a:lnTo>
                  <a:pt x="26289" y="3701"/>
                </a:lnTo>
                <a:lnTo>
                  <a:pt x="32489" y="2467"/>
                </a:lnTo>
                <a:lnTo>
                  <a:pt x="32489" y="0"/>
                </a:lnTo>
                <a:lnTo>
                  <a:pt x="25793" y="1233"/>
                </a:lnTo>
                <a:lnTo>
                  <a:pt x="19840" y="3208"/>
                </a:lnTo>
                <a:lnTo>
                  <a:pt x="14880" y="6416"/>
                </a:lnTo>
                <a:lnTo>
                  <a:pt x="10664" y="10611"/>
                </a:lnTo>
                <a:lnTo>
                  <a:pt x="7192" y="15300"/>
                </a:lnTo>
                <a:lnTo>
                  <a:pt x="4216" y="21222"/>
                </a:lnTo>
                <a:lnTo>
                  <a:pt x="1984" y="27885"/>
                </a:lnTo>
                <a:close/>
              </a:path>
            </a:pathLst>
          </a:custGeom>
          <a:solidFill>
            <a:srgbClr val="000000"/>
          </a:solidFill>
        </p:spPr>
        <p:txBody>
          <a:bodyPr wrap="square" lIns="0" tIns="0" rIns="0" bIns="0" rtlCol="0">
            <a:noAutofit/>
          </a:bodyPr>
          <a:lstStyle/>
          <a:p>
            <a:endParaRPr/>
          </a:p>
        </p:txBody>
      </p:sp>
      <p:sp>
        <p:nvSpPr>
          <p:cNvPr id="1694" name="object 1694"/>
          <p:cNvSpPr/>
          <p:nvPr/>
        </p:nvSpPr>
        <p:spPr>
          <a:xfrm>
            <a:off x="7732410" y="1218168"/>
            <a:ext cx="31745" cy="163859"/>
          </a:xfrm>
          <a:custGeom>
            <a:avLst/>
            <a:gdLst/>
            <a:ahLst/>
            <a:cxnLst/>
            <a:rect l="l" t="t" r="r" b="b"/>
            <a:pathLst>
              <a:path w="31745" h="163859">
                <a:moveTo>
                  <a:pt x="2480" y="163118"/>
                </a:moveTo>
                <a:lnTo>
                  <a:pt x="31745" y="493"/>
                </a:lnTo>
                <a:lnTo>
                  <a:pt x="29265" y="0"/>
                </a:lnTo>
                <a:lnTo>
                  <a:pt x="0" y="162625"/>
                </a:lnTo>
                <a:lnTo>
                  <a:pt x="248" y="163612"/>
                </a:lnTo>
                <a:lnTo>
                  <a:pt x="992" y="163859"/>
                </a:lnTo>
                <a:lnTo>
                  <a:pt x="1984" y="163859"/>
                </a:lnTo>
                <a:lnTo>
                  <a:pt x="2480" y="163118"/>
                </a:lnTo>
                <a:close/>
              </a:path>
            </a:pathLst>
          </a:custGeom>
          <a:solidFill>
            <a:srgbClr val="000000"/>
          </a:solidFill>
        </p:spPr>
        <p:txBody>
          <a:bodyPr wrap="square" lIns="0" tIns="0" rIns="0" bIns="0" rtlCol="0">
            <a:noAutofit/>
          </a:bodyPr>
          <a:lstStyle/>
          <a:p>
            <a:endParaRPr/>
          </a:p>
        </p:txBody>
      </p:sp>
      <p:sp>
        <p:nvSpPr>
          <p:cNvPr id="1695" name="object 1695"/>
          <p:cNvSpPr/>
          <p:nvPr/>
        </p:nvSpPr>
        <p:spPr>
          <a:xfrm>
            <a:off x="7719761" y="1380792"/>
            <a:ext cx="15128" cy="26158"/>
          </a:xfrm>
          <a:custGeom>
            <a:avLst/>
            <a:gdLst/>
            <a:ahLst/>
            <a:cxnLst/>
            <a:rect l="l" t="t" r="r" b="b"/>
            <a:pathLst>
              <a:path w="15128" h="26158">
                <a:moveTo>
                  <a:pt x="3720" y="13572"/>
                </a:moveTo>
                <a:lnTo>
                  <a:pt x="1736" y="17027"/>
                </a:lnTo>
                <a:lnTo>
                  <a:pt x="496" y="20729"/>
                </a:lnTo>
                <a:lnTo>
                  <a:pt x="0" y="25171"/>
                </a:lnTo>
                <a:lnTo>
                  <a:pt x="496" y="25911"/>
                </a:lnTo>
                <a:lnTo>
                  <a:pt x="1240" y="26158"/>
                </a:lnTo>
                <a:lnTo>
                  <a:pt x="1984" y="25911"/>
                </a:lnTo>
                <a:lnTo>
                  <a:pt x="2480" y="25171"/>
                </a:lnTo>
                <a:lnTo>
                  <a:pt x="2976" y="21222"/>
                </a:lnTo>
                <a:lnTo>
                  <a:pt x="4216" y="18014"/>
                </a:lnTo>
                <a:lnTo>
                  <a:pt x="5704" y="15053"/>
                </a:lnTo>
                <a:lnTo>
                  <a:pt x="7936" y="12338"/>
                </a:lnTo>
                <a:lnTo>
                  <a:pt x="9920" y="9624"/>
                </a:lnTo>
                <a:lnTo>
                  <a:pt x="12152" y="6909"/>
                </a:lnTo>
                <a:lnTo>
                  <a:pt x="14136" y="3948"/>
                </a:lnTo>
                <a:lnTo>
                  <a:pt x="15128" y="493"/>
                </a:lnTo>
                <a:lnTo>
                  <a:pt x="12648" y="0"/>
                </a:lnTo>
                <a:lnTo>
                  <a:pt x="11656" y="2961"/>
                </a:lnTo>
                <a:lnTo>
                  <a:pt x="10168" y="5429"/>
                </a:lnTo>
                <a:lnTo>
                  <a:pt x="7936" y="8143"/>
                </a:lnTo>
                <a:lnTo>
                  <a:pt x="5952" y="10858"/>
                </a:lnTo>
                <a:lnTo>
                  <a:pt x="3720" y="13572"/>
                </a:lnTo>
                <a:close/>
              </a:path>
            </a:pathLst>
          </a:custGeom>
          <a:solidFill>
            <a:srgbClr val="000000"/>
          </a:solidFill>
        </p:spPr>
        <p:txBody>
          <a:bodyPr wrap="square" lIns="0" tIns="0" rIns="0" bIns="0" rtlCol="0">
            <a:noAutofit/>
          </a:bodyPr>
          <a:lstStyle/>
          <a:p>
            <a:endParaRPr/>
          </a:p>
        </p:txBody>
      </p:sp>
      <p:sp>
        <p:nvSpPr>
          <p:cNvPr id="1696" name="object 1696"/>
          <p:cNvSpPr/>
          <p:nvPr/>
        </p:nvSpPr>
        <p:spPr>
          <a:xfrm>
            <a:off x="7720505" y="1128341"/>
            <a:ext cx="502470" cy="598677"/>
          </a:xfrm>
          <a:custGeom>
            <a:avLst/>
            <a:gdLst/>
            <a:ahLst/>
            <a:cxnLst/>
            <a:rect l="l" t="t" r="r" b="b"/>
            <a:pathLst>
              <a:path w="502470" h="598677">
                <a:moveTo>
                  <a:pt x="473949" y="239125"/>
                </a:moveTo>
                <a:lnTo>
                  <a:pt x="469981" y="224072"/>
                </a:lnTo>
                <a:lnTo>
                  <a:pt x="499990" y="43185"/>
                </a:lnTo>
                <a:lnTo>
                  <a:pt x="500734" y="38743"/>
                </a:lnTo>
                <a:lnTo>
                  <a:pt x="501478" y="34548"/>
                </a:lnTo>
                <a:lnTo>
                  <a:pt x="501974" y="30600"/>
                </a:lnTo>
                <a:lnTo>
                  <a:pt x="502222" y="26404"/>
                </a:lnTo>
                <a:lnTo>
                  <a:pt x="502470" y="22703"/>
                </a:lnTo>
                <a:lnTo>
                  <a:pt x="502470" y="15546"/>
                </a:lnTo>
                <a:lnTo>
                  <a:pt x="502222" y="12585"/>
                </a:lnTo>
                <a:lnTo>
                  <a:pt x="501726" y="9624"/>
                </a:lnTo>
                <a:lnTo>
                  <a:pt x="501230" y="7156"/>
                </a:lnTo>
                <a:lnTo>
                  <a:pt x="500486" y="4935"/>
                </a:lnTo>
                <a:lnTo>
                  <a:pt x="499246" y="2961"/>
                </a:lnTo>
                <a:lnTo>
                  <a:pt x="498006" y="1727"/>
                </a:lnTo>
                <a:lnTo>
                  <a:pt x="496518" y="740"/>
                </a:lnTo>
                <a:lnTo>
                  <a:pt x="494782" y="0"/>
                </a:lnTo>
                <a:lnTo>
                  <a:pt x="492798" y="0"/>
                </a:lnTo>
                <a:lnTo>
                  <a:pt x="485605" y="740"/>
                </a:lnTo>
                <a:lnTo>
                  <a:pt x="478413" y="1233"/>
                </a:lnTo>
                <a:lnTo>
                  <a:pt x="471221" y="1727"/>
                </a:lnTo>
                <a:lnTo>
                  <a:pt x="463780" y="1974"/>
                </a:lnTo>
                <a:lnTo>
                  <a:pt x="456092" y="2220"/>
                </a:lnTo>
                <a:lnTo>
                  <a:pt x="448404" y="2467"/>
                </a:lnTo>
                <a:lnTo>
                  <a:pt x="440715" y="2714"/>
                </a:lnTo>
                <a:lnTo>
                  <a:pt x="432779" y="2961"/>
                </a:lnTo>
                <a:lnTo>
                  <a:pt x="424843" y="2961"/>
                </a:lnTo>
                <a:lnTo>
                  <a:pt x="416658" y="3208"/>
                </a:lnTo>
                <a:lnTo>
                  <a:pt x="341759" y="3208"/>
                </a:lnTo>
                <a:lnTo>
                  <a:pt x="333078" y="3454"/>
                </a:lnTo>
                <a:lnTo>
                  <a:pt x="324646" y="3454"/>
                </a:lnTo>
                <a:lnTo>
                  <a:pt x="316214" y="3701"/>
                </a:lnTo>
                <a:lnTo>
                  <a:pt x="307533" y="3701"/>
                </a:lnTo>
                <a:lnTo>
                  <a:pt x="299101" y="3948"/>
                </a:lnTo>
                <a:lnTo>
                  <a:pt x="290669" y="4441"/>
                </a:lnTo>
                <a:lnTo>
                  <a:pt x="282236" y="4688"/>
                </a:lnTo>
                <a:lnTo>
                  <a:pt x="273804" y="5182"/>
                </a:lnTo>
                <a:lnTo>
                  <a:pt x="265371" y="5675"/>
                </a:lnTo>
                <a:lnTo>
                  <a:pt x="257187" y="6169"/>
                </a:lnTo>
                <a:lnTo>
                  <a:pt x="248755" y="6909"/>
                </a:lnTo>
                <a:lnTo>
                  <a:pt x="240570" y="7650"/>
                </a:lnTo>
                <a:lnTo>
                  <a:pt x="232386" y="8637"/>
                </a:lnTo>
                <a:lnTo>
                  <a:pt x="222466" y="10611"/>
                </a:lnTo>
                <a:lnTo>
                  <a:pt x="213041" y="13325"/>
                </a:lnTo>
                <a:lnTo>
                  <a:pt x="203865" y="16287"/>
                </a:lnTo>
                <a:lnTo>
                  <a:pt x="194936" y="19495"/>
                </a:lnTo>
                <a:lnTo>
                  <a:pt x="186008" y="22950"/>
                </a:lnTo>
                <a:lnTo>
                  <a:pt x="177327" y="26651"/>
                </a:lnTo>
                <a:lnTo>
                  <a:pt x="168647" y="30600"/>
                </a:lnTo>
                <a:lnTo>
                  <a:pt x="159967" y="34301"/>
                </a:lnTo>
                <a:lnTo>
                  <a:pt x="150790" y="38003"/>
                </a:lnTo>
                <a:lnTo>
                  <a:pt x="141614" y="41705"/>
                </a:lnTo>
                <a:lnTo>
                  <a:pt x="132189" y="45159"/>
                </a:lnTo>
                <a:lnTo>
                  <a:pt x="122269" y="48121"/>
                </a:lnTo>
                <a:lnTo>
                  <a:pt x="111853" y="50835"/>
                </a:lnTo>
                <a:lnTo>
                  <a:pt x="100940" y="53056"/>
                </a:lnTo>
                <a:lnTo>
                  <a:pt x="89284" y="54784"/>
                </a:lnTo>
                <a:lnTo>
                  <a:pt x="76883" y="56018"/>
                </a:lnTo>
                <a:lnTo>
                  <a:pt x="69939" y="56264"/>
                </a:lnTo>
                <a:lnTo>
                  <a:pt x="63738" y="58239"/>
                </a:lnTo>
                <a:lnTo>
                  <a:pt x="53570" y="65395"/>
                </a:lnTo>
                <a:lnTo>
                  <a:pt x="49602" y="70577"/>
                </a:lnTo>
                <a:lnTo>
                  <a:pt x="46378" y="76500"/>
                </a:lnTo>
                <a:lnTo>
                  <a:pt x="43897" y="82916"/>
                </a:lnTo>
                <a:lnTo>
                  <a:pt x="42161" y="89579"/>
                </a:lnTo>
                <a:lnTo>
                  <a:pt x="14136" y="246528"/>
                </a:lnTo>
                <a:lnTo>
                  <a:pt x="13392" y="251217"/>
                </a:lnTo>
                <a:lnTo>
                  <a:pt x="11656" y="255412"/>
                </a:lnTo>
                <a:lnTo>
                  <a:pt x="9424" y="259114"/>
                </a:lnTo>
                <a:lnTo>
                  <a:pt x="7192" y="262569"/>
                </a:lnTo>
                <a:lnTo>
                  <a:pt x="4712" y="265777"/>
                </a:lnTo>
                <a:lnTo>
                  <a:pt x="2728" y="268985"/>
                </a:lnTo>
                <a:lnTo>
                  <a:pt x="1240" y="272440"/>
                </a:lnTo>
                <a:lnTo>
                  <a:pt x="496" y="276141"/>
                </a:lnTo>
                <a:lnTo>
                  <a:pt x="0" y="584117"/>
                </a:lnTo>
                <a:lnTo>
                  <a:pt x="424843" y="598677"/>
                </a:lnTo>
                <a:lnTo>
                  <a:pt x="458820" y="598677"/>
                </a:lnTo>
                <a:lnTo>
                  <a:pt x="461052" y="598184"/>
                </a:lnTo>
                <a:lnTo>
                  <a:pt x="470477" y="593742"/>
                </a:lnTo>
                <a:lnTo>
                  <a:pt x="472213" y="592508"/>
                </a:lnTo>
                <a:lnTo>
                  <a:pt x="473949" y="590780"/>
                </a:lnTo>
                <a:lnTo>
                  <a:pt x="473949" y="239125"/>
                </a:lnTo>
                <a:close/>
              </a:path>
            </a:pathLst>
          </a:custGeom>
          <a:solidFill>
            <a:srgbClr val="EFEFEF"/>
          </a:solidFill>
        </p:spPr>
        <p:txBody>
          <a:bodyPr wrap="square" lIns="0" tIns="0" rIns="0" bIns="0" rtlCol="0">
            <a:noAutofit/>
          </a:bodyPr>
          <a:lstStyle/>
          <a:p>
            <a:endParaRPr/>
          </a:p>
        </p:txBody>
      </p:sp>
      <p:sp>
        <p:nvSpPr>
          <p:cNvPr id="1697" name="object 1697"/>
          <p:cNvSpPr/>
          <p:nvPr/>
        </p:nvSpPr>
        <p:spPr>
          <a:xfrm>
            <a:off x="7735137" y="1155980"/>
            <a:ext cx="635652" cy="231475"/>
          </a:xfrm>
          <a:custGeom>
            <a:avLst/>
            <a:gdLst/>
            <a:ahLst/>
            <a:cxnLst/>
            <a:rect l="l" t="t" r="r" b="b"/>
            <a:pathLst>
              <a:path w="635652" h="231475">
                <a:moveTo>
                  <a:pt x="498254" y="50342"/>
                </a:moveTo>
                <a:lnTo>
                  <a:pt x="477669" y="177925"/>
                </a:lnTo>
                <a:lnTo>
                  <a:pt x="477173" y="181133"/>
                </a:lnTo>
                <a:lnTo>
                  <a:pt x="476925" y="184341"/>
                </a:lnTo>
                <a:lnTo>
                  <a:pt x="476925" y="187055"/>
                </a:lnTo>
                <a:lnTo>
                  <a:pt x="479901" y="193718"/>
                </a:lnTo>
                <a:lnTo>
                  <a:pt x="627468" y="214941"/>
                </a:lnTo>
                <a:lnTo>
                  <a:pt x="630196" y="214941"/>
                </a:lnTo>
                <a:lnTo>
                  <a:pt x="635156" y="210499"/>
                </a:lnTo>
                <a:lnTo>
                  <a:pt x="635652" y="206304"/>
                </a:lnTo>
                <a:lnTo>
                  <a:pt x="635652" y="68356"/>
                </a:lnTo>
                <a:lnTo>
                  <a:pt x="634164" y="61200"/>
                </a:lnTo>
                <a:lnTo>
                  <a:pt x="629700" y="57005"/>
                </a:lnTo>
                <a:lnTo>
                  <a:pt x="516111" y="33808"/>
                </a:lnTo>
                <a:lnTo>
                  <a:pt x="512143" y="33314"/>
                </a:lnTo>
                <a:lnTo>
                  <a:pt x="508918" y="33808"/>
                </a:lnTo>
                <a:lnTo>
                  <a:pt x="503710" y="37016"/>
                </a:lnTo>
                <a:lnTo>
                  <a:pt x="500238" y="42692"/>
                </a:lnTo>
                <a:lnTo>
                  <a:pt x="498254" y="50342"/>
                </a:lnTo>
                <a:close/>
              </a:path>
              <a:path w="635652" h="231475">
                <a:moveTo>
                  <a:pt x="744" y="222591"/>
                </a:moveTo>
                <a:lnTo>
                  <a:pt x="6200" y="229007"/>
                </a:lnTo>
                <a:lnTo>
                  <a:pt x="13888" y="231475"/>
                </a:lnTo>
                <a:lnTo>
                  <a:pt x="158975" y="220370"/>
                </a:lnTo>
                <a:lnTo>
                  <a:pt x="166167" y="217409"/>
                </a:lnTo>
                <a:lnTo>
                  <a:pt x="171375" y="211239"/>
                </a:lnTo>
                <a:lnTo>
                  <a:pt x="201881" y="51822"/>
                </a:lnTo>
                <a:lnTo>
                  <a:pt x="201881" y="49355"/>
                </a:lnTo>
                <a:lnTo>
                  <a:pt x="197912" y="42198"/>
                </a:lnTo>
                <a:lnTo>
                  <a:pt x="190472" y="38003"/>
                </a:lnTo>
                <a:lnTo>
                  <a:pt x="187992" y="38003"/>
                </a:lnTo>
                <a:lnTo>
                  <a:pt x="39681" y="58979"/>
                </a:lnTo>
                <a:lnTo>
                  <a:pt x="32737" y="61940"/>
                </a:lnTo>
                <a:lnTo>
                  <a:pt x="27529" y="68110"/>
                </a:lnTo>
                <a:lnTo>
                  <a:pt x="0" y="217409"/>
                </a:lnTo>
                <a:lnTo>
                  <a:pt x="0" y="220123"/>
                </a:lnTo>
                <a:lnTo>
                  <a:pt x="744" y="222591"/>
                </a:lnTo>
                <a:close/>
              </a:path>
              <a:path w="635652" h="231475">
                <a:moveTo>
                  <a:pt x="430299" y="199641"/>
                </a:moveTo>
                <a:lnTo>
                  <a:pt x="439227" y="194459"/>
                </a:lnTo>
                <a:lnTo>
                  <a:pt x="444435" y="185575"/>
                </a:lnTo>
                <a:lnTo>
                  <a:pt x="470973" y="13819"/>
                </a:lnTo>
                <a:lnTo>
                  <a:pt x="470973" y="11351"/>
                </a:lnTo>
                <a:lnTo>
                  <a:pt x="464276" y="2220"/>
                </a:lnTo>
                <a:lnTo>
                  <a:pt x="459316" y="0"/>
                </a:lnTo>
                <a:lnTo>
                  <a:pt x="457084" y="0"/>
                </a:lnTo>
                <a:lnTo>
                  <a:pt x="234866" y="31340"/>
                </a:lnTo>
                <a:lnTo>
                  <a:pt x="225938" y="36276"/>
                </a:lnTo>
                <a:lnTo>
                  <a:pt x="220729" y="45159"/>
                </a:lnTo>
                <a:lnTo>
                  <a:pt x="190472" y="202849"/>
                </a:lnTo>
                <a:lnTo>
                  <a:pt x="190720" y="205070"/>
                </a:lnTo>
                <a:lnTo>
                  <a:pt x="197416" y="213954"/>
                </a:lnTo>
                <a:lnTo>
                  <a:pt x="204609" y="216669"/>
                </a:lnTo>
                <a:lnTo>
                  <a:pt x="430299" y="199641"/>
                </a:lnTo>
                <a:close/>
              </a:path>
            </a:pathLst>
          </a:custGeom>
          <a:solidFill>
            <a:srgbClr val="BEBEBE"/>
          </a:solidFill>
        </p:spPr>
        <p:txBody>
          <a:bodyPr wrap="square" lIns="0" tIns="0" rIns="0" bIns="0" rtlCol="0">
            <a:noAutofit/>
          </a:bodyPr>
          <a:lstStyle/>
          <a:p>
            <a:endParaRPr/>
          </a:p>
        </p:txBody>
      </p:sp>
      <p:sp>
        <p:nvSpPr>
          <p:cNvPr id="1698" name="object 1698"/>
          <p:cNvSpPr/>
          <p:nvPr/>
        </p:nvSpPr>
        <p:spPr>
          <a:xfrm>
            <a:off x="7969756" y="1154745"/>
            <a:ext cx="222714" cy="33808"/>
          </a:xfrm>
          <a:custGeom>
            <a:avLst/>
            <a:gdLst/>
            <a:ahLst/>
            <a:cxnLst/>
            <a:rect l="l" t="t" r="r" b="b"/>
            <a:pathLst>
              <a:path w="222714" h="33808">
                <a:moveTo>
                  <a:pt x="222217" y="0"/>
                </a:moveTo>
                <a:lnTo>
                  <a:pt x="0" y="31340"/>
                </a:lnTo>
                <a:lnTo>
                  <a:pt x="496" y="33808"/>
                </a:lnTo>
                <a:lnTo>
                  <a:pt x="222714" y="2467"/>
                </a:lnTo>
                <a:lnTo>
                  <a:pt x="222217" y="0"/>
                </a:lnTo>
                <a:close/>
              </a:path>
            </a:pathLst>
          </a:custGeom>
          <a:solidFill>
            <a:srgbClr val="000000"/>
          </a:solidFill>
        </p:spPr>
        <p:txBody>
          <a:bodyPr wrap="square" lIns="0" tIns="0" rIns="0" bIns="0" rtlCol="0">
            <a:noAutofit/>
          </a:bodyPr>
          <a:lstStyle/>
          <a:p>
            <a:endParaRPr/>
          </a:p>
        </p:txBody>
      </p:sp>
      <p:sp>
        <p:nvSpPr>
          <p:cNvPr id="1699" name="object 1699"/>
          <p:cNvSpPr/>
          <p:nvPr/>
        </p:nvSpPr>
        <p:spPr>
          <a:xfrm>
            <a:off x="8191974" y="1154745"/>
            <a:ext cx="15376" cy="15300"/>
          </a:xfrm>
          <a:custGeom>
            <a:avLst/>
            <a:gdLst/>
            <a:ahLst/>
            <a:cxnLst/>
            <a:rect l="l" t="t" r="r" b="b"/>
            <a:pathLst>
              <a:path w="15376" h="15300">
                <a:moveTo>
                  <a:pt x="496" y="2467"/>
                </a:moveTo>
                <a:lnTo>
                  <a:pt x="2232" y="2467"/>
                </a:lnTo>
                <a:lnTo>
                  <a:pt x="4464" y="3454"/>
                </a:lnTo>
                <a:lnTo>
                  <a:pt x="6696" y="4441"/>
                </a:lnTo>
                <a:lnTo>
                  <a:pt x="8680" y="6416"/>
                </a:lnTo>
                <a:lnTo>
                  <a:pt x="10664" y="8390"/>
                </a:lnTo>
                <a:lnTo>
                  <a:pt x="12152" y="10611"/>
                </a:lnTo>
                <a:lnTo>
                  <a:pt x="12896" y="12832"/>
                </a:lnTo>
                <a:lnTo>
                  <a:pt x="12896" y="14806"/>
                </a:lnTo>
                <a:lnTo>
                  <a:pt x="15376" y="15300"/>
                </a:lnTo>
                <a:lnTo>
                  <a:pt x="15376" y="12338"/>
                </a:lnTo>
                <a:lnTo>
                  <a:pt x="14136" y="9624"/>
                </a:lnTo>
                <a:lnTo>
                  <a:pt x="12648" y="6909"/>
                </a:lnTo>
                <a:lnTo>
                  <a:pt x="10664" y="4441"/>
                </a:lnTo>
                <a:lnTo>
                  <a:pt x="8184" y="2467"/>
                </a:lnTo>
                <a:lnTo>
                  <a:pt x="5456" y="987"/>
                </a:lnTo>
                <a:lnTo>
                  <a:pt x="2728" y="0"/>
                </a:lnTo>
                <a:lnTo>
                  <a:pt x="0" y="0"/>
                </a:lnTo>
                <a:lnTo>
                  <a:pt x="496" y="2467"/>
                </a:lnTo>
                <a:close/>
              </a:path>
            </a:pathLst>
          </a:custGeom>
          <a:solidFill>
            <a:srgbClr val="000000"/>
          </a:solidFill>
        </p:spPr>
        <p:txBody>
          <a:bodyPr wrap="square" lIns="0" tIns="0" rIns="0" bIns="0" rtlCol="0">
            <a:noAutofit/>
          </a:bodyPr>
          <a:lstStyle/>
          <a:p>
            <a:endParaRPr/>
          </a:p>
        </p:txBody>
      </p:sp>
      <p:sp>
        <p:nvSpPr>
          <p:cNvPr id="1700" name="object 1700"/>
          <p:cNvSpPr/>
          <p:nvPr/>
        </p:nvSpPr>
        <p:spPr>
          <a:xfrm>
            <a:off x="8178334" y="1169553"/>
            <a:ext cx="29017" cy="172249"/>
          </a:xfrm>
          <a:custGeom>
            <a:avLst/>
            <a:gdLst/>
            <a:ahLst/>
            <a:cxnLst/>
            <a:rect l="l" t="t" r="r" b="b"/>
            <a:pathLst>
              <a:path w="29017" h="172249">
                <a:moveTo>
                  <a:pt x="2480" y="172249"/>
                </a:moveTo>
                <a:lnTo>
                  <a:pt x="29017" y="493"/>
                </a:lnTo>
                <a:lnTo>
                  <a:pt x="26537" y="0"/>
                </a:lnTo>
                <a:lnTo>
                  <a:pt x="0" y="171755"/>
                </a:lnTo>
                <a:lnTo>
                  <a:pt x="2480" y="172249"/>
                </a:lnTo>
                <a:close/>
              </a:path>
            </a:pathLst>
          </a:custGeom>
          <a:solidFill>
            <a:srgbClr val="000000"/>
          </a:solidFill>
        </p:spPr>
        <p:txBody>
          <a:bodyPr wrap="square" lIns="0" tIns="0" rIns="0" bIns="0" rtlCol="0">
            <a:noAutofit/>
          </a:bodyPr>
          <a:lstStyle/>
          <a:p>
            <a:endParaRPr/>
          </a:p>
        </p:txBody>
      </p:sp>
      <p:sp>
        <p:nvSpPr>
          <p:cNvPr id="1701" name="object 1701"/>
          <p:cNvSpPr/>
          <p:nvPr/>
        </p:nvSpPr>
        <p:spPr>
          <a:xfrm>
            <a:off x="8165437" y="1341308"/>
            <a:ext cx="15376" cy="15546"/>
          </a:xfrm>
          <a:custGeom>
            <a:avLst/>
            <a:gdLst/>
            <a:ahLst/>
            <a:cxnLst/>
            <a:rect l="l" t="t" r="r" b="b"/>
            <a:pathLst>
              <a:path w="15376" h="15546">
                <a:moveTo>
                  <a:pt x="2728" y="15053"/>
                </a:moveTo>
                <a:lnTo>
                  <a:pt x="5456" y="13572"/>
                </a:lnTo>
                <a:lnTo>
                  <a:pt x="7688" y="12092"/>
                </a:lnTo>
                <a:lnTo>
                  <a:pt x="9920" y="9871"/>
                </a:lnTo>
                <a:lnTo>
                  <a:pt x="11904" y="7650"/>
                </a:lnTo>
                <a:lnTo>
                  <a:pt x="13392" y="5429"/>
                </a:lnTo>
                <a:lnTo>
                  <a:pt x="14880" y="2961"/>
                </a:lnTo>
                <a:lnTo>
                  <a:pt x="15376" y="493"/>
                </a:lnTo>
                <a:lnTo>
                  <a:pt x="12896" y="0"/>
                </a:lnTo>
                <a:lnTo>
                  <a:pt x="12400" y="1974"/>
                </a:lnTo>
                <a:lnTo>
                  <a:pt x="11408" y="3948"/>
                </a:lnTo>
                <a:lnTo>
                  <a:pt x="9920" y="6169"/>
                </a:lnTo>
                <a:lnTo>
                  <a:pt x="7936" y="8390"/>
                </a:lnTo>
                <a:lnTo>
                  <a:pt x="6200" y="10117"/>
                </a:lnTo>
                <a:lnTo>
                  <a:pt x="3968" y="11598"/>
                </a:lnTo>
                <a:lnTo>
                  <a:pt x="1736" y="12585"/>
                </a:lnTo>
                <a:lnTo>
                  <a:pt x="0" y="13079"/>
                </a:lnTo>
                <a:lnTo>
                  <a:pt x="0" y="15546"/>
                </a:lnTo>
                <a:lnTo>
                  <a:pt x="2728" y="15053"/>
                </a:lnTo>
                <a:close/>
              </a:path>
            </a:pathLst>
          </a:custGeom>
          <a:solidFill>
            <a:srgbClr val="000000"/>
          </a:solidFill>
        </p:spPr>
        <p:txBody>
          <a:bodyPr wrap="square" lIns="0" tIns="0" rIns="0" bIns="0" rtlCol="0">
            <a:noAutofit/>
          </a:bodyPr>
          <a:lstStyle/>
          <a:p>
            <a:endParaRPr/>
          </a:p>
        </p:txBody>
      </p:sp>
      <p:sp>
        <p:nvSpPr>
          <p:cNvPr id="1702" name="object 1702"/>
          <p:cNvSpPr/>
          <p:nvPr/>
        </p:nvSpPr>
        <p:spPr>
          <a:xfrm>
            <a:off x="7939746" y="1354388"/>
            <a:ext cx="225690" cy="19495"/>
          </a:xfrm>
          <a:custGeom>
            <a:avLst/>
            <a:gdLst/>
            <a:ahLst/>
            <a:cxnLst/>
            <a:rect l="l" t="t" r="r" b="b"/>
            <a:pathLst>
              <a:path w="225690" h="19495">
                <a:moveTo>
                  <a:pt x="0" y="19495"/>
                </a:moveTo>
                <a:lnTo>
                  <a:pt x="225690" y="2467"/>
                </a:lnTo>
                <a:lnTo>
                  <a:pt x="225690" y="0"/>
                </a:lnTo>
                <a:lnTo>
                  <a:pt x="0" y="17027"/>
                </a:lnTo>
                <a:lnTo>
                  <a:pt x="0" y="19495"/>
                </a:lnTo>
                <a:close/>
              </a:path>
            </a:pathLst>
          </a:custGeom>
          <a:solidFill>
            <a:srgbClr val="000000"/>
          </a:solidFill>
        </p:spPr>
        <p:txBody>
          <a:bodyPr wrap="square" lIns="0" tIns="0" rIns="0" bIns="0" rtlCol="0">
            <a:noAutofit/>
          </a:bodyPr>
          <a:lstStyle/>
          <a:p>
            <a:endParaRPr/>
          </a:p>
        </p:txBody>
      </p:sp>
      <p:sp>
        <p:nvSpPr>
          <p:cNvPr id="1703" name="object 1703"/>
          <p:cNvSpPr/>
          <p:nvPr/>
        </p:nvSpPr>
        <p:spPr>
          <a:xfrm>
            <a:off x="7924370" y="1358582"/>
            <a:ext cx="15376" cy="15300"/>
          </a:xfrm>
          <a:custGeom>
            <a:avLst/>
            <a:gdLst/>
            <a:ahLst/>
            <a:cxnLst/>
            <a:rect l="l" t="t" r="r" b="b"/>
            <a:pathLst>
              <a:path w="15376" h="15300">
                <a:moveTo>
                  <a:pt x="248" y="2714"/>
                </a:moveTo>
                <a:lnTo>
                  <a:pt x="992" y="5429"/>
                </a:lnTo>
                <a:lnTo>
                  <a:pt x="2728" y="7896"/>
                </a:lnTo>
                <a:lnTo>
                  <a:pt x="4960" y="10364"/>
                </a:lnTo>
                <a:lnTo>
                  <a:pt x="7440" y="12338"/>
                </a:lnTo>
                <a:lnTo>
                  <a:pt x="10168" y="13819"/>
                </a:lnTo>
                <a:lnTo>
                  <a:pt x="12896" y="15053"/>
                </a:lnTo>
                <a:lnTo>
                  <a:pt x="15376" y="15300"/>
                </a:lnTo>
                <a:lnTo>
                  <a:pt x="15376" y="12832"/>
                </a:lnTo>
                <a:lnTo>
                  <a:pt x="13392" y="12585"/>
                </a:lnTo>
                <a:lnTo>
                  <a:pt x="11160" y="11845"/>
                </a:lnTo>
                <a:lnTo>
                  <a:pt x="8928" y="10364"/>
                </a:lnTo>
                <a:lnTo>
                  <a:pt x="6448" y="8390"/>
                </a:lnTo>
                <a:lnTo>
                  <a:pt x="4712" y="6416"/>
                </a:lnTo>
                <a:lnTo>
                  <a:pt x="3472" y="4441"/>
                </a:lnTo>
                <a:lnTo>
                  <a:pt x="2728" y="2220"/>
                </a:lnTo>
                <a:lnTo>
                  <a:pt x="2480" y="493"/>
                </a:lnTo>
                <a:lnTo>
                  <a:pt x="0" y="0"/>
                </a:lnTo>
                <a:lnTo>
                  <a:pt x="248" y="2714"/>
                </a:lnTo>
                <a:close/>
              </a:path>
            </a:pathLst>
          </a:custGeom>
          <a:solidFill>
            <a:srgbClr val="000000"/>
          </a:solidFill>
        </p:spPr>
        <p:txBody>
          <a:bodyPr wrap="square" lIns="0" tIns="0" rIns="0" bIns="0" rtlCol="0">
            <a:noAutofit/>
          </a:bodyPr>
          <a:lstStyle/>
          <a:p>
            <a:endParaRPr/>
          </a:p>
        </p:txBody>
      </p:sp>
      <p:sp>
        <p:nvSpPr>
          <p:cNvPr id="1704" name="object 1704"/>
          <p:cNvSpPr/>
          <p:nvPr/>
        </p:nvSpPr>
        <p:spPr>
          <a:xfrm>
            <a:off x="7924371" y="1200893"/>
            <a:ext cx="32737" cy="158183"/>
          </a:xfrm>
          <a:custGeom>
            <a:avLst/>
            <a:gdLst/>
            <a:ahLst/>
            <a:cxnLst/>
            <a:rect l="l" t="t" r="r" b="b"/>
            <a:pathLst>
              <a:path w="32737" h="158183">
                <a:moveTo>
                  <a:pt x="30257" y="0"/>
                </a:moveTo>
                <a:lnTo>
                  <a:pt x="0" y="157689"/>
                </a:lnTo>
                <a:lnTo>
                  <a:pt x="2480" y="158183"/>
                </a:lnTo>
                <a:lnTo>
                  <a:pt x="32737" y="493"/>
                </a:lnTo>
                <a:lnTo>
                  <a:pt x="30257" y="0"/>
                </a:lnTo>
                <a:close/>
              </a:path>
            </a:pathLst>
          </a:custGeom>
          <a:solidFill>
            <a:srgbClr val="000000"/>
          </a:solidFill>
        </p:spPr>
        <p:txBody>
          <a:bodyPr wrap="square" lIns="0" tIns="0" rIns="0" bIns="0" rtlCol="0">
            <a:noAutofit/>
          </a:bodyPr>
          <a:lstStyle/>
          <a:p>
            <a:endParaRPr/>
          </a:p>
        </p:txBody>
      </p:sp>
      <p:sp>
        <p:nvSpPr>
          <p:cNvPr id="1705" name="object 1705"/>
          <p:cNvSpPr/>
          <p:nvPr/>
        </p:nvSpPr>
        <p:spPr>
          <a:xfrm>
            <a:off x="7954627" y="1186086"/>
            <a:ext cx="15624" cy="15300"/>
          </a:xfrm>
          <a:custGeom>
            <a:avLst/>
            <a:gdLst/>
            <a:ahLst/>
            <a:cxnLst/>
            <a:rect l="l" t="t" r="r" b="b"/>
            <a:pathLst>
              <a:path w="15624" h="15300">
                <a:moveTo>
                  <a:pt x="744" y="12338"/>
                </a:moveTo>
                <a:lnTo>
                  <a:pt x="0" y="14806"/>
                </a:lnTo>
                <a:lnTo>
                  <a:pt x="2480" y="15300"/>
                </a:lnTo>
                <a:lnTo>
                  <a:pt x="3224" y="13325"/>
                </a:lnTo>
                <a:lnTo>
                  <a:pt x="3968" y="11104"/>
                </a:lnTo>
                <a:lnTo>
                  <a:pt x="5456" y="9130"/>
                </a:lnTo>
                <a:lnTo>
                  <a:pt x="7440" y="7156"/>
                </a:lnTo>
                <a:lnTo>
                  <a:pt x="9176" y="5429"/>
                </a:lnTo>
                <a:lnTo>
                  <a:pt x="11656" y="3948"/>
                </a:lnTo>
                <a:lnTo>
                  <a:pt x="13640" y="2961"/>
                </a:lnTo>
                <a:lnTo>
                  <a:pt x="15624" y="2467"/>
                </a:lnTo>
                <a:lnTo>
                  <a:pt x="15128" y="0"/>
                </a:lnTo>
                <a:lnTo>
                  <a:pt x="12648" y="493"/>
                </a:lnTo>
                <a:lnTo>
                  <a:pt x="10168" y="1974"/>
                </a:lnTo>
                <a:lnTo>
                  <a:pt x="7688" y="3454"/>
                </a:lnTo>
                <a:lnTo>
                  <a:pt x="5456" y="5182"/>
                </a:lnTo>
                <a:lnTo>
                  <a:pt x="3472" y="7650"/>
                </a:lnTo>
                <a:lnTo>
                  <a:pt x="1984" y="10117"/>
                </a:lnTo>
                <a:lnTo>
                  <a:pt x="744" y="12338"/>
                </a:lnTo>
                <a:close/>
              </a:path>
            </a:pathLst>
          </a:custGeom>
          <a:solidFill>
            <a:srgbClr val="000000"/>
          </a:solidFill>
        </p:spPr>
        <p:txBody>
          <a:bodyPr wrap="square" lIns="0" tIns="0" rIns="0" bIns="0" rtlCol="0">
            <a:noAutofit/>
          </a:bodyPr>
          <a:lstStyle/>
          <a:p>
            <a:endParaRPr/>
          </a:p>
        </p:txBody>
      </p:sp>
      <p:sp>
        <p:nvSpPr>
          <p:cNvPr id="1706" name="object 1706"/>
          <p:cNvSpPr/>
          <p:nvPr/>
        </p:nvSpPr>
        <p:spPr>
          <a:xfrm>
            <a:off x="7774571" y="1192750"/>
            <a:ext cx="148806" cy="23443"/>
          </a:xfrm>
          <a:custGeom>
            <a:avLst/>
            <a:gdLst/>
            <a:ahLst/>
            <a:cxnLst/>
            <a:rect l="l" t="t" r="r" b="b"/>
            <a:pathLst>
              <a:path w="148806" h="23443">
                <a:moveTo>
                  <a:pt x="148310" y="0"/>
                </a:moveTo>
                <a:lnTo>
                  <a:pt x="0" y="20975"/>
                </a:lnTo>
                <a:lnTo>
                  <a:pt x="496" y="23443"/>
                </a:lnTo>
                <a:lnTo>
                  <a:pt x="148806" y="2467"/>
                </a:lnTo>
                <a:lnTo>
                  <a:pt x="148310" y="0"/>
                </a:lnTo>
                <a:close/>
              </a:path>
            </a:pathLst>
          </a:custGeom>
          <a:solidFill>
            <a:srgbClr val="000000"/>
          </a:solidFill>
        </p:spPr>
        <p:txBody>
          <a:bodyPr wrap="square" lIns="0" tIns="0" rIns="0" bIns="0" rtlCol="0">
            <a:noAutofit/>
          </a:bodyPr>
          <a:lstStyle/>
          <a:p>
            <a:endParaRPr/>
          </a:p>
        </p:txBody>
      </p:sp>
      <p:sp>
        <p:nvSpPr>
          <p:cNvPr id="1707" name="object 1707"/>
          <p:cNvSpPr/>
          <p:nvPr/>
        </p:nvSpPr>
        <p:spPr>
          <a:xfrm>
            <a:off x="7922882" y="1192749"/>
            <a:ext cx="15376" cy="15300"/>
          </a:xfrm>
          <a:custGeom>
            <a:avLst/>
            <a:gdLst/>
            <a:ahLst/>
            <a:cxnLst/>
            <a:rect l="l" t="t" r="r" b="b"/>
            <a:pathLst>
              <a:path w="15376" h="15300">
                <a:moveTo>
                  <a:pt x="496" y="2467"/>
                </a:moveTo>
                <a:lnTo>
                  <a:pt x="2480" y="2467"/>
                </a:lnTo>
                <a:lnTo>
                  <a:pt x="4960" y="3454"/>
                </a:lnTo>
                <a:lnTo>
                  <a:pt x="7192" y="4441"/>
                </a:lnTo>
                <a:lnTo>
                  <a:pt x="9176" y="6416"/>
                </a:lnTo>
                <a:lnTo>
                  <a:pt x="11160" y="8390"/>
                </a:lnTo>
                <a:lnTo>
                  <a:pt x="12152" y="10364"/>
                </a:lnTo>
                <a:lnTo>
                  <a:pt x="12896" y="12832"/>
                </a:lnTo>
                <a:lnTo>
                  <a:pt x="12896" y="14806"/>
                </a:lnTo>
                <a:lnTo>
                  <a:pt x="15376" y="15300"/>
                </a:lnTo>
                <a:lnTo>
                  <a:pt x="15376" y="12338"/>
                </a:lnTo>
                <a:lnTo>
                  <a:pt x="14632" y="9377"/>
                </a:lnTo>
                <a:lnTo>
                  <a:pt x="13144" y="6909"/>
                </a:lnTo>
                <a:lnTo>
                  <a:pt x="11160" y="4441"/>
                </a:lnTo>
                <a:lnTo>
                  <a:pt x="8680" y="2467"/>
                </a:lnTo>
                <a:lnTo>
                  <a:pt x="5952" y="987"/>
                </a:lnTo>
                <a:lnTo>
                  <a:pt x="2976" y="0"/>
                </a:lnTo>
                <a:lnTo>
                  <a:pt x="0" y="0"/>
                </a:lnTo>
                <a:lnTo>
                  <a:pt x="496" y="2467"/>
                </a:lnTo>
                <a:close/>
              </a:path>
            </a:pathLst>
          </a:custGeom>
          <a:solidFill>
            <a:srgbClr val="000000"/>
          </a:solidFill>
        </p:spPr>
        <p:txBody>
          <a:bodyPr wrap="square" lIns="0" tIns="0" rIns="0" bIns="0" rtlCol="0">
            <a:noAutofit/>
          </a:bodyPr>
          <a:lstStyle/>
          <a:p>
            <a:endParaRPr/>
          </a:p>
        </p:txBody>
      </p:sp>
      <p:sp>
        <p:nvSpPr>
          <p:cNvPr id="1708" name="object 1708"/>
          <p:cNvSpPr/>
          <p:nvPr/>
        </p:nvSpPr>
        <p:spPr>
          <a:xfrm>
            <a:off x="7907010" y="1207556"/>
            <a:ext cx="31249" cy="154975"/>
          </a:xfrm>
          <a:custGeom>
            <a:avLst/>
            <a:gdLst/>
            <a:ahLst/>
            <a:cxnLst/>
            <a:rect l="l" t="t" r="r" b="b"/>
            <a:pathLst>
              <a:path w="31249" h="154975">
                <a:moveTo>
                  <a:pt x="2480" y="154975"/>
                </a:moveTo>
                <a:lnTo>
                  <a:pt x="31249" y="493"/>
                </a:lnTo>
                <a:lnTo>
                  <a:pt x="28769" y="0"/>
                </a:lnTo>
                <a:lnTo>
                  <a:pt x="0" y="154481"/>
                </a:lnTo>
                <a:lnTo>
                  <a:pt x="2480" y="154975"/>
                </a:lnTo>
                <a:close/>
              </a:path>
            </a:pathLst>
          </a:custGeom>
          <a:solidFill>
            <a:srgbClr val="000000"/>
          </a:solidFill>
        </p:spPr>
        <p:txBody>
          <a:bodyPr wrap="square" lIns="0" tIns="0" rIns="0" bIns="0" rtlCol="0">
            <a:noAutofit/>
          </a:bodyPr>
          <a:lstStyle/>
          <a:p>
            <a:endParaRPr/>
          </a:p>
        </p:txBody>
      </p:sp>
      <p:sp>
        <p:nvSpPr>
          <p:cNvPr id="1709" name="object 1709"/>
          <p:cNvSpPr/>
          <p:nvPr/>
        </p:nvSpPr>
        <p:spPr>
          <a:xfrm>
            <a:off x="7894112" y="1362037"/>
            <a:ext cx="15376" cy="15546"/>
          </a:xfrm>
          <a:custGeom>
            <a:avLst/>
            <a:gdLst/>
            <a:ahLst/>
            <a:cxnLst/>
            <a:rect l="l" t="t" r="r" b="b"/>
            <a:pathLst>
              <a:path w="15376" h="15546">
                <a:moveTo>
                  <a:pt x="2232" y="12585"/>
                </a:moveTo>
                <a:lnTo>
                  <a:pt x="0" y="13079"/>
                </a:lnTo>
                <a:lnTo>
                  <a:pt x="0" y="15546"/>
                </a:lnTo>
                <a:lnTo>
                  <a:pt x="2728" y="15053"/>
                </a:lnTo>
                <a:lnTo>
                  <a:pt x="5456" y="13819"/>
                </a:lnTo>
                <a:lnTo>
                  <a:pt x="7936" y="12338"/>
                </a:lnTo>
                <a:lnTo>
                  <a:pt x="10168" y="10364"/>
                </a:lnTo>
                <a:lnTo>
                  <a:pt x="11904" y="8143"/>
                </a:lnTo>
                <a:lnTo>
                  <a:pt x="13392" y="5675"/>
                </a:lnTo>
                <a:lnTo>
                  <a:pt x="14632" y="3208"/>
                </a:lnTo>
                <a:lnTo>
                  <a:pt x="15376" y="493"/>
                </a:lnTo>
                <a:lnTo>
                  <a:pt x="12896" y="0"/>
                </a:lnTo>
                <a:lnTo>
                  <a:pt x="12152" y="2220"/>
                </a:lnTo>
                <a:lnTo>
                  <a:pt x="11408" y="4688"/>
                </a:lnTo>
                <a:lnTo>
                  <a:pt x="9920" y="6662"/>
                </a:lnTo>
                <a:lnTo>
                  <a:pt x="8184" y="8883"/>
                </a:lnTo>
                <a:lnTo>
                  <a:pt x="6448" y="10364"/>
                </a:lnTo>
                <a:lnTo>
                  <a:pt x="4464" y="11845"/>
                </a:lnTo>
                <a:lnTo>
                  <a:pt x="2232" y="12585"/>
                </a:lnTo>
                <a:close/>
              </a:path>
            </a:pathLst>
          </a:custGeom>
          <a:solidFill>
            <a:srgbClr val="000000"/>
          </a:solidFill>
        </p:spPr>
        <p:txBody>
          <a:bodyPr wrap="square" lIns="0" tIns="0" rIns="0" bIns="0" rtlCol="0">
            <a:noAutofit/>
          </a:bodyPr>
          <a:lstStyle/>
          <a:p>
            <a:endParaRPr/>
          </a:p>
        </p:txBody>
      </p:sp>
      <p:sp>
        <p:nvSpPr>
          <p:cNvPr id="1710" name="object 1710"/>
          <p:cNvSpPr/>
          <p:nvPr/>
        </p:nvSpPr>
        <p:spPr>
          <a:xfrm>
            <a:off x="7749026" y="1375116"/>
            <a:ext cx="145086" cy="13572"/>
          </a:xfrm>
          <a:custGeom>
            <a:avLst/>
            <a:gdLst/>
            <a:ahLst/>
            <a:cxnLst/>
            <a:rect l="l" t="t" r="r" b="b"/>
            <a:pathLst>
              <a:path w="145086" h="13572">
                <a:moveTo>
                  <a:pt x="0" y="13572"/>
                </a:moveTo>
                <a:lnTo>
                  <a:pt x="145086" y="2467"/>
                </a:lnTo>
                <a:lnTo>
                  <a:pt x="145086" y="0"/>
                </a:lnTo>
                <a:lnTo>
                  <a:pt x="0" y="11104"/>
                </a:lnTo>
                <a:lnTo>
                  <a:pt x="0" y="13572"/>
                </a:lnTo>
                <a:close/>
              </a:path>
            </a:pathLst>
          </a:custGeom>
          <a:solidFill>
            <a:srgbClr val="000000"/>
          </a:solidFill>
        </p:spPr>
        <p:txBody>
          <a:bodyPr wrap="square" lIns="0" tIns="0" rIns="0" bIns="0" rtlCol="0">
            <a:noAutofit/>
          </a:bodyPr>
          <a:lstStyle/>
          <a:p>
            <a:endParaRPr/>
          </a:p>
        </p:txBody>
      </p:sp>
      <p:sp>
        <p:nvSpPr>
          <p:cNvPr id="1711" name="object 1711"/>
          <p:cNvSpPr/>
          <p:nvPr/>
        </p:nvSpPr>
        <p:spPr>
          <a:xfrm>
            <a:off x="7733897" y="1373142"/>
            <a:ext cx="15128" cy="15546"/>
          </a:xfrm>
          <a:custGeom>
            <a:avLst/>
            <a:gdLst/>
            <a:ahLst/>
            <a:cxnLst/>
            <a:rect l="l" t="t" r="r" b="b"/>
            <a:pathLst>
              <a:path w="15128" h="15546">
                <a:moveTo>
                  <a:pt x="4216" y="7156"/>
                </a:moveTo>
                <a:lnTo>
                  <a:pt x="3224" y="4935"/>
                </a:lnTo>
                <a:lnTo>
                  <a:pt x="2480" y="2714"/>
                </a:lnTo>
                <a:lnTo>
                  <a:pt x="2480" y="493"/>
                </a:lnTo>
                <a:lnTo>
                  <a:pt x="0" y="0"/>
                </a:lnTo>
                <a:lnTo>
                  <a:pt x="0" y="3208"/>
                </a:lnTo>
                <a:lnTo>
                  <a:pt x="744" y="5922"/>
                </a:lnTo>
                <a:lnTo>
                  <a:pt x="2232" y="8637"/>
                </a:lnTo>
                <a:lnTo>
                  <a:pt x="4464" y="11104"/>
                </a:lnTo>
                <a:lnTo>
                  <a:pt x="6696" y="12832"/>
                </a:lnTo>
                <a:lnTo>
                  <a:pt x="9424" y="14559"/>
                </a:lnTo>
                <a:lnTo>
                  <a:pt x="12152" y="15300"/>
                </a:lnTo>
                <a:lnTo>
                  <a:pt x="15128" y="15546"/>
                </a:lnTo>
                <a:lnTo>
                  <a:pt x="15128" y="13079"/>
                </a:lnTo>
                <a:lnTo>
                  <a:pt x="12648" y="12832"/>
                </a:lnTo>
                <a:lnTo>
                  <a:pt x="10416" y="12092"/>
                </a:lnTo>
                <a:lnTo>
                  <a:pt x="8184" y="10858"/>
                </a:lnTo>
                <a:lnTo>
                  <a:pt x="5952" y="9130"/>
                </a:lnTo>
                <a:lnTo>
                  <a:pt x="4216" y="7156"/>
                </a:lnTo>
                <a:close/>
              </a:path>
            </a:pathLst>
          </a:custGeom>
          <a:solidFill>
            <a:srgbClr val="000000"/>
          </a:solidFill>
        </p:spPr>
        <p:txBody>
          <a:bodyPr wrap="square" lIns="0" tIns="0" rIns="0" bIns="0" rtlCol="0">
            <a:noAutofit/>
          </a:bodyPr>
          <a:lstStyle/>
          <a:p>
            <a:endParaRPr/>
          </a:p>
        </p:txBody>
      </p:sp>
      <p:sp>
        <p:nvSpPr>
          <p:cNvPr id="1712" name="object 1712"/>
          <p:cNvSpPr/>
          <p:nvPr/>
        </p:nvSpPr>
        <p:spPr>
          <a:xfrm>
            <a:off x="7733898" y="1228779"/>
            <a:ext cx="28273" cy="144857"/>
          </a:xfrm>
          <a:custGeom>
            <a:avLst/>
            <a:gdLst/>
            <a:ahLst/>
            <a:cxnLst/>
            <a:rect l="l" t="t" r="r" b="b"/>
            <a:pathLst>
              <a:path w="28273" h="144857">
                <a:moveTo>
                  <a:pt x="25793" y="0"/>
                </a:moveTo>
                <a:lnTo>
                  <a:pt x="0" y="144363"/>
                </a:lnTo>
                <a:lnTo>
                  <a:pt x="2480" y="144857"/>
                </a:lnTo>
                <a:lnTo>
                  <a:pt x="28273" y="493"/>
                </a:lnTo>
                <a:lnTo>
                  <a:pt x="25793" y="0"/>
                </a:lnTo>
                <a:close/>
              </a:path>
            </a:pathLst>
          </a:custGeom>
          <a:solidFill>
            <a:srgbClr val="000000"/>
          </a:solidFill>
        </p:spPr>
        <p:txBody>
          <a:bodyPr wrap="square" lIns="0" tIns="0" rIns="0" bIns="0" rtlCol="0">
            <a:noAutofit/>
          </a:bodyPr>
          <a:lstStyle/>
          <a:p>
            <a:endParaRPr/>
          </a:p>
        </p:txBody>
      </p:sp>
      <p:sp>
        <p:nvSpPr>
          <p:cNvPr id="1713" name="object 1713"/>
          <p:cNvSpPr/>
          <p:nvPr/>
        </p:nvSpPr>
        <p:spPr>
          <a:xfrm>
            <a:off x="7759690" y="1213725"/>
            <a:ext cx="15376" cy="15546"/>
          </a:xfrm>
          <a:custGeom>
            <a:avLst/>
            <a:gdLst/>
            <a:ahLst/>
            <a:cxnLst/>
            <a:rect l="l" t="t" r="r" b="b"/>
            <a:pathLst>
              <a:path w="15376" h="15546">
                <a:moveTo>
                  <a:pt x="2480" y="15546"/>
                </a:moveTo>
                <a:lnTo>
                  <a:pt x="3224" y="13325"/>
                </a:lnTo>
                <a:lnTo>
                  <a:pt x="3968" y="10858"/>
                </a:lnTo>
                <a:lnTo>
                  <a:pt x="5456" y="8883"/>
                </a:lnTo>
                <a:lnTo>
                  <a:pt x="7192" y="6662"/>
                </a:lnTo>
                <a:lnTo>
                  <a:pt x="8928" y="5182"/>
                </a:lnTo>
                <a:lnTo>
                  <a:pt x="10912" y="3701"/>
                </a:lnTo>
                <a:lnTo>
                  <a:pt x="13144" y="2961"/>
                </a:lnTo>
                <a:lnTo>
                  <a:pt x="15376" y="2467"/>
                </a:lnTo>
                <a:lnTo>
                  <a:pt x="14880" y="0"/>
                </a:lnTo>
                <a:lnTo>
                  <a:pt x="12152" y="493"/>
                </a:lnTo>
                <a:lnTo>
                  <a:pt x="9920" y="1727"/>
                </a:lnTo>
                <a:lnTo>
                  <a:pt x="7440" y="3208"/>
                </a:lnTo>
                <a:lnTo>
                  <a:pt x="5208" y="5182"/>
                </a:lnTo>
                <a:lnTo>
                  <a:pt x="3472" y="7403"/>
                </a:lnTo>
                <a:lnTo>
                  <a:pt x="1984" y="9871"/>
                </a:lnTo>
                <a:lnTo>
                  <a:pt x="744" y="12338"/>
                </a:lnTo>
                <a:lnTo>
                  <a:pt x="0" y="15053"/>
                </a:lnTo>
                <a:lnTo>
                  <a:pt x="2480" y="15546"/>
                </a:lnTo>
                <a:close/>
              </a:path>
            </a:pathLst>
          </a:custGeom>
          <a:solidFill>
            <a:srgbClr val="000000"/>
          </a:solidFill>
        </p:spPr>
        <p:txBody>
          <a:bodyPr wrap="square" lIns="0" tIns="0" rIns="0" bIns="0" rtlCol="0">
            <a:noAutofit/>
          </a:bodyPr>
          <a:lstStyle/>
          <a:p>
            <a:endParaRPr/>
          </a:p>
        </p:txBody>
      </p:sp>
      <p:sp>
        <p:nvSpPr>
          <p:cNvPr id="1714" name="object 1714"/>
          <p:cNvSpPr/>
          <p:nvPr/>
        </p:nvSpPr>
        <p:spPr>
          <a:xfrm>
            <a:off x="8219255" y="1350439"/>
            <a:ext cx="143598" cy="21716"/>
          </a:xfrm>
          <a:custGeom>
            <a:avLst/>
            <a:gdLst/>
            <a:ahLst/>
            <a:cxnLst/>
            <a:rect l="l" t="t" r="r" b="b"/>
            <a:pathLst>
              <a:path w="143598" h="21716">
                <a:moveTo>
                  <a:pt x="744" y="2467"/>
                </a:moveTo>
                <a:lnTo>
                  <a:pt x="143102" y="21716"/>
                </a:lnTo>
                <a:lnTo>
                  <a:pt x="143598" y="19248"/>
                </a:lnTo>
                <a:lnTo>
                  <a:pt x="1240" y="0"/>
                </a:lnTo>
                <a:lnTo>
                  <a:pt x="248" y="246"/>
                </a:lnTo>
                <a:lnTo>
                  <a:pt x="0" y="987"/>
                </a:lnTo>
                <a:lnTo>
                  <a:pt x="0" y="1974"/>
                </a:lnTo>
                <a:lnTo>
                  <a:pt x="744" y="2467"/>
                </a:lnTo>
                <a:close/>
              </a:path>
            </a:pathLst>
          </a:custGeom>
          <a:solidFill>
            <a:srgbClr val="000000"/>
          </a:solidFill>
        </p:spPr>
        <p:txBody>
          <a:bodyPr wrap="square" lIns="0" tIns="0" rIns="0" bIns="0" rtlCol="0">
            <a:noAutofit/>
          </a:bodyPr>
          <a:lstStyle/>
          <a:p>
            <a:endParaRPr/>
          </a:p>
        </p:txBody>
      </p:sp>
      <p:sp>
        <p:nvSpPr>
          <p:cNvPr id="1715" name="object 1715"/>
          <p:cNvSpPr/>
          <p:nvPr/>
        </p:nvSpPr>
        <p:spPr>
          <a:xfrm>
            <a:off x="8210823" y="1332672"/>
            <a:ext cx="9672" cy="20235"/>
          </a:xfrm>
          <a:custGeom>
            <a:avLst/>
            <a:gdLst/>
            <a:ahLst/>
            <a:cxnLst/>
            <a:rect l="l" t="t" r="r" b="b"/>
            <a:pathLst>
              <a:path w="9672" h="20235">
                <a:moveTo>
                  <a:pt x="6944" y="17027"/>
                </a:moveTo>
                <a:lnTo>
                  <a:pt x="4960" y="16040"/>
                </a:lnTo>
                <a:lnTo>
                  <a:pt x="3720" y="14559"/>
                </a:lnTo>
                <a:lnTo>
                  <a:pt x="2976" y="12832"/>
                </a:lnTo>
                <a:lnTo>
                  <a:pt x="2480" y="10364"/>
                </a:lnTo>
                <a:lnTo>
                  <a:pt x="2480" y="7650"/>
                </a:lnTo>
                <a:lnTo>
                  <a:pt x="2728" y="4688"/>
                </a:lnTo>
                <a:lnTo>
                  <a:pt x="3224" y="1480"/>
                </a:lnTo>
                <a:lnTo>
                  <a:pt x="2976" y="493"/>
                </a:lnTo>
                <a:lnTo>
                  <a:pt x="2232" y="0"/>
                </a:lnTo>
                <a:lnTo>
                  <a:pt x="1240" y="246"/>
                </a:lnTo>
                <a:lnTo>
                  <a:pt x="744" y="987"/>
                </a:lnTo>
                <a:lnTo>
                  <a:pt x="248" y="4195"/>
                </a:lnTo>
                <a:lnTo>
                  <a:pt x="0" y="7650"/>
                </a:lnTo>
                <a:lnTo>
                  <a:pt x="0" y="10364"/>
                </a:lnTo>
                <a:lnTo>
                  <a:pt x="496" y="13325"/>
                </a:lnTo>
                <a:lnTo>
                  <a:pt x="1736" y="16040"/>
                </a:lnTo>
                <a:lnTo>
                  <a:pt x="3472" y="18014"/>
                </a:lnTo>
                <a:lnTo>
                  <a:pt x="5952" y="19495"/>
                </a:lnTo>
                <a:lnTo>
                  <a:pt x="9176" y="20235"/>
                </a:lnTo>
                <a:lnTo>
                  <a:pt x="9672" y="17767"/>
                </a:lnTo>
                <a:lnTo>
                  <a:pt x="6944" y="17027"/>
                </a:lnTo>
                <a:close/>
              </a:path>
            </a:pathLst>
          </a:custGeom>
          <a:solidFill>
            <a:srgbClr val="000000"/>
          </a:solidFill>
        </p:spPr>
        <p:txBody>
          <a:bodyPr wrap="square" lIns="0" tIns="0" rIns="0" bIns="0" rtlCol="0">
            <a:noAutofit/>
          </a:bodyPr>
          <a:lstStyle/>
          <a:p>
            <a:endParaRPr/>
          </a:p>
        </p:txBody>
      </p:sp>
      <p:sp>
        <p:nvSpPr>
          <p:cNvPr id="1716" name="object 1716"/>
          <p:cNvSpPr/>
          <p:nvPr/>
        </p:nvSpPr>
        <p:spPr>
          <a:xfrm>
            <a:off x="8211568" y="1205089"/>
            <a:ext cx="23065" cy="129063"/>
          </a:xfrm>
          <a:custGeom>
            <a:avLst/>
            <a:gdLst/>
            <a:ahLst/>
            <a:cxnLst/>
            <a:rect l="l" t="t" r="r" b="b"/>
            <a:pathLst>
              <a:path w="23065" h="129063">
                <a:moveTo>
                  <a:pt x="20584" y="987"/>
                </a:moveTo>
                <a:lnTo>
                  <a:pt x="0" y="128570"/>
                </a:lnTo>
                <a:lnTo>
                  <a:pt x="2480" y="129063"/>
                </a:lnTo>
                <a:lnTo>
                  <a:pt x="23065" y="1480"/>
                </a:lnTo>
                <a:lnTo>
                  <a:pt x="22817" y="493"/>
                </a:lnTo>
                <a:lnTo>
                  <a:pt x="22072" y="0"/>
                </a:lnTo>
                <a:lnTo>
                  <a:pt x="21080" y="246"/>
                </a:lnTo>
                <a:lnTo>
                  <a:pt x="20584" y="987"/>
                </a:lnTo>
                <a:close/>
              </a:path>
            </a:pathLst>
          </a:custGeom>
          <a:solidFill>
            <a:srgbClr val="000000"/>
          </a:solidFill>
        </p:spPr>
        <p:txBody>
          <a:bodyPr wrap="square" lIns="0" tIns="0" rIns="0" bIns="0" rtlCol="0">
            <a:noAutofit/>
          </a:bodyPr>
          <a:lstStyle/>
          <a:p>
            <a:endParaRPr/>
          </a:p>
        </p:txBody>
      </p:sp>
      <p:sp>
        <p:nvSpPr>
          <p:cNvPr id="1717" name="object 1717"/>
          <p:cNvSpPr/>
          <p:nvPr/>
        </p:nvSpPr>
        <p:spPr>
          <a:xfrm>
            <a:off x="8232152" y="1188060"/>
            <a:ext cx="20336" cy="18508"/>
          </a:xfrm>
          <a:custGeom>
            <a:avLst/>
            <a:gdLst/>
            <a:ahLst/>
            <a:cxnLst/>
            <a:rect l="l" t="t" r="r" b="b"/>
            <a:pathLst>
              <a:path w="20336" h="18508">
                <a:moveTo>
                  <a:pt x="3720" y="6909"/>
                </a:moveTo>
                <a:lnTo>
                  <a:pt x="1984" y="10117"/>
                </a:lnTo>
                <a:lnTo>
                  <a:pt x="992" y="14066"/>
                </a:lnTo>
                <a:lnTo>
                  <a:pt x="0" y="18014"/>
                </a:lnTo>
                <a:lnTo>
                  <a:pt x="2480" y="18508"/>
                </a:lnTo>
                <a:lnTo>
                  <a:pt x="3472" y="14559"/>
                </a:lnTo>
                <a:lnTo>
                  <a:pt x="4464" y="11104"/>
                </a:lnTo>
                <a:lnTo>
                  <a:pt x="5704" y="8390"/>
                </a:lnTo>
                <a:lnTo>
                  <a:pt x="7688" y="5675"/>
                </a:lnTo>
                <a:lnTo>
                  <a:pt x="9920" y="3948"/>
                </a:lnTo>
                <a:lnTo>
                  <a:pt x="12152" y="2961"/>
                </a:lnTo>
                <a:lnTo>
                  <a:pt x="15128" y="2467"/>
                </a:lnTo>
                <a:lnTo>
                  <a:pt x="18848" y="2961"/>
                </a:lnTo>
                <a:lnTo>
                  <a:pt x="19840" y="2714"/>
                </a:lnTo>
                <a:lnTo>
                  <a:pt x="20336" y="1974"/>
                </a:lnTo>
                <a:lnTo>
                  <a:pt x="20088" y="987"/>
                </a:lnTo>
                <a:lnTo>
                  <a:pt x="19344" y="493"/>
                </a:lnTo>
                <a:lnTo>
                  <a:pt x="15128" y="0"/>
                </a:lnTo>
                <a:lnTo>
                  <a:pt x="11656" y="493"/>
                </a:lnTo>
                <a:lnTo>
                  <a:pt x="8432" y="1974"/>
                </a:lnTo>
                <a:lnTo>
                  <a:pt x="5704" y="4195"/>
                </a:lnTo>
                <a:lnTo>
                  <a:pt x="3720" y="6909"/>
                </a:lnTo>
                <a:close/>
              </a:path>
            </a:pathLst>
          </a:custGeom>
          <a:solidFill>
            <a:srgbClr val="000000"/>
          </a:solidFill>
        </p:spPr>
        <p:txBody>
          <a:bodyPr wrap="square" lIns="0" tIns="0" rIns="0" bIns="0" rtlCol="0">
            <a:noAutofit/>
          </a:bodyPr>
          <a:lstStyle/>
          <a:p>
            <a:endParaRPr/>
          </a:p>
        </p:txBody>
      </p:sp>
      <p:sp>
        <p:nvSpPr>
          <p:cNvPr id="1718" name="object 1718"/>
          <p:cNvSpPr/>
          <p:nvPr/>
        </p:nvSpPr>
        <p:spPr>
          <a:xfrm>
            <a:off x="8251000" y="1188555"/>
            <a:ext cx="110364" cy="23937"/>
          </a:xfrm>
          <a:custGeom>
            <a:avLst/>
            <a:gdLst/>
            <a:ahLst/>
            <a:cxnLst/>
            <a:rect l="l" t="t" r="r" b="b"/>
            <a:pathLst>
              <a:path w="110364" h="23937">
                <a:moveTo>
                  <a:pt x="109372" y="21469"/>
                </a:moveTo>
                <a:lnTo>
                  <a:pt x="496" y="0"/>
                </a:lnTo>
                <a:lnTo>
                  <a:pt x="0" y="2467"/>
                </a:lnTo>
                <a:lnTo>
                  <a:pt x="108876" y="23937"/>
                </a:lnTo>
                <a:lnTo>
                  <a:pt x="109868" y="23690"/>
                </a:lnTo>
                <a:lnTo>
                  <a:pt x="110364" y="22950"/>
                </a:lnTo>
                <a:lnTo>
                  <a:pt x="110116" y="21963"/>
                </a:lnTo>
                <a:lnTo>
                  <a:pt x="109372" y="21469"/>
                </a:lnTo>
                <a:close/>
              </a:path>
            </a:pathLst>
          </a:custGeom>
          <a:solidFill>
            <a:srgbClr val="000000"/>
          </a:solidFill>
        </p:spPr>
        <p:txBody>
          <a:bodyPr wrap="square" lIns="0" tIns="0" rIns="0" bIns="0" rtlCol="0">
            <a:noAutofit/>
          </a:bodyPr>
          <a:lstStyle/>
          <a:p>
            <a:endParaRPr/>
          </a:p>
        </p:txBody>
      </p:sp>
      <p:sp>
        <p:nvSpPr>
          <p:cNvPr id="1719" name="object 1719"/>
          <p:cNvSpPr/>
          <p:nvPr/>
        </p:nvSpPr>
        <p:spPr>
          <a:xfrm>
            <a:off x="8359877" y="1210023"/>
            <a:ext cx="12152" cy="15300"/>
          </a:xfrm>
          <a:custGeom>
            <a:avLst/>
            <a:gdLst/>
            <a:ahLst/>
            <a:cxnLst/>
            <a:rect l="l" t="t" r="r" b="b"/>
            <a:pathLst>
              <a:path w="12152" h="15300">
                <a:moveTo>
                  <a:pt x="7440" y="2961"/>
                </a:moveTo>
                <a:lnTo>
                  <a:pt x="5456" y="1974"/>
                </a:lnTo>
                <a:lnTo>
                  <a:pt x="3224" y="740"/>
                </a:lnTo>
                <a:lnTo>
                  <a:pt x="496" y="0"/>
                </a:lnTo>
                <a:lnTo>
                  <a:pt x="0" y="2467"/>
                </a:lnTo>
                <a:lnTo>
                  <a:pt x="2232" y="3208"/>
                </a:lnTo>
                <a:lnTo>
                  <a:pt x="4464" y="3948"/>
                </a:lnTo>
                <a:lnTo>
                  <a:pt x="5952" y="4935"/>
                </a:lnTo>
                <a:lnTo>
                  <a:pt x="7192" y="6169"/>
                </a:lnTo>
                <a:lnTo>
                  <a:pt x="8432" y="7650"/>
                </a:lnTo>
                <a:lnTo>
                  <a:pt x="8928" y="9377"/>
                </a:lnTo>
                <a:lnTo>
                  <a:pt x="9424" y="11845"/>
                </a:lnTo>
                <a:lnTo>
                  <a:pt x="9672" y="14312"/>
                </a:lnTo>
                <a:lnTo>
                  <a:pt x="10168" y="15053"/>
                </a:lnTo>
                <a:lnTo>
                  <a:pt x="10912" y="15300"/>
                </a:lnTo>
                <a:lnTo>
                  <a:pt x="11656" y="15053"/>
                </a:lnTo>
                <a:lnTo>
                  <a:pt x="12152" y="14312"/>
                </a:lnTo>
                <a:lnTo>
                  <a:pt x="11904" y="11351"/>
                </a:lnTo>
                <a:lnTo>
                  <a:pt x="11408" y="8883"/>
                </a:lnTo>
                <a:lnTo>
                  <a:pt x="10416" y="6662"/>
                </a:lnTo>
                <a:lnTo>
                  <a:pt x="9176" y="4688"/>
                </a:lnTo>
                <a:lnTo>
                  <a:pt x="7440" y="2961"/>
                </a:lnTo>
                <a:close/>
              </a:path>
            </a:pathLst>
          </a:custGeom>
          <a:solidFill>
            <a:srgbClr val="000000"/>
          </a:solidFill>
        </p:spPr>
        <p:txBody>
          <a:bodyPr wrap="square" lIns="0" tIns="0" rIns="0" bIns="0" rtlCol="0">
            <a:noAutofit/>
          </a:bodyPr>
          <a:lstStyle/>
          <a:p>
            <a:endParaRPr/>
          </a:p>
        </p:txBody>
      </p:sp>
      <p:sp>
        <p:nvSpPr>
          <p:cNvPr id="1720" name="object 1720"/>
          <p:cNvSpPr/>
          <p:nvPr/>
        </p:nvSpPr>
        <p:spPr>
          <a:xfrm>
            <a:off x="8369550" y="1224336"/>
            <a:ext cx="2480" cy="136466"/>
          </a:xfrm>
          <a:custGeom>
            <a:avLst/>
            <a:gdLst/>
            <a:ahLst/>
            <a:cxnLst/>
            <a:rect l="l" t="t" r="r" b="b"/>
            <a:pathLst>
              <a:path w="2480" h="136466">
                <a:moveTo>
                  <a:pt x="2480" y="135479"/>
                </a:moveTo>
                <a:lnTo>
                  <a:pt x="2480" y="0"/>
                </a:lnTo>
                <a:lnTo>
                  <a:pt x="0" y="0"/>
                </a:lnTo>
                <a:lnTo>
                  <a:pt x="0" y="135479"/>
                </a:lnTo>
                <a:lnTo>
                  <a:pt x="496" y="136220"/>
                </a:lnTo>
                <a:lnTo>
                  <a:pt x="1240" y="136466"/>
                </a:lnTo>
                <a:lnTo>
                  <a:pt x="1984" y="136220"/>
                </a:lnTo>
                <a:lnTo>
                  <a:pt x="2480" y="135479"/>
                </a:lnTo>
                <a:close/>
              </a:path>
            </a:pathLst>
          </a:custGeom>
          <a:solidFill>
            <a:srgbClr val="000000"/>
          </a:solidFill>
        </p:spPr>
        <p:txBody>
          <a:bodyPr wrap="square" lIns="0" tIns="0" rIns="0" bIns="0" rtlCol="0">
            <a:noAutofit/>
          </a:bodyPr>
          <a:lstStyle/>
          <a:p>
            <a:endParaRPr/>
          </a:p>
        </p:txBody>
      </p:sp>
      <p:sp>
        <p:nvSpPr>
          <p:cNvPr id="1721" name="object 1721"/>
          <p:cNvSpPr/>
          <p:nvPr/>
        </p:nvSpPr>
        <p:spPr>
          <a:xfrm>
            <a:off x="8361613" y="1359816"/>
            <a:ext cx="10416" cy="12338"/>
          </a:xfrm>
          <a:custGeom>
            <a:avLst/>
            <a:gdLst/>
            <a:ahLst/>
            <a:cxnLst/>
            <a:rect l="l" t="t" r="r" b="b"/>
            <a:pathLst>
              <a:path w="10416" h="12338">
                <a:moveTo>
                  <a:pt x="0" y="11104"/>
                </a:moveTo>
                <a:lnTo>
                  <a:pt x="248" y="11845"/>
                </a:lnTo>
                <a:lnTo>
                  <a:pt x="992" y="12338"/>
                </a:lnTo>
                <a:lnTo>
                  <a:pt x="3968" y="12338"/>
                </a:lnTo>
                <a:lnTo>
                  <a:pt x="6200" y="11845"/>
                </a:lnTo>
                <a:lnTo>
                  <a:pt x="7936" y="10611"/>
                </a:lnTo>
                <a:lnTo>
                  <a:pt x="9176" y="8883"/>
                </a:lnTo>
                <a:lnTo>
                  <a:pt x="9920" y="6909"/>
                </a:lnTo>
                <a:lnTo>
                  <a:pt x="10168" y="4935"/>
                </a:lnTo>
                <a:lnTo>
                  <a:pt x="10416" y="2467"/>
                </a:lnTo>
                <a:lnTo>
                  <a:pt x="10416" y="0"/>
                </a:lnTo>
                <a:lnTo>
                  <a:pt x="7936" y="0"/>
                </a:lnTo>
                <a:lnTo>
                  <a:pt x="7936" y="2467"/>
                </a:lnTo>
                <a:lnTo>
                  <a:pt x="7688" y="4441"/>
                </a:lnTo>
                <a:lnTo>
                  <a:pt x="7440" y="6416"/>
                </a:lnTo>
                <a:lnTo>
                  <a:pt x="7192" y="7896"/>
                </a:lnTo>
                <a:lnTo>
                  <a:pt x="6448" y="8637"/>
                </a:lnTo>
                <a:lnTo>
                  <a:pt x="5208" y="9377"/>
                </a:lnTo>
                <a:lnTo>
                  <a:pt x="3472" y="9871"/>
                </a:lnTo>
                <a:lnTo>
                  <a:pt x="992" y="9871"/>
                </a:lnTo>
                <a:lnTo>
                  <a:pt x="248" y="10364"/>
                </a:lnTo>
                <a:lnTo>
                  <a:pt x="0" y="11104"/>
                </a:lnTo>
                <a:close/>
              </a:path>
            </a:pathLst>
          </a:custGeom>
          <a:solidFill>
            <a:srgbClr val="000000"/>
          </a:solidFill>
        </p:spPr>
        <p:txBody>
          <a:bodyPr wrap="square" lIns="0" tIns="0" rIns="0" bIns="0" rtlCol="0">
            <a:noAutofit/>
          </a:bodyPr>
          <a:lstStyle/>
          <a:p>
            <a:endParaRPr/>
          </a:p>
        </p:txBody>
      </p:sp>
      <p:sp>
        <p:nvSpPr>
          <p:cNvPr id="1722" name="object 1722"/>
          <p:cNvSpPr/>
          <p:nvPr/>
        </p:nvSpPr>
        <p:spPr>
          <a:xfrm>
            <a:off x="7739849" y="1164864"/>
            <a:ext cx="628460" cy="215681"/>
          </a:xfrm>
          <a:custGeom>
            <a:avLst/>
            <a:gdLst/>
            <a:ahLst/>
            <a:cxnLst/>
            <a:rect l="l" t="t" r="r" b="b"/>
            <a:pathLst>
              <a:path w="628460" h="215681">
                <a:moveTo>
                  <a:pt x="480149" y="171015"/>
                </a:moveTo>
                <a:lnTo>
                  <a:pt x="481637" y="178172"/>
                </a:lnTo>
                <a:lnTo>
                  <a:pt x="487837" y="181626"/>
                </a:lnTo>
                <a:lnTo>
                  <a:pt x="621019" y="199641"/>
                </a:lnTo>
                <a:lnTo>
                  <a:pt x="623500" y="199641"/>
                </a:lnTo>
                <a:lnTo>
                  <a:pt x="628212" y="195693"/>
                </a:lnTo>
                <a:lnTo>
                  <a:pt x="628460" y="193718"/>
                </a:lnTo>
                <a:lnTo>
                  <a:pt x="628460" y="62434"/>
                </a:lnTo>
                <a:lnTo>
                  <a:pt x="627220" y="55524"/>
                </a:lnTo>
                <a:lnTo>
                  <a:pt x="621019" y="51082"/>
                </a:lnTo>
                <a:lnTo>
                  <a:pt x="516855" y="30106"/>
                </a:lnTo>
                <a:lnTo>
                  <a:pt x="513135" y="29613"/>
                </a:lnTo>
                <a:lnTo>
                  <a:pt x="510158" y="30106"/>
                </a:lnTo>
                <a:lnTo>
                  <a:pt x="505198" y="33067"/>
                </a:lnTo>
                <a:lnTo>
                  <a:pt x="501974" y="38496"/>
                </a:lnTo>
                <a:lnTo>
                  <a:pt x="499990" y="45653"/>
                </a:lnTo>
                <a:lnTo>
                  <a:pt x="480893" y="165092"/>
                </a:lnTo>
                <a:lnTo>
                  <a:pt x="480397" y="168054"/>
                </a:lnTo>
                <a:lnTo>
                  <a:pt x="480149" y="171015"/>
                </a:lnTo>
                <a:close/>
              </a:path>
              <a:path w="628460" h="215681">
                <a:moveTo>
                  <a:pt x="744" y="207538"/>
                </a:moveTo>
                <a:lnTo>
                  <a:pt x="5952" y="213460"/>
                </a:lnTo>
                <a:lnTo>
                  <a:pt x="13144" y="215681"/>
                </a:lnTo>
                <a:lnTo>
                  <a:pt x="148558" y="205317"/>
                </a:lnTo>
                <a:lnTo>
                  <a:pt x="151038" y="204823"/>
                </a:lnTo>
                <a:lnTo>
                  <a:pt x="153270" y="204083"/>
                </a:lnTo>
                <a:lnTo>
                  <a:pt x="155254" y="202602"/>
                </a:lnTo>
                <a:lnTo>
                  <a:pt x="157239" y="201122"/>
                </a:lnTo>
                <a:lnTo>
                  <a:pt x="161207" y="194705"/>
                </a:lnTo>
                <a:lnTo>
                  <a:pt x="188736" y="48368"/>
                </a:lnTo>
                <a:lnTo>
                  <a:pt x="188736" y="45900"/>
                </a:lnTo>
                <a:lnTo>
                  <a:pt x="184768" y="39237"/>
                </a:lnTo>
                <a:lnTo>
                  <a:pt x="178072" y="35288"/>
                </a:lnTo>
                <a:lnTo>
                  <a:pt x="175591" y="35288"/>
                </a:lnTo>
                <a:lnTo>
                  <a:pt x="37449" y="55030"/>
                </a:lnTo>
                <a:lnTo>
                  <a:pt x="34969" y="55524"/>
                </a:lnTo>
                <a:lnTo>
                  <a:pt x="32737" y="56264"/>
                </a:lnTo>
                <a:lnTo>
                  <a:pt x="30753" y="57745"/>
                </a:lnTo>
                <a:lnTo>
                  <a:pt x="28769" y="59226"/>
                </a:lnTo>
                <a:lnTo>
                  <a:pt x="25793" y="63421"/>
                </a:lnTo>
                <a:lnTo>
                  <a:pt x="0" y="202849"/>
                </a:lnTo>
                <a:lnTo>
                  <a:pt x="0" y="205070"/>
                </a:lnTo>
                <a:lnTo>
                  <a:pt x="744" y="207538"/>
                </a:lnTo>
                <a:close/>
              </a:path>
              <a:path w="628460" h="215681">
                <a:moveTo>
                  <a:pt x="194440" y="193225"/>
                </a:moveTo>
                <a:lnTo>
                  <a:pt x="202129" y="200628"/>
                </a:lnTo>
                <a:lnTo>
                  <a:pt x="206593" y="201862"/>
                </a:lnTo>
                <a:lnTo>
                  <a:pt x="416658" y="185822"/>
                </a:lnTo>
                <a:lnTo>
                  <a:pt x="425091" y="181133"/>
                </a:lnTo>
                <a:lnTo>
                  <a:pt x="429555" y="172742"/>
                </a:lnTo>
                <a:lnTo>
                  <a:pt x="454604" y="13079"/>
                </a:lnTo>
                <a:lnTo>
                  <a:pt x="454356" y="10858"/>
                </a:lnTo>
                <a:lnTo>
                  <a:pt x="448156" y="2220"/>
                </a:lnTo>
                <a:lnTo>
                  <a:pt x="443691" y="0"/>
                </a:lnTo>
                <a:lnTo>
                  <a:pt x="441459" y="0"/>
                </a:lnTo>
                <a:lnTo>
                  <a:pt x="234618" y="29366"/>
                </a:lnTo>
                <a:lnTo>
                  <a:pt x="226682" y="34055"/>
                </a:lnTo>
                <a:lnTo>
                  <a:pt x="221721" y="42445"/>
                </a:lnTo>
                <a:lnTo>
                  <a:pt x="193448" y="188783"/>
                </a:lnTo>
                <a:lnTo>
                  <a:pt x="193448" y="191004"/>
                </a:lnTo>
                <a:lnTo>
                  <a:pt x="194440" y="193225"/>
                </a:lnTo>
                <a:close/>
              </a:path>
            </a:pathLst>
          </a:custGeom>
          <a:solidFill>
            <a:srgbClr val="000000"/>
          </a:solidFill>
        </p:spPr>
        <p:txBody>
          <a:bodyPr wrap="square" lIns="0" tIns="0" rIns="0" bIns="0" rtlCol="0">
            <a:noAutofit/>
          </a:bodyPr>
          <a:lstStyle/>
          <a:p>
            <a:endParaRPr/>
          </a:p>
        </p:txBody>
      </p:sp>
      <p:sp>
        <p:nvSpPr>
          <p:cNvPr id="1723" name="object 1723"/>
          <p:cNvSpPr/>
          <p:nvPr/>
        </p:nvSpPr>
        <p:spPr>
          <a:xfrm>
            <a:off x="7974221" y="1163629"/>
            <a:ext cx="207337" cy="31834"/>
          </a:xfrm>
          <a:custGeom>
            <a:avLst/>
            <a:gdLst/>
            <a:ahLst/>
            <a:cxnLst/>
            <a:rect l="l" t="t" r="r" b="b"/>
            <a:pathLst>
              <a:path w="207337" h="31834">
                <a:moveTo>
                  <a:pt x="206841" y="0"/>
                </a:moveTo>
                <a:lnTo>
                  <a:pt x="0" y="29366"/>
                </a:lnTo>
                <a:lnTo>
                  <a:pt x="496" y="31834"/>
                </a:lnTo>
                <a:lnTo>
                  <a:pt x="207337" y="2467"/>
                </a:lnTo>
                <a:lnTo>
                  <a:pt x="206841" y="0"/>
                </a:lnTo>
                <a:close/>
              </a:path>
            </a:pathLst>
          </a:custGeom>
          <a:solidFill>
            <a:srgbClr val="000000"/>
          </a:solidFill>
        </p:spPr>
        <p:txBody>
          <a:bodyPr wrap="square" lIns="0" tIns="0" rIns="0" bIns="0" rtlCol="0">
            <a:noAutofit/>
          </a:bodyPr>
          <a:lstStyle/>
          <a:p>
            <a:endParaRPr/>
          </a:p>
        </p:txBody>
      </p:sp>
      <p:sp>
        <p:nvSpPr>
          <p:cNvPr id="1724" name="object 1724"/>
          <p:cNvSpPr/>
          <p:nvPr/>
        </p:nvSpPr>
        <p:spPr>
          <a:xfrm>
            <a:off x="8181061" y="1163630"/>
            <a:ext cx="14632" cy="14559"/>
          </a:xfrm>
          <a:custGeom>
            <a:avLst/>
            <a:gdLst/>
            <a:ahLst/>
            <a:cxnLst/>
            <a:rect l="l" t="t" r="r" b="b"/>
            <a:pathLst>
              <a:path w="14632" h="14559">
                <a:moveTo>
                  <a:pt x="496" y="2467"/>
                </a:moveTo>
                <a:lnTo>
                  <a:pt x="2232" y="2467"/>
                </a:lnTo>
                <a:lnTo>
                  <a:pt x="4216" y="3208"/>
                </a:lnTo>
                <a:lnTo>
                  <a:pt x="6200" y="4441"/>
                </a:lnTo>
                <a:lnTo>
                  <a:pt x="8184" y="6416"/>
                </a:lnTo>
                <a:lnTo>
                  <a:pt x="9920" y="8143"/>
                </a:lnTo>
                <a:lnTo>
                  <a:pt x="11160" y="10364"/>
                </a:lnTo>
                <a:lnTo>
                  <a:pt x="11904" y="12338"/>
                </a:lnTo>
                <a:lnTo>
                  <a:pt x="12152" y="14312"/>
                </a:lnTo>
                <a:lnTo>
                  <a:pt x="12152" y="14066"/>
                </a:lnTo>
                <a:lnTo>
                  <a:pt x="14632" y="14559"/>
                </a:lnTo>
                <a:lnTo>
                  <a:pt x="14632" y="14312"/>
                </a:lnTo>
                <a:lnTo>
                  <a:pt x="14384" y="11845"/>
                </a:lnTo>
                <a:lnTo>
                  <a:pt x="13640" y="9377"/>
                </a:lnTo>
                <a:lnTo>
                  <a:pt x="11904" y="6662"/>
                </a:lnTo>
                <a:lnTo>
                  <a:pt x="10168" y="4441"/>
                </a:lnTo>
                <a:lnTo>
                  <a:pt x="7688" y="2467"/>
                </a:lnTo>
                <a:lnTo>
                  <a:pt x="5208" y="1233"/>
                </a:lnTo>
                <a:lnTo>
                  <a:pt x="2728" y="0"/>
                </a:lnTo>
                <a:lnTo>
                  <a:pt x="0" y="0"/>
                </a:lnTo>
                <a:lnTo>
                  <a:pt x="496" y="2467"/>
                </a:lnTo>
                <a:close/>
              </a:path>
            </a:pathLst>
          </a:custGeom>
          <a:solidFill>
            <a:srgbClr val="000000"/>
          </a:solidFill>
        </p:spPr>
        <p:txBody>
          <a:bodyPr wrap="square" lIns="0" tIns="0" rIns="0" bIns="0" rtlCol="0">
            <a:noAutofit/>
          </a:bodyPr>
          <a:lstStyle/>
          <a:p>
            <a:endParaRPr/>
          </a:p>
        </p:txBody>
      </p:sp>
      <p:sp>
        <p:nvSpPr>
          <p:cNvPr id="1725" name="object 1725"/>
          <p:cNvSpPr/>
          <p:nvPr/>
        </p:nvSpPr>
        <p:spPr>
          <a:xfrm>
            <a:off x="8168166" y="1177697"/>
            <a:ext cx="27529" cy="160157"/>
          </a:xfrm>
          <a:custGeom>
            <a:avLst/>
            <a:gdLst/>
            <a:ahLst/>
            <a:cxnLst/>
            <a:rect l="l" t="t" r="r" b="b"/>
            <a:pathLst>
              <a:path w="27529" h="160157">
                <a:moveTo>
                  <a:pt x="2480" y="159910"/>
                </a:moveTo>
                <a:lnTo>
                  <a:pt x="2480" y="160157"/>
                </a:lnTo>
                <a:lnTo>
                  <a:pt x="27529" y="493"/>
                </a:lnTo>
                <a:lnTo>
                  <a:pt x="25049" y="0"/>
                </a:lnTo>
                <a:lnTo>
                  <a:pt x="0" y="159663"/>
                </a:lnTo>
                <a:lnTo>
                  <a:pt x="0" y="159910"/>
                </a:lnTo>
                <a:lnTo>
                  <a:pt x="2480" y="159910"/>
                </a:lnTo>
                <a:close/>
              </a:path>
            </a:pathLst>
          </a:custGeom>
          <a:solidFill>
            <a:srgbClr val="000000"/>
          </a:solidFill>
        </p:spPr>
        <p:txBody>
          <a:bodyPr wrap="square" lIns="0" tIns="0" rIns="0" bIns="0" rtlCol="0">
            <a:noAutofit/>
          </a:bodyPr>
          <a:lstStyle/>
          <a:p>
            <a:endParaRPr/>
          </a:p>
        </p:txBody>
      </p:sp>
      <p:sp>
        <p:nvSpPr>
          <p:cNvPr id="1726" name="object 1726"/>
          <p:cNvSpPr/>
          <p:nvPr/>
        </p:nvSpPr>
        <p:spPr>
          <a:xfrm>
            <a:off x="8156508" y="1337606"/>
            <a:ext cx="14136" cy="14312"/>
          </a:xfrm>
          <a:custGeom>
            <a:avLst/>
            <a:gdLst/>
            <a:ahLst/>
            <a:cxnLst/>
            <a:rect l="l" t="t" r="r" b="b"/>
            <a:pathLst>
              <a:path w="14136" h="14312">
                <a:moveTo>
                  <a:pt x="1488" y="11351"/>
                </a:moveTo>
                <a:lnTo>
                  <a:pt x="0" y="11845"/>
                </a:lnTo>
                <a:lnTo>
                  <a:pt x="0" y="14312"/>
                </a:lnTo>
                <a:lnTo>
                  <a:pt x="2480" y="13819"/>
                </a:lnTo>
                <a:lnTo>
                  <a:pt x="4712" y="12585"/>
                </a:lnTo>
                <a:lnTo>
                  <a:pt x="7192" y="11104"/>
                </a:lnTo>
                <a:lnTo>
                  <a:pt x="9424" y="9130"/>
                </a:lnTo>
                <a:lnTo>
                  <a:pt x="10912" y="7156"/>
                </a:lnTo>
                <a:lnTo>
                  <a:pt x="12400" y="4688"/>
                </a:lnTo>
                <a:lnTo>
                  <a:pt x="13640" y="2467"/>
                </a:lnTo>
                <a:lnTo>
                  <a:pt x="14136" y="0"/>
                </a:lnTo>
                <a:lnTo>
                  <a:pt x="11656" y="0"/>
                </a:lnTo>
                <a:lnTo>
                  <a:pt x="11160" y="1480"/>
                </a:lnTo>
                <a:lnTo>
                  <a:pt x="10416" y="3701"/>
                </a:lnTo>
                <a:lnTo>
                  <a:pt x="8928" y="5675"/>
                </a:lnTo>
                <a:lnTo>
                  <a:pt x="7440" y="7650"/>
                </a:lnTo>
                <a:lnTo>
                  <a:pt x="5704" y="9130"/>
                </a:lnTo>
                <a:lnTo>
                  <a:pt x="3720" y="10611"/>
                </a:lnTo>
                <a:lnTo>
                  <a:pt x="1488" y="11351"/>
                </a:lnTo>
                <a:close/>
              </a:path>
            </a:pathLst>
          </a:custGeom>
          <a:solidFill>
            <a:srgbClr val="000000"/>
          </a:solidFill>
        </p:spPr>
        <p:txBody>
          <a:bodyPr wrap="square" lIns="0" tIns="0" rIns="0" bIns="0" rtlCol="0">
            <a:noAutofit/>
          </a:bodyPr>
          <a:lstStyle/>
          <a:p>
            <a:endParaRPr/>
          </a:p>
        </p:txBody>
      </p:sp>
      <p:sp>
        <p:nvSpPr>
          <p:cNvPr id="1727" name="object 1727"/>
          <p:cNvSpPr/>
          <p:nvPr/>
        </p:nvSpPr>
        <p:spPr>
          <a:xfrm>
            <a:off x="7946444" y="1349451"/>
            <a:ext cx="210065" cy="18508"/>
          </a:xfrm>
          <a:custGeom>
            <a:avLst/>
            <a:gdLst/>
            <a:ahLst/>
            <a:cxnLst/>
            <a:rect l="l" t="t" r="r" b="b"/>
            <a:pathLst>
              <a:path w="210065" h="18508">
                <a:moveTo>
                  <a:pt x="0" y="18508"/>
                </a:moveTo>
                <a:lnTo>
                  <a:pt x="210065" y="2467"/>
                </a:lnTo>
                <a:lnTo>
                  <a:pt x="210065" y="0"/>
                </a:lnTo>
                <a:lnTo>
                  <a:pt x="0" y="16040"/>
                </a:lnTo>
                <a:lnTo>
                  <a:pt x="0" y="18508"/>
                </a:lnTo>
                <a:close/>
              </a:path>
            </a:pathLst>
          </a:custGeom>
          <a:solidFill>
            <a:srgbClr val="000000"/>
          </a:solidFill>
        </p:spPr>
        <p:txBody>
          <a:bodyPr wrap="square" lIns="0" tIns="0" rIns="0" bIns="0" rtlCol="0">
            <a:noAutofit/>
          </a:bodyPr>
          <a:lstStyle/>
          <a:p>
            <a:endParaRPr/>
          </a:p>
        </p:txBody>
      </p:sp>
      <p:sp>
        <p:nvSpPr>
          <p:cNvPr id="1728" name="object 1728"/>
          <p:cNvSpPr/>
          <p:nvPr/>
        </p:nvSpPr>
        <p:spPr>
          <a:xfrm>
            <a:off x="7932058" y="1353401"/>
            <a:ext cx="14384" cy="14559"/>
          </a:xfrm>
          <a:custGeom>
            <a:avLst/>
            <a:gdLst/>
            <a:ahLst/>
            <a:cxnLst/>
            <a:rect l="l" t="t" r="r" b="b"/>
            <a:pathLst>
              <a:path w="14384" h="14559">
                <a:moveTo>
                  <a:pt x="4464" y="6169"/>
                </a:moveTo>
                <a:lnTo>
                  <a:pt x="3224" y="4195"/>
                </a:lnTo>
                <a:lnTo>
                  <a:pt x="2480" y="2220"/>
                </a:lnTo>
                <a:lnTo>
                  <a:pt x="2480" y="493"/>
                </a:lnTo>
                <a:lnTo>
                  <a:pt x="0" y="0"/>
                </a:lnTo>
                <a:lnTo>
                  <a:pt x="0" y="2714"/>
                </a:lnTo>
                <a:lnTo>
                  <a:pt x="1240" y="5182"/>
                </a:lnTo>
                <a:lnTo>
                  <a:pt x="2480" y="7650"/>
                </a:lnTo>
                <a:lnTo>
                  <a:pt x="4712" y="9871"/>
                </a:lnTo>
                <a:lnTo>
                  <a:pt x="6696" y="11598"/>
                </a:lnTo>
                <a:lnTo>
                  <a:pt x="9424" y="13079"/>
                </a:lnTo>
                <a:lnTo>
                  <a:pt x="11904" y="14312"/>
                </a:lnTo>
                <a:lnTo>
                  <a:pt x="14384" y="14559"/>
                </a:lnTo>
                <a:lnTo>
                  <a:pt x="14384" y="12092"/>
                </a:lnTo>
                <a:lnTo>
                  <a:pt x="12400" y="11845"/>
                </a:lnTo>
                <a:lnTo>
                  <a:pt x="10416" y="11104"/>
                </a:lnTo>
                <a:lnTo>
                  <a:pt x="8184" y="9624"/>
                </a:lnTo>
                <a:lnTo>
                  <a:pt x="6200" y="7896"/>
                </a:lnTo>
                <a:lnTo>
                  <a:pt x="4464" y="6169"/>
                </a:lnTo>
                <a:close/>
              </a:path>
            </a:pathLst>
          </a:custGeom>
          <a:solidFill>
            <a:srgbClr val="000000"/>
          </a:solidFill>
        </p:spPr>
        <p:txBody>
          <a:bodyPr wrap="square" lIns="0" tIns="0" rIns="0" bIns="0" rtlCol="0">
            <a:noAutofit/>
          </a:bodyPr>
          <a:lstStyle/>
          <a:p>
            <a:endParaRPr/>
          </a:p>
        </p:txBody>
      </p:sp>
      <p:sp>
        <p:nvSpPr>
          <p:cNvPr id="1729" name="object 1729"/>
          <p:cNvSpPr/>
          <p:nvPr/>
        </p:nvSpPr>
        <p:spPr>
          <a:xfrm>
            <a:off x="7932059" y="1207063"/>
            <a:ext cx="30753" cy="146831"/>
          </a:xfrm>
          <a:custGeom>
            <a:avLst/>
            <a:gdLst/>
            <a:ahLst/>
            <a:cxnLst/>
            <a:rect l="l" t="t" r="r" b="b"/>
            <a:pathLst>
              <a:path w="30753" h="146831">
                <a:moveTo>
                  <a:pt x="28273" y="0"/>
                </a:moveTo>
                <a:lnTo>
                  <a:pt x="0" y="146337"/>
                </a:lnTo>
                <a:lnTo>
                  <a:pt x="2480" y="146831"/>
                </a:lnTo>
                <a:lnTo>
                  <a:pt x="30753" y="493"/>
                </a:lnTo>
                <a:lnTo>
                  <a:pt x="28273" y="0"/>
                </a:lnTo>
                <a:close/>
              </a:path>
            </a:pathLst>
          </a:custGeom>
          <a:solidFill>
            <a:srgbClr val="000000"/>
          </a:solidFill>
        </p:spPr>
        <p:txBody>
          <a:bodyPr wrap="square" lIns="0" tIns="0" rIns="0" bIns="0" rtlCol="0">
            <a:noAutofit/>
          </a:bodyPr>
          <a:lstStyle/>
          <a:p>
            <a:endParaRPr/>
          </a:p>
        </p:txBody>
      </p:sp>
      <p:sp>
        <p:nvSpPr>
          <p:cNvPr id="1730" name="object 1730"/>
          <p:cNvSpPr/>
          <p:nvPr/>
        </p:nvSpPr>
        <p:spPr>
          <a:xfrm>
            <a:off x="7960331" y="1192997"/>
            <a:ext cx="14384" cy="14559"/>
          </a:xfrm>
          <a:custGeom>
            <a:avLst/>
            <a:gdLst/>
            <a:ahLst/>
            <a:cxnLst/>
            <a:rect l="l" t="t" r="r" b="b"/>
            <a:pathLst>
              <a:path w="14384" h="14559">
                <a:moveTo>
                  <a:pt x="2480" y="14559"/>
                </a:moveTo>
                <a:lnTo>
                  <a:pt x="3224" y="12832"/>
                </a:lnTo>
                <a:lnTo>
                  <a:pt x="3968" y="10611"/>
                </a:lnTo>
                <a:lnTo>
                  <a:pt x="5456" y="8637"/>
                </a:lnTo>
                <a:lnTo>
                  <a:pt x="7192" y="6662"/>
                </a:lnTo>
                <a:lnTo>
                  <a:pt x="8680" y="5182"/>
                </a:lnTo>
                <a:lnTo>
                  <a:pt x="10912" y="3701"/>
                </a:lnTo>
                <a:lnTo>
                  <a:pt x="12648" y="2961"/>
                </a:lnTo>
                <a:lnTo>
                  <a:pt x="14384" y="2467"/>
                </a:lnTo>
                <a:lnTo>
                  <a:pt x="13888" y="0"/>
                </a:lnTo>
                <a:lnTo>
                  <a:pt x="11656" y="493"/>
                </a:lnTo>
                <a:lnTo>
                  <a:pt x="9424" y="1727"/>
                </a:lnTo>
                <a:lnTo>
                  <a:pt x="7192" y="3208"/>
                </a:lnTo>
                <a:lnTo>
                  <a:pt x="5208" y="5182"/>
                </a:lnTo>
                <a:lnTo>
                  <a:pt x="3472" y="7156"/>
                </a:lnTo>
                <a:lnTo>
                  <a:pt x="1984" y="9624"/>
                </a:lnTo>
                <a:lnTo>
                  <a:pt x="744" y="11845"/>
                </a:lnTo>
                <a:lnTo>
                  <a:pt x="0" y="14066"/>
                </a:lnTo>
                <a:lnTo>
                  <a:pt x="2480" y="14559"/>
                </a:lnTo>
                <a:close/>
              </a:path>
            </a:pathLst>
          </a:custGeom>
          <a:solidFill>
            <a:srgbClr val="000000"/>
          </a:solidFill>
        </p:spPr>
        <p:txBody>
          <a:bodyPr wrap="square" lIns="0" tIns="0" rIns="0" bIns="0" rtlCol="0">
            <a:noAutofit/>
          </a:bodyPr>
          <a:lstStyle/>
          <a:p>
            <a:endParaRPr/>
          </a:p>
        </p:txBody>
      </p:sp>
      <p:sp>
        <p:nvSpPr>
          <p:cNvPr id="1731" name="object 1731"/>
          <p:cNvSpPr/>
          <p:nvPr/>
        </p:nvSpPr>
        <p:spPr>
          <a:xfrm>
            <a:off x="7777051" y="1198919"/>
            <a:ext cx="138638" cy="22209"/>
          </a:xfrm>
          <a:custGeom>
            <a:avLst/>
            <a:gdLst/>
            <a:ahLst/>
            <a:cxnLst/>
            <a:rect l="l" t="t" r="r" b="b"/>
            <a:pathLst>
              <a:path w="138638" h="22209">
                <a:moveTo>
                  <a:pt x="138142" y="0"/>
                </a:moveTo>
                <a:lnTo>
                  <a:pt x="0" y="19742"/>
                </a:lnTo>
                <a:lnTo>
                  <a:pt x="496" y="22209"/>
                </a:lnTo>
                <a:lnTo>
                  <a:pt x="138638" y="2467"/>
                </a:lnTo>
                <a:lnTo>
                  <a:pt x="138142" y="0"/>
                </a:lnTo>
                <a:close/>
              </a:path>
            </a:pathLst>
          </a:custGeom>
          <a:solidFill>
            <a:srgbClr val="000000"/>
          </a:solidFill>
        </p:spPr>
        <p:txBody>
          <a:bodyPr wrap="square" lIns="0" tIns="0" rIns="0" bIns="0" rtlCol="0">
            <a:noAutofit/>
          </a:bodyPr>
          <a:lstStyle/>
          <a:p>
            <a:endParaRPr/>
          </a:p>
        </p:txBody>
      </p:sp>
      <p:sp>
        <p:nvSpPr>
          <p:cNvPr id="1732" name="object 1732"/>
          <p:cNvSpPr/>
          <p:nvPr/>
        </p:nvSpPr>
        <p:spPr>
          <a:xfrm>
            <a:off x="7915193" y="1198919"/>
            <a:ext cx="14632" cy="14559"/>
          </a:xfrm>
          <a:custGeom>
            <a:avLst/>
            <a:gdLst/>
            <a:ahLst/>
            <a:cxnLst/>
            <a:rect l="l" t="t" r="r" b="b"/>
            <a:pathLst>
              <a:path w="14632" h="14559">
                <a:moveTo>
                  <a:pt x="496" y="2467"/>
                </a:moveTo>
                <a:lnTo>
                  <a:pt x="2480" y="2467"/>
                </a:lnTo>
                <a:lnTo>
                  <a:pt x="4464" y="3208"/>
                </a:lnTo>
                <a:lnTo>
                  <a:pt x="6696" y="4441"/>
                </a:lnTo>
                <a:lnTo>
                  <a:pt x="8680" y="6169"/>
                </a:lnTo>
                <a:lnTo>
                  <a:pt x="10416" y="7896"/>
                </a:lnTo>
                <a:lnTo>
                  <a:pt x="11408" y="9871"/>
                </a:lnTo>
                <a:lnTo>
                  <a:pt x="12152" y="12092"/>
                </a:lnTo>
                <a:lnTo>
                  <a:pt x="12152" y="14066"/>
                </a:lnTo>
                <a:lnTo>
                  <a:pt x="14632" y="14559"/>
                </a:lnTo>
                <a:lnTo>
                  <a:pt x="14632" y="11598"/>
                </a:lnTo>
                <a:lnTo>
                  <a:pt x="13888" y="8883"/>
                </a:lnTo>
                <a:lnTo>
                  <a:pt x="12400" y="6416"/>
                </a:lnTo>
                <a:lnTo>
                  <a:pt x="10168" y="4195"/>
                </a:lnTo>
                <a:lnTo>
                  <a:pt x="8184" y="2467"/>
                </a:lnTo>
                <a:lnTo>
                  <a:pt x="5456" y="740"/>
                </a:lnTo>
                <a:lnTo>
                  <a:pt x="2976" y="0"/>
                </a:lnTo>
                <a:lnTo>
                  <a:pt x="0" y="0"/>
                </a:lnTo>
                <a:lnTo>
                  <a:pt x="496" y="2467"/>
                </a:lnTo>
                <a:close/>
              </a:path>
            </a:pathLst>
          </a:custGeom>
          <a:solidFill>
            <a:srgbClr val="000000"/>
          </a:solidFill>
        </p:spPr>
        <p:txBody>
          <a:bodyPr wrap="square" lIns="0" tIns="0" rIns="0" bIns="0" rtlCol="0">
            <a:noAutofit/>
          </a:bodyPr>
          <a:lstStyle/>
          <a:p>
            <a:endParaRPr/>
          </a:p>
        </p:txBody>
      </p:sp>
      <p:sp>
        <p:nvSpPr>
          <p:cNvPr id="1733" name="object 1733"/>
          <p:cNvSpPr/>
          <p:nvPr/>
        </p:nvSpPr>
        <p:spPr>
          <a:xfrm>
            <a:off x="7900314" y="1212984"/>
            <a:ext cx="29513" cy="144610"/>
          </a:xfrm>
          <a:custGeom>
            <a:avLst/>
            <a:gdLst/>
            <a:ahLst/>
            <a:cxnLst/>
            <a:rect l="l" t="t" r="r" b="b"/>
            <a:pathLst>
              <a:path w="29513" h="144610">
                <a:moveTo>
                  <a:pt x="2480" y="144610"/>
                </a:moveTo>
                <a:lnTo>
                  <a:pt x="29513" y="493"/>
                </a:lnTo>
                <a:lnTo>
                  <a:pt x="27033" y="0"/>
                </a:lnTo>
                <a:lnTo>
                  <a:pt x="0" y="144116"/>
                </a:lnTo>
                <a:lnTo>
                  <a:pt x="2480" y="144610"/>
                </a:lnTo>
                <a:close/>
              </a:path>
            </a:pathLst>
          </a:custGeom>
          <a:solidFill>
            <a:srgbClr val="000000"/>
          </a:solidFill>
        </p:spPr>
        <p:txBody>
          <a:bodyPr wrap="square" lIns="0" tIns="0" rIns="0" bIns="0" rtlCol="0">
            <a:noAutofit/>
          </a:bodyPr>
          <a:lstStyle/>
          <a:p>
            <a:endParaRPr/>
          </a:p>
        </p:txBody>
      </p:sp>
      <p:sp>
        <p:nvSpPr>
          <p:cNvPr id="1734" name="object 1734"/>
          <p:cNvSpPr/>
          <p:nvPr/>
        </p:nvSpPr>
        <p:spPr>
          <a:xfrm>
            <a:off x="7888408" y="1357101"/>
            <a:ext cx="14384" cy="14312"/>
          </a:xfrm>
          <a:custGeom>
            <a:avLst/>
            <a:gdLst/>
            <a:ahLst/>
            <a:cxnLst/>
            <a:rect l="l" t="t" r="r" b="b"/>
            <a:pathLst>
              <a:path w="14384" h="14312">
                <a:moveTo>
                  <a:pt x="2232" y="11351"/>
                </a:moveTo>
                <a:lnTo>
                  <a:pt x="0" y="11845"/>
                </a:lnTo>
                <a:lnTo>
                  <a:pt x="0" y="14312"/>
                </a:lnTo>
                <a:lnTo>
                  <a:pt x="2728" y="13819"/>
                </a:lnTo>
                <a:lnTo>
                  <a:pt x="5208" y="12832"/>
                </a:lnTo>
                <a:lnTo>
                  <a:pt x="7440" y="11351"/>
                </a:lnTo>
                <a:lnTo>
                  <a:pt x="9672" y="9871"/>
                </a:lnTo>
                <a:lnTo>
                  <a:pt x="11160" y="7650"/>
                </a:lnTo>
                <a:lnTo>
                  <a:pt x="12648" y="5182"/>
                </a:lnTo>
                <a:lnTo>
                  <a:pt x="13888" y="2961"/>
                </a:lnTo>
                <a:lnTo>
                  <a:pt x="14384" y="493"/>
                </a:lnTo>
                <a:lnTo>
                  <a:pt x="11904" y="0"/>
                </a:lnTo>
                <a:lnTo>
                  <a:pt x="11408" y="1974"/>
                </a:lnTo>
                <a:lnTo>
                  <a:pt x="10664" y="4195"/>
                </a:lnTo>
                <a:lnTo>
                  <a:pt x="9176" y="6169"/>
                </a:lnTo>
                <a:lnTo>
                  <a:pt x="7688" y="7896"/>
                </a:lnTo>
                <a:lnTo>
                  <a:pt x="5952" y="9377"/>
                </a:lnTo>
                <a:lnTo>
                  <a:pt x="4216" y="10858"/>
                </a:lnTo>
                <a:lnTo>
                  <a:pt x="2232" y="11351"/>
                </a:lnTo>
                <a:close/>
              </a:path>
            </a:pathLst>
          </a:custGeom>
          <a:solidFill>
            <a:srgbClr val="000000"/>
          </a:solidFill>
        </p:spPr>
        <p:txBody>
          <a:bodyPr wrap="square" lIns="0" tIns="0" rIns="0" bIns="0" rtlCol="0">
            <a:noAutofit/>
          </a:bodyPr>
          <a:lstStyle/>
          <a:p>
            <a:endParaRPr/>
          </a:p>
        </p:txBody>
      </p:sp>
      <p:sp>
        <p:nvSpPr>
          <p:cNvPr id="1735" name="object 1735"/>
          <p:cNvSpPr/>
          <p:nvPr/>
        </p:nvSpPr>
        <p:spPr>
          <a:xfrm>
            <a:off x="7752994" y="1368947"/>
            <a:ext cx="135414" cy="12832"/>
          </a:xfrm>
          <a:custGeom>
            <a:avLst/>
            <a:gdLst/>
            <a:ahLst/>
            <a:cxnLst/>
            <a:rect l="l" t="t" r="r" b="b"/>
            <a:pathLst>
              <a:path w="135414" h="12832">
                <a:moveTo>
                  <a:pt x="0" y="12832"/>
                </a:moveTo>
                <a:lnTo>
                  <a:pt x="135414" y="2467"/>
                </a:lnTo>
                <a:lnTo>
                  <a:pt x="135414" y="0"/>
                </a:lnTo>
                <a:lnTo>
                  <a:pt x="0" y="10364"/>
                </a:lnTo>
                <a:lnTo>
                  <a:pt x="0" y="12832"/>
                </a:lnTo>
                <a:close/>
              </a:path>
            </a:pathLst>
          </a:custGeom>
          <a:solidFill>
            <a:srgbClr val="000000"/>
          </a:solidFill>
        </p:spPr>
        <p:txBody>
          <a:bodyPr wrap="square" lIns="0" tIns="0" rIns="0" bIns="0" rtlCol="0">
            <a:noAutofit/>
          </a:bodyPr>
          <a:lstStyle/>
          <a:p>
            <a:endParaRPr/>
          </a:p>
        </p:txBody>
      </p:sp>
      <p:sp>
        <p:nvSpPr>
          <p:cNvPr id="1736" name="object 1736"/>
          <p:cNvSpPr/>
          <p:nvPr/>
        </p:nvSpPr>
        <p:spPr>
          <a:xfrm>
            <a:off x="7738609" y="1367466"/>
            <a:ext cx="14384" cy="14312"/>
          </a:xfrm>
          <a:custGeom>
            <a:avLst/>
            <a:gdLst/>
            <a:ahLst/>
            <a:cxnLst/>
            <a:rect l="l" t="t" r="r" b="b"/>
            <a:pathLst>
              <a:path w="14384" h="14312">
                <a:moveTo>
                  <a:pt x="5704" y="8143"/>
                </a:moveTo>
                <a:lnTo>
                  <a:pt x="4216" y="6416"/>
                </a:lnTo>
                <a:lnTo>
                  <a:pt x="3224" y="4441"/>
                </a:lnTo>
                <a:lnTo>
                  <a:pt x="2480" y="2220"/>
                </a:lnTo>
                <a:lnTo>
                  <a:pt x="2480" y="493"/>
                </a:lnTo>
                <a:lnTo>
                  <a:pt x="0" y="0"/>
                </a:lnTo>
                <a:lnTo>
                  <a:pt x="0" y="2714"/>
                </a:lnTo>
                <a:lnTo>
                  <a:pt x="744" y="5429"/>
                </a:lnTo>
                <a:lnTo>
                  <a:pt x="2232" y="7896"/>
                </a:lnTo>
                <a:lnTo>
                  <a:pt x="4216" y="10117"/>
                </a:lnTo>
                <a:lnTo>
                  <a:pt x="6448" y="11845"/>
                </a:lnTo>
                <a:lnTo>
                  <a:pt x="8928" y="13325"/>
                </a:lnTo>
                <a:lnTo>
                  <a:pt x="11656" y="14066"/>
                </a:lnTo>
                <a:lnTo>
                  <a:pt x="14384" y="14312"/>
                </a:lnTo>
                <a:lnTo>
                  <a:pt x="14384" y="11845"/>
                </a:lnTo>
                <a:lnTo>
                  <a:pt x="12152" y="11598"/>
                </a:lnTo>
                <a:lnTo>
                  <a:pt x="9920" y="10858"/>
                </a:lnTo>
                <a:lnTo>
                  <a:pt x="7936" y="9871"/>
                </a:lnTo>
                <a:lnTo>
                  <a:pt x="5704" y="8143"/>
                </a:lnTo>
                <a:close/>
              </a:path>
            </a:pathLst>
          </a:custGeom>
          <a:solidFill>
            <a:srgbClr val="000000"/>
          </a:solidFill>
        </p:spPr>
        <p:txBody>
          <a:bodyPr wrap="square" lIns="0" tIns="0" rIns="0" bIns="0" rtlCol="0">
            <a:noAutofit/>
          </a:bodyPr>
          <a:lstStyle/>
          <a:p>
            <a:endParaRPr/>
          </a:p>
        </p:txBody>
      </p:sp>
      <p:sp>
        <p:nvSpPr>
          <p:cNvPr id="1737" name="object 1737"/>
          <p:cNvSpPr/>
          <p:nvPr/>
        </p:nvSpPr>
        <p:spPr>
          <a:xfrm>
            <a:off x="7738610" y="1232481"/>
            <a:ext cx="26785" cy="135479"/>
          </a:xfrm>
          <a:custGeom>
            <a:avLst/>
            <a:gdLst/>
            <a:ahLst/>
            <a:cxnLst/>
            <a:rect l="l" t="t" r="r" b="b"/>
            <a:pathLst>
              <a:path w="26785" h="135479">
                <a:moveTo>
                  <a:pt x="24305" y="0"/>
                </a:moveTo>
                <a:lnTo>
                  <a:pt x="0" y="134986"/>
                </a:lnTo>
                <a:lnTo>
                  <a:pt x="2480" y="135479"/>
                </a:lnTo>
                <a:lnTo>
                  <a:pt x="26785" y="493"/>
                </a:lnTo>
                <a:lnTo>
                  <a:pt x="24305" y="0"/>
                </a:lnTo>
                <a:close/>
              </a:path>
            </a:pathLst>
          </a:custGeom>
          <a:solidFill>
            <a:srgbClr val="000000"/>
          </a:solidFill>
        </p:spPr>
        <p:txBody>
          <a:bodyPr wrap="square" lIns="0" tIns="0" rIns="0" bIns="0" rtlCol="0">
            <a:noAutofit/>
          </a:bodyPr>
          <a:lstStyle/>
          <a:p>
            <a:endParaRPr/>
          </a:p>
        </p:txBody>
      </p:sp>
      <p:sp>
        <p:nvSpPr>
          <p:cNvPr id="1738" name="object 1738"/>
          <p:cNvSpPr/>
          <p:nvPr/>
        </p:nvSpPr>
        <p:spPr>
          <a:xfrm>
            <a:off x="7777051" y="1218661"/>
            <a:ext cx="248" cy="43"/>
          </a:xfrm>
          <a:custGeom>
            <a:avLst/>
            <a:gdLst/>
            <a:ahLst/>
            <a:cxnLst/>
            <a:rect l="l" t="t" r="r" b="b"/>
            <a:pathLst>
              <a:path w="248" h="43">
                <a:moveTo>
                  <a:pt x="248" y="0"/>
                </a:moveTo>
                <a:lnTo>
                  <a:pt x="0" y="0"/>
                </a:lnTo>
                <a:lnTo>
                  <a:pt x="248" y="0"/>
                </a:lnTo>
                <a:close/>
              </a:path>
            </a:pathLst>
          </a:custGeom>
          <a:solidFill>
            <a:srgbClr val="000000"/>
          </a:solidFill>
        </p:spPr>
        <p:txBody>
          <a:bodyPr wrap="square" lIns="0" tIns="0" rIns="0" bIns="0" rtlCol="0">
            <a:noAutofit/>
          </a:bodyPr>
          <a:lstStyle/>
          <a:p>
            <a:endParaRPr/>
          </a:p>
        </p:txBody>
      </p:sp>
      <p:sp>
        <p:nvSpPr>
          <p:cNvPr id="1739" name="object 1739"/>
          <p:cNvSpPr/>
          <p:nvPr/>
        </p:nvSpPr>
        <p:spPr>
          <a:xfrm>
            <a:off x="7762915" y="1218705"/>
            <a:ext cx="14632" cy="14269"/>
          </a:xfrm>
          <a:custGeom>
            <a:avLst/>
            <a:gdLst/>
            <a:ahLst/>
            <a:cxnLst/>
            <a:rect l="l" t="t" r="r" b="b"/>
            <a:pathLst>
              <a:path w="14632" h="14269">
                <a:moveTo>
                  <a:pt x="2480" y="14269"/>
                </a:moveTo>
                <a:lnTo>
                  <a:pt x="2976" y="12295"/>
                </a:lnTo>
                <a:lnTo>
                  <a:pt x="3720" y="10074"/>
                </a:lnTo>
                <a:lnTo>
                  <a:pt x="5208" y="8100"/>
                </a:lnTo>
                <a:lnTo>
                  <a:pt x="6696" y="6372"/>
                </a:lnTo>
                <a:lnTo>
                  <a:pt x="8432" y="4892"/>
                </a:lnTo>
                <a:lnTo>
                  <a:pt x="10168" y="3411"/>
                </a:lnTo>
                <a:lnTo>
                  <a:pt x="12152" y="2918"/>
                </a:lnTo>
                <a:lnTo>
                  <a:pt x="14384" y="2424"/>
                </a:lnTo>
                <a:lnTo>
                  <a:pt x="14632" y="2424"/>
                </a:lnTo>
                <a:lnTo>
                  <a:pt x="14145" y="0"/>
                </a:lnTo>
                <a:lnTo>
                  <a:pt x="11656" y="450"/>
                </a:lnTo>
                <a:lnTo>
                  <a:pt x="9176" y="1437"/>
                </a:lnTo>
                <a:lnTo>
                  <a:pt x="6944" y="2918"/>
                </a:lnTo>
                <a:lnTo>
                  <a:pt x="4712" y="4398"/>
                </a:lnTo>
                <a:lnTo>
                  <a:pt x="3224" y="6619"/>
                </a:lnTo>
                <a:lnTo>
                  <a:pt x="1736" y="9087"/>
                </a:lnTo>
                <a:lnTo>
                  <a:pt x="496" y="11308"/>
                </a:lnTo>
                <a:lnTo>
                  <a:pt x="0" y="13776"/>
                </a:lnTo>
                <a:lnTo>
                  <a:pt x="2480" y="14269"/>
                </a:lnTo>
                <a:close/>
              </a:path>
            </a:pathLst>
          </a:custGeom>
          <a:solidFill>
            <a:srgbClr val="000000"/>
          </a:solidFill>
        </p:spPr>
        <p:txBody>
          <a:bodyPr wrap="square" lIns="0" tIns="0" rIns="0" bIns="0" rtlCol="0">
            <a:noAutofit/>
          </a:bodyPr>
          <a:lstStyle/>
          <a:p>
            <a:endParaRPr/>
          </a:p>
        </p:txBody>
      </p:sp>
      <p:sp>
        <p:nvSpPr>
          <p:cNvPr id="1740" name="object 1740"/>
          <p:cNvSpPr/>
          <p:nvPr/>
        </p:nvSpPr>
        <p:spPr>
          <a:xfrm>
            <a:off x="8226695" y="1345256"/>
            <a:ext cx="134422" cy="20482"/>
          </a:xfrm>
          <a:custGeom>
            <a:avLst/>
            <a:gdLst/>
            <a:ahLst/>
            <a:cxnLst/>
            <a:rect l="l" t="t" r="r" b="b"/>
            <a:pathLst>
              <a:path w="134422" h="20482">
                <a:moveTo>
                  <a:pt x="744" y="2467"/>
                </a:moveTo>
                <a:lnTo>
                  <a:pt x="133926" y="20482"/>
                </a:lnTo>
                <a:lnTo>
                  <a:pt x="134422" y="18014"/>
                </a:lnTo>
                <a:lnTo>
                  <a:pt x="1240" y="0"/>
                </a:lnTo>
                <a:lnTo>
                  <a:pt x="248" y="246"/>
                </a:lnTo>
                <a:lnTo>
                  <a:pt x="0" y="987"/>
                </a:lnTo>
                <a:lnTo>
                  <a:pt x="0" y="1974"/>
                </a:lnTo>
                <a:lnTo>
                  <a:pt x="744" y="2467"/>
                </a:lnTo>
                <a:close/>
              </a:path>
            </a:pathLst>
          </a:custGeom>
          <a:solidFill>
            <a:srgbClr val="000000"/>
          </a:solidFill>
        </p:spPr>
        <p:txBody>
          <a:bodyPr wrap="square" lIns="0" tIns="0" rIns="0" bIns="0" rtlCol="0">
            <a:noAutofit/>
          </a:bodyPr>
          <a:lstStyle/>
          <a:p>
            <a:endParaRPr/>
          </a:p>
        </p:txBody>
      </p:sp>
      <p:sp>
        <p:nvSpPr>
          <p:cNvPr id="1741" name="object 1741"/>
          <p:cNvSpPr/>
          <p:nvPr/>
        </p:nvSpPr>
        <p:spPr>
          <a:xfrm>
            <a:off x="8218759" y="1328723"/>
            <a:ext cx="9176" cy="19001"/>
          </a:xfrm>
          <a:custGeom>
            <a:avLst/>
            <a:gdLst/>
            <a:ahLst/>
            <a:cxnLst/>
            <a:rect l="l" t="t" r="r" b="b"/>
            <a:pathLst>
              <a:path w="9176" h="19001">
                <a:moveTo>
                  <a:pt x="1240" y="246"/>
                </a:moveTo>
                <a:lnTo>
                  <a:pt x="744" y="987"/>
                </a:lnTo>
                <a:lnTo>
                  <a:pt x="248" y="3948"/>
                </a:lnTo>
                <a:lnTo>
                  <a:pt x="0" y="7156"/>
                </a:lnTo>
                <a:lnTo>
                  <a:pt x="248" y="9871"/>
                </a:lnTo>
                <a:lnTo>
                  <a:pt x="496" y="12585"/>
                </a:lnTo>
                <a:lnTo>
                  <a:pt x="1736" y="15053"/>
                </a:lnTo>
                <a:lnTo>
                  <a:pt x="3472" y="17027"/>
                </a:lnTo>
                <a:lnTo>
                  <a:pt x="5704" y="18261"/>
                </a:lnTo>
                <a:lnTo>
                  <a:pt x="8680" y="19001"/>
                </a:lnTo>
                <a:lnTo>
                  <a:pt x="9176" y="16533"/>
                </a:lnTo>
                <a:lnTo>
                  <a:pt x="6696" y="15793"/>
                </a:lnTo>
                <a:lnTo>
                  <a:pt x="4960" y="15053"/>
                </a:lnTo>
                <a:lnTo>
                  <a:pt x="3720" y="13572"/>
                </a:lnTo>
                <a:lnTo>
                  <a:pt x="2976" y="12092"/>
                </a:lnTo>
                <a:lnTo>
                  <a:pt x="2728" y="9871"/>
                </a:lnTo>
                <a:lnTo>
                  <a:pt x="2480" y="7156"/>
                </a:lnTo>
                <a:lnTo>
                  <a:pt x="2728" y="4441"/>
                </a:lnTo>
                <a:lnTo>
                  <a:pt x="3224" y="1480"/>
                </a:lnTo>
                <a:lnTo>
                  <a:pt x="2976" y="493"/>
                </a:lnTo>
                <a:lnTo>
                  <a:pt x="2232" y="0"/>
                </a:lnTo>
                <a:lnTo>
                  <a:pt x="1240" y="246"/>
                </a:lnTo>
                <a:close/>
              </a:path>
            </a:pathLst>
          </a:custGeom>
          <a:solidFill>
            <a:srgbClr val="000000"/>
          </a:solidFill>
        </p:spPr>
        <p:txBody>
          <a:bodyPr wrap="square" lIns="0" tIns="0" rIns="0" bIns="0" rtlCol="0">
            <a:noAutofit/>
          </a:bodyPr>
          <a:lstStyle/>
          <a:p>
            <a:endParaRPr/>
          </a:p>
        </p:txBody>
      </p:sp>
      <p:sp>
        <p:nvSpPr>
          <p:cNvPr id="1742" name="object 1742"/>
          <p:cNvSpPr/>
          <p:nvPr/>
        </p:nvSpPr>
        <p:spPr>
          <a:xfrm>
            <a:off x="8219503" y="1209283"/>
            <a:ext cx="21576" cy="120920"/>
          </a:xfrm>
          <a:custGeom>
            <a:avLst/>
            <a:gdLst/>
            <a:ahLst/>
            <a:cxnLst/>
            <a:rect l="l" t="t" r="r" b="b"/>
            <a:pathLst>
              <a:path w="21576" h="120920">
                <a:moveTo>
                  <a:pt x="19096" y="987"/>
                </a:moveTo>
                <a:lnTo>
                  <a:pt x="0" y="120426"/>
                </a:lnTo>
                <a:lnTo>
                  <a:pt x="2480" y="120920"/>
                </a:lnTo>
                <a:lnTo>
                  <a:pt x="21576" y="1480"/>
                </a:lnTo>
                <a:lnTo>
                  <a:pt x="21328" y="493"/>
                </a:lnTo>
                <a:lnTo>
                  <a:pt x="20584" y="0"/>
                </a:lnTo>
                <a:lnTo>
                  <a:pt x="19592" y="246"/>
                </a:lnTo>
                <a:lnTo>
                  <a:pt x="19096" y="987"/>
                </a:lnTo>
                <a:close/>
              </a:path>
            </a:pathLst>
          </a:custGeom>
          <a:solidFill>
            <a:srgbClr val="000000"/>
          </a:solidFill>
        </p:spPr>
        <p:txBody>
          <a:bodyPr wrap="square" lIns="0" tIns="0" rIns="0" bIns="0" rtlCol="0">
            <a:noAutofit/>
          </a:bodyPr>
          <a:lstStyle/>
          <a:p>
            <a:endParaRPr/>
          </a:p>
        </p:txBody>
      </p:sp>
      <p:sp>
        <p:nvSpPr>
          <p:cNvPr id="1743" name="object 1743"/>
          <p:cNvSpPr/>
          <p:nvPr/>
        </p:nvSpPr>
        <p:spPr>
          <a:xfrm>
            <a:off x="8238600" y="1193243"/>
            <a:ext cx="19344" cy="17521"/>
          </a:xfrm>
          <a:custGeom>
            <a:avLst/>
            <a:gdLst/>
            <a:ahLst/>
            <a:cxnLst/>
            <a:rect l="l" t="t" r="r" b="b"/>
            <a:pathLst>
              <a:path w="19344" h="17521">
                <a:moveTo>
                  <a:pt x="2480" y="17521"/>
                </a:moveTo>
                <a:lnTo>
                  <a:pt x="3224" y="13819"/>
                </a:lnTo>
                <a:lnTo>
                  <a:pt x="4464" y="10611"/>
                </a:lnTo>
                <a:lnTo>
                  <a:pt x="5704" y="7896"/>
                </a:lnTo>
                <a:lnTo>
                  <a:pt x="7440" y="5429"/>
                </a:lnTo>
                <a:lnTo>
                  <a:pt x="9424" y="3948"/>
                </a:lnTo>
                <a:lnTo>
                  <a:pt x="11656" y="2961"/>
                </a:lnTo>
                <a:lnTo>
                  <a:pt x="14384" y="2467"/>
                </a:lnTo>
                <a:lnTo>
                  <a:pt x="17856" y="2961"/>
                </a:lnTo>
                <a:lnTo>
                  <a:pt x="18848" y="2714"/>
                </a:lnTo>
                <a:lnTo>
                  <a:pt x="19344" y="1974"/>
                </a:lnTo>
                <a:lnTo>
                  <a:pt x="19096" y="987"/>
                </a:lnTo>
                <a:lnTo>
                  <a:pt x="18352" y="493"/>
                </a:lnTo>
                <a:lnTo>
                  <a:pt x="14384" y="0"/>
                </a:lnTo>
                <a:lnTo>
                  <a:pt x="11160" y="493"/>
                </a:lnTo>
                <a:lnTo>
                  <a:pt x="7936" y="1974"/>
                </a:lnTo>
                <a:lnTo>
                  <a:pt x="5456" y="3948"/>
                </a:lnTo>
                <a:lnTo>
                  <a:pt x="3720" y="6416"/>
                </a:lnTo>
                <a:lnTo>
                  <a:pt x="1984" y="9624"/>
                </a:lnTo>
                <a:lnTo>
                  <a:pt x="744" y="13325"/>
                </a:lnTo>
                <a:lnTo>
                  <a:pt x="0" y="17027"/>
                </a:lnTo>
                <a:lnTo>
                  <a:pt x="2480" y="17521"/>
                </a:lnTo>
                <a:close/>
              </a:path>
            </a:pathLst>
          </a:custGeom>
          <a:solidFill>
            <a:srgbClr val="000000"/>
          </a:solidFill>
        </p:spPr>
        <p:txBody>
          <a:bodyPr wrap="square" lIns="0" tIns="0" rIns="0" bIns="0" rtlCol="0">
            <a:noAutofit/>
          </a:bodyPr>
          <a:lstStyle/>
          <a:p>
            <a:endParaRPr/>
          </a:p>
        </p:txBody>
      </p:sp>
      <p:sp>
        <p:nvSpPr>
          <p:cNvPr id="1744" name="object 1744"/>
          <p:cNvSpPr/>
          <p:nvPr/>
        </p:nvSpPr>
        <p:spPr>
          <a:xfrm>
            <a:off x="8256457" y="1193737"/>
            <a:ext cx="103172" cy="22703"/>
          </a:xfrm>
          <a:custGeom>
            <a:avLst/>
            <a:gdLst/>
            <a:ahLst/>
            <a:cxnLst/>
            <a:rect l="l" t="t" r="r" b="b"/>
            <a:pathLst>
              <a:path w="103172" h="22703">
                <a:moveTo>
                  <a:pt x="102180" y="20235"/>
                </a:moveTo>
                <a:lnTo>
                  <a:pt x="496" y="0"/>
                </a:lnTo>
                <a:lnTo>
                  <a:pt x="0" y="2467"/>
                </a:lnTo>
                <a:lnTo>
                  <a:pt x="101684" y="22703"/>
                </a:lnTo>
                <a:lnTo>
                  <a:pt x="102676" y="22456"/>
                </a:lnTo>
                <a:lnTo>
                  <a:pt x="103172" y="21716"/>
                </a:lnTo>
                <a:lnTo>
                  <a:pt x="102924" y="20729"/>
                </a:lnTo>
                <a:lnTo>
                  <a:pt x="102180" y="20235"/>
                </a:lnTo>
                <a:close/>
              </a:path>
            </a:pathLst>
          </a:custGeom>
          <a:solidFill>
            <a:srgbClr val="000000"/>
          </a:solidFill>
        </p:spPr>
        <p:txBody>
          <a:bodyPr wrap="square" lIns="0" tIns="0" rIns="0" bIns="0" rtlCol="0">
            <a:noAutofit/>
          </a:bodyPr>
          <a:lstStyle/>
          <a:p>
            <a:endParaRPr/>
          </a:p>
        </p:txBody>
      </p:sp>
      <p:sp>
        <p:nvSpPr>
          <p:cNvPr id="1745" name="object 1745"/>
          <p:cNvSpPr/>
          <p:nvPr/>
        </p:nvSpPr>
        <p:spPr>
          <a:xfrm>
            <a:off x="8358141" y="1213972"/>
            <a:ext cx="11408" cy="14312"/>
          </a:xfrm>
          <a:custGeom>
            <a:avLst/>
            <a:gdLst/>
            <a:ahLst/>
            <a:cxnLst/>
            <a:rect l="l" t="t" r="r" b="b"/>
            <a:pathLst>
              <a:path w="11408" h="14312">
                <a:moveTo>
                  <a:pt x="2232" y="3208"/>
                </a:moveTo>
                <a:lnTo>
                  <a:pt x="4216" y="3948"/>
                </a:lnTo>
                <a:lnTo>
                  <a:pt x="5704" y="4688"/>
                </a:lnTo>
                <a:lnTo>
                  <a:pt x="6944" y="5675"/>
                </a:lnTo>
                <a:lnTo>
                  <a:pt x="7936" y="6909"/>
                </a:lnTo>
                <a:lnTo>
                  <a:pt x="8432" y="8637"/>
                </a:lnTo>
                <a:lnTo>
                  <a:pt x="8680" y="10611"/>
                </a:lnTo>
                <a:lnTo>
                  <a:pt x="8928" y="13325"/>
                </a:lnTo>
                <a:lnTo>
                  <a:pt x="9424" y="14066"/>
                </a:lnTo>
                <a:lnTo>
                  <a:pt x="10168" y="14312"/>
                </a:lnTo>
                <a:lnTo>
                  <a:pt x="10912" y="14066"/>
                </a:lnTo>
                <a:lnTo>
                  <a:pt x="11408" y="13325"/>
                </a:lnTo>
                <a:lnTo>
                  <a:pt x="11160" y="10611"/>
                </a:lnTo>
                <a:lnTo>
                  <a:pt x="10912" y="8143"/>
                </a:lnTo>
                <a:lnTo>
                  <a:pt x="9920" y="5922"/>
                </a:lnTo>
                <a:lnTo>
                  <a:pt x="8928" y="4195"/>
                </a:lnTo>
                <a:lnTo>
                  <a:pt x="7192" y="2714"/>
                </a:lnTo>
                <a:lnTo>
                  <a:pt x="5208" y="1480"/>
                </a:lnTo>
                <a:lnTo>
                  <a:pt x="3224" y="740"/>
                </a:lnTo>
                <a:lnTo>
                  <a:pt x="496" y="0"/>
                </a:lnTo>
                <a:lnTo>
                  <a:pt x="0" y="2467"/>
                </a:lnTo>
                <a:lnTo>
                  <a:pt x="2232" y="3208"/>
                </a:lnTo>
                <a:close/>
              </a:path>
            </a:pathLst>
          </a:custGeom>
          <a:solidFill>
            <a:srgbClr val="000000"/>
          </a:solidFill>
        </p:spPr>
        <p:txBody>
          <a:bodyPr wrap="square" lIns="0" tIns="0" rIns="0" bIns="0" rtlCol="0">
            <a:noAutofit/>
          </a:bodyPr>
          <a:lstStyle/>
          <a:p>
            <a:endParaRPr/>
          </a:p>
        </p:txBody>
      </p:sp>
      <p:sp>
        <p:nvSpPr>
          <p:cNvPr id="1746" name="object 1746"/>
          <p:cNvSpPr/>
          <p:nvPr/>
        </p:nvSpPr>
        <p:spPr>
          <a:xfrm>
            <a:off x="8367070" y="1227298"/>
            <a:ext cx="2480" cy="127829"/>
          </a:xfrm>
          <a:custGeom>
            <a:avLst/>
            <a:gdLst/>
            <a:ahLst/>
            <a:cxnLst/>
            <a:rect l="l" t="t" r="r" b="b"/>
            <a:pathLst>
              <a:path w="2480" h="127829">
                <a:moveTo>
                  <a:pt x="2480" y="126842"/>
                </a:moveTo>
                <a:lnTo>
                  <a:pt x="2480" y="0"/>
                </a:lnTo>
                <a:lnTo>
                  <a:pt x="0" y="0"/>
                </a:lnTo>
                <a:lnTo>
                  <a:pt x="0" y="126842"/>
                </a:lnTo>
                <a:lnTo>
                  <a:pt x="496" y="127583"/>
                </a:lnTo>
                <a:lnTo>
                  <a:pt x="1240" y="127829"/>
                </a:lnTo>
                <a:lnTo>
                  <a:pt x="1984" y="127583"/>
                </a:lnTo>
                <a:lnTo>
                  <a:pt x="2480" y="126842"/>
                </a:lnTo>
                <a:close/>
              </a:path>
            </a:pathLst>
          </a:custGeom>
          <a:solidFill>
            <a:srgbClr val="000000"/>
          </a:solidFill>
        </p:spPr>
        <p:txBody>
          <a:bodyPr wrap="square" lIns="0" tIns="0" rIns="0" bIns="0" rtlCol="0">
            <a:noAutofit/>
          </a:bodyPr>
          <a:lstStyle/>
          <a:p>
            <a:endParaRPr/>
          </a:p>
        </p:txBody>
      </p:sp>
      <p:sp>
        <p:nvSpPr>
          <p:cNvPr id="1747" name="object 1747"/>
          <p:cNvSpPr/>
          <p:nvPr/>
        </p:nvSpPr>
        <p:spPr>
          <a:xfrm>
            <a:off x="8359877" y="1354140"/>
            <a:ext cx="9672" cy="11598"/>
          </a:xfrm>
          <a:custGeom>
            <a:avLst/>
            <a:gdLst/>
            <a:ahLst/>
            <a:cxnLst/>
            <a:rect l="l" t="t" r="r" b="b"/>
            <a:pathLst>
              <a:path w="9672" h="11598">
                <a:moveTo>
                  <a:pt x="4960" y="8637"/>
                </a:moveTo>
                <a:lnTo>
                  <a:pt x="3224" y="9130"/>
                </a:lnTo>
                <a:lnTo>
                  <a:pt x="992" y="9130"/>
                </a:lnTo>
                <a:lnTo>
                  <a:pt x="248" y="9624"/>
                </a:lnTo>
                <a:lnTo>
                  <a:pt x="0" y="10364"/>
                </a:lnTo>
                <a:lnTo>
                  <a:pt x="248" y="11104"/>
                </a:lnTo>
                <a:lnTo>
                  <a:pt x="992" y="11598"/>
                </a:lnTo>
                <a:lnTo>
                  <a:pt x="3720" y="11598"/>
                </a:lnTo>
                <a:lnTo>
                  <a:pt x="5952" y="11104"/>
                </a:lnTo>
                <a:lnTo>
                  <a:pt x="7440" y="10117"/>
                </a:lnTo>
                <a:lnTo>
                  <a:pt x="8680" y="8390"/>
                </a:lnTo>
                <a:lnTo>
                  <a:pt x="9424" y="6662"/>
                </a:lnTo>
                <a:lnTo>
                  <a:pt x="9672" y="4441"/>
                </a:lnTo>
                <a:lnTo>
                  <a:pt x="9672" y="0"/>
                </a:lnTo>
                <a:lnTo>
                  <a:pt x="7192" y="0"/>
                </a:lnTo>
                <a:lnTo>
                  <a:pt x="7192" y="4441"/>
                </a:lnTo>
                <a:lnTo>
                  <a:pt x="6944" y="6169"/>
                </a:lnTo>
                <a:lnTo>
                  <a:pt x="6696" y="7403"/>
                </a:lnTo>
                <a:lnTo>
                  <a:pt x="5952" y="8143"/>
                </a:lnTo>
                <a:lnTo>
                  <a:pt x="4960" y="8637"/>
                </a:lnTo>
                <a:close/>
              </a:path>
            </a:pathLst>
          </a:custGeom>
          <a:solidFill>
            <a:srgbClr val="000000"/>
          </a:solidFill>
        </p:spPr>
        <p:txBody>
          <a:bodyPr wrap="square" lIns="0" tIns="0" rIns="0" bIns="0" rtlCol="0">
            <a:noAutofit/>
          </a:bodyPr>
          <a:lstStyle/>
          <a:p>
            <a:endParaRPr/>
          </a:p>
        </p:txBody>
      </p:sp>
      <p:sp>
        <p:nvSpPr>
          <p:cNvPr id="1748" name="object 1748"/>
          <p:cNvSpPr/>
          <p:nvPr/>
        </p:nvSpPr>
        <p:spPr>
          <a:xfrm>
            <a:off x="7720754" y="1710978"/>
            <a:ext cx="428811" cy="17274"/>
          </a:xfrm>
          <a:custGeom>
            <a:avLst/>
            <a:gdLst/>
            <a:ahLst/>
            <a:cxnLst/>
            <a:rect l="l" t="t" r="r" b="b"/>
            <a:pathLst>
              <a:path w="428811" h="17274">
                <a:moveTo>
                  <a:pt x="427571" y="14806"/>
                </a:moveTo>
                <a:lnTo>
                  <a:pt x="0" y="0"/>
                </a:lnTo>
                <a:lnTo>
                  <a:pt x="0" y="2467"/>
                </a:lnTo>
                <a:lnTo>
                  <a:pt x="427571" y="17274"/>
                </a:lnTo>
                <a:lnTo>
                  <a:pt x="428315" y="16780"/>
                </a:lnTo>
                <a:lnTo>
                  <a:pt x="428811" y="16040"/>
                </a:lnTo>
                <a:lnTo>
                  <a:pt x="428315" y="15300"/>
                </a:lnTo>
                <a:lnTo>
                  <a:pt x="427571" y="14806"/>
                </a:lnTo>
                <a:close/>
              </a:path>
            </a:pathLst>
          </a:custGeom>
          <a:solidFill>
            <a:srgbClr val="000000"/>
          </a:solidFill>
        </p:spPr>
        <p:txBody>
          <a:bodyPr wrap="square" lIns="0" tIns="0" rIns="0" bIns="0" rtlCol="0">
            <a:noAutofit/>
          </a:bodyPr>
          <a:lstStyle/>
          <a:p>
            <a:endParaRPr/>
          </a:p>
        </p:txBody>
      </p:sp>
      <p:sp>
        <p:nvSpPr>
          <p:cNvPr id="1749" name="object 1749"/>
          <p:cNvSpPr/>
          <p:nvPr/>
        </p:nvSpPr>
        <p:spPr>
          <a:xfrm>
            <a:off x="8148325" y="1725785"/>
            <a:ext cx="30505" cy="2467"/>
          </a:xfrm>
          <a:custGeom>
            <a:avLst/>
            <a:gdLst/>
            <a:ahLst/>
            <a:cxnLst/>
            <a:rect l="l" t="t" r="r" b="b"/>
            <a:pathLst>
              <a:path w="30505" h="2467">
                <a:moveTo>
                  <a:pt x="29265" y="0"/>
                </a:moveTo>
                <a:lnTo>
                  <a:pt x="0" y="0"/>
                </a:lnTo>
                <a:lnTo>
                  <a:pt x="0" y="2467"/>
                </a:lnTo>
                <a:lnTo>
                  <a:pt x="29265" y="2467"/>
                </a:lnTo>
                <a:lnTo>
                  <a:pt x="30009" y="1974"/>
                </a:lnTo>
                <a:lnTo>
                  <a:pt x="30505" y="1233"/>
                </a:lnTo>
                <a:lnTo>
                  <a:pt x="30009" y="493"/>
                </a:lnTo>
                <a:lnTo>
                  <a:pt x="29265" y="0"/>
                </a:lnTo>
                <a:close/>
              </a:path>
            </a:pathLst>
          </a:custGeom>
          <a:solidFill>
            <a:srgbClr val="000000"/>
          </a:solidFill>
        </p:spPr>
        <p:txBody>
          <a:bodyPr wrap="square" lIns="0" tIns="0" rIns="0" bIns="0" rtlCol="0">
            <a:noAutofit/>
          </a:bodyPr>
          <a:lstStyle/>
          <a:p>
            <a:endParaRPr/>
          </a:p>
        </p:txBody>
      </p:sp>
      <p:sp>
        <p:nvSpPr>
          <p:cNvPr id="1750" name="object 1750"/>
          <p:cNvSpPr/>
          <p:nvPr/>
        </p:nvSpPr>
        <p:spPr>
          <a:xfrm>
            <a:off x="8177589" y="1633984"/>
            <a:ext cx="101932" cy="94268"/>
          </a:xfrm>
          <a:custGeom>
            <a:avLst/>
            <a:gdLst/>
            <a:ahLst/>
            <a:cxnLst/>
            <a:rect l="l" t="t" r="r" b="b"/>
            <a:pathLst>
              <a:path w="101932" h="94268">
                <a:moveTo>
                  <a:pt x="0" y="91800"/>
                </a:moveTo>
                <a:lnTo>
                  <a:pt x="0" y="94268"/>
                </a:lnTo>
                <a:lnTo>
                  <a:pt x="6696" y="93281"/>
                </a:lnTo>
                <a:lnTo>
                  <a:pt x="12648" y="90073"/>
                </a:lnTo>
                <a:lnTo>
                  <a:pt x="18600" y="85631"/>
                </a:lnTo>
                <a:lnTo>
                  <a:pt x="24305" y="79461"/>
                </a:lnTo>
                <a:lnTo>
                  <a:pt x="30009" y="72552"/>
                </a:lnTo>
                <a:lnTo>
                  <a:pt x="35465" y="64901"/>
                </a:lnTo>
                <a:lnTo>
                  <a:pt x="41169" y="56511"/>
                </a:lnTo>
                <a:lnTo>
                  <a:pt x="46874" y="48121"/>
                </a:lnTo>
                <a:lnTo>
                  <a:pt x="52826" y="39484"/>
                </a:lnTo>
                <a:lnTo>
                  <a:pt x="58778" y="31093"/>
                </a:lnTo>
                <a:lnTo>
                  <a:pt x="64978" y="23443"/>
                </a:lnTo>
                <a:lnTo>
                  <a:pt x="71427" y="16780"/>
                </a:lnTo>
                <a:lnTo>
                  <a:pt x="78123" y="10858"/>
                </a:lnTo>
                <a:lnTo>
                  <a:pt x="85315" y="6169"/>
                </a:lnTo>
                <a:lnTo>
                  <a:pt x="92756" y="3454"/>
                </a:lnTo>
                <a:lnTo>
                  <a:pt x="100692" y="2467"/>
                </a:lnTo>
                <a:lnTo>
                  <a:pt x="101436" y="1974"/>
                </a:lnTo>
                <a:lnTo>
                  <a:pt x="101932" y="1233"/>
                </a:lnTo>
                <a:lnTo>
                  <a:pt x="101436" y="493"/>
                </a:lnTo>
                <a:lnTo>
                  <a:pt x="100692" y="0"/>
                </a:lnTo>
                <a:lnTo>
                  <a:pt x="92260" y="987"/>
                </a:lnTo>
                <a:lnTo>
                  <a:pt x="84323" y="4195"/>
                </a:lnTo>
                <a:lnTo>
                  <a:pt x="76635" y="8883"/>
                </a:lnTo>
                <a:lnTo>
                  <a:pt x="69939" y="14806"/>
                </a:lnTo>
                <a:lnTo>
                  <a:pt x="62994" y="21963"/>
                </a:lnTo>
                <a:lnTo>
                  <a:pt x="56794" y="29613"/>
                </a:lnTo>
                <a:lnTo>
                  <a:pt x="50842" y="38003"/>
                </a:lnTo>
                <a:lnTo>
                  <a:pt x="44890" y="46640"/>
                </a:lnTo>
                <a:lnTo>
                  <a:pt x="39185" y="55030"/>
                </a:lnTo>
                <a:lnTo>
                  <a:pt x="33481" y="63421"/>
                </a:lnTo>
                <a:lnTo>
                  <a:pt x="28025" y="71071"/>
                </a:lnTo>
                <a:lnTo>
                  <a:pt x="22321" y="77981"/>
                </a:lnTo>
                <a:lnTo>
                  <a:pt x="17112" y="83656"/>
                </a:lnTo>
                <a:lnTo>
                  <a:pt x="11160" y="88098"/>
                </a:lnTo>
                <a:lnTo>
                  <a:pt x="5704" y="90813"/>
                </a:lnTo>
                <a:lnTo>
                  <a:pt x="0" y="91800"/>
                </a:lnTo>
                <a:close/>
              </a:path>
            </a:pathLst>
          </a:custGeom>
          <a:solidFill>
            <a:srgbClr val="000000"/>
          </a:solidFill>
        </p:spPr>
        <p:txBody>
          <a:bodyPr wrap="square" lIns="0" tIns="0" rIns="0" bIns="0" rtlCol="0">
            <a:noAutofit/>
          </a:bodyPr>
          <a:lstStyle/>
          <a:p>
            <a:endParaRPr/>
          </a:p>
        </p:txBody>
      </p:sp>
      <p:sp>
        <p:nvSpPr>
          <p:cNvPr id="1751" name="object 1751"/>
          <p:cNvSpPr/>
          <p:nvPr/>
        </p:nvSpPr>
        <p:spPr>
          <a:xfrm>
            <a:off x="8278283" y="1633985"/>
            <a:ext cx="256691" cy="2467"/>
          </a:xfrm>
          <a:custGeom>
            <a:avLst/>
            <a:gdLst/>
            <a:ahLst/>
            <a:cxnLst/>
            <a:rect l="l" t="t" r="r" b="b"/>
            <a:pathLst>
              <a:path w="256691" h="2467">
                <a:moveTo>
                  <a:pt x="255451" y="0"/>
                </a:moveTo>
                <a:lnTo>
                  <a:pt x="0" y="0"/>
                </a:lnTo>
                <a:lnTo>
                  <a:pt x="0" y="2467"/>
                </a:lnTo>
                <a:lnTo>
                  <a:pt x="255451" y="2467"/>
                </a:lnTo>
                <a:lnTo>
                  <a:pt x="256195" y="1974"/>
                </a:lnTo>
                <a:lnTo>
                  <a:pt x="256691" y="1233"/>
                </a:lnTo>
                <a:lnTo>
                  <a:pt x="256195" y="493"/>
                </a:lnTo>
                <a:lnTo>
                  <a:pt x="255451" y="0"/>
                </a:lnTo>
                <a:close/>
              </a:path>
            </a:pathLst>
          </a:custGeom>
          <a:solidFill>
            <a:srgbClr val="000000"/>
          </a:solidFill>
        </p:spPr>
        <p:txBody>
          <a:bodyPr wrap="square" lIns="0" tIns="0" rIns="0" bIns="0" rtlCol="0">
            <a:noAutofit/>
          </a:bodyPr>
          <a:lstStyle/>
          <a:p>
            <a:endParaRPr/>
          </a:p>
        </p:txBody>
      </p:sp>
      <p:sp>
        <p:nvSpPr>
          <p:cNvPr id="1752" name="object 1752"/>
          <p:cNvSpPr/>
          <p:nvPr/>
        </p:nvSpPr>
        <p:spPr>
          <a:xfrm>
            <a:off x="8533733" y="1600669"/>
            <a:ext cx="22072" cy="35782"/>
          </a:xfrm>
          <a:custGeom>
            <a:avLst/>
            <a:gdLst/>
            <a:ahLst/>
            <a:cxnLst/>
            <a:rect l="l" t="t" r="r" b="b"/>
            <a:pathLst>
              <a:path w="22072" h="35782">
                <a:moveTo>
                  <a:pt x="5952" y="35288"/>
                </a:moveTo>
                <a:lnTo>
                  <a:pt x="10912" y="33561"/>
                </a:lnTo>
                <a:lnTo>
                  <a:pt x="14632" y="30846"/>
                </a:lnTo>
                <a:lnTo>
                  <a:pt x="17856" y="26898"/>
                </a:lnTo>
                <a:lnTo>
                  <a:pt x="19840" y="21963"/>
                </a:lnTo>
                <a:lnTo>
                  <a:pt x="21080" y="16040"/>
                </a:lnTo>
                <a:lnTo>
                  <a:pt x="21824" y="9130"/>
                </a:lnTo>
                <a:lnTo>
                  <a:pt x="22072" y="1233"/>
                </a:lnTo>
                <a:lnTo>
                  <a:pt x="21576" y="493"/>
                </a:lnTo>
                <a:lnTo>
                  <a:pt x="20832" y="0"/>
                </a:lnTo>
                <a:lnTo>
                  <a:pt x="20088" y="493"/>
                </a:lnTo>
                <a:lnTo>
                  <a:pt x="19592" y="1233"/>
                </a:lnTo>
                <a:lnTo>
                  <a:pt x="19344" y="9130"/>
                </a:lnTo>
                <a:lnTo>
                  <a:pt x="18600" y="15546"/>
                </a:lnTo>
                <a:lnTo>
                  <a:pt x="17360" y="21469"/>
                </a:lnTo>
                <a:lnTo>
                  <a:pt x="15872" y="25911"/>
                </a:lnTo>
                <a:lnTo>
                  <a:pt x="13144" y="28872"/>
                </a:lnTo>
                <a:lnTo>
                  <a:pt x="9920" y="31587"/>
                </a:lnTo>
                <a:lnTo>
                  <a:pt x="5456" y="32821"/>
                </a:lnTo>
                <a:lnTo>
                  <a:pt x="0" y="33314"/>
                </a:lnTo>
                <a:lnTo>
                  <a:pt x="0" y="35782"/>
                </a:lnTo>
                <a:lnTo>
                  <a:pt x="5952" y="35288"/>
                </a:lnTo>
                <a:close/>
              </a:path>
            </a:pathLst>
          </a:custGeom>
          <a:solidFill>
            <a:srgbClr val="000000"/>
          </a:solidFill>
        </p:spPr>
        <p:txBody>
          <a:bodyPr wrap="square" lIns="0" tIns="0" rIns="0" bIns="0" rtlCol="0">
            <a:noAutofit/>
          </a:bodyPr>
          <a:lstStyle/>
          <a:p>
            <a:endParaRPr/>
          </a:p>
        </p:txBody>
      </p:sp>
      <p:sp>
        <p:nvSpPr>
          <p:cNvPr id="1753" name="object 1753"/>
          <p:cNvSpPr/>
          <p:nvPr/>
        </p:nvSpPr>
        <p:spPr>
          <a:xfrm>
            <a:off x="8524310" y="1183865"/>
            <a:ext cx="31497" cy="61200"/>
          </a:xfrm>
          <a:custGeom>
            <a:avLst/>
            <a:gdLst/>
            <a:ahLst/>
            <a:cxnLst/>
            <a:rect l="l" t="t" r="r" b="b"/>
            <a:pathLst>
              <a:path w="31497" h="61200">
                <a:moveTo>
                  <a:pt x="0" y="987"/>
                </a:moveTo>
                <a:lnTo>
                  <a:pt x="0" y="1974"/>
                </a:lnTo>
                <a:lnTo>
                  <a:pt x="744" y="2467"/>
                </a:lnTo>
                <a:lnTo>
                  <a:pt x="3720" y="3208"/>
                </a:lnTo>
                <a:lnTo>
                  <a:pt x="6448" y="4195"/>
                </a:lnTo>
                <a:lnTo>
                  <a:pt x="9176" y="5182"/>
                </a:lnTo>
                <a:lnTo>
                  <a:pt x="11656" y="6662"/>
                </a:lnTo>
                <a:lnTo>
                  <a:pt x="14136" y="8637"/>
                </a:lnTo>
                <a:lnTo>
                  <a:pt x="16368" y="10858"/>
                </a:lnTo>
                <a:lnTo>
                  <a:pt x="18600" y="13079"/>
                </a:lnTo>
                <a:lnTo>
                  <a:pt x="20584" y="16040"/>
                </a:lnTo>
                <a:lnTo>
                  <a:pt x="22569" y="19495"/>
                </a:lnTo>
                <a:lnTo>
                  <a:pt x="24057" y="23443"/>
                </a:lnTo>
                <a:lnTo>
                  <a:pt x="25297" y="27885"/>
                </a:lnTo>
                <a:lnTo>
                  <a:pt x="26537" y="33067"/>
                </a:lnTo>
                <a:lnTo>
                  <a:pt x="27529" y="39237"/>
                </a:lnTo>
                <a:lnTo>
                  <a:pt x="28273" y="45653"/>
                </a:lnTo>
                <a:lnTo>
                  <a:pt x="28769" y="53056"/>
                </a:lnTo>
                <a:lnTo>
                  <a:pt x="29017" y="61200"/>
                </a:lnTo>
                <a:lnTo>
                  <a:pt x="31497" y="61200"/>
                </a:lnTo>
                <a:lnTo>
                  <a:pt x="31249" y="53056"/>
                </a:lnTo>
                <a:lnTo>
                  <a:pt x="30753" y="45653"/>
                </a:lnTo>
                <a:lnTo>
                  <a:pt x="30009" y="38743"/>
                </a:lnTo>
                <a:lnTo>
                  <a:pt x="29017" y="32574"/>
                </a:lnTo>
                <a:lnTo>
                  <a:pt x="27777" y="27392"/>
                </a:lnTo>
                <a:lnTo>
                  <a:pt x="26537" y="22456"/>
                </a:lnTo>
                <a:lnTo>
                  <a:pt x="24553" y="18508"/>
                </a:lnTo>
                <a:lnTo>
                  <a:pt x="22569" y="14559"/>
                </a:lnTo>
                <a:lnTo>
                  <a:pt x="20584" y="11598"/>
                </a:lnTo>
                <a:lnTo>
                  <a:pt x="18352" y="8883"/>
                </a:lnTo>
                <a:lnTo>
                  <a:pt x="15624" y="6662"/>
                </a:lnTo>
                <a:lnTo>
                  <a:pt x="13144" y="4688"/>
                </a:lnTo>
                <a:lnTo>
                  <a:pt x="10168" y="3208"/>
                </a:lnTo>
                <a:lnTo>
                  <a:pt x="7440" y="1727"/>
                </a:lnTo>
                <a:lnTo>
                  <a:pt x="4216" y="740"/>
                </a:lnTo>
                <a:lnTo>
                  <a:pt x="1240" y="0"/>
                </a:lnTo>
                <a:lnTo>
                  <a:pt x="248" y="246"/>
                </a:lnTo>
                <a:lnTo>
                  <a:pt x="0" y="987"/>
                </a:lnTo>
                <a:close/>
              </a:path>
            </a:pathLst>
          </a:custGeom>
          <a:solidFill>
            <a:srgbClr val="000000"/>
          </a:solidFill>
        </p:spPr>
        <p:txBody>
          <a:bodyPr wrap="square" lIns="0" tIns="0" rIns="0" bIns="0" rtlCol="0">
            <a:noAutofit/>
          </a:bodyPr>
          <a:lstStyle/>
          <a:p>
            <a:endParaRPr/>
          </a:p>
        </p:txBody>
      </p:sp>
      <p:sp>
        <p:nvSpPr>
          <p:cNvPr id="1754" name="object 1754"/>
          <p:cNvSpPr/>
          <p:nvPr/>
        </p:nvSpPr>
        <p:spPr>
          <a:xfrm>
            <a:off x="8264642" y="1125380"/>
            <a:ext cx="260907" cy="60953"/>
          </a:xfrm>
          <a:custGeom>
            <a:avLst/>
            <a:gdLst/>
            <a:ahLst/>
            <a:cxnLst/>
            <a:rect l="l" t="t" r="r" b="b"/>
            <a:pathLst>
              <a:path w="260907" h="60953">
                <a:moveTo>
                  <a:pt x="744" y="2467"/>
                </a:moveTo>
                <a:lnTo>
                  <a:pt x="260411" y="60953"/>
                </a:lnTo>
                <a:lnTo>
                  <a:pt x="260907" y="58485"/>
                </a:lnTo>
                <a:lnTo>
                  <a:pt x="1240" y="0"/>
                </a:lnTo>
                <a:lnTo>
                  <a:pt x="248" y="246"/>
                </a:lnTo>
                <a:lnTo>
                  <a:pt x="0" y="987"/>
                </a:lnTo>
                <a:lnTo>
                  <a:pt x="0" y="1974"/>
                </a:lnTo>
                <a:lnTo>
                  <a:pt x="744" y="2467"/>
                </a:lnTo>
                <a:close/>
              </a:path>
            </a:pathLst>
          </a:custGeom>
          <a:solidFill>
            <a:srgbClr val="000000"/>
          </a:solidFill>
        </p:spPr>
        <p:txBody>
          <a:bodyPr wrap="square" lIns="0" tIns="0" rIns="0" bIns="0" rtlCol="0">
            <a:noAutofit/>
          </a:bodyPr>
          <a:lstStyle/>
          <a:p>
            <a:endParaRPr/>
          </a:p>
        </p:txBody>
      </p:sp>
      <p:sp>
        <p:nvSpPr>
          <p:cNvPr id="1755" name="object 1755"/>
          <p:cNvSpPr/>
          <p:nvPr/>
        </p:nvSpPr>
        <p:spPr>
          <a:xfrm>
            <a:off x="8229424" y="1123898"/>
            <a:ext cx="36457" cy="3948"/>
          </a:xfrm>
          <a:custGeom>
            <a:avLst/>
            <a:gdLst/>
            <a:ahLst/>
            <a:cxnLst/>
            <a:rect l="l" t="t" r="r" b="b"/>
            <a:pathLst>
              <a:path w="36457" h="3948">
                <a:moveTo>
                  <a:pt x="0" y="1974"/>
                </a:moveTo>
                <a:lnTo>
                  <a:pt x="248" y="2714"/>
                </a:lnTo>
                <a:lnTo>
                  <a:pt x="992" y="3208"/>
                </a:lnTo>
                <a:lnTo>
                  <a:pt x="5704" y="2714"/>
                </a:lnTo>
                <a:lnTo>
                  <a:pt x="10416" y="2467"/>
                </a:lnTo>
                <a:lnTo>
                  <a:pt x="23313" y="2467"/>
                </a:lnTo>
                <a:lnTo>
                  <a:pt x="27529" y="2714"/>
                </a:lnTo>
                <a:lnTo>
                  <a:pt x="31745" y="3208"/>
                </a:lnTo>
                <a:lnTo>
                  <a:pt x="35961" y="3948"/>
                </a:lnTo>
                <a:lnTo>
                  <a:pt x="36457" y="1480"/>
                </a:lnTo>
                <a:lnTo>
                  <a:pt x="32241" y="740"/>
                </a:lnTo>
                <a:lnTo>
                  <a:pt x="27529" y="246"/>
                </a:lnTo>
                <a:lnTo>
                  <a:pt x="23313" y="0"/>
                </a:lnTo>
                <a:lnTo>
                  <a:pt x="10416" y="0"/>
                </a:lnTo>
                <a:lnTo>
                  <a:pt x="5704" y="246"/>
                </a:lnTo>
                <a:lnTo>
                  <a:pt x="992" y="740"/>
                </a:lnTo>
                <a:lnTo>
                  <a:pt x="248" y="1233"/>
                </a:lnTo>
                <a:lnTo>
                  <a:pt x="0" y="1974"/>
                </a:lnTo>
                <a:close/>
              </a:path>
            </a:pathLst>
          </a:custGeom>
          <a:solidFill>
            <a:srgbClr val="000000"/>
          </a:solidFill>
        </p:spPr>
        <p:txBody>
          <a:bodyPr wrap="square" lIns="0" tIns="0" rIns="0" bIns="0" rtlCol="0">
            <a:noAutofit/>
          </a:bodyPr>
          <a:lstStyle/>
          <a:p>
            <a:endParaRPr/>
          </a:p>
        </p:txBody>
      </p:sp>
      <p:sp>
        <p:nvSpPr>
          <p:cNvPr id="1756" name="object 1756"/>
          <p:cNvSpPr/>
          <p:nvPr/>
        </p:nvSpPr>
        <p:spPr>
          <a:xfrm>
            <a:off x="7970997" y="1124639"/>
            <a:ext cx="259667" cy="11598"/>
          </a:xfrm>
          <a:custGeom>
            <a:avLst/>
            <a:gdLst/>
            <a:ahLst/>
            <a:cxnLst/>
            <a:rect l="l" t="t" r="r" b="b"/>
            <a:pathLst>
              <a:path w="259667" h="11598">
                <a:moveTo>
                  <a:pt x="259667" y="2467"/>
                </a:moveTo>
                <a:lnTo>
                  <a:pt x="259171" y="0"/>
                </a:lnTo>
                <a:lnTo>
                  <a:pt x="251235" y="987"/>
                </a:lnTo>
                <a:lnTo>
                  <a:pt x="243298" y="1727"/>
                </a:lnTo>
                <a:lnTo>
                  <a:pt x="235610" y="2714"/>
                </a:lnTo>
                <a:lnTo>
                  <a:pt x="227674" y="3208"/>
                </a:lnTo>
                <a:lnTo>
                  <a:pt x="219489" y="3701"/>
                </a:lnTo>
                <a:lnTo>
                  <a:pt x="211553" y="4195"/>
                </a:lnTo>
                <a:lnTo>
                  <a:pt x="203617" y="4688"/>
                </a:lnTo>
                <a:lnTo>
                  <a:pt x="195680" y="4935"/>
                </a:lnTo>
                <a:lnTo>
                  <a:pt x="187496" y="5182"/>
                </a:lnTo>
                <a:lnTo>
                  <a:pt x="179560" y="5429"/>
                </a:lnTo>
                <a:lnTo>
                  <a:pt x="171623" y="5429"/>
                </a:lnTo>
                <a:lnTo>
                  <a:pt x="163439" y="5675"/>
                </a:lnTo>
                <a:lnTo>
                  <a:pt x="74651" y="5675"/>
                </a:lnTo>
                <a:lnTo>
                  <a:pt x="66466" y="5922"/>
                </a:lnTo>
                <a:lnTo>
                  <a:pt x="58282" y="5922"/>
                </a:lnTo>
                <a:lnTo>
                  <a:pt x="50098" y="6169"/>
                </a:lnTo>
                <a:lnTo>
                  <a:pt x="41913" y="6416"/>
                </a:lnTo>
                <a:lnTo>
                  <a:pt x="33729" y="6909"/>
                </a:lnTo>
                <a:lnTo>
                  <a:pt x="25545" y="7403"/>
                </a:lnTo>
                <a:lnTo>
                  <a:pt x="17360" y="7896"/>
                </a:lnTo>
                <a:lnTo>
                  <a:pt x="9176" y="8390"/>
                </a:lnTo>
                <a:lnTo>
                  <a:pt x="992" y="9130"/>
                </a:lnTo>
                <a:lnTo>
                  <a:pt x="248" y="9624"/>
                </a:lnTo>
                <a:lnTo>
                  <a:pt x="0" y="10364"/>
                </a:lnTo>
                <a:lnTo>
                  <a:pt x="248" y="11104"/>
                </a:lnTo>
                <a:lnTo>
                  <a:pt x="992" y="11598"/>
                </a:lnTo>
                <a:lnTo>
                  <a:pt x="9176" y="10858"/>
                </a:lnTo>
                <a:lnTo>
                  <a:pt x="17360" y="10364"/>
                </a:lnTo>
                <a:lnTo>
                  <a:pt x="25545" y="9871"/>
                </a:lnTo>
                <a:lnTo>
                  <a:pt x="33729" y="9377"/>
                </a:lnTo>
                <a:lnTo>
                  <a:pt x="41913" y="8883"/>
                </a:lnTo>
                <a:lnTo>
                  <a:pt x="50098" y="8637"/>
                </a:lnTo>
                <a:lnTo>
                  <a:pt x="58282" y="8390"/>
                </a:lnTo>
                <a:lnTo>
                  <a:pt x="66466" y="8390"/>
                </a:lnTo>
                <a:lnTo>
                  <a:pt x="74651" y="8143"/>
                </a:lnTo>
                <a:lnTo>
                  <a:pt x="163439" y="8143"/>
                </a:lnTo>
                <a:lnTo>
                  <a:pt x="171623" y="7896"/>
                </a:lnTo>
                <a:lnTo>
                  <a:pt x="179560" y="7896"/>
                </a:lnTo>
                <a:lnTo>
                  <a:pt x="187496" y="7650"/>
                </a:lnTo>
                <a:lnTo>
                  <a:pt x="195680" y="7403"/>
                </a:lnTo>
                <a:lnTo>
                  <a:pt x="203617" y="7156"/>
                </a:lnTo>
                <a:lnTo>
                  <a:pt x="211553" y="6662"/>
                </a:lnTo>
                <a:lnTo>
                  <a:pt x="219489" y="6169"/>
                </a:lnTo>
                <a:lnTo>
                  <a:pt x="227674" y="5675"/>
                </a:lnTo>
                <a:lnTo>
                  <a:pt x="235610" y="5182"/>
                </a:lnTo>
                <a:lnTo>
                  <a:pt x="243794" y="4195"/>
                </a:lnTo>
                <a:lnTo>
                  <a:pt x="251731" y="3454"/>
                </a:lnTo>
                <a:lnTo>
                  <a:pt x="259667" y="2467"/>
                </a:lnTo>
                <a:close/>
              </a:path>
            </a:pathLst>
          </a:custGeom>
          <a:solidFill>
            <a:srgbClr val="000000"/>
          </a:solidFill>
        </p:spPr>
        <p:txBody>
          <a:bodyPr wrap="square" lIns="0" tIns="0" rIns="0" bIns="0" rtlCol="0">
            <a:noAutofit/>
          </a:bodyPr>
          <a:lstStyle/>
          <a:p>
            <a:endParaRPr/>
          </a:p>
        </p:txBody>
      </p:sp>
      <p:sp>
        <p:nvSpPr>
          <p:cNvPr id="1757" name="object 1757"/>
          <p:cNvSpPr/>
          <p:nvPr/>
        </p:nvSpPr>
        <p:spPr>
          <a:xfrm>
            <a:off x="7793172" y="1133770"/>
            <a:ext cx="178816" cy="51822"/>
          </a:xfrm>
          <a:custGeom>
            <a:avLst/>
            <a:gdLst/>
            <a:ahLst/>
            <a:cxnLst/>
            <a:rect l="l" t="t" r="r" b="b"/>
            <a:pathLst>
              <a:path w="178816" h="51822">
                <a:moveTo>
                  <a:pt x="178816" y="2467"/>
                </a:moveTo>
                <a:lnTo>
                  <a:pt x="178816" y="0"/>
                </a:lnTo>
                <a:lnTo>
                  <a:pt x="171623" y="740"/>
                </a:lnTo>
                <a:lnTo>
                  <a:pt x="164927" y="1480"/>
                </a:lnTo>
                <a:lnTo>
                  <a:pt x="158727" y="2467"/>
                </a:lnTo>
                <a:lnTo>
                  <a:pt x="152526" y="3701"/>
                </a:lnTo>
                <a:lnTo>
                  <a:pt x="146574" y="4935"/>
                </a:lnTo>
                <a:lnTo>
                  <a:pt x="141118" y="6416"/>
                </a:lnTo>
                <a:lnTo>
                  <a:pt x="135662" y="7896"/>
                </a:lnTo>
                <a:lnTo>
                  <a:pt x="130205" y="9624"/>
                </a:lnTo>
                <a:lnTo>
                  <a:pt x="124997" y="11351"/>
                </a:lnTo>
                <a:lnTo>
                  <a:pt x="120037" y="13325"/>
                </a:lnTo>
                <a:lnTo>
                  <a:pt x="115325" y="15053"/>
                </a:lnTo>
                <a:lnTo>
                  <a:pt x="110612" y="17027"/>
                </a:lnTo>
                <a:lnTo>
                  <a:pt x="105900" y="19248"/>
                </a:lnTo>
                <a:lnTo>
                  <a:pt x="101188" y="21222"/>
                </a:lnTo>
                <a:lnTo>
                  <a:pt x="96724" y="23196"/>
                </a:lnTo>
                <a:lnTo>
                  <a:pt x="92012" y="25417"/>
                </a:lnTo>
                <a:lnTo>
                  <a:pt x="87299" y="27392"/>
                </a:lnTo>
                <a:lnTo>
                  <a:pt x="82587" y="29366"/>
                </a:lnTo>
                <a:lnTo>
                  <a:pt x="77875" y="31587"/>
                </a:lnTo>
                <a:lnTo>
                  <a:pt x="73163" y="33561"/>
                </a:lnTo>
                <a:lnTo>
                  <a:pt x="68203" y="35288"/>
                </a:lnTo>
                <a:lnTo>
                  <a:pt x="63242" y="37263"/>
                </a:lnTo>
                <a:lnTo>
                  <a:pt x="58034" y="38990"/>
                </a:lnTo>
                <a:lnTo>
                  <a:pt x="52826" y="40717"/>
                </a:lnTo>
                <a:lnTo>
                  <a:pt x="47122" y="42198"/>
                </a:lnTo>
                <a:lnTo>
                  <a:pt x="41417" y="43679"/>
                </a:lnTo>
                <a:lnTo>
                  <a:pt x="35465" y="45159"/>
                </a:lnTo>
                <a:lnTo>
                  <a:pt x="29017" y="46393"/>
                </a:lnTo>
                <a:lnTo>
                  <a:pt x="22569" y="47380"/>
                </a:lnTo>
                <a:lnTo>
                  <a:pt x="15624" y="48121"/>
                </a:lnTo>
                <a:lnTo>
                  <a:pt x="8680" y="48861"/>
                </a:lnTo>
                <a:lnTo>
                  <a:pt x="992" y="49355"/>
                </a:lnTo>
                <a:lnTo>
                  <a:pt x="248" y="49848"/>
                </a:lnTo>
                <a:lnTo>
                  <a:pt x="0" y="50589"/>
                </a:lnTo>
                <a:lnTo>
                  <a:pt x="248" y="51329"/>
                </a:lnTo>
                <a:lnTo>
                  <a:pt x="992" y="51822"/>
                </a:lnTo>
                <a:lnTo>
                  <a:pt x="8680" y="51329"/>
                </a:lnTo>
                <a:lnTo>
                  <a:pt x="16120" y="50589"/>
                </a:lnTo>
                <a:lnTo>
                  <a:pt x="23065" y="49848"/>
                </a:lnTo>
                <a:lnTo>
                  <a:pt x="29513" y="48861"/>
                </a:lnTo>
                <a:lnTo>
                  <a:pt x="35961" y="47627"/>
                </a:lnTo>
                <a:lnTo>
                  <a:pt x="41913" y="46147"/>
                </a:lnTo>
                <a:lnTo>
                  <a:pt x="47618" y="44666"/>
                </a:lnTo>
                <a:lnTo>
                  <a:pt x="53322" y="43185"/>
                </a:lnTo>
                <a:lnTo>
                  <a:pt x="59026" y="41458"/>
                </a:lnTo>
                <a:lnTo>
                  <a:pt x="64234" y="39730"/>
                </a:lnTo>
                <a:lnTo>
                  <a:pt x="69195" y="37756"/>
                </a:lnTo>
                <a:lnTo>
                  <a:pt x="74155" y="36029"/>
                </a:lnTo>
                <a:lnTo>
                  <a:pt x="78867" y="34055"/>
                </a:lnTo>
                <a:lnTo>
                  <a:pt x="83579" y="31834"/>
                </a:lnTo>
                <a:lnTo>
                  <a:pt x="88291" y="29859"/>
                </a:lnTo>
                <a:lnTo>
                  <a:pt x="93004" y="27885"/>
                </a:lnTo>
                <a:lnTo>
                  <a:pt x="97716" y="25664"/>
                </a:lnTo>
                <a:lnTo>
                  <a:pt x="102180" y="23690"/>
                </a:lnTo>
                <a:lnTo>
                  <a:pt x="106892" y="21716"/>
                </a:lnTo>
                <a:lnTo>
                  <a:pt x="111605" y="19495"/>
                </a:lnTo>
                <a:lnTo>
                  <a:pt x="116317" y="17521"/>
                </a:lnTo>
                <a:lnTo>
                  <a:pt x="121029" y="15793"/>
                </a:lnTo>
                <a:lnTo>
                  <a:pt x="125989" y="13819"/>
                </a:lnTo>
                <a:lnTo>
                  <a:pt x="131197" y="12092"/>
                </a:lnTo>
                <a:lnTo>
                  <a:pt x="136158" y="10364"/>
                </a:lnTo>
                <a:lnTo>
                  <a:pt x="141614" y="8883"/>
                </a:lnTo>
                <a:lnTo>
                  <a:pt x="147070" y="7403"/>
                </a:lnTo>
                <a:lnTo>
                  <a:pt x="153022" y="6169"/>
                </a:lnTo>
                <a:lnTo>
                  <a:pt x="159223" y="4935"/>
                </a:lnTo>
                <a:lnTo>
                  <a:pt x="165423" y="3948"/>
                </a:lnTo>
                <a:lnTo>
                  <a:pt x="172119" y="3208"/>
                </a:lnTo>
                <a:lnTo>
                  <a:pt x="178816" y="2467"/>
                </a:lnTo>
                <a:close/>
              </a:path>
            </a:pathLst>
          </a:custGeom>
          <a:solidFill>
            <a:srgbClr val="000000"/>
          </a:solidFill>
        </p:spPr>
        <p:txBody>
          <a:bodyPr wrap="square" lIns="0" tIns="0" rIns="0" bIns="0" rtlCol="0">
            <a:noAutofit/>
          </a:bodyPr>
          <a:lstStyle/>
          <a:p>
            <a:endParaRPr/>
          </a:p>
        </p:txBody>
      </p:sp>
      <p:sp>
        <p:nvSpPr>
          <p:cNvPr id="1758" name="object 1758"/>
          <p:cNvSpPr/>
          <p:nvPr/>
        </p:nvSpPr>
        <p:spPr>
          <a:xfrm>
            <a:off x="7761675" y="1183125"/>
            <a:ext cx="32489" cy="36276"/>
          </a:xfrm>
          <a:custGeom>
            <a:avLst/>
            <a:gdLst/>
            <a:ahLst/>
            <a:cxnLst/>
            <a:rect l="l" t="t" r="r" b="b"/>
            <a:pathLst>
              <a:path w="32489" h="36276">
                <a:moveTo>
                  <a:pt x="1984" y="27885"/>
                </a:moveTo>
                <a:lnTo>
                  <a:pt x="0" y="35042"/>
                </a:lnTo>
                <a:lnTo>
                  <a:pt x="248" y="36029"/>
                </a:lnTo>
                <a:lnTo>
                  <a:pt x="992" y="36276"/>
                </a:lnTo>
                <a:lnTo>
                  <a:pt x="1984" y="36276"/>
                </a:lnTo>
                <a:lnTo>
                  <a:pt x="2480" y="35535"/>
                </a:lnTo>
                <a:lnTo>
                  <a:pt x="4464" y="28379"/>
                </a:lnTo>
                <a:lnTo>
                  <a:pt x="6696" y="22209"/>
                </a:lnTo>
                <a:lnTo>
                  <a:pt x="9176" y="16780"/>
                </a:lnTo>
                <a:lnTo>
                  <a:pt x="12648" y="12092"/>
                </a:lnTo>
                <a:lnTo>
                  <a:pt x="16368" y="8390"/>
                </a:lnTo>
                <a:lnTo>
                  <a:pt x="20832" y="5675"/>
                </a:lnTo>
                <a:lnTo>
                  <a:pt x="26289" y="3701"/>
                </a:lnTo>
                <a:lnTo>
                  <a:pt x="32489" y="2467"/>
                </a:lnTo>
                <a:lnTo>
                  <a:pt x="32489" y="0"/>
                </a:lnTo>
                <a:lnTo>
                  <a:pt x="25793" y="1233"/>
                </a:lnTo>
                <a:lnTo>
                  <a:pt x="19840" y="3208"/>
                </a:lnTo>
                <a:lnTo>
                  <a:pt x="14880" y="6416"/>
                </a:lnTo>
                <a:lnTo>
                  <a:pt x="10664" y="10611"/>
                </a:lnTo>
                <a:lnTo>
                  <a:pt x="7192" y="15300"/>
                </a:lnTo>
                <a:lnTo>
                  <a:pt x="4216" y="21222"/>
                </a:lnTo>
                <a:lnTo>
                  <a:pt x="1984" y="27885"/>
                </a:lnTo>
                <a:close/>
              </a:path>
            </a:pathLst>
          </a:custGeom>
          <a:solidFill>
            <a:srgbClr val="000000"/>
          </a:solidFill>
        </p:spPr>
        <p:txBody>
          <a:bodyPr wrap="square" lIns="0" tIns="0" rIns="0" bIns="0" rtlCol="0">
            <a:noAutofit/>
          </a:bodyPr>
          <a:lstStyle/>
          <a:p>
            <a:endParaRPr/>
          </a:p>
        </p:txBody>
      </p:sp>
      <p:sp>
        <p:nvSpPr>
          <p:cNvPr id="1759" name="object 1759"/>
          <p:cNvSpPr/>
          <p:nvPr/>
        </p:nvSpPr>
        <p:spPr>
          <a:xfrm>
            <a:off x="7732410" y="1218168"/>
            <a:ext cx="31745" cy="163859"/>
          </a:xfrm>
          <a:custGeom>
            <a:avLst/>
            <a:gdLst/>
            <a:ahLst/>
            <a:cxnLst/>
            <a:rect l="l" t="t" r="r" b="b"/>
            <a:pathLst>
              <a:path w="31745" h="163859">
                <a:moveTo>
                  <a:pt x="2480" y="163118"/>
                </a:moveTo>
                <a:lnTo>
                  <a:pt x="31745" y="493"/>
                </a:lnTo>
                <a:lnTo>
                  <a:pt x="29265" y="0"/>
                </a:lnTo>
                <a:lnTo>
                  <a:pt x="0" y="162625"/>
                </a:lnTo>
                <a:lnTo>
                  <a:pt x="248" y="163612"/>
                </a:lnTo>
                <a:lnTo>
                  <a:pt x="992" y="163859"/>
                </a:lnTo>
                <a:lnTo>
                  <a:pt x="1984" y="163859"/>
                </a:lnTo>
                <a:lnTo>
                  <a:pt x="2480" y="163118"/>
                </a:lnTo>
                <a:close/>
              </a:path>
            </a:pathLst>
          </a:custGeom>
          <a:solidFill>
            <a:srgbClr val="000000"/>
          </a:solidFill>
        </p:spPr>
        <p:txBody>
          <a:bodyPr wrap="square" lIns="0" tIns="0" rIns="0" bIns="0" rtlCol="0">
            <a:noAutofit/>
          </a:bodyPr>
          <a:lstStyle/>
          <a:p>
            <a:endParaRPr/>
          </a:p>
        </p:txBody>
      </p:sp>
      <p:sp>
        <p:nvSpPr>
          <p:cNvPr id="1760" name="object 1760"/>
          <p:cNvSpPr/>
          <p:nvPr/>
        </p:nvSpPr>
        <p:spPr>
          <a:xfrm>
            <a:off x="7719761" y="1380792"/>
            <a:ext cx="15128" cy="26158"/>
          </a:xfrm>
          <a:custGeom>
            <a:avLst/>
            <a:gdLst/>
            <a:ahLst/>
            <a:cxnLst/>
            <a:rect l="l" t="t" r="r" b="b"/>
            <a:pathLst>
              <a:path w="15128" h="26158">
                <a:moveTo>
                  <a:pt x="3720" y="13572"/>
                </a:moveTo>
                <a:lnTo>
                  <a:pt x="1736" y="17027"/>
                </a:lnTo>
                <a:lnTo>
                  <a:pt x="496" y="20729"/>
                </a:lnTo>
                <a:lnTo>
                  <a:pt x="0" y="25171"/>
                </a:lnTo>
                <a:lnTo>
                  <a:pt x="496" y="25911"/>
                </a:lnTo>
                <a:lnTo>
                  <a:pt x="1240" y="26158"/>
                </a:lnTo>
                <a:lnTo>
                  <a:pt x="1984" y="25911"/>
                </a:lnTo>
                <a:lnTo>
                  <a:pt x="2480" y="25171"/>
                </a:lnTo>
                <a:lnTo>
                  <a:pt x="2976" y="21222"/>
                </a:lnTo>
                <a:lnTo>
                  <a:pt x="4216" y="18014"/>
                </a:lnTo>
                <a:lnTo>
                  <a:pt x="5704" y="15053"/>
                </a:lnTo>
                <a:lnTo>
                  <a:pt x="7936" y="12338"/>
                </a:lnTo>
                <a:lnTo>
                  <a:pt x="9920" y="9624"/>
                </a:lnTo>
                <a:lnTo>
                  <a:pt x="12152" y="6909"/>
                </a:lnTo>
                <a:lnTo>
                  <a:pt x="14136" y="3948"/>
                </a:lnTo>
                <a:lnTo>
                  <a:pt x="15128" y="493"/>
                </a:lnTo>
                <a:lnTo>
                  <a:pt x="12648" y="0"/>
                </a:lnTo>
                <a:lnTo>
                  <a:pt x="11656" y="2961"/>
                </a:lnTo>
                <a:lnTo>
                  <a:pt x="10168" y="5429"/>
                </a:lnTo>
                <a:lnTo>
                  <a:pt x="7936" y="8143"/>
                </a:lnTo>
                <a:lnTo>
                  <a:pt x="5952" y="10858"/>
                </a:lnTo>
                <a:lnTo>
                  <a:pt x="3720" y="13572"/>
                </a:lnTo>
                <a:close/>
              </a:path>
            </a:pathLst>
          </a:custGeom>
          <a:solidFill>
            <a:srgbClr val="000000"/>
          </a:solidFill>
        </p:spPr>
        <p:txBody>
          <a:bodyPr wrap="square" lIns="0" tIns="0" rIns="0" bIns="0" rtlCol="0">
            <a:noAutofit/>
          </a:bodyPr>
          <a:lstStyle/>
          <a:p>
            <a:endParaRPr/>
          </a:p>
        </p:txBody>
      </p:sp>
      <p:sp>
        <p:nvSpPr>
          <p:cNvPr id="1761" name="object 1761"/>
          <p:cNvSpPr/>
          <p:nvPr/>
        </p:nvSpPr>
        <p:spPr>
          <a:xfrm>
            <a:off x="7722738" y="1367220"/>
            <a:ext cx="471717" cy="140415"/>
          </a:xfrm>
          <a:custGeom>
            <a:avLst/>
            <a:gdLst/>
            <a:ahLst/>
            <a:cxnLst/>
            <a:rect l="l" t="t" r="r" b="b"/>
            <a:pathLst>
              <a:path w="471717" h="140415">
                <a:moveTo>
                  <a:pt x="0" y="38250"/>
                </a:moveTo>
                <a:lnTo>
                  <a:pt x="0" y="140415"/>
                </a:lnTo>
                <a:lnTo>
                  <a:pt x="471717" y="117711"/>
                </a:lnTo>
                <a:lnTo>
                  <a:pt x="471717" y="0"/>
                </a:lnTo>
                <a:lnTo>
                  <a:pt x="0" y="38250"/>
                </a:lnTo>
                <a:close/>
              </a:path>
            </a:pathLst>
          </a:custGeom>
          <a:solidFill>
            <a:srgbClr val="00BEBE"/>
          </a:solidFill>
        </p:spPr>
        <p:txBody>
          <a:bodyPr wrap="square" lIns="0" tIns="0" rIns="0" bIns="0" rtlCol="0">
            <a:noAutofit/>
          </a:bodyPr>
          <a:lstStyle/>
          <a:p>
            <a:endParaRPr/>
          </a:p>
        </p:txBody>
      </p:sp>
      <p:sp>
        <p:nvSpPr>
          <p:cNvPr id="1762" name="object 1762"/>
          <p:cNvSpPr/>
          <p:nvPr/>
        </p:nvSpPr>
        <p:spPr>
          <a:xfrm>
            <a:off x="8194454" y="1367220"/>
            <a:ext cx="359120" cy="138687"/>
          </a:xfrm>
          <a:custGeom>
            <a:avLst/>
            <a:gdLst/>
            <a:ahLst/>
            <a:cxnLst/>
            <a:rect l="l" t="t" r="r" b="b"/>
            <a:pathLst>
              <a:path w="359120" h="138687">
                <a:moveTo>
                  <a:pt x="0" y="117465"/>
                </a:moveTo>
                <a:lnTo>
                  <a:pt x="359120" y="138687"/>
                </a:lnTo>
                <a:lnTo>
                  <a:pt x="359120" y="46393"/>
                </a:lnTo>
                <a:lnTo>
                  <a:pt x="0" y="0"/>
                </a:lnTo>
                <a:lnTo>
                  <a:pt x="0" y="117465"/>
                </a:lnTo>
                <a:close/>
              </a:path>
            </a:pathLst>
          </a:custGeom>
          <a:solidFill>
            <a:srgbClr val="00FFFF"/>
          </a:solidFill>
        </p:spPr>
        <p:txBody>
          <a:bodyPr wrap="square" lIns="0" tIns="0" rIns="0" bIns="0" rtlCol="0">
            <a:noAutofit/>
          </a:bodyPr>
          <a:lstStyle/>
          <a:p>
            <a:endParaRPr/>
          </a:p>
        </p:txBody>
      </p:sp>
      <p:sp>
        <p:nvSpPr>
          <p:cNvPr id="1763" name="object 1763"/>
          <p:cNvSpPr/>
          <p:nvPr/>
        </p:nvSpPr>
        <p:spPr>
          <a:xfrm>
            <a:off x="8376247" y="1209776"/>
            <a:ext cx="177079" cy="187302"/>
          </a:xfrm>
          <a:custGeom>
            <a:avLst/>
            <a:gdLst/>
            <a:ahLst/>
            <a:cxnLst/>
            <a:rect l="l" t="t" r="r" b="b"/>
            <a:pathLst>
              <a:path w="177079" h="187302">
                <a:moveTo>
                  <a:pt x="248" y="0"/>
                </a:moveTo>
                <a:lnTo>
                  <a:pt x="0" y="163859"/>
                </a:lnTo>
                <a:lnTo>
                  <a:pt x="177079" y="187302"/>
                </a:lnTo>
                <a:lnTo>
                  <a:pt x="176831" y="34301"/>
                </a:lnTo>
                <a:lnTo>
                  <a:pt x="248" y="0"/>
                </a:lnTo>
                <a:close/>
              </a:path>
            </a:pathLst>
          </a:custGeom>
          <a:solidFill>
            <a:srgbClr val="FF0000"/>
          </a:solidFill>
        </p:spPr>
        <p:txBody>
          <a:bodyPr wrap="square" lIns="0" tIns="0" rIns="0" bIns="0" rtlCol="0">
            <a:noAutofit/>
          </a:bodyPr>
          <a:lstStyle/>
          <a:p>
            <a:endParaRPr/>
          </a:p>
        </p:txBody>
      </p:sp>
      <p:sp>
        <p:nvSpPr>
          <p:cNvPr id="1764" name="object 1764"/>
          <p:cNvSpPr/>
          <p:nvPr/>
        </p:nvSpPr>
        <p:spPr>
          <a:xfrm>
            <a:off x="7748779" y="1265055"/>
            <a:ext cx="212049" cy="104879"/>
          </a:xfrm>
          <a:custGeom>
            <a:avLst/>
            <a:gdLst/>
            <a:ahLst/>
            <a:cxnLst/>
            <a:rect l="l" t="t" r="r" b="b"/>
            <a:pathLst>
              <a:path w="212049" h="104879">
                <a:moveTo>
                  <a:pt x="165671" y="6662"/>
                </a:moveTo>
                <a:lnTo>
                  <a:pt x="96972" y="0"/>
                </a:lnTo>
                <a:lnTo>
                  <a:pt x="96972" y="95748"/>
                </a:lnTo>
                <a:lnTo>
                  <a:pt x="126237" y="92294"/>
                </a:lnTo>
                <a:lnTo>
                  <a:pt x="128469" y="89332"/>
                </a:lnTo>
                <a:lnTo>
                  <a:pt x="130205" y="86865"/>
                </a:lnTo>
                <a:lnTo>
                  <a:pt x="132189" y="84397"/>
                </a:lnTo>
                <a:lnTo>
                  <a:pt x="134422" y="82176"/>
                </a:lnTo>
                <a:lnTo>
                  <a:pt x="137150" y="80695"/>
                </a:lnTo>
                <a:lnTo>
                  <a:pt x="140870" y="79214"/>
                </a:lnTo>
                <a:lnTo>
                  <a:pt x="145830" y="78474"/>
                </a:lnTo>
                <a:lnTo>
                  <a:pt x="152278" y="78227"/>
                </a:lnTo>
                <a:lnTo>
                  <a:pt x="165671" y="6662"/>
                </a:lnTo>
                <a:close/>
              </a:path>
              <a:path w="212049" h="104879">
                <a:moveTo>
                  <a:pt x="196672" y="64408"/>
                </a:moveTo>
                <a:lnTo>
                  <a:pt x="199648" y="63174"/>
                </a:lnTo>
                <a:lnTo>
                  <a:pt x="202625" y="62434"/>
                </a:lnTo>
                <a:lnTo>
                  <a:pt x="205601" y="61940"/>
                </a:lnTo>
                <a:lnTo>
                  <a:pt x="208825" y="61447"/>
                </a:lnTo>
                <a:lnTo>
                  <a:pt x="212049" y="61447"/>
                </a:lnTo>
                <a:lnTo>
                  <a:pt x="210561" y="25664"/>
                </a:lnTo>
                <a:lnTo>
                  <a:pt x="210313" y="22703"/>
                </a:lnTo>
                <a:lnTo>
                  <a:pt x="209817" y="20235"/>
                </a:lnTo>
                <a:lnTo>
                  <a:pt x="209073" y="18014"/>
                </a:lnTo>
                <a:lnTo>
                  <a:pt x="208081" y="16040"/>
                </a:lnTo>
                <a:lnTo>
                  <a:pt x="206593" y="14559"/>
                </a:lnTo>
                <a:lnTo>
                  <a:pt x="203121" y="12832"/>
                </a:lnTo>
                <a:lnTo>
                  <a:pt x="200641" y="12585"/>
                </a:lnTo>
                <a:lnTo>
                  <a:pt x="189728" y="70084"/>
                </a:lnTo>
                <a:lnTo>
                  <a:pt x="191712" y="67863"/>
                </a:lnTo>
                <a:lnTo>
                  <a:pt x="194192" y="65889"/>
                </a:lnTo>
                <a:lnTo>
                  <a:pt x="196672" y="64408"/>
                </a:lnTo>
                <a:close/>
              </a:path>
              <a:path w="212049" h="104879">
                <a:moveTo>
                  <a:pt x="83331" y="-1727"/>
                </a:moveTo>
                <a:lnTo>
                  <a:pt x="17856" y="-9130"/>
                </a:lnTo>
                <a:lnTo>
                  <a:pt x="0" y="91553"/>
                </a:lnTo>
                <a:lnTo>
                  <a:pt x="4464" y="91553"/>
                </a:lnTo>
                <a:lnTo>
                  <a:pt x="8680" y="91800"/>
                </a:lnTo>
                <a:lnTo>
                  <a:pt x="13144" y="92047"/>
                </a:lnTo>
                <a:lnTo>
                  <a:pt x="17360" y="92294"/>
                </a:lnTo>
                <a:lnTo>
                  <a:pt x="21576" y="92787"/>
                </a:lnTo>
                <a:lnTo>
                  <a:pt x="25793" y="93034"/>
                </a:lnTo>
                <a:lnTo>
                  <a:pt x="29761" y="93527"/>
                </a:lnTo>
                <a:lnTo>
                  <a:pt x="33977" y="94268"/>
                </a:lnTo>
                <a:lnTo>
                  <a:pt x="37945" y="94761"/>
                </a:lnTo>
                <a:lnTo>
                  <a:pt x="41913" y="95255"/>
                </a:lnTo>
                <a:lnTo>
                  <a:pt x="45882" y="95995"/>
                </a:lnTo>
                <a:lnTo>
                  <a:pt x="49850" y="96489"/>
                </a:lnTo>
                <a:lnTo>
                  <a:pt x="53818" y="96982"/>
                </a:lnTo>
                <a:lnTo>
                  <a:pt x="57786" y="97476"/>
                </a:lnTo>
                <a:lnTo>
                  <a:pt x="61754" y="97969"/>
                </a:lnTo>
                <a:lnTo>
                  <a:pt x="65722" y="98463"/>
                </a:lnTo>
                <a:lnTo>
                  <a:pt x="83331" y="97476"/>
                </a:lnTo>
                <a:lnTo>
                  <a:pt x="83331" y="-1727"/>
                </a:lnTo>
                <a:close/>
              </a:path>
            </a:pathLst>
          </a:custGeom>
          <a:solidFill>
            <a:srgbClr val="E4E4E4"/>
          </a:solidFill>
        </p:spPr>
        <p:txBody>
          <a:bodyPr wrap="square" lIns="0" tIns="0" rIns="0" bIns="0" rtlCol="0">
            <a:noAutofit/>
          </a:bodyPr>
          <a:lstStyle/>
          <a:p>
            <a:endParaRPr/>
          </a:p>
        </p:txBody>
      </p:sp>
      <p:sp>
        <p:nvSpPr>
          <p:cNvPr id="1765" name="object 1765"/>
          <p:cNvSpPr/>
          <p:nvPr/>
        </p:nvSpPr>
        <p:spPr>
          <a:xfrm>
            <a:off x="7830870" y="1263328"/>
            <a:ext cx="2480" cy="100067"/>
          </a:xfrm>
          <a:custGeom>
            <a:avLst/>
            <a:gdLst/>
            <a:ahLst/>
            <a:cxnLst/>
            <a:rect l="l" t="t" r="r" b="b"/>
            <a:pathLst>
              <a:path w="2480" h="100067">
                <a:moveTo>
                  <a:pt x="1984" y="99944"/>
                </a:moveTo>
                <a:lnTo>
                  <a:pt x="2480" y="99203"/>
                </a:lnTo>
                <a:lnTo>
                  <a:pt x="2480" y="0"/>
                </a:lnTo>
                <a:lnTo>
                  <a:pt x="0" y="0"/>
                </a:lnTo>
                <a:lnTo>
                  <a:pt x="0" y="99203"/>
                </a:lnTo>
                <a:lnTo>
                  <a:pt x="1240" y="97969"/>
                </a:lnTo>
                <a:lnTo>
                  <a:pt x="1612" y="100067"/>
                </a:lnTo>
                <a:lnTo>
                  <a:pt x="1984" y="99944"/>
                </a:lnTo>
                <a:close/>
              </a:path>
            </a:pathLst>
          </a:custGeom>
          <a:solidFill>
            <a:srgbClr val="000000"/>
          </a:solidFill>
        </p:spPr>
        <p:txBody>
          <a:bodyPr wrap="square" lIns="0" tIns="0" rIns="0" bIns="0" rtlCol="0">
            <a:noAutofit/>
          </a:bodyPr>
          <a:lstStyle/>
          <a:p>
            <a:endParaRPr/>
          </a:p>
        </p:txBody>
      </p:sp>
      <p:sp>
        <p:nvSpPr>
          <p:cNvPr id="1766" name="object 1766"/>
          <p:cNvSpPr/>
          <p:nvPr/>
        </p:nvSpPr>
        <p:spPr>
          <a:xfrm>
            <a:off x="7830870" y="1361297"/>
            <a:ext cx="1612" cy="2220"/>
          </a:xfrm>
          <a:custGeom>
            <a:avLst/>
            <a:gdLst/>
            <a:ahLst/>
            <a:cxnLst/>
            <a:rect l="l" t="t" r="r" b="b"/>
            <a:pathLst>
              <a:path w="1612" h="2220">
                <a:moveTo>
                  <a:pt x="1240" y="0"/>
                </a:moveTo>
                <a:lnTo>
                  <a:pt x="0" y="1233"/>
                </a:lnTo>
                <a:lnTo>
                  <a:pt x="496" y="1974"/>
                </a:lnTo>
                <a:lnTo>
                  <a:pt x="1240" y="2220"/>
                </a:lnTo>
                <a:lnTo>
                  <a:pt x="1612" y="2097"/>
                </a:lnTo>
                <a:lnTo>
                  <a:pt x="1240" y="0"/>
                </a:lnTo>
                <a:close/>
              </a:path>
            </a:pathLst>
          </a:custGeom>
          <a:solidFill>
            <a:srgbClr val="000000"/>
          </a:solidFill>
        </p:spPr>
        <p:txBody>
          <a:bodyPr wrap="square" lIns="0" tIns="0" rIns="0" bIns="0" rtlCol="0">
            <a:noAutofit/>
          </a:bodyPr>
          <a:lstStyle/>
          <a:p>
            <a:endParaRPr/>
          </a:p>
        </p:txBody>
      </p:sp>
      <p:sp>
        <p:nvSpPr>
          <p:cNvPr id="1767" name="object 1767"/>
          <p:cNvSpPr/>
          <p:nvPr/>
        </p:nvSpPr>
        <p:spPr>
          <a:xfrm>
            <a:off x="7813509" y="1361297"/>
            <a:ext cx="18600" cy="3454"/>
          </a:xfrm>
          <a:custGeom>
            <a:avLst/>
            <a:gdLst/>
            <a:ahLst/>
            <a:cxnLst/>
            <a:rect l="l" t="t" r="r" b="b"/>
            <a:pathLst>
              <a:path w="18600" h="3454">
                <a:moveTo>
                  <a:pt x="0" y="2220"/>
                </a:moveTo>
                <a:lnTo>
                  <a:pt x="248" y="2961"/>
                </a:lnTo>
                <a:lnTo>
                  <a:pt x="992" y="3454"/>
                </a:lnTo>
                <a:lnTo>
                  <a:pt x="18600" y="2467"/>
                </a:lnTo>
                <a:lnTo>
                  <a:pt x="18600" y="0"/>
                </a:lnTo>
                <a:lnTo>
                  <a:pt x="992" y="987"/>
                </a:lnTo>
                <a:lnTo>
                  <a:pt x="1240" y="987"/>
                </a:lnTo>
                <a:lnTo>
                  <a:pt x="992" y="987"/>
                </a:lnTo>
                <a:lnTo>
                  <a:pt x="248" y="1480"/>
                </a:lnTo>
                <a:lnTo>
                  <a:pt x="0" y="2220"/>
                </a:lnTo>
                <a:close/>
              </a:path>
            </a:pathLst>
          </a:custGeom>
          <a:solidFill>
            <a:srgbClr val="000000"/>
          </a:solidFill>
        </p:spPr>
        <p:txBody>
          <a:bodyPr wrap="square" lIns="0" tIns="0" rIns="0" bIns="0" rtlCol="0">
            <a:noAutofit/>
          </a:bodyPr>
          <a:lstStyle/>
          <a:p>
            <a:endParaRPr/>
          </a:p>
        </p:txBody>
      </p:sp>
      <p:sp>
        <p:nvSpPr>
          <p:cNvPr id="1768" name="object 1768"/>
          <p:cNvSpPr/>
          <p:nvPr/>
        </p:nvSpPr>
        <p:spPr>
          <a:xfrm>
            <a:off x="7748778" y="1355374"/>
            <a:ext cx="4464" cy="1480"/>
          </a:xfrm>
          <a:custGeom>
            <a:avLst/>
            <a:gdLst/>
            <a:ahLst/>
            <a:cxnLst/>
            <a:rect l="l" t="t" r="r" b="b"/>
            <a:pathLst>
              <a:path w="4464" h="1480">
                <a:moveTo>
                  <a:pt x="1240" y="1480"/>
                </a:moveTo>
                <a:lnTo>
                  <a:pt x="4464" y="0"/>
                </a:lnTo>
                <a:lnTo>
                  <a:pt x="0" y="0"/>
                </a:lnTo>
                <a:lnTo>
                  <a:pt x="1240" y="1480"/>
                </a:lnTo>
                <a:close/>
              </a:path>
            </a:pathLst>
          </a:custGeom>
          <a:solidFill>
            <a:srgbClr val="000000"/>
          </a:solidFill>
        </p:spPr>
        <p:txBody>
          <a:bodyPr wrap="square" lIns="0" tIns="0" rIns="0" bIns="0" rtlCol="0">
            <a:noAutofit/>
          </a:bodyPr>
          <a:lstStyle/>
          <a:p>
            <a:endParaRPr/>
          </a:p>
        </p:txBody>
      </p:sp>
      <p:sp>
        <p:nvSpPr>
          <p:cNvPr id="1769" name="object 1769"/>
          <p:cNvSpPr/>
          <p:nvPr/>
        </p:nvSpPr>
        <p:spPr>
          <a:xfrm>
            <a:off x="7747787" y="1355375"/>
            <a:ext cx="66963" cy="9377"/>
          </a:xfrm>
          <a:custGeom>
            <a:avLst/>
            <a:gdLst/>
            <a:ahLst/>
            <a:cxnLst/>
            <a:rect l="l" t="t" r="r" b="b"/>
            <a:pathLst>
              <a:path w="66963" h="9377">
                <a:moveTo>
                  <a:pt x="992" y="2467"/>
                </a:moveTo>
                <a:lnTo>
                  <a:pt x="5456" y="2467"/>
                </a:lnTo>
                <a:lnTo>
                  <a:pt x="9672" y="2714"/>
                </a:lnTo>
                <a:lnTo>
                  <a:pt x="14136" y="2961"/>
                </a:lnTo>
                <a:lnTo>
                  <a:pt x="18352" y="3208"/>
                </a:lnTo>
                <a:lnTo>
                  <a:pt x="22569" y="3701"/>
                </a:lnTo>
                <a:lnTo>
                  <a:pt x="26785" y="3948"/>
                </a:lnTo>
                <a:lnTo>
                  <a:pt x="30505" y="4441"/>
                </a:lnTo>
                <a:lnTo>
                  <a:pt x="34721" y="5182"/>
                </a:lnTo>
                <a:lnTo>
                  <a:pt x="38689" y="5675"/>
                </a:lnTo>
                <a:lnTo>
                  <a:pt x="42657" y="6169"/>
                </a:lnTo>
                <a:lnTo>
                  <a:pt x="46626" y="6909"/>
                </a:lnTo>
                <a:lnTo>
                  <a:pt x="50594" y="7403"/>
                </a:lnTo>
                <a:lnTo>
                  <a:pt x="54562" y="7896"/>
                </a:lnTo>
                <a:lnTo>
                  <a:pt x="58530" y="8390"/>
                </a:lnTo>
                <a:lnTo>
                  <a:pt x="62498" y="8883"/>
                </a:lnTo>
                <a:lnTo>
                  <a:pt x="66466" y="9377"/>
                </a:lnTo>
                <a:lnTo>
                  <a:pt x="66963" y="6909"/>
                </a:lnTo>
                <a:lnTo>
                  <a:pt x="62994" y="6416"/>
                </a:lnTo>
                <a:lnTo>
                  <a:pt x="59026" y="5922"/>
                </a:lnTo>
                <a:lnTo>
                  <a:pt x="55058" y="5429"/>
                </a:lnTo>
                <a:lnTo>
                  <a:pt x="51090" y="4935"/>
                </a:lnTo>
                <a:lnTo>
                  <a:pt x="47122" y="4441"/>
                </a:lnTo>
                <a:lnTo>
                  <a:pt x="43153" y="3701"/>
                </a:lnTo>
                <a:lnTo>
                  <a:pt x="39185" y="3208"/>
                </a:lnTo>
                <a:lnTo>
                  <a:pt x="35217" y="2714"/>
                </a:lnTo>
                <a:lnTo>
                  <a:pt x="31001" y="1974"/>
                </a:lnTo>
                <a:lnTo>
                  <a:pt x="26785" y="1480"/>
                </a:lnTo>
                <a:lnTo>
                  <a:pt x="22569" y="1233"/>
                </a:lnTo>
                <a:lnTo>
                  <a:pt x="18352" y="740"/>
                </a:lnTo>
                <a:lnTo>
                  <a:pt x="14136" y="493"/>
                </a:lnTo>
                <a:lnTo>
                  <a:pt x="9672" y="246"/>
                </a:lnTo>
                <a:lnTo>
                  <a:pt x="5456" y="0"/>
                </a:lnTo>
                <a:lnTo>
                  <a:pt x="2232" y="1480"/>
                </a:lnTo>
                <a:lnTo>
                  <a:pt x="992" y="0"/>
                </a:lnTo>
                <a:lnTo>
                  <a:pt x="248" y="493"/>
                </a:lnTo>
                <a:lnTo>
                  <a:pt x="0" y="1233"/>
                </a:lnTo>
                <a:lnTo>
                  <a:pt x="248" y="1974"/>
                </a:lnTo>
                <a:lnTo>
                  <a:pt x="992" y="2467"/>
                </a:lnTo>
                <a:close/>
              </a:path>
            </a:pathLst>
          </a:custGeom>
          <a:solidFill>
            <a:srgbClr val="000000"/>
          </a:solidFill>
        </p:spPr>
        <p:txBody>
          <a:bodyPr wrap="square" lIns="0" tIns="0" rIns="0" bIns="0" rtlCol="0">
            <a:noAutofit/>
          </a:bodyPr>
          <a:lstStyle/>
          <a:p>
            <a:endParaRPr/>
          </a:p>
        </p:txBody>
      </p:sp>
      <p:sp>
        <p:nvSpPr>
          <p:cNvPr id="1770" name="object 1770"/>
          <p:cNvSpPr/>
          <p:nvPr/>
        </p:nvSpPr>
        <p:spPr>
          <a:xfrm>
            <a:off x="7747538" y="1254691"/>
            <a:ext cx="20336" cy="102165"/>
          </a:xfrm>
          <a:custGeom>
            <a:avLst/>
            <a:gdLst/>
            <a:ahLst/>
            <a:cxnLst/>
            <a:rect l="l" t="t" r="r" b="b"/>
            <a:pathLst>
              <a:path w="20336" h="102165">
                <a:moveTo>
                  <a:pt x="20088" y="493"/>
                </a:moveTo>
                <a:lnTo>
                  <a:pt x="19344" y="0"/>
                </a:lnTo>
                <a:lnTo>
                  <a:pt x="18848" y="2467"/>
                </a:lnTo>
                <a:lnTo>
                  <a:pt x="17856" y="987"/>
                </a:lnTo>
                <a:lnTo>
                  <a:pt x="0" y="101671"/>
                </a:lnTo>
                <a:lnTo>
                  <a:pt x="2480" y="102165"/>
                </a:lnTo>
                <a:lnTo>
                  <a:pt x="20336" y="1480"/>
                </a:lnTo>
                <a:lnTo>
                  <a:pt x="20088" y="493"/>
                </a:lnTo>
                <a:close/>
              </a:path>
              <a:path w="20336" h="102165">
                <a:moveTo>
                  <a:pt x="19344" y="0"/>
                </a:moveTo>
                <a:lnTo>
                  <a:pt x="18352" y="246"/>
                </a:lnTo>
                <a:lnTo>
                  <a:pt x="17856" y="987"/>
                </a:lnTo>
                <a:lnTo>
                  <a:pt x="18848" y="2467"/>
                </a:lnTo>
                <a:lnTo>
                  <a:pt x="19344" y="0"/>
                </a:lnTo>
                <a:close/>
              </a:path>
            </a:pathLst>
          </a:custGeom>
          <a:solidFill>
            <a:srgbClr val="000000"/>
          </a:solidFill>
        </p:spPr>
        <p:txBody>
          <a:bodyPr wrap="square" lIns="0" tIns="0" rIns="0" bIns="0" rtlCol="0">
            <a:noAutofit/>
          </a:bodyPr>
          <a:lstStyle/>
          <a:p>
            <a:endParaRPr/>
          </a:p>
        </p:txBody>
      </p:sp>
      <p:sp>
        <p:nvSpPr>
          <p:cNvPr id="1771" name="object 1771"/>
          <p:cNvSpPr/>
          <p:nvPr/>
        </p:nvSpPr>
        <p:spPr>
          <a:xfrm>
            <a:off x="7766388" y="1254691"/>
            <a:ext cx="66963" cy="9871"/>
          </a:xfrm>
          <a:custGeom>
            <a:avLst/>
            <a:gdLst/>
            <a:ahLst/>
            <a:cxnLst/>
            <a:rect l="l" t="t" r="r" b="b"/>
            <a:pathLst>
              <a:path w="66963" h="9871">
                <a:moveTo>
                  <a:pt x="65970" y="7403"/>
                </a:moveTo>
                <a:lnTo>
                  <a:pt x="496" y="0"/>
                </a:lnTo>
                <a:lnTo>
                  <a:pt x="0" y="2467"/>
                </a:lnTo>
                <a:lnTo>
                  <a:pt x="65474" y="9871"/>
                </a:lnTo>
                <a:lnTo>
                  <a:pt x="66466" y="9624"/>
                </a:lnTo>
                <a:lnTo>
                  <a:pt x="66963" y="8883"/>
                </a:lnTo>
                <a:lnTo>
                  <a:pt x="66872" y="8524"/>
                </a:lnTo>
                <a:lnTo>
                  <a:pt x="66715" y="7896"/>
                </a:lnTo>
                <a:lnTo>
                  <a:pt x="65970" y="7403"/>
                </a:lnTo>
                <a:lnTo>
                  <a:pt x="64482" y="8637"/>
                </a:lnTo>
                <a:lnTo>
                  <a:pt x="65970" y="7403"/>
                </a:lnTo>
                <a:close/>
              </a:path>
            </a:pathLst>
          </a:custGeom>
          <a:solidFill>
            <a:srgbClr val="000000"/>
          </a:solidFill>
        </p:spPr>
        <p:txBody>
          <a:bodyPr wrap="square" lIns="0" tIns="0" rIns="0" bIns="0" rtlCol="0">
            <a:noAutofit/>
          </a:bodyPr>
          <a:lstStyle/>
          <a:p>
            <a:endParaRPr/>
          </a:p>
        </p:txBody>
      </p:sp>
      <p:sp>
        <p:nvSpPr>
          <p:cNvPr id="1772" name="object 1772"/>
          <p:cNvSpPr/>
          <p:nvPr/>
        </p:nvSpPr>
        <p:spPr>
          <a:xfrm>
            <a:off x="7845751" y="1263820"/>
            <a:ext cx="69939" cy="9130"/>
          </a:xfrm>
          <a:custGeom>
            <a:avLst/>
            <a:gdLst/>
            <a:ahLst/>
            <a:cxnLst/>
            <a:rect l="l" t="t" r="r" b="b"/>
            <a:pathLst>
              <a:path w="69939" h="9130">
                <a:moveTo>
                  <a:pt x="68699" y="6662"/>
                </a:moveTo>
                <a:lnTo>
                  <a:pt x="0" y="0"/>
                </a:lnTo>
                <a:lnTo>
                  <a:pt x="0" y="2467"/>
                </a:lnTo>
                <a:lnTo>
                  <a:pt x="68699" y="9130"/>
                </a:lnTo>
                <a:lnTo>
                  <a:pt x="69443" y="8637"/>
                </a:lnTo>
                <a:lnTo>
                  <a:pt x="69847" y="8033"/>
                </a:lnTo>
                <a:lnTo>
                  <a:pt x="69939" y="7896"/>
                </a:lnTo>
                <a:lnTo>
                  <a:pt x="69443" y="7156"/>
                </a:lnTo>
                <a:lnTo>
                  <a:pt x="68699" y="6662"/>
                </a:lnTo>
                <a:lnTo>
                  <a:pt x="67459" y="7650"/>
                </a:lnTo>
                <a:lnTo>
                  <a:pt x="68699" y="6662"/>
                </a:lnTo>
                <a:close/>
              </a:path>
            </a:pathLst>
          </a:custGeom>
          <a:solidFill>
            <a:srgbClr val="000000"/>
          </a:solidFill>
        </p:spPr>
        <p:txBody>
          <a:bodyPr wrap="square" lIns="0" tIns="0" rIns="0" bIns="0" rtlCol="0">
            <a:noAutofit/>
          </a:bodyPr>
          <a:lstStyle/>
          <a:p>
            <a:endParaRPr/>
          </a:p>
        </p:txBody>
      </p:sp>
      <p:sp>
        <p:nvSpPr>
          <p:cNvPr id="1773" name="object 1773"/>
          <p:cNvSpPr/>
          <p:nvPr/>
        </p:nvSpPr>
        <p:spPr>
          <a:xfrm>
            <a:off x="7899817" y="1271470"/>
            <a:ext cx="15872" cy="72798"/>
          </a:xfrm>
          <a:custGeom>
            <a:avLst/>
            <a:gdLst/>
            <a:ahLst/>
            <a:cxnLst/>
            <a:rect l="l" t="t" r="r" b="b"/>
            <a:pathLst>
              <a:path w="15872" h="72798">
                <a:moveTo>
                  <a:pt x="1240" y="70577"/>
                </a:moveTo>
                <a:lnTo>
                  <a:pt x="13392" y="0"/>
                </a:lnTo>
                <a:lnTo>
                  <a:pt x="0" y="71564"/>
                </a:lnTo>
                <a:lnTo>
                  <a:pt x="248" y="72552"/>
                </a:lnTo>
                <a:lnTo>
                  <a:pt x="1240" y="70577"/>
                </a:lnTo>
                <a:close/>
              </a:path>
              <a:path w="15872" h="72798">
                <a:moveTo>
                  <a:pt x="248" y="72552"/>
                </a:moveTo>
                <a:lnTo>
                  <a:pt x="992" y="72798"/>
                </a:lnTo>
                <a:lnTo>
                  <a:pt x="1984" y="72798"/>
                </a:lnTo>
                <a:lnTo>
                  <a:pt x="2480" y="72058"/>
                </a:lnTo>
                <a:lnTo>
                  <a:pt x="15872" y="493"/>
                </a:lnTo>
                <a:lnTo>
                  <a:pt x="13392" y="0"/>
                </a:lnTo>
                <a:lnTo>
                  <a:pt x="1240" y="70577"/>
                </a:lnTo>
                <a:lnTo>
                  <a:pt x="248" y="72552"/>
                </a:lnTo>
                <a:close/>
              </a:path>
            </a:pathLst>
          </a:custGeom>
          <a:solidFill>
            <a:srgbClr val="000000"/>
          </a:solidFill>
        </p:spPr>
        <p:txBody>
          <a:bodyPr wrap="square" lIns="0" tIns="0" rIns="0" bIns="0" rtlCol="0">
            <a:noAutofit/>
          </a:bodyPr>
          <a:lstStyle/>
          <a:p>
            <a:endParaRPr/>
          </a:p>
        </p:txBody>
      </p:sp>
      <p:sp>
        <p:nvSpPr>
          <p:cNvPr id="1774" name="object 1774"/>
          <p:cNvSpPr/>
          <p:nvPr/>
        </p:nvSpPr>
        <p:spPr>
          <a:xfrm>
            <a:off x="7873776" y="1342049"/>
            <a:ext cx="27281" cy="16533"/>
          </a:xfrm>
          <a:custGeom>
            <a:avLst/>
            <a:gdLst/>
            <a:ahLst/>
            <a:cxnLst/>
            <a:rect l="l" t="t" r="r" b="b"/>
            <a:pathLst>
              <a:path w="27281" h="16533">
                <a:moveTo>
                  <a:pt x="496" y="16287"/>
                </a:moveTo>
                <a:lnTo>
                  <a:pt x="1488" y="16533"/>
                </a:lnTo>
                <a:lnTo>
                  <a:pt x="992" y="14066"/>
                </a:lnTo>
                <a:lnTo>
                  <a:pt x="1488" y="16533"/>
                </a:lnTo>
                <a:lnTo>
                  <a:pt x="2232" y="16040"/>
                </a:lnTo>
                <a:lnTo>
                  <a:pt x="4464" y="13079"/>
                </a:lnTo>
                <a:lnTo>
                  <a:pt x="6200" y="10611"/>
                </a:lnTo>
                <a:lnTo>
                  <a:pt x="8184" y="8143"/>
                </a:lnTo>
                <a:lnTo>
                  <a:pt x="10168" y="6169"/>
                </a:lnTo>
                <a:lnTo>
                  <a:pt x="12648" y="4935"/>
                </a:lnTo>
                <a:lnTo>
                  <a:pt x="16120" y="3454"/>
                </a:lnTo>
                <a:lnTo>
                  <a:pt x="20832" y="2714"/>
                </a:lnTo>
                <a:lnTo>
                  <a:pt x="27281" y="2467"/>
                </a:lnTo>
                <a:lnTo>
                  <a:pt x="27281" y="0"/>
                </a:lnTo>
                <a:lnTo>
                  <a:pt x="20832" y="246"/>
                </a:lnTo>
                <a:lnTo>
                  <a:pt x="15624" y="987"/>
                </a:lnTo>
                <a:lnTo>
                  <a:pt x="11656" y="2467"/>
                </a:lnTo>
                <a:lnTo>
                  <a:pt x="8680" y="4195"/>
                </a:lnTo>
                <a:lnTo>
                  <a:pt x="6200" y="6662"/>
                </a:lnTo>
                <a:lnTo>
                  <a:pt x="4216" y="9130"/>
                </a:lnTo>
                <a:lnTo>
                  <a:pt x="2480" y="11598"/>
                </a:lnTo>
                <a:lnTo>
                  <a:pt x="248" y="14559"/>
                </a:lnTo>
                <a:lnTo>
                  <a:pt x="0" y="15546"/>
                </a:lnTo>
                <a:lnTo>
                  <a:pt x="496" y="16287"/>
                </a:lnTo>
                <a:close/>
              </a:path>
            </a:pathLst>
          </a:custGeom>
          <a:solidFill>
            <a:srgbClr val="000000"/>
          </a:solidFill>
        </p:spPr>
        <p:txBody>
          <a:bodyPr wrap="square" lIns="0" tIns="0" rIns="0" bIns="0" rtlCol="0">
            <a:noAutofit/>
          </a:bodyPr>
          <a:lstStyle/>
          <a:p>
            <a:endParaRPr/>
          </a:p>
        </p:txBody>
      </p:sp>
      <p:sp>
        <p:nvSpPr>
          <p:cNvPr id="1775" name="object 1775"/>
          <p:cNvSpPr/>
          <p:nvPr/>
        </p:nvSpPr>
        <p:spPr>
          <a:xfrm>
            <a:off x="7845999" y="1358582"/>
            <a:ext cx="29265" cy="3454"/>
          </a:xfrm>
          <a:custGeom>
            <a:avLst/>
            <a:gdLst/>
            <a:ahLst/>
            <a:cxnLst/>
            <a:rect l="l" t="t" r="r" b="b"/>
            <a:pathLst>
              <a:path w="29265" h="3454">
                <a:moveTo>
                  <a:pt x="992" y="2220"/>
                </a:moveTo>
                <a:lnTo>
                  <a:pt x="0" y="3454"/>
                </a:lnTo>
                <a:lnTo>
                  <a:pt x="29265" y="0"/>
                </a:lnTo>
                <a:lnTo>
                  <a:pt x="992" y="2220"/>
                </a:lnTo>
                <a:close/>
              </a:path>
            </a:pathLst>
          </a:custGeom>
          <a:solidFill>
            <a:srgbClr val="000000"/>
          </a:solidFill>
        </p:spPr>
        <p:txBody>
          <a:bodyPr wrap="square" lIns="0" tIns="0" rIns="0" bIns="0" rtlCol="0">
            <a:noAutofit/>
          </a:bodyPr>
          <a:lstStyle/>
          <a:p>
            <a:endParaRPr/>
          </a:p>
        </p:txBody>
      </p:sp>
      <p:sp>
        <p:nvSpPr>
          <p:cNvPr id="1776" name="object 1776"/>
          <p:cNvSpPr/>
          <p:nvPr/>
        </p:nvSpPr>
        <p:spPr>
          <a:xfrm>
            <a:off x="7844759" y="1356114"/>
            <a:ext cx="30505" cy="5922"/>
          </a:xfrm>
          <a:custGeom>
            <a:avLst/>
            <a:gdLst/>
            <a:ahLst/>
            <a:cxnLst/>
            <a:rect l="l" t="t" r="r" b="b"/>
            <a:pathLst>
              <a:path w="30505" h="5922">
                <a:moveTo>
                  <a:pt x="30505" y="2467"/>
                </a:moveTo>
                <a:lnTo>
                  <a:pt x="30009" y="0"/>
                </a:lnTo>
                <a:lnTo>
                  <a:pt x="744" y="3454"/>
                </a:lnTo>
                <a:lnTo>
                  <a:pt x="0" y="3948"/>
                </a:lnTo>
                <a:lnTo>
                  <a:pt x="0" y="4935"/>
                </a:lnTo>
                <a:lnTo>
                  <a:pt x="248" y="5675"/>
                </a:lnTo>
                <a:lnTo>
                  <a:pt x="1240" y="5922"/>
                </a:lnTo>
                <a:lnTo>
                  <a:pt x="2232" y="4688"/>
                </a:lnTo>
                <a:lnTo>
                  <a:pt x="30505" y="2467"/>
                </a:lnTo>
                <a:close/>
              </a:path>
            </a:pathLst>
          </a:custGeom>
          <a:solidFill>
            <a:srgbClr val="000000"/>
          </a:solidFill>
        </p:spPr>
        <p:txBody>
          <a:bodyPr wrap="square" lIns="0" tIns="0" rIns="0" bIns="0" rtlCol="0">
            <a:noAutofit/>
          </a:bodyPr>
          <a:lstStyle/>
          <a:p>
            <a:endParaRPr/>
          </a:p>
        </p:txBody>
      </p:sp>
      <p:sp>
        <p:nvSpPr>
          <p:cNvPr id="1777" name="object 1777"/>
          <p:cNvSpPr/>
          <p:nvPr/>
        </p:nvSpPr>
        <p:spPr>
          <a:xfrm>
            <a:off x="7844510" y="1263820"/>
            <a:ext cx="2480" cy="96982"/>
          </a:xfrm>
          <a:custGeom>
            <a:avLst/>
            <a:gdLst/>
            <a:ahLst/>
            <a:cxnLst/>
            <a:rect l="l" t="t" r="r" b="b"/>
            <a:pathLst>
              <a:path w="2480" h="96982">
                <a:moveTo>
                  <a:pt x="1984" y="493"/>
                </a:moveTo>
                <a:lnTo>
                  <a:pt x="1240" y="0"/>
                </a:lnTo>
                <a:lnTo>
                  <a:pt x="1240" y="2467"/>
                </a:lnTo>
                <a:lnTo>
                  <a:pt x="0" y="1233"/>
                </a:lnTo>
                <a:lnTo>
                  <a:pt x="0" y="96982"/>
                </a:lnTo>
                <a:lnTo>
                  <a:pt x="2480" y="96982"/>
                </a:lnTo>
                <a:lnTo>
                  <a:pt x="2480" y="1233"/>
                </a:lnTo>
                <a:lnTo>
                  <a:pt x="1984" y="493"/>
                </a:lnTo>
                <a:close/>
              </a:path>
            </a:pathLst>
          </a:custGeom>
          <a:solidFill>
            <a:srgbClr val="000000"/>
          </a:solidFill>
        </p:spPr>
        <p:txBody>
          <a:bodyPr wrap="square" lIns="0" tIns="0" rIns="0" bIns="0" rtlCol="0">
            <a:noAutofit/>
          </a:bodyPr>
          <a:lstStyle/>
          <a:p>
            <a:endParaRPr/>
          </a:p>
        </p:txBody>
      </p:sp>
      <p:sp>
        <p:nvSpPr>
          <p:cNvPr id="1778" name="object 1778"/>
          <p:cNvSpPr/>
          <p:nvPr/>
        </p:nvSpPr>
        <p:spPr>
          <a:xfrm>
            <a:off x="7844510" y="1263821"/>
            <a:ext cx="1240" cy="2467"/>
          </a:xfrm>
          <a:custGeom>
            <a:avLst/>
            <a:gdLst/>
            <a:ahLst/>
            <a:cxnLst/>
            <a:rect l="l" t="t" r="r" b="b"/>
            <a:pathLst>
              <a:path w="1240" h="2467">
                <a:moveTo>
                  <a:pt x="1240" y="0"/>
                </a:moveTo>
                <a:lnTo>
                  <a:pt x="496" y="493"/>
                </a:lnTo>
                <a:lnTo>
                  <a:pt x="0" y="1233"/>
                </a:lnTo>
                <a:lnTo>
                  <a:pt x="1240" y="2467"/>
                </a:lnTo>
                <a:lnTo>
                  <a:pt x="1240" y="0"/>
                </a:lnTo>
                <a:close/>
              </a:path>
            </a:pathLst>
          </a:custGeom>
          <a:solidFill>
            <a:srgbClr val="000000"/>
          </a:solidFill>
        </p:spPr>
        <p:txBody>
          <a:bodyPr wrap="square" lIns="0" tIns="0" rIns="0" bIns="0" rtlCol="0">
            <a:noAutofit/>
          </a:bodyPr>
          <a:lstStyle/>
          <a:p>
            <a:endParaRPr/>
          </a:p>
        </p:txBody>
      </p:sp>
      <p:sp>
        <p:nvSpPr>
          <p:cNvPr id="1779" name="object 1779"/>
          <p:cNvSpPr/>
          <p:nvPr/>
        </p:nvSpPr>
        <p:spPr>
          <a:xfrm>
            <a:off x="7937266" y="1334399"/>
            <a:ext cx="2480" cy="1727"/>
          </a:xfrm>
          <a:custGeom>
            <a:avLst/>
            <a:gdLst/>
            <a:ahLst/>
            <a:cxnLst/>
            <a:rect l="l" t="t" r="r" b="b"/>
            <a:pathLst>
              <a:path w="2480" h="1727">
                <a:moveTo>
                  <a:pt x="2168" y="1452"/>
                </a:moveTo>
                <a:lnTo>
                  <a:pt x="2480" y="987"/>
                </a:lnTo>
                <a:lnTo>
                  <a:pt x="248" y="0"/>
                </a:lnTo>
                <a:lnTo>
                  <a:pt x="0" y="493"/>
                </a:lnTo>
                <a:lnTo>
                  <a:pt x="248" y="1480"/>
                </a:lnTo>
                <a:lnTo>
                  <a:pt x="992" y="1727"/>
                </a:lnTo>
                <a:lnTo>
                  <a:pt x="1984" y="1727"/>
                </a:lnTo>
                <a:lnTo>
                  <a:pt x="2168" y="1452"/>
                </a:lnTo>
                <a:close/>
              </a:path>
            </a:pathLst>
          </a:custGeom>
          <a:solidFill>
            <a:srgbClr val="000000"/>
          </a:solidFill>
        </p:spPr>
        <p:txBody>
          <a:bodyPr wrap="square" lIns="0" tIns="0" rIns="0" bIns="0" rtlCol="0">
            <a:noAutofit/>
          </a:bodyPr>
          <a:lstStyle/>
          <a:p>
            <a:endParaRPr/>
          </a:p>
        </p:txBody>
      </p:sp>
      <p:sp>
        <p:nvSpPr>
          <p:cNvPr id="1780" name="object 1780"/>
          <p:cNvSpPr/>
          <p:nvPr/>
        </p:nvSpPr>
        <p:spPr>
          <a:xfrm>
            <a:off x="7937266" y="1277393"/>
            <a:ext cx="13392" cy="57992"/>
          </a:xfrm>
          <a:custGeom>
            <a:avLst/>
            <a:gdLst/>
            <a:ahLst/>
            <a:cxnLst/>
            <a:rect l="l" t="t" r="r" b="b"/>
            <a:pathLst>
              <a:path w="13392" h="57992">
                <a:moveTo>
                  <a:pt x="10912" y="0"/>
                </a:moveTo>
                <a:lnTo>
                  <a:pt x="0" y="57498"/>
                </a:lnTo>
                <a:lnTo>
                  <a:pt x="248" y="57005"/>
                </a:lnTo>
                <a:lnTo>
                  <a:pt x="2480" y="57992"/>
                </a:lnTo>
                <a:lnTo>
                  <a:pt x="13392" y="493"/>
                </a:lnTo>
                <a:lnTo>
                  <a:pt x="10912" y="0"/>
                </a:lnTo>
                <a:close/>
              </a:path>
            </a:pathLst>
          </a:custGeom>
          <a:solidFill>
            <a:srgbClr val="000000"/>
          </a:solidFill>
        </p:spPr>
        <p:txBody>
          <a:bodyPr wrap="square" lIns="0" tIns="0" rIns="0" bIns="0" rtlCol="0">
            <a:noAutofit/>
          </a:bodyPr>
          <a:lstStyle/>
          <a:p>
            <a:endParaRPr/>
          </a:p>
        </p:txBody>
      </p:sp>
      <p:sp>
        <p:nvSpPr>
          <p:cNvPr id="1781" name="object 1781"/>
          <p:cNvSpPr/>
          <p:nvPr/>
        </p:nvSpPr>
        <p:spPr>
          <a:xfrm>
            <a:off x="7937515" y="1325268"/>
            <a:ext cx="24553" cy="10611"/>
          </a:xfrm>
          <a:custGeom>
            <a:avLst/>
            <a:gdLst/>
            <a:ahLst/>
            <a:cxnLst/>
            <a:rect l="l" t="t" r="r" b="b"/>
            <a:pathLst>
              <a:path w="24553" h="10611">
                <a:moveTo>
                  <a:pt x="24057" y="1974"/>
                </a:moveTo>
                <a:lnTo>
                  <a:pt x="24553" y="1233"/>
                </a:lnTo>
                <a:lnTo>
                  <a:pt x="24057" y="493"/>
                </a:lnTo>
                <a:lnTo>
                  <a:pt x="23313" y="0"/>
                </a:lnTo>
                <a:lnTo>
                  <a:pt x="20088" y="0"/>
                </a:lnTo>
                <a:lnTo>
                  <a:pt x="16616" y="493"/>
                </a:lnTo>
                <a:lnTo>
                  <a:pt x="13640" y="987"/>
                </a:lnTo>
                <a:lnTo>
                  <a:pt x="10416" y="1727"/>
                </a:lnTo>
                <a:lnTo>
                  <a:pt x="7440" y="3208"/>
                </a:lnTo>
                <a:lnTo>
                  <a:pt x="4712" y="4688"/>
                </a:lnTo>
                <a:lnTo>
                  <a:pt x="2232" y="6662"/>
                </a:lnTo>
                <a:lnTo>
                  <a:pt x="0" y="9130"/>
                </a:lnTo>
                <a:lnTo>
                  <a:pt x="1984" y="10611"/>
                </a:lnTo>
                <a:lnTo>
                  <a:pt x="3720" y="8637"/>
                </a:lnTo>
                <a:lnTo>
                  <a:pt x="6200" y="6662"/>
                </a:lnTo>
                <a:lnTo>
                  <a:pt x="8432" y="5182"/>
                </a:lnTo>
                <a:lnTo>
                  <a:pt x="11408" y="4195"/>
                </a:lnTo>
                <a:lnTo>
                  <a:pt x="14136" y="3454"/>
                </a:lnTo>
                <a:lnTo>
                  <a:pt x="17112" y="2961"/>
                </a:lnTo>
                <a:lnTo>
                  <a:pt x="20088" y="2467"/>
                </a:lnTo>
                <a:lnTo>
                  <a:pt x="23313" y="2467"/>
                </a:lnTo>
                <a:lnTo>
                  <a:pt x="22072" y="1233"/>
                </a:lnTo>
                <a:lnTo>
                  <a:pt x="23313" y="2467"/>
                </a:lnTo>
                <a:lnTo>
                  <a:pt x="24057" y="1974"/>
                </a:lnTo>
                <a:close/>
              </a:path>
            </a:pathLst>
          </a:custGeom>
          <a:solidFill>
            <a:srgbClr val="000000"/>
          </a:solidFill>
        </p:spPr>
        <p:txBody>
          <a:bodyPr wrap="square" lIns="0" tIns="0" rIns="0" bIns="0" rtlCol="0">
            <a:noAutofit/>
          </a:bodyPr>
          <a:lstStyle/>
          <a:p>
            <a:endParaRPr/>
          </a:p>
        </p:txBody>
      </p:sp>
      <p:sp>
        <p:nvSpPr>
          <p:cNvPr id="1782" name="object 1782"/>
          <p:cNvSpPr/>
          <p:nvPr/>
        </p:nvSpPr>
        <p:spPr>
          <a:xfrm>
            <a:off x="7958099" y="1289485"/>
            <a:ext cx="3968" cy="37016"/>
          </a:xfrm>
          <a:custGeom>
            <a:avLst/>
            <a:gdLst/>
            <a:ahLst/>
            <a:cxnLst/>
            <a:rect l="l" t="t" r="r" b="b"/>
            <a:pathLst>
              <a:path w="3968" h="37016">
                <a:moveTo>
                  <a:pt x="0" y="1233"/>
                </a:moveTo>
                <a:lnTo>
                  <a:pt x="1488" y="37016"/>
                </a:lnTo>
                <a:lnTo>
                  <a:pt x="3968" y="37016"/>
                </a:lnTo>
                <a:lnTo>
                  <a:pt x="2480" y="1233"/>
                </a:lnTo>
                <a:lnTo>
                  <a:pt x="1984" y="493"/>
                </a:lnTo>
                <a:lnTo>
                  <a:pt x="1240" y="0"/>
                </a:lnTo>
                <a:lnTo>
                  <a:pt x="496" y="493"/>
                </a:lnTo>
                <a:lnTo>
                  <a:pt x="0" y="1233"/>
                </a:lnTo>
                <a:close/>
              </a:path>
            </a:pathLst>
          </a:custGeom>
          <a:solidFill>
            <a:srgbClr val="000000"/>
          </a:solidFill>
        </p:spPr>
        <p:txBody>
          <a:bodyPr wrap="square" lIns="0" tIns="0" rIns="0" bIns="0" rtlCol="0">
            <a:noAutofit/>
          </a:bodyPr>
          <a:lstStyle/>
          <a:p>
            <a:endParaRPr/>
          </a:p>
        </p:txBody>
      </p:sp>
      <p:sp>
        <p:nvSpPr>
          <p:cNvPr id="1783" name="object 1783"/>
          <p:cNvSpPr/>
          <p:nvPr/>
        </p:nvSpPr>
        <p:spPr>
          <a:xfrm>
            <a:off x="7949419" y="1276406"/>
            <a:ext cx="2728" cy="1480"/>
          </a:xfrm>
          <a:custGeom>
            <a:avLst/>
            <a:gdLst/>
            <a:ahLst/>
            <a:cxnLst/>
            <a:rect l="l" t="t" r="r" b="b"/>
            <a:pathLst>
              <a:path w="2728" h="1480">
                <a:moveTo>
                  <a:pt x="0" y="0"/>
                </a:moveTo>
                <a:lnTo>
                  <a:pt x="1240" y="1480"/>
                </a:lnTo>
                <a:lnTo>
                  <a:pt x="2728" y="246"/>
                </a:lnTo>
                <a:lnTo>
                  <a:pt x="0" y="0"/>
                </a:lnTo>
                <a:close/>
              </a:path>
            </a:pathLst>
          </a:custGeom>
          <a:solidFill>
            <a:srgbClr val="000000"/>
          </a:solidFill>
        </p:spPr>
        <p:txBody>
          <a:bodyPr wrap="square" lIns="0" tIns="0" rIns="0" bIns="0" rtlCol="0">
            <a:noAutofit/>
          </a:bodyPr>
          <a:lstStyle/>
          <a:p>
            <a:endParaRPr/>
          </a:p>
        </p:txBody>
      </p:sp>
      <p:sp>
        <p:nvSpPr>
          <p:cNvPr id="1784" name="object 1784"/>
          <p:cNvSpPr/>
          <p:nvPr/>
        </p:nvSpPr>
        <p:spPr>
          <a:xfrm>
            <a:off x="7948427" y="1276406"/>
            <a:ext cx="12152" cy="14312"/>
          </a:xfrm>
          <a:custGeom>
            <a:avLst/>
            <a:gdLst/>
            <a:ahLst/>
            <a:cxnLst/>
            <a:rect l="l" t="t" r="r" b="b"/>
            <a:pathLst>
              <a:path w="12152" h="14312">
                <a:moveTo>
                  <a:pt x="202" y="628"/>
                </a:moveTo>
                <a:lnTo>
                  <a:pt x="0" y="1233"/>
                </a:lnTo>
                <a:lnTo>
                  <a:pt x="248" y="1974"/>
                </a:lnTo>
                <a:lnTo>
                  <a:pt x="992" y="2467"/>
                </a:lnTo>
                <a:lnTo>
                  <a:pt x="3224" y="2714"/>
                </a:lnTo>
                <a:lnTo>
                  <a:pt x="4960" y="3208"/>
                </a:lnTo>
                <a:lnTo>
                  <a:pt x="6200" y="4195"/>
                </a:lnTo>
                <a:lnTo>
                  <a:pt x="7440" y="5429"/>
                </a:lnTo>
                <a:lnTo>
                  <a:pt x="8184" y="7156"/>
                </a:lnTo>
                <a:lnTo>
                  <a:pt x="8928" y="9130"/>
                </a:lnTo>
                <a:lnTo>
                  <a:pt x="9424" y="11598"/>
                </a:lnTo>
                <a:lnTo>
                  <a:pt x="9672" y="14312"/>
                </a:lnTo>
                <a:lnTo>
                  <a:pt x="12152" y="14312"/>
                </a:lnTo>
                <a:lnTo>
                  <a:pt x="11904" y="11104"/>
                </a:lnTo>
                <a:lnTo>
                  <a:pt x="11408" y="8637"/>
                </a:lnTo>
                <a:lnTo>
                  <a:pt x="10664" y="6169"/>
                </a:lnTo>
                <a:lnTo>
                  <a:pt x="9424" y="3948"/>
                </a:lnTo>
                <a:lnTo>
                  <a:pt x="7688" y="2220"/>
                </a:lnTo>
                <a:lnTo>
                  <a:pt x="5952" y="1233"/>
                </a:lnTo>
                <a:lnTo>
                  <a:pt x="3720" y="246"/>
                </a:lnTo>
                <a:lnTo>
                  <a:pt x="2232" y="1480"/>
                </a:lnTo>
                <a:lnTo>
                  <a:pt x="992" y="0"/>
                </a:lnTo>
                <a:lnTo>
                  <a:pt x="248" y="493"/>
                </a:lnTo>
                <a:lnTo>
                  <a:pt x="202" y="628"/>
                </a:lnTo>
                <a:close/>
              </a:path>
            </a:pathLst>
          </a:custGeom>
          <a:solidFill>
            <a:srgbClr val="000000"/>
          </a:solidFill>
        </p:spPr>
        <p:txBody>
          <a:bodyPr wrap="square" lIns="0" tIns="0" rIns="0" bIns="0" rtlCol="0">
            <a:noAutofit/>
          </a:bodyPr>
          <a:lstStyle/>
          <a:p>
            <a:endParaRPr/>
          </a:p>
        </p:txBody>
      </p:sp>
      <p:sp>
        <p:nvSpPr>
          <p:cNvPr id="1785" name="object 1785"/>
          <p:cNvSpPr/>
          <p:nvPr/>
        </p:nvSpPr>
        <p:spPr>
          <a:xfrm>
            <a:off x="8201151" y="1199906"/>
            <a:ext cx="27281" cy="151767"/>
          </a:xfrm>
          <a:custGeom>
            <a:avLst/>
            <a:gdLst/>
            <a:ahLst/>
            <a:cxnLst/>
            <a:rect l="l" t="t" r="r" b="b"/>
            <a:pathLst>
              <a:path w="27281" h="151767">
                <a:moveTo>
                  <a:pt x="0" y="150533"/>
                </a:moveTo>
                <a:lnTo>
                  <a:pt x="248" y="151520"/>
                </a:lnTo>
                <a:lnTo>
                  <a:pt x="992" y="151767"/>
                </a:lnTo>
                <a:lnTo>
                  <a:pt x="1984" y="151767"/>
                </a:lnTo>
                <a:lnTo>
                  <a:pt x="2480" y="151026"/>
                </a:lnTo>
                <a:lnTo>
                  <a:pt x="2232" y="150039"/>
                </a:lnTo>
                <a:lnTo>
                  <a:pt x="24801" y="0"/>
                </a:lnTo>
                <a:lnTo>
                  <a:pt x="0" y="150533"/>
                </a:lnTo>
                <a:close/>
              </a:path>
              <a:path w="27281" h="151767">
                <a:moveTo>
                  <a:pt x="24801" y="0"/>
                </a:moveTo>
                <a:lnTo>
                  <a:pt x="2232" y="150039"/>
                </a:lnTo>
                <a:lnTo>
                  <a:pt x="2480" y="151026"/>
                </a:lnTo>
                <a:lnTo>
                  <a:pt x="27281" y="493"/>
                </a:lnTo>
                <a:lnTo>
                  <a:pt x="24801" y="0"/>
                </a:lnTo>
                <a:close/>
              </a:path>
            </a:pathLst>
          </a:custGeom>
          <a:solidFill>
            <a:srgbClr val="000000"/>
          </a:solidFill>
        </p:spPr>
        <p:txBody>
          <a:bodyPr wrap="square" lIns="0" tIns="0" rIns="0" bIns="0" rtlCol="0">
            <a:noAutofit/>
          </a:bodyPr>
          <a:lstStyle/>
          <a:p>
            <a:endParaRPr/>
          </a:p>
        </p:txBody>
      </p:sp>
      <p:sp>
        <p:nvSpPr>
          <p:cNvPr id="1786" name="object 1786"/>
          <p:cNvSpPr/>
          <p:nvPr/>
        </p:nvSpPr>
        <p:spPr>
          <a:xfrm>
            <a:off x="8201398" y="1349946"/>
            <a:ext cx="16864" cy="21469"/>
          </a:xfrm>
          <a:custGeom>
            <a:avLst/>
            <a:gdLst/>
            <a:ahLst/>
            <a:cxnLst/>
            <a:rect l="l" t="t" r="r" b="b"/>
            <a:pathLst>
              <a:path w="16864" h="21469">
                <a:moveTo>
                  <a:pt x="16616" y="19495"/>
                </a:moveTo>
                <a:lnTo>
                  <a:pt x="1984" y="0"/>
                </a:lnTo>
                <a:lnTo>
                  <a:pt x="0" y="1480"/>
                </a:lnTo>
                <a:lnTo>
                  <a:pt x="14632" y="20975"/>
                </a:lnTo>
                <a:lnTo>
                  <a:pt x="15624" y="21469"/>
                </a:lnTo>
                <a:lnTo>
                  <a:pt x="16368" y="21222"/>
                </a:lnTo>
                <a:lnTo>
                  <a:pt x="16864" y="20482"/>
                </a:lnTo>
                <a:lnTo>
                  <a:pt x="16616" y="19495"/>
                </a:lnTo>
                <a:lnTo>
                  <a:pt x="14384" y="20235"/>
                </a:lnTo>
                <a:lnTo>
                  <a:pt x="16616" y="19495"/>
                </a:lnTo>
                <a:close/>
              </a:path>
            </a:pathLst>
          </a:custGeom>
          <a:solidFill>
            <a:srgbClr val="000000"/>
          </a:solidFill>
        </p:spPr>
        <p:txBody>
          <a:bodyPr wrap="square" lIns="0" tIns="0" rIns="0" bIns="0" rtlCol="0">
            <a:noAutofit/>
          </a:bodyPr>
          <a:lstStyle/>
          <a:p>
            <a:endParaRPr/>
          </a:p>
        </p:txBody>
      </p:sp>
      <p:sp>
        <p:nvSpPr>
          <p:cNvPr id="1787" name="object 1787"/>
          <p:cNvSpPr/>
          <p:nvPr/>
        </p:nvSpPr>
        <p:spPr>
          <a:xfrm>
            <a:off x="8215783" y="1370181"/>
            <a:ext cx="2480" cy="184588"/>
          </a:xfrm>
          <a:custGeom>
            <a:avLst/>
            <a:gdLst/>
            <a:ahLst/>
            <a:cxnLst/>
            <a:rect l="l" t="t" r="r" b="b"/>
            <a:pathLst>
              <a:path w="2480" h="184588">
                <a:moveTo>
                  <a:pt x="2480" y="183601"/>
                </a:moveTo>
                <a:lnTo>
                  <a:pt x="2480" y="0"/>
                </a:lnTo>
                <a:lnTo>
                  <a:pt x="0" y="0"/>
                </a:lnTo>
                <a:lnTo>
                  <a:pt x="0" y="183601"/>
                </a:lnTo>
                <a:lnTo>
                  <a:pt x="496" y="184341"/>
                </a:lnTo>
                <a:lnTo>
                  <a:pt x="1240" y="184588"/>
                </a:lnTo>
                <a:lnTo>
                  <a:pt x="1984" y="184341"/>
                </a:lnTo>
                <a:lnTo>
                  <a:pt x="2480" y="183601"/>
                </a:lnTo>
                <a:close/>
              </a:path>
            </a:pathLst>
          </a:custGeom>
          <a:solidFill>
            <a:srgbClr val="000000"/>
          </a:solidFill>
        </p:spPr>
        <p:txBody>
          <a:bodyPr wrap="square" lIns="0" tIns="0" rIns="0" bIns="0" rtlCol="0">
            <a:noAutofit/>
          </a:bodyPr>
          <a:lstStyle/>
          <a:p>
            <a:endParaRPr/>
          </a:p>
        </p:txBody>
      </p:sp>
      <p:sp>
        <p:nvSpPr>
          <p:cNvPr id="1788" name="object 1788"/>
          <p:cNvSpPr/>
          <p:nvPr/>
        </p:nvSpPr>
        <p:spPr>
          <a:xfrm>
            <a:off x="8215784" y="1553783"/>
            <a:ext cx="30009" cy="23443"/>
          </a:xfrm>
          <a:custGeom>
            <a:avLst/>
            <a:gdLst/>
            <a:ahLst/>
            <a:cxnLst/>
            <a:rect l="l" t="t" r="r" b="b"/>
            <a:pathLst>
              <a:path w="30009" h="23443">
                <a:moveTo>
                  <a:pt x="30009" y="22209"/>
                </a:moveTo>
                <a:lnTo>
                  <a:pt x="29513" y="21469"/>
                </a:lnTo>
                <a:lnTo>
                  <a:pt x="28769" y="20975"/>
                </a:lnTo>
                <a:lnTo>
                  <a:pt x="22569" y="20482"/>
                </a:lnTo>
                <a:lnTo>
                  <a:pt x="16864" y="19495"/>
                </a:lnTo>
                <a:lnTo>
                  <a:pt x="12400" y="18014"/>
                </a:lnTo>
                <a:lnTo>
                  <a:pt x="8928" y="16040"/>
                </a:lnTo>
                <a:lnTo>
                  <a:pt x="6200" y="13325"/>
                </a:lnTo>
                <a:lnTo>
                  <a:pt x="4216" y="9624"/>
                </a:lnTo>
                <a:lnTo>
                  <a:pt x="2976" y="5429"/>
                </a:lnTo>
                <a:lnTo>
                  <a:pt x="2480" y="0"/>
                </a:lnTo>
                <a:lnTo>
                  <a:pt x="0" y="0"/>
                </a:lnTo>
                <a:lnTo>
                  <a:pt x="496" y="5922"/>
                </a:lnTo>
                <a:lnTo>
                  <a:pt x="1736" y="10611"/>
                </a:lnTo>
                <a:lnTo>
                  <a:pt x="4216" y="14806"/>
                </a:lnTo>
                <a:lnTo>
                  <a:pt x="7440" y="18014"/>
                </a:lnTo>
                <a:lnTo>
                  <a:pt x="11408" y="20482"/>
                </a:lnTo>
                <a:lnTo>
                  <a:pt x="16368" y="21963"/>
                </a:lnTo>
                <a:lnTo>
                  <a:pt x="22072" y="22950"/>
                </a:lnTo>
                <a:lnTo>
                  <a:pt x="28769" y="23443"/>
                </a:lnTo>
                <a:lnTo>
                  <a:pt x="29513" y="22950"/>
                </a:lnTo>
                <a:lnTo>
                  <a:pt x="30009" y="22209"/>
                </a:lnTo>
                <a:close/>
              </a:path>
            </a:pathLst>
          </a:custGeom>
          <a:solidFill>
            <a:srgbClr val="000000"/>
          </a:solidFill>
        </p:spPr>
        <p:txBody>
          <a:bodyPr wrap="square" lIns="0" tIns="0" rIns="0" bIns="0" rtlCol="0">
            <a:noAutofit/>
          </a:bodyPr>
          <a:lstStyle/>
          <a:p>
            <a:endParaRPr/>
          </a:p>
        </p:txBody>
      </p:sp>
      <p:sp>
        <p:nvSpPr>
          <p:cNvPr id="1789" name="object 1789"/>
          <p:cNvSpPr/>
          <p:nvPr/>
        </p:nvSpPr>
        <p:spPr>
          <a:xfrm>
            <a:off x="8244553" y="1574759"/>
            <a:ext cx="115077" cy="4935"/>
          </a:xfrm>
          <a:custGeom>
            <a:avLst/>
            <a:gdLst/>
            <a:ahLst/>
            <a:cxnLst/>
            <a:rect l="l" t="t" r="r" b="b"/>
            <a:pathLst>
              <a:path w="115077" h="4935">
                <a:moveTo>
                  <a:pt x="113837" y="2467"/>
                </a:moveTo>
                <a:lnTo>
                  <a:pt x="0" y="0"/>
                </a:lnTo>
                <a:lnTo>
                  <a:pt x="0" y="2467"/>
                </a:lnTo>
                <a:lnTo>
                  <a:pt x="113837" y="4935"/>
                </a:lnTo>
                <a:lnTo>
                  <a:pt x="114581" y="4441"/>
                </a:lnTo>
                <a:lnTo>
                  <a:pt x="115077" y="3701"/>
                </a:lnTo>
                <a:lnTo>
                  <a:pt x="114581" y="2961"/>
                </a:lnTo>
                <a:lnTo>
                  <a:pt x="113837" y="2467"/>
                </a:lnTo>
                <a:close/>
              </a:path>
            </a:pathLst>
          </a:custGeom>
          <a:solidFill>
            <a:srgbClr val="000000"/>
          </a:solidFill>
        </p:spPr>
        <p:txBody>
          <a:bodyPr wrap="square" lIns="0" tIns="0" rIns="0" bIns="0" rtlCol="0">
            <a:noAutofit/>
          </a:bodyPr>
          <a:lstStyle/>
          <a:p>
            <a:endParaRPr/>
          </a:p>
        </p:txBody>
      </p:sp>
      <p:sp>
        <p:nvSpPr>
          <p:cNvPr id="1790" name="object 1790"/>
          <p:cNvSpPr/>
          <p:nvPr/>
        </p:nvSpPr>
        <p:spPr>
          <a:xfrm>
            <a:off x="8358390" y="1550081"/>
            <a:ext cx="25049" cy="29613"/>
          </a:xfrm>
          <a:custGeom>
            <a:avLst/>
            <a:gdLst/>
            <a:ahLst/>
            <a:cxnLst/>
            <a:rect l="l" t="t" r="r" b="b"/>
            <a:pathLst>
              <a:path w="25049" h="29613">
                <a:moveTo>
                  <a:pt x="5704" y="26651"/>
                </a:moveTo>
                <a:lnTo>
                  <a:pt x="0" y="27145"/>
                </a:lnTo>
                <a:lnTo>
                  <a:pt x="0" y="29613"/>
                </a:lnTo>
                <a:lnTo>
                  <a:pt x="6200" y="29119"/>
                </a:lnTo>
                <a:lnTo>
                  <a:pt x="11656" y="28132"/>
                </a:lnTo>
                <a:lnTo>
                  <a:pt x="15872" y="25664"/>
                </a:lnTo>
                <a:lnTo>
                  <a:pt x="19344" y="22703"/>
                </a:lnTo>
                <a:lnTo>
                  <a:pt x="21824" y="18754"/>
                </a:lnTo>
                <a:lnTo>
                  <a:pt x="23809" y="13819"/>
                </a:lnTo>
                <a:lnTo>
                  <a:pt x="24801" y="7896"/>
                </a:lnTo>
                <a:lnTo>
                  <a:pt x="25049" y="1233"/>
                </a:lnTo>
                <a:lnTo>
                  <a:pt x="24553" y="493"/>
                </a:lnTo>
                <a:lnTo>
                  <a:pt x="23809" y="0"/>
                </a:lnTo>
                <a:lnTo>
                  <a:pt x="23065" y="493"/>
                </a:lnTo>
                <a:lnTo>
                  <a:pt x="22569" y="1233"/>
                </a:lnTo>
                <a:lnTo>
                  <a:pt x="22321" y="7896"/>
                </a:lnTo>
                <a:lnTo>
                  <a:pt x="21328" y="13325"/>
                </a:lnTo>
                <a:lnTo>
                  <a:pt x="19840" y="17767"/>
                </a:lnTo>
                <a:lnTo>
                  <a:pt x="17360" y="21222"/>
                </a:lnTo>
                <a:lnTo>
                  <a:pt x="14384" y="23690"/>
                </a:lnTo>
                <a:lnTo>
                  <a:pt x="10664" y="25664"/>
                </a:lnTo>
                <a:lnTo>
                  <a:pt x="5704" y="26651"/>
                </a:lnTo>
                <a:close/>
              </a:path>
            </a:pathLst>
          </a:custGeom>
          <a:solidFill>
            <a:srgbClr val="000000"/>
          </a:solidFill>
        </p:spPr>
        <p:txBody>
          <a:bodyPr wrap="square" lIns="0" tIns="0" rIns="0" bIns="0" rtlCol="0">
            <a:noAutofit/>
          </a:bodyPr>
          <a:lstStyle/>
          <a:p>
            <a:endParaRPr/>
          </a:p>
        </p:txBody>
      </p:sp>
      <p:sp>
        <p:nvSpPr>
          <p:cNvPr id="1791" name="object 1791"/>
          <p:cNvSpPr/>
          <p:nvPr/>
        </p:nvSpPr>
        <p:spPr>
          <a:xfrm>
            <a:off x="8380710" y="1390169"/>
            <a:ext cx="2728" cy="161144"/>
          </a:xfrm>
          <a:custGeom>
            <a:avLst/>
            <a:gdLst/>
            <a:ahLst/>
            <a:cxnLst/>
            <a:rect l="l" t="t" r="r" b="b"/>
            <a:pathLst>
              <a:path w="2728" h="161144">
                <a:moveTo>
                  <a:pt x="2728" y="161144"/>
                </a:moveTo>
                <a:lnTo>
                  <a:pt x="2480" y="1233"/>
                </a:lnTo>
                <a:lnTo>
                  <a:pt x="1984" y="493"/>
                </a:lnTo>
                <a:lnTo>
                  <a:pt x="1240" y="0"/>
                </a:lnTo>
                <a:lnTo>
                  <a:pt x="496" y="493"/>
                </a:lnTo>
                <a:lnTo>
                  <a:pt x="0" y="1233"/>
                </a:lnTo>
                <a:lnTo>
                  <a:pt x="248" y="161144"/>
                </a:lnTo>
                <a:lnTo>
                  <a:pt x="2728" y="161144"/>
                </a:lnTo>
                <a:close/>
              </a:path>
            </a:pathLst>
          </a:custGeom>
          <a:solidFill>
            <a:srgbClr val="000000"/>
          </a:solidFill>
        </p:spPr>
        <p:txBody>
          <a:bodyPr wrap="square" lIns="0" tIns="0" rIns="0" bIns="0" rtlCol="0">
            <a:noAutofit/>
          </a:bodyPr>
          <a:lstStyle/>
          <a:p>
            <a:endParaRPr/>
          </a:p>
        </p:txBody>
      </p:sp>
      <p:sp>
        <p:nvSpPr>
          <p:cNvPr id="1792" name="object 1792"/>
          <p:cNvSpPr/>
          <p:nvPr/>
        </p:nvSpPr>
        <p:spPr>
          <a:xfrm>
            <a:off x="8373766" y="1372155"/>
            <a:ext cx="9424" cy="19742"/>
          </a:xfrm>
          <a:custGeom>
            <a:avLst/>
            <a:gdLst/>
            <a:ahLst/>
            <a:cxnLst/>
            <a:rect l="l" t="t" r="r" b="b"/>
            <a:pathLst>
              <a:path w="9424" h="19742">
                <a:moveTo>
                  <a:pt x="6944" y="19742"/>
                </a:moveTo>
                <a:lnTo>
                  <a:pt x="9424" y="18754"/>
                </a:lnTo>
                <a:lnTo>
                  <a:pt x="2480" y="740"/>
                </a:lnTo>
                <a:lnTo>
                  <a:pt x="2480" y="1233"/>
                </a:lnTo>
                <a:lnTo>
                  <a:pt x="1736" y="0"/>
                </a:lnTo>
                <a:lnTo>
                  <a:pt x="992" y="0"/>
                </a:lnTo>
                <a:lnTo>
                  <a:pt x="0" y="740"/>
                </a:lnTo>
                <a:lnTo>
                  <a:pt x="0" y="1727"/>
                </a:lnTo>
                <a:lnTo>
                  <a:pt x="6944" y="19742"/>
                </a:lnTo>
                <a:close/>
              </a:path>
            </a:pathLst>
          </a:custGeom>
          <a:solidFill>
            <a:srgbClr val="000000"/>
          </a:solidFill>
        </p:spPr>
        <p:txBody>
          <a:bodyPr wrap="square" lIns="0" tIns="0" rIns="0" bIns="0" rtlCol="0">
            <a:noAutofit/>
          </a:bodyPr>
          <a:lstStyle/>
          <a:p>
            <a:endParaRPr/>
          </a:p>
        </p:txBody>
      </p:sp>
      <p:sp>
        <p:nvSpPr>
          <p:cNvPr id="1793" name="object 1793"/>
          <p:cNvSpPr/>
          <p:nvPr/>
        </p:nvSpPr>
        <p:spPr>
          <a:xfrm>
            <a:off x="8375502" y="1372156"/>
            <a:ext cx="744" cy="1233"/>
          </a:xfrm>
          <a:custGeom>
            <a:avLst/>
            <a:gdLst/>
            <a:ahLst/>
            <a:cxnLst/>
            <a:rect l="l" t="t" r="r" b="b"/>
            <a:pathLst>
              <a:path w="744" h="1233">
                <a:moveTo>
                  <a:pt x="744" y="740"/>
                </a:moveTo>
                <a:lnTo>
                  <a:pt x="0" y="0"/>
                </a:lnTo>
                <a:lnTo>
                  <a:pt x="744" y="1233"/>
                </a:lnTo>
                <a:lnTo>
                  <a:pt x="744" y="740"/>
                </a:lnTo>
                <a:close/>
              </a:path>
            </a:pathLst>
          </a:custGeom>
          <a:solidFill>
            <a:srgbClr val="000000"/>
          </a:solidFill>
        </p:spPr>
        <p:txBody>
          <a:bodyPr wrap="square" lIns="0" tIns="0" rIns="0" bIns="0" rtlCol="0">
            <a:noAutofit/>
          </a:bodyPr>
          <a:lstStyle/>
          <a:p>
            <a:endParaRPr/>
          </a:p>
        </p:txBody>
      </p:sp>
      <p:sp>
        <p:nvSpPr>
          <p:cNvPr id="1794" name="object 1794"/>
          <p:cNvSpPr/>
          <p:nvPr/>
        </p:nvSpPr>
        <p:spPr>
          <a:xfrm>
            <a:off x="8373766" y="1226310"/>
            <a:ext cx="2480" cy="147078"/>
          </a:xfrm>
          <a:custGeom>
            <a:avLst/>
            <a:gdLst/>
            <a:ahLst/>
            <a:cxnLst/>
            <a:rect l="l" t="t" r="r" b="b"/>
            <a:pathLst>
              <a:path w="2480" h="147078">
                <a:moveTo>
                  <a:pt x="0" y="1233"/>
                </a:moveTo>
                <a:lnTo>
                  <a:pt x="0" y="147078"/>
                </a:lnTo>
                <a:lnTo>
                  <a:pt x="2480" y="147078"/>
                </a:lnTo>
                <a:lnTo>
                  <a:pt x="2480" y="1233"/>
                </a:lnTo>
                <a:lnTo>
                  <a:pt x="1984" y="493"/>
                </a:lnTo>
                <a:lnTo>
                  <a:pt x="1240" y="0"/>
                </a:lnTo>
                <a:lnTo>
                  <a:pt x="496" y="493"/>
                </a:lnTo>
                <a:lnTo>
                  <a:pt x="0" y="1233"/>
                </a:lnTo>
                <a:close/>
              </a:path>
            </a:pathLst>
          </a:custGeom>
          <a:solidFill>
            <a:srgbClr val="000000"/>
          </a:solidFill>
        </p:spPr>
        <p:txBody>
          <a:bodyPr wrap="square" lIns="0" tIns="0" rIns="0" bIns="0" rtlCol="0">
            <a:noAutofit/>
          </a:bodyPr>
          <a:lstStyle/>
          <a:p>
            <a:endParaRPr/>
          </a:p>
        </p:txBody>
      </p:sp>
      <p:sp>
        <p:nvSpPr>
          <p:cNvPr id="1795" name="object 1795"/>
          <p:cNvSpPr/>
          <p:nvPr/>
        </p:nvSpPr>
        <p:spPr>
          <a:xfrm>
            <a:off x="8359629" y="1205582"/>
            <a:ext cx="16616" cy="21963"/>
          </a:xfrm>
          <a:custGeom>
            <a:avLst/>
            <a:gdLst/>
            <a:ahLst/>
            <a:cxnLst/>
            <a:rect l="l" t="t" r="r" b="b"/>
            <a:pathLst>
              <a:path w="16616" h="21963">
                <a:moveTo>
                  <a:pt x="248" y="246"/>
                </a:moveTo>
                <a:lnTo>
                  <a:pt x="0" y="987"/>
                </a:lnTo>
                <a:lnTo>
                  <a:pt x="0" y="1974"/>
                </a:lnTo>
                <a:lnTo>
                  <a:pt x="744" y="2467"/>
                </a:lnTo>
                <a:lnTo>
                  <a:pt x="4216" y="3208"/>
                </a:lnTo>
                <a:lnTo>
                  <a:pt x="6944" y="4195"/>
                </a:lnTo>
                <a:lnTo>
                  <a:pt x="9176" y="5922"/>
                </a:lnTo>
                <a:lnTo>
                  <a:pt x="10912" y="7650"/>
                </a:lnTo>
                <a:lnTo>
                  <a:pt x="12152" y="10117"/>
                </a:lnTo>
                <a:lnTo>
                  <a:pt x="13392" y="13079"/>
                </a:lnTo>
                <a:lnTo>
                  <a:pt x="13888" y="17027"/>
                </a:lnTo>
                <a:lnTo>
                  <a:pt x="14136" y="21963"/>
                </a:lnTo>
                <a:lnTo>
                  <a:pt x="16616" y="21963"/>
                </a:lnTo>
                <a:lnTo>
                  <a:pt x="16368" y="17027"/>
                </a:lnTo>
                <a:lnTo>
                  <a:pt x="15872" y="12585"/>
                </a:lnTo>
                <a:lnTo>
                  <a:pt x="14632" y="9130"/>
                </a:lnTo>
                <a:lnTo>
                  <a:pt x="12896" y="6169"/>
                </a:lnTo>
                <a:lnTo>
                  <a:pt x="10664" y="3948"/>
                </a:lnTo>
                <a:lnTo>
                  <a:pt x="7936" y="2220"/>
                </a:lnTo>
                <a:lnTo>
                  <a:pt x="4712" y="740"/>
                </a:lnTo>
                <a:lnTo>
                  <a:pt x="1240" y="0"/>
                </a:lnTo>
                <a:lnTo>
                  <a:pt x="248" y="246"/>
                </a:lnTo>
                <a:close/>
              </a:path>
            </a:pathLst>
          </a:custGeom>
          <a:solidFill>
            <a:srgbClr val="000000"/>
          </a:solidFill>
        </p:spPr>
        <p:txBody>
          <a:bodyPr wrap="square" lIns="0" tIns="0" rIns="0" bIns="0" rtlCol="0">
            <a:noAutofit/>
          </a:bodyPr>
          <a:lstStyle/>
          <a:p>
            <a:endParaRPr/>
          </a:p>
        </p:txBody>
      </p:sp>
      <p:sp>
        <p:nvSpPr>
          <p:cNvPr id="1796" name="object 1796"/>
          <p:cNvSpPr/>
          <p:nvPr/>
        </p:nvSpPr>
        <p:spPr>
          <a:xfrm>
            <a:off x="8248769" y="1183865"/>
            <a:ext cx="112101" cy="24184"/>
          </a:xfrm>
          <a:custGeom>
            <a:avLst/>
            <a:gdLst/>
            <a:ahLst/>
            <a:cxnLst/>
            <a:rect l="l" t="t" r="r" b="b"/>
            <a:pathLst>
              <a:path w="112101" h="24184">
                <a:moveTo>
                  <a:pt x="744" y="2467"/>
                </a:moveTo>
                <a:lnTo>
                  <a:pt x="111605" y="24184"/>
                </a:lnTo>
                <a:lnTo>
                  <a:pt x="112101" y="21716"/>
                </a:lnTo>
                <a:lnTo>
                  <a:pt x="1240" y="0"/>
                </a:lnTo>
                <a:lnTo>
                  <a:pt x="248" y="246"/>
                </a:lnTo>
                <a:lnTo>
                  <a:pt x="0" y="987"/>
                </a:lnTo>
                <a:lnTo>
                  <a:pt x="0" y="1974"/>
                </a:lnTo>
                <a:lnTo>
                  <a:pt x="744" y="2467"/>
                </a:lnTo>
                <a:close/>
              </a:path>
            </a:pathLst>
          </a:custGeom>
          <a:solidFill>
            <a:srgbClr val="000000"/>
          </a:solidFill>
        </p:spPr>
        <p:txBody>
          <a:bodyPr wrap="square" lIns="0" tIns="0" rIns="0" bIns="0" rtlCol="0">
            <a:noAutofit/>
          </a:bodyPr>
          <a:lstStyle/>
          <a:p>
            <a:endParaRPr/>
          </a:p>
        </p:txBody>
      </p:sp>
      <p:sp>
        <p:nvSpPr>
          <p:cNvPr id="1797" name="object 1797"/>
          <p:cNvSpPr/>
          <p:nvPr/>
        </p:nvSpPr>
        <p:spPr>
          <a:xfrm>
            <a:off x="8225952" y="1183372"/>
            <a:ext cx="24057" cy="17767"/>
          </a:xfrm>
          <a:custGeom>
            <a:avLst/>
            <a:gdLst/>
            <a:ahLst/>
            <a:cxnLst/>
            <a:rect l="l" t="t" r="r" b="b"/>
            <a:pathLst>
              <a:path w="24057" h="17767">
                <a:moveTo>
                  <a:pt x="3224" y="8390"/>
                </a:moveTo>
                <a:lnTo>
                  <a:pt x="1240" y="12092"/>
                </a:lnTo>
                <a:lnTo>
                  <a:pt x="0" y="16533"/>
                </a:lnTo>
                <a:lnTo>
                  <a:pt x="248" y="17521"/>
                </a:lnTo>
                <a:lnTo>
                  <a:pt x="992" y="17767"/>
                </a:lnTo>
                <a:lnTo>
                  <a:pt x="1984" y="17767"/>
                </a:lnTo>
                <a:lnTo>
                  <a:pt x="2480" y="17027"/>
                </a:lnTo>
                <a:lnTo>
                  <a:pt x="3720" y="13079"/>
                </a:lnTo>
                <a:lnTo>
                  <a:pt x="5208" y="9871"/>
                </a:lnTo>
                <a:lnTo>
                  <a:pt x="7440" y="6909"/>
                </a:lnTo>
                <a:lnTo>
                  <a:pt x="9920" y="4935"/>
                </a:lnTo>
                <a:lnTo>
                  <a:pt x="12896" y="3701"/>
                </a:lnTo>
                <a:lnTo>
                  <a:pt x="16120" y="2714"/>
                </a:lnTo>
                <a:lnTo>
                  <a:pt x="19592" y="2467"/>
                </a:lnTo>
                <a:lnTo>
                  <a:pt x="23561" y="2961"/>
                </a:lnTo>
                <a:lnTo>
                  <a:pt x="24057" y="493"/>
                </a:lnTo>
                <a:lnTo>
                  <a:pt x="19592" y="0"/>
                </a:lnTo>
                <a:lnTo>
                  <a:pt x="15624" y="246"/>
                </a:lnTo>
                <a:lnTo>
                  <a:pt x="11904" y="1233"/>
                </a:lnTo>
                <a:lnTo>
                  <a:pt x="8432" y="2961"/>
                </a:lnTo>
                <a:lnTo>
                  <a:pt x="5456" y="5429"/>
                </a:lnTo>
                <a:lnTo>
                  <a:pt x="3224" y="8390"/>
                </a:lnTo>
                <a:close/>
              </a:path>
            </a:pathLst>
          </a:custGeom>
          <a:solidFill>
            <a:srgbClr val="000000"/>
          </a:solidFill>
        </p:spPr>
        <p:txBody>
          <a:bodyPr wrap="square" lIns="0" tIns="0" rIns="0" bIns="0" rtlCol="0">
            <a:noAutofit/>
          </a:bodyPr>
          <a:lstStyle/>
          <a:p>
            <a:endParaRPr/>
          </a:p>
        </p:txBody>
      </p:sp>
      <p:sp>
        <p:nvSpPr>
          <p:cNvPr id="1798" name="object 1798"/>
          <p:cNvSpPr/>
          <p:nvPr/>
        </p:nvSpPr>
        <p:spPr>
          <a:xfrm>
            <a:off x="7719761" y="1586604"/>
            <a:ext cx="992" cy="2467"/>
          </a:xfrm>
          <a:custGeom>
            <a:avLst/>
            <a:gdLst/>
            <a:ahLst/>
            <a:cxnLst/>
            <a:rect l="l" t="t" r="r" b="b"/>
            <a:pathLst>
              <a:path w="992" h="2467">
                <a:moveTo>
                  <a:pt x="992" y="0"/>
                </a:moveTo>
                <a:lnTo>
                  <a:pt x="248" y="493"/>
                </a:lnTo>
                <a:lnTo>
                  <a:pt x="0" y="1233"/>
                </a:lnTo>
                <a:lnTo>
                  <a:pt x="248" y="1974"/>
                </a:lnTo>
                <a:lnTo>
                  <a:pt x="992" y="2467"/>
                </a:lnTo>
                <a:lnTo>
                  <a:pt x="992" y="0"/>
                </a:lnTo>
                <a:close/>
              </a:path>
            </a:pathLst>
          </a:custGeom>
          <a:solidFill>
            <a:srgbClr val="000000"/>
          </a:solidFill>
        </p:spPr>
        <p:txBody>
          <a:bodyPr wrap="square" lIns="0" tIns="0" rIns="0" bIns="0" rtlCol="0">
            <a:noAutofit/>
          </a:bodyPr>
          <a:lstStyle/>
          <a:p>
            <a:endParaRPr/>
          </a:p>
        </p:txBody>
      </p:sp>
      <p:sp>
        <p:nvSpPr>
          <p:cNvPr id="1799" name="object 1799"/>
          <p:cNvSpPr/>
          <p:nvPr/>
        </p:nvSpPr>
        <p:spPr>
          <a:xfrm>
            <a:off x="8554566" y="1588578"/>
            <a:ext cx="1240" cy="2467"/>
          </a:xfrm>
          <a:custGeom>
            <a:avLst/>
            <a:gdLst/>
            <a:ahLst/>
            <a:cxnLst/>
            <a:rect l="l" t="t" r="r" b="b"/>
            <a:pathLst>
              <a:path w="1240" h="2467">
                <a:moveTo>
                  <a:pt x="0" y="2467"/>
                </a:moveTo>
                <a:lnTo>
                  <a:pt x="744" y="1974"/>
                </a:lnTo>
                <a:lnTo>
                  <a:pt x="1240" y="1233"/>
                </a:lnTo>
                <a:lnTo>
                  <a:pt x="744" y="493"/>
                </a:lnTo>
                <a:lnTo>
                  <a:pt x="0" y="0"/>
                </a:lnTo>
                <a:lnTo>
                  <a:pt x="0" y="2467"/>
                </a:lnTo>
                <a:close/>
              </a:path>
            </a:pathLst>
          </a:custGeom>
          <a:solidFill>
            <a:srgbClr val="000000"/>
          </a:solidFill>
        </p:spPr>
        <p:txBody>
          <a:bodyPr wrap="square" lIns="0" tIns="0" rIns="0" bIns="0" rtlCol="0">
            <a:noAutofit/>
          </a:bodyPr>
          <a:lstStyle/>
          <a:p>
            <a:endParaRPr/>
          </a:p>
        </p:txBody>
      </p:sp>
      <p:sp>
        <p:nvSpPr>
          <p:cNvPr id="1800" name="object 1800"/>
          <p:cNvSpPr/>
          <p:nvPr/>
        </p:nvSpPr>
        <p:spPr>
          <a:xfrm>
            <a:off x="8193214" y="1719369"/>
            <a:ext cx="2480" cy="987"/>
          </a:xfrm>
          <a:custGeom>
            <a:avLst/>
            <a:gdLst/>
            <a:ahLst/>
            <a:cxnLst/>
            <a:rect l="l" t="t" r="r" b="b"/>
            <a:pathLst>
              <a:path w="2480" h="987">
                <a:moveTo>
                  <a:pt x="0" y="0"/>
                </a:moveTo>
                <a:lnTo>
                  <a:pt x="496" y="740"/>
                </a:lnTo>
                <a:lnTo>
                  <a:pt x="1240" y="987"/>
                </a:lnTo>
                <a:lnTo>
                  <a:pt x="1984" y="740"/>
                </a:lnTo>
                <a:lnTo>
                  <a:pt x="2480" y="0"/>
                </a:lnTo>
                <a:lnTo>
                  <a:pt x="0" y="0"/>
                </a:lnTo>
                <a:close/>
              </a:path>
            </a:pathLst>
          </a:custGeom>
          <a:solidFill>
            <a:srgbClr val="000000"/>
          </a:solidFill>
        </p:spPr>
        <p:txBody>
          <a:bodyPr wrap="square" lIns="0" tIns="0" rIns="0" bIns="0" rtlCol="0">
            <a:noAutofit/>
          </a:bodyPr>
          <a:lstStyle/>
          <a:p>
            <a:endParaRPr/>
          </a:p>
        </p:txBody>
      </p:sp>
      <p:sp>
        <p:nvSpPr>
          <p:cNvPr id="1801" name="object 1801"/>
          <p:cNvSpPr/>
          <p:nvPr/>
        </p:nvSpPr>
        <p:spPr>
          <a:xfrm>
            <a:off x="8189246" y="1351426"/>
            <a:ext cx="6448" cy="16040"/>
          </a:xfrm>
          <a:custGeom>
            <a:avLst/>
            <a:gdLst/>
            <a:ahLst/>
            <a:cxnLst/>
            <a:rect l="l" t="t" r="r" b="b"/>
            <a:pathLst>
              <a:path w="6448" h="16040">
                <a:moveTo>
                  <a:pt x="3968" y="16040"/>
                </a:moveTo>
                <a:lnTo>
                  <a:pt x="6448" y="15546"/>
                </a:lnTo>
                <a:lnTo>
                  <a:pt x="2480" y="987"/>
                </a:lnTo>
                <a:lnTo>
                  <a:pt x="2480" y="1480"/>
                </a:lnTo>
                <a:lnTo>
                  <a:pt x="1984" y="246"/>
                </a:lnTo>
                <a:lnTo>
                  <a:pt x="992" y="0"/>
                </a:lnTo>
                <a:lnTo>
                  <a:pt x="248" y="493"/>
                </a:lnTo>
                <a:lnTo>
                  <a:pt x="0" y="1480"/>
                </a:lnTo>
                <a:lnTo>
                  <a:pt x="3968" y="16040"/>
                </a:lnTo>
                <a:close/>
              </a:path>
            </a:pathLst>
          </a:custGeom>
          <a:solidFill>
            <a:srgbClr val="000000"/>
          </a:solidFill>
        </p:spPr>
        <p:txBody>
          <a:bodyPr wrap="square" lIns="0" tIns="0" rIns="0" bIns="0" rtlCol="0">
            <a:noAutofit/>
          </a:bodyPr>
          <a:lstStyle/>
          <a:p>
            <a:endParaRPr/>
          </a:p>
        </p:txBody>
      </p:sp>
      <p:sp>
        <p:nvSpPr>
          <p:cNvPr id="1802" name="object 1802"/>
          <p:cNvSpPr/>
          <p:nvPr/>
        </p:nvSpPr>
        <p:spPr>
          <a:xfrm>
            <a:off x="8191230" y="1351673"/>
            <a:ext cx="496" cy="1233"/>
          </a:xfrm>
          <a:custGeom>
            <a:avLst/>
            <a:gdLst/>
            <a:ahLst/>
            <a:cxnLst/>
            <a:rect l="l" t="t" r="r" b="b"/>
            <a:pathLst>
              <a:path w="496" h="1233">
                <a:moveTo>
                  <a:pt x="496" y="740"/>
                </a:moveTo>
                <a:lnTo>
                  <a:pt x="0" y="0"/>
                </a:lnTo>
                <a:lnTo>
                  <a:pt x="496" y="1233"/>
                </a:lnTo>
                <a:lnTo>
                  <a:pt x="496" y="740"/>
                </a:lnTo>
                <a:close/>
              </a:path>
            </a:pathLst>
          </a:custGeom>
          <a:solidFill>
            <a:srgbClr val="000000"/>
          </a:solidFill>
        </p:spPr>
        <p:txBody>
          <a:bodyPr wrap="square" lIns="0" tIns="0" rIns="0" bIns="0" rtlCol="0">
            <a:noAutofit/>
          </a:bodyPr>
          <a:lstStyle/>
          <a:p>
            <a:endParaRPr/>
          </a:p>
        </p:txBody>
      </p:sp>
      <p:sp>
        <p:nvSpPr>
          <p:cNvPr id="1803" name="object 1803"/>
          <p:cNvSpPr/>
          <p:nvPr/>
        </p:nvSpPr>
        <p:spPr>
          <a:xfrm>
            <a:off x="8189247" y="1161409"/>
            <a:ext cx="33729" cy="191497"/>
          </a:xfrm>
          <a:custGeom>
            <a:avLst/>
            <a:gdLst/>
            <a:ahLst/>
            <a:cxnLst/>
            <a:rect l="l" t="t" r="r" b="b"/>
            <a:pathLst>
              <a:path w="33729" h="191497">
                <a:moveTo>
                  <a:pt x="31249" y="987"/>
                </a:moveTo>
                <a:lnTo>
                  <a:pt x="0" y="191004"/>
                </a:lnTo>
                <a:lnTo>
                  <a:pt x="2480" y="191497"/>
                </a:lnTo>
                <a:lnTo>
                  <a:pt x="33729" y="1480"/>
                </a:lnTo>
                <a:lnTo>
                  <a:pt x="33481" y="493"/>
                </a:lnTo>
                <a:lnTo>
                  <a:pt x="32737" y="0"/>
                </a:lnTo>
                <a:lnTo>
                  <a:pt x="31745" y="246"/>
                </a:lnTo>
                <a:lnTo>
                  <a:pt x="31249" y="987"/>
                </a:lnTo>
                <a:close/>
              </a:path>
            </a:pathLst>
          </a:custGeom>
          <a:solidFill>
            <a:srgbClr val="000000"/>
          </a:solidFill>
        </p:spPr>
        <p:txBody>
          <a:bodyPr wrap="square" lIns="0" tIns="0" rIns="0" bIns="0" rtlCol="0">
            <a:noAutofit/>
          </a:bodyPr>
          <a:lstStyle/>
          <a:p>
            <a:endParaRPr/>
          </a:p>
        </p:txBody>
      </p:sp>
      <p:sp>
        <p:nvSpPr>
          <p:cNvPr id="1804" name="object 1804"/>
          <p:cNvSpPr/>
          <p:nvPr/>
        </p:nvSpPr>
        <p:spPr>
          <a:xfrm>
            <a:off x="8219751" y="1132782"/>
            <a:ext cx="4712" cy="30106"/>
          </a:xfrm>
          <a:custGeom>
            <a:avLst/>
            <a:gdLst/>
            <a:ahLst/>
            <a:cxnLst/>
            <a:rect l="l" t="t" r="r" b="b"/>
            <a:pathLst>
              <a:path w="4712" h="30106">
                <a:moveTo>
                  <a:pt x="2232" y="13325"/>
                </a:moveTo>
                <a:lnTo>
                  <a:pt x="1984" y="17274"/>
                </a:lnTo>
                <a:lnTo>
                  <a:pt x="1736" y="21716"/>
                </a:lnTo>
                <a:lnTo>
                  <a:pt x="1488" y="25664"/>
                </a:lnTo>
                <a:lnTo>
                  <a:pt x="744" y="29613"/>
                </a:lnTo>
                <a:lnTo>
                  <a:pt x="3224" y="30106"/>
                </a:lnTo>
                <a:lnTo>
                  <a:pt x="3968" y="26158"/>
                </a:lnTo>
                <a:lnTo>
                  <a:pt x="4216" y="21716"/>
                </a:lnTo>
                <a:lnTo>
                  <a:pt x="4464" y="17274"/>
                </a:lnTo>
                <a:lnTo>
                  <a:pt x="4712" y="13325"/>
                </a:lnTo>
                <a:lnTo>
                  <a:pt x="4464" y="9377"/>
                </a:lnTo>
                <a:lnTo>
                  <a:pt x="3968" y="5675"/>
                </a:lnTo>
                <a:lnTo>
                  <a:pt x="3224" y="2467"/>
                </a:lnTo>
                <a:lnTo>
                  <a:pt x="1984" y="0"/>
                </a:lnTo>
                <a:lnTo>
                  <a:pt x="0" y="1480"/>
                </a:lnTo>
                <a:lnTo>
                  <a:pt x="744" y="3454"/>
                </a:lnTo>
                <a:lnTo>
                  <a:pt x="1488" y="6169"/>
                </a:lnTo>
                <a:lnTo>
                  <a:pt x="1984" y="9377"/>
                </a:lnTo>
                <a:lnTo>
                  <a:pt x="2232" y="13325"/>
                </a:lnTo>
                <a:close/>
              </a:path>
            </a:pathLst>
          </a:custGeom>
          <a:solidFill>
            <a:srgbClr val="000000"/>
          </a:solidFill>
        </p:spPr>
        <p:txBody>
          <a:bodyPr wrap="square" lIns="0" tIns="0" rIns="0" bIns="0" rtlCol="0">
            <a:noAutofit/>
          </a:bodyPr>
          <a:lstStyle/>
          <a:p>
            <a:endParaRPr/>
          </a:p>
        </p:txBody>
      </p:sp>
      <p:sp>
        <p:nvSpPr>
          <p:cNvPr id="1805" name="object 1805"/>
          <p:cNvSpPr/>
          <p:nvPr/>
        </p:nvSpPr>
        <p:spPr>
          <a:xfrm>
            <a:off x="8219503" y="1132289"/>
            <a:ext cx="2232" cy="1974"/>
          </a:xfrm>
          <a:custGeom>
            <a:avLst/>
            <a:gdLst/>
            <a:ahLst/>
            <a:cxnLst/>
            <a:rect l="l" t="t" r="r" b="b"/>
            <a:pathLst>
              <a:path w="2232" h="1974">
                <a:moveTo>
                  <a:pt x="2232" y="493"/>
                </a:moveTo>
                <a:lnTo>
                  <a:pt x="1488" y="0"/>
                </a:lnTo>
                <a:lnTo>
                  <a:pt x="496" y="246"/>
                </a:lnTo>
                <a:lnTo>
                  <a:pt x="0" y="987"/>
                </a:lnTo>
                <a:lnTo>
                  <a:pt x="248" y="1974"/>
                </a:lnTo>
                <a:lnTo>
                  <a:pt x="2232" y="493"/>
                </a:lnTo>
                <a:close/>
              </a:path>
            </a:pathLst>
          </a:custGeom>
          <a:solidFill>
            <a:srgbClr val="000000"/>
          </a:solidFill>
        </p:spPr>
        <p:txBody>
          <a:bodyPr wrap="square" lIns="0" tIns="0" rIns="0" bIns="0" rtlCol="0">
            <a:noAutofit/>
          </a:bodyPr>
          <a:lstStyle/>
          <a:p>
            <a:endParaRPr/>
          </a:p>
        </p:txBody>
      </p:sp>
      <p:sp>
        <p:nvSpPr>
          <p:cNvPr id="1806" name="object 1806"/>
          <p:cNvSpPr/>
          <p:nvPr/>
        </p:nvSpPr>
        <p:spPr>
          <a:xfrm>
            <a:off x="8355165" y="1204595"/>
            <a:ext cx="1240" cy="2467"/>
          </a:xfrm>
          <a:custGeom>
            <a:avLst/>
            <a:gdLst/>
            <a:ahLst/>
            <a:cxnLst/>
            <a:rect l="l" t="t" r="r" b="b"/>
            <a:pathLst>
              <a:path w="1240" h="2467">
                <a:moveTo>
                  <a:pt x="1240" y="0"/>
                </a:moveTo>
                <a:lnTo>
                  <a:pt x="248" y="246"/>
                </a:lnTo>
                <a:lnTo>
                  <a:pt x="0" y="987"/>
                </a:lnTo>
                <a:lnTo>
                  <a:pt x="0" y="1974"/>
                </a:lnTo>
                <a:lnTo>
                  <a:pt x="744" y="2467"/>
                </a:lnTo>
                <a:lnTo>
                  <a:pt x="1240" y="0"/>
                </a:lnTo>
                <a:close/>
              </a:path>
            </a:pathLst>
          </a:custGeom>
          <a:solidFill>
            <a:srgbClr val="000000"/>
          </a:solidFill>
        </p:spPr>
        <p:txBody>
          <a:bodyPr wrap="square" lIns="0" tIns="0" rIns="0" bIns="0" rtlCol="0">
            <a:noAutofit/>
          </a:bodyPr>
          <a:lstStyle/>
          <a:p>
            <a:endParaRPr/>
          </a:p>
        </p:txBody>
      </p:sp>
      <p:sp>
        <p:nvSpPr>
          <p:cNvPr id="1807" name="object 1807"/>
          <p:cNvSpPr/>
          <p:nvPr/>
        </p:nvSpPr>
        <p:spPr>
          <a:xfrm>
            <a:off x="8355909" y="1204595"/>
            <a:ext cx="198904" cy="41211"/>
          </a:xfrm>
          <a:custGeom>
            <a:avLst/>
            <a:gdLst/>
            <a:ahLst/>
            <a:cxnLst/>
            <a:rect l="l" t="t" r="r" b="b"/>
            <a:pathLst>
              <a:path w="198904" h="41211">
                <a:moveTo>
                  <a:pt x="198656" y="39977"/>
                </a:moveTo>
                <a:lnTo>
                  <a:pt x="198904" y="38743"/>
                </a:lnTo>
                <a:lnTo>
                  <a:pt x="496" y="0"/>
                </a:lnTo>
                <a:lnTo>
                  <a:pt x="0" y="2467"/>
                </a:lnTo>
                <a:lnTo>
                  <a:pt x="198408" y="41211"/>
                </a:lnTo>
                <a:lnTo>
                  <a:pt x="198656" y="39977"/>
                </a:lnTo>
                <a:close/>
              </a:path>
            </a:pathLst>
          </a:custGeom>
          <a:solidFill>
            <a:srgbClr val="000000"/>
          </a:solidFill>
        </p:spPr>
        <p:txBody>
          <a:bodyPr wrap="square" lIns="0" tIns="0" rIns="0" bIns="0" rtlCol="0">
            <a:noAutofit/>
          </a:bodyPr>
          <a:lstStyle/>
          <a:p>
            <a:endParaRPr/>
          </a:p>
        </p:txBody>
      </p:sp>
      <p:sp>
        <p:nvSpPr>
          <p:cNvPr id="1808" name="object 1808"/>
          <p:cNvSpPr/>
          <p:nvPr/>
        </p:nvSpPr>
        <p:spPr>
          <a:xfrm>
            <a:off x="8554318" y="1243339"/>
            <a:ext cx="1488" cy="2467"/>
          </a:xfrm>
          <a:custGeom>
            <a:avLst/>
            <a:gdLst/>
            <a:ahLst/>
            <a:cxnLst/>
            <a:rect l="l" t="t" r="r" b="b"/>
            <a:pathLst>
              <a:path w="1488" h="2467">
                <a:moveTo>
                  <a:pt x="0" y="2467"/>
                </a:moveTo>
                <a:lnTo>
                  <a:pt x="992" y="2220"/>
                </a:lnTo>
                <a:lnTo>
                  <a:pt x="1488" y="1480"/>
                </a:lnTo>
                <a:lnTo>
                  <a:pt x="1240" y="493"/>
                </a:lnTo>
                <a:lnTo>
                  <a:pt x="496" y="0"/>
                </a:lnTo>
                <a:lnTo>
                  <a:pt x="0" y="2467"/>
                </a:lnTo>
                <a:close/>
              </a:path>
            </a:pathLst>
          </a:custGeom>
          <a:solidFill>
            <a:srgbClr val="000000"/>
          </a:solidFill>
        </p:spPr>
        <p:txBody>
          <a:bodyPr wrap="square" lIns="0" tIns="0" rIns="0" bIns="0" rtlCol="0">
            <a:noAutofit/>
          </a:bodyPr>
          <a:lstStyle/>
          <a:p>
            <a:endParaRPr/>
          </a:p>
        </p:txBody>
      </p:sp>
      <p:sp>
        <p:nvSpPr>
          <p:cNvPr id="1809" name="object 1809"/>
          <p:cNvSpPr/>
          <p:nvPr/>
        </p:nvSpPr>
        <p:spPr>
          <a:xfrm>
            <a:off x="8430809" y="1442239"/>
            <a:ext cx="53570" cy="9624"/>
          </a:xfrm>
          <a:custGeom>
            <a:avLst/>
            <a:gdLst/>
            <a:ahLst/>
            <a:cxnLst/>
            <a:rect l="l" t="t" r="r" b="b"/>
            <a:pathLst>
              <a:path w="53570" h="9624">
                <a:moveTo>
                  <a:pt x="53570" y="7156"/>
                </a:moveTo>
                <a:lnTo>
                  <a:pt x="496" y="0"/>
                </a:lnTo>
                <a:lnTo>
                  <a:pt x="0" y="2467"/>
                </a:lnTo>
                <a:lnTo>
                  <a:pt x="53074" y="9624"/>
                </a:lnTo>
                <a:lnTo>
                  <a:pt x="53570" y="7156"/>
                </a:lnTo>
                <a:close/>
              </a:path>
            </a:pathLst>
          </a:custGeom>
          <a:solidFill>
            <a:srgbClr val="000000"/>
          </a:solidFill>
        </p:spPr>
        <p:txBody>
          <a:bodyPr wrap="square" lIns="0" tIns="0" rIns="0" bIns="0" rtlCol="0">
            <a:noAutofit/>
          </a:bodyPr>
          <a:lstStyle/>
          <a:p>
            <a:endParaRPr/>
          </a:p>
        </p:txBody>
      </p:sp>
      <p:sp>
        <p:nvSpPr>
          <p:cNvPr id="1810" name="object 1810"/>
          <p:cNvSpPr/>
          <p:nvPr/>
        </p:nvSpPr>
        <p:spPr>
          <a:xfrm>
            <a:off x="8483883" y="1449397"/>
            <a:ext cx="10912" cy="10611"/>
          </a:xfrm>
          <a:custGeom>
            <a:avLst/>
            <a:gdLst/>
            <a:ahLst/>
            <a:cxnLst/>
            <a:rect l="l" t="t" r="r" b="b"/>
            <a:pathLst>
              <a:path w="10912" h="10611">
                <a:moveTo>
                  <a:pt x="496" y="0"/>
                </a:moveTo>
                <a:lnTo>
                  <a:pt x="0" y="2467"/>
                </a:lnTo>
                <a:lnTo>
                  <a:pt x="1736" y="2714"/>
                </a:lnTo>
                <a:lnTo>
                  <a:pt x="3224" y="3208"/>
                </a:lnTo>
                <a:lnTo>
                  <a:pt x="4464" y="4195"/>
                </a:lnTo>
                <a:lnTo>
                  <a:pt x="5952" y="5429"/>
                </a:lnTo>
                <a:lnTo>
                  <a:pt x="6944" y="6416"/>
                </a:lnTo>
                <a:lnTo>
                  <a:pt x="7688" y="7650"/>
                </a:lnTo>
                <a:lnTo>
                  <a:pt x="8184" y="9130"/>
                </a:lnTo>
                <a:lnTo>
                  <a:pt x="8432" y="10611"/>
                </a:lnTo>
                <a:lnTo>
                  <a:pt x="10912" y="10611"/>
                </a:lnTo>
                <a:lnTo>
                  <a:pt x="10664" y="8637"/>
                </a:lnTo>
                <a:lnTo>
                  <a:pt x="10168" y="6662"/>
                </a:lnTo>
                <a:lnTo>
                  <a:pt x="8928" y="4935"/>
                </a:lnTo>
                <a:lnTo>
                  <a:pt x="7440" y="3454"/>
                </a:lnTo>
                <a:lnTo>
                  <a:pt x="5952" y="2220"/>
                </a:lnTo>
                <a:lnTo>
                  <a:pt x="4216" y="1233"/>
                </a:lnTo>
                <a:lnTo>
                  <a:pt x="2232" y="246"/>
                </a:lnTo>
                <a:lnTo>
                  <a:pt x="496" y="0"/>
                </a:lnTo>
                <a:close/>
              </a:path>
            </a:pathLst>
          </a:custGeom>
          <a:solidFill>
            <a:srgbClr val="000000"/>
          </a:solidFill>
        </p:spPr>
        <p:txBody>
          <a:bodyPr wrap="square" lIns="0" tIns="0" rIns="0" bIns="0" rtlCol="0">
            <a:noAutofit/>
          </a:bodyPr>
          <a:lstStyle/>
          <a:p>
            <a:endParaRPr/>
          </a:p>
        </p:txBody>
      </p:sp>
      <p:sp>
        <p:nvSpPr>
          <p:cNvPr id="1811" name="object 1811"/>
          <p:cNvSpPr/>
          <p:nvPr/>
        </p:nvSpPr>
        <p:spPr>
          <a:xfrm>
            <a:off x="8493555" y="1460008"/>
            <a:ext cx="0" cy="110061"/>
          </a:xfrm>
          <a:custGeom>
            <a:avLst/>
            <a:gdLst/>
            <a:ahLst/>
            <a:cxnLst/>
            <a:rect l="l" t="t" r="r" b="b"/>
            <a:pathLst>
              <a:path h="110061">
                <a:moveTo>
                  <a:pt x="0" y="0"/>
                </a:moveTo>
                <a:lnTo>
                  <a:pt x="0" y="110061"/>
                </a:lnTo>
              </a:path>
            </a:pathLst>
          </a:custGeom>
          <a:ln w="3750">
            <a:solidFill>
              <a:srgbClr val="000000"/>
            </a:solidFill>
          </a:ln>
        </p:spPr>
        <p:txBody>
          <a:bodyPr wrap="square" lIns="0" tIns="0" rIns="0" bIns="0" rtlCol="0">
            <a:noAutofit/>
          </a:bodyPr>
          <a:lstStyle/>
          <a:p>
            <a:endParaRPr/>
          </a:p>
        </p:txBody>
      </p:sp>
      <p:sp>
        <p:nvSpPr>
          <p:cNvPr id="1812" name="object 1812"/>
          <p:cNvSpPr/>
          <p:nvPr/>
        </p:nvSpPr>
        <p:spPr>
          <a:xfrm>
            <a:off x="8484131" y="1570070"/>
            <a:ext cx="10664" cy="10611"/>
          </a:xfrm>
          <a:custGeom>
            <a:avLst/>
            <a:gdLst/>
            <a:ahLst/>
            <a:cxnLst/>
            <a:rect l="l" t="t" r="r" b="b"/>
            <a:pathLst>
              <a:path w="10664" h="10611">
                <a:moveTo>
                  <a:pt x="5704" y="8637"/>
                </a:moveTo>
                <a:lnTo>
                  <a:pt x="7440" y="7403"/>
                </a:lnTo>
                <a:lnTo>
                  <a:pt x="8680" y="5675"/>
                </a:lnTo>
                <a:lnTo>
                  <a:pt x="9920" y="3948"/>
                </a:lnTo>
                <a:lnTo>
                  <a:pt x="10416" y="1974"/>
                </a:lnTo>
                <a:lnTo>
                  <a:pt x="10664" y="0"/>
                </a:lnTo>
                <a:lnTo>
                  <a:pt x="8184" y="0"/>
                </a:lnTo>
                <a:lnTo>
                  <a:pt x="7936" y="1480"/>
                </a:lnTo>
                <a:lnTo>
                  <a:pt x="7440" y="2961"/>
                </a:lnTo>
                <a:lnTo>
                  <a:pt x="6696" y="4195"/>
                </a:lnTo>
                <a:lnTo>
                  <a:pt x="5456" y="5429"/>
                </a:lnTo>
                <a:lnTo>
                  <a:pt x="4216" y="6662"/>
                </a:lnTo>
                <a:lnTo>
                  <a:pt x="2976" y="7403"/>
                </a:lnTo>
                <a:lnTo>
                  <a:pt x="1488" y="7896"/>
                </a:lnTo>
                <a:lnTo>
                  <a:pt x="0" y="8143"/>
                </a:lnTo>
                <a:lnTo>
                  <a:pt x="0" y="10611"/>
                </a:lnTo>
                <a:lnTo>
                  <a:pt x="1984" y="10364"/>
                </a:lnTo>
                <a:lnTo>
                  <a:pt x="3968" y="9871"/>
                </a:lnTo>
                <a:lnTo>
                  <a:pt x="5704" y="8637"/>
                </a:lnTo>
                <a:close/>
              </a:path>
            </a:pathLst>
          </a:custGeom>
          <a:solidFill>
            <a:srgbClr val="000000"/>
          </a:solidFill>
        </p:spPr>
        <p:txBody>
          <a:bodyPr wrap="square" lIns="0" tIns="0" rIns="0" bIns="0" rtlCol="0">
            <a:noAutofit/>
          </a:bodyPr>
          <a:lstStyle/>
          <a:p>
            <a:endParaRPr/>
          </a:p>
        </p:txBody>
      </p:sp>
      <p:sp>
        <p:nvSpPr>
          <p:cNvPr id="1813" name="object 1813"/>
          <p:cNvSpPr/>
          <p:nvPr/>
        </p:nvSpPr>
        <p:spPr>
          <a:xfrm>
            <a:off x="8431305" y="1577472"/>
            <a:ext cx="52826" cy="3208"/>
          </a:xfrm>
          <a:custGeom>
            <a:avLst/>
            <a:gdLst/>
            <a:ahLst/>
            <a:cxnLst/>
            <a:rect l="l" t="t" r="r" b="b"/>
            <a:pathLst>
              <a:path w="52826" h="3208">
                <a:moveTo>
                  <a:pt x="0" y="2467"/>
                </a:moveTo>
                <a:lnTo>
                  <a:pt x="52826" y="3208"/>
                </a:lnTo>
                <a:lnTo>
                  <a:pt x="52826" y="740"/>
                </a:lnTo>
                <a:lnTo>
                  <a:pt x="0" y="0"/>
                </a:lnTo>
                <a:lnTo>
                  <a:pt x="0" y="2467"/>
                </a:lnTo>
                <a:close/>
              </a:path>
            </a:pathLst>
          </a:custGeom>
          <a:solidFill>
            <a:srgbClr val="000000"/>
          </a:solidFill>
        </p:spPr>
        <p:txBody>
          <a:bodyPr wrap="square" lIns="0" tIns="0" rIns="0" bIns="0" rtlCol="0">
            <a:noAutofit/>
          </a:bodyPr>
          <a:lstStyle/>
          <a:p>
            <a:endParaRPr/>
          </a:p>
        </p:txBody>
      </p:sp>
      <p:sp>
        <p:nvSpPr>
          <p:cNvPr id="1814" name="object 1814"/>
          <p:cNvSpPr/>
          <p:nvPr/>
        </p:nvSpPr>
        <p:spPr>
          <a:xfrm>
            <a:off x="8420640" y="1569330"/>
            <a:ext cx="10664" cy="10611"/>
          </a:xfrm>
          <a:custGeom>
            <a:avLst/>
            <a:gdLst/>
            <a:ahLst/>
            <a:cxnLst/>
            <a:rect l="l" t="t" r="r" b="b"/>
            <a:pathLst>
              <a:path w="10664" h="10611">
                <a:moveTo>
                  <a:pt x="3224" y="2714"/>
                </a:moveTo>
                <a:lnTo>
                  <a:pt x="2728" y="1233"/>
                </a:lnTo>
                <a:lnTo>
                  <a:pt x="2480" y="0"/>
                </a:lnTo>
                <a:lnTo>
                  <a:pt x="0" y="0"/>
                </a:lnTo>
                <a:lnTo>
                  <a:pt x="248" y="1727"/>
                </a:lnTo>
                <a:lnTo>
                  <a:pt x="744" y="3701"/>
                </a:lnTo>
                <a:lnTo>
                  <a:pt x="1984" y="5429"/>
                </a:lnTo>
                <a:lnTo>
                  <a:pt x="3224" y="7156"/>
                </a:lnTo>
                <a:lnTo>
                  <a:pt x="4960" y="8390"/>
                </a:lnTo>
                <a:lnTo>
                  <a:pt x="6696" y="9377"/>
                </a:lnTo>
                <a:lnTo>
                  <a:pt x="8680" y="10364"/>
                </a:lnTo>
                <a:lnTo>
                  <a:pt x="10664" y="10611"/>
                </a:lnTo>
                <a:lnTo>
                  <a:pt x="10664" y="8143"/>
                </a:lnTo>
                <a:lnTo>
                  <a:pt x="9176" y="7896"/>
                </a:lnTo>
                <a:lnTo>
                  <a:pt x="7688" y="7403"/>
                </a:lnTo>
                <a:lnTo>
                  <a:pt x="6448" y="6416"/>
                </a:lnTo>
                <a:lnTo>
                  <a:pt x="5208" y="5182"/>
                </a:lnTo>
                <a:lnTo>
                  <a:pt x="3968" y="3948"/>
                </a:lnTo>
                <a:lnTo>
                  <a:pt x="3224" y="2714"/>
                </a:lnTo>
                <a:close/>
              </a:path>
            </a:pathLst>
          </a:custGeom>
          <a:solidFill>
            <a:srgbClr val="000000"/>
          </a:solidFill>
        </p:spPr>
        <p:txBody>
          <a:bodyPr wrap="square" lIns="0" tIns="0" rIns="0" bIns="0" rtlCol="0">
            <a:noAutofit/>
          </a:bodyPr>
          <a:lstStyle/>
          <a:p>
            <a:endParaRPr/>
          </a:p>
        </p:txBody>
      </p:sp>
      <p:sp>
        <p:nvSpPr>
          <p:cNvPr id="1815" name="object 1815"/>
          <p:cNvSpPr/>
          <p:nvPr/>
        </p:nvSpPr>
        <p:spPr>
          <a:xfrm>
            <a:off x="8420392" y="1452850"/>
            <a:ext cx="2728" cy="116478"/>
          </a:xfrm>
          <a:custGeom>
            <a:avLst/>
            <a:gdLst/>
            <a:ahLst/>
            <a:cxnLst/>
            <a:rect l="l" t="t" r="r" b="b"/>
            <a:pathLst>
              <a:path w="2728" h="116478">
                <a:moveTo>
                  <a:pt x="0" y="0"/>
                </a:moveTo>
                <a:lnTo>
                  <a:pt x="248" y="116478"/>
                </a:lnTo>
                <a:lnTo>
                  <a:pt x="2728" y="116478"/>
                </a:lnTo>
                <a:lnTo>
                  <a:pt x="2480" y="0"/>
                </a:lnTo>
                <a:lnTo>
                  <a:pt x="0" y="0"/>
                </a:lnTo>
                <a:close/>
              </a:path>
            </a:pathLst>
          </a:custGeom>
          <a:solidFill>
            <a:srgbClr val="000000"/>
          </a:solidFill>
        </p:spPr>
        <p:txBody>
          <a:bodyPr wrap="square" lIns="0" tIns="0" rIns="0" bIns="0" rtlCol="0">
            <a:noAutofit/>
          </a:bodyPr>
          <a:lstStyle/>
          <a:p>
            <a:endParaRPr/>
          </a:p>
        </p:txBody>
      </p:sp>
      <p:sp>
        <p:nvSpPr>
          <p:cNvPr id="1816" name="object 1816"/>
          <p:cNvSpPr/>
          <p:nvPr/>
        </p:nvSpPr>
        <p:spPr>
          <a:xfrm>
            <a:off x="8420392" y="1442240"/>
            <a:ext cx="10912" cy="10611"/>
          </a:xfrm>
          <a:custGeom>
            <a:avLst/>
            <a:gdLst/>
            <a:ahLst/>
            <a:cxnLst/>
            <a:rect l="l" t="t" r="r" b="b"/>
            <a:pathLst>
              <a:path w="10912" h="10611">
                <a:moveTo>
                  <a:pt x="2480" y="10611"/>
                </a:moveTo>
                <a:lnTo>
                  <a:pt x="2728" y="9130"/>
                </a:lnTo>
                <a:lnTo>
                  <a:pt x="3224" y="7896"/>
                </a:lnTo>
                <a:lnTo>
                  <a:pt x="3968" y="6416"/>
                </a:lnTo>
                <a:lnTo>
                  <a:pt x="5208" y="5182"/>
                </a:lnTo>
                <a:lnTo>
                  <a:pt x="6448" y="3948"/>
                </a:lnTo>
                <a:lnTo>
                  <a:pt x="7688" y="2961"/>
                </a:lnTo>
                <a:lnTo>
                  <a:pt x="9176" y="2467"/>
                </a:lnTo>
                <a:lnTo>
                  <a:pt x="10416" y="2467"/>
                </a:lnTo>
                <a:lnTo>
                  <a:pt x="10912" y="0"/>
                </a:lnTo>
                <a:lnTo>
                  <a:pt x="8680" y="0"/>
                </a:lnTo>
                <a:lnTo>
                  <a:pt x="6696" y="987"/>
                </a:lnTo>
                <a:lnTo>
                  <a:pt x="4960" y="1974"/>
                </a:lnTo>
                <a:lnTo>
                  <a:pt x="3224" y="3208"/>
                </a:lnTo>
                <a:lnTo>
                  <a:pt x="1984" y="4935"/>
                </a:lnTo>
                <a:lnTo>
                  <a:pt x="744" y="6909"/>
                </a:lnTo>
                <a:lnTo>
                  <a:pt x="248" y="8637"/>
                </a:lnTo>
                <a:lnTo>
                  <a:pt x="0" y="10611"/>
                </a:lnTo>
                <a:lnTo>
                  <a:pt x="2480" y="10611"/>
                </a:lnTo>
                <a:close/>
              </a:path>
            </a:pathLst>
          </a:custGeom>
          <a:solidFill>
            <a:srgbClr val="000000"/>
          </a:solidFill>
        </p:spPr>
        <p:txBody>
          <a:bodyPr wrap="square" lIns="0" tIns="0" rIns="0" bIns="0" rtlCol="0">
            <a:noAutofit/>
          </a:bodyPr>
          <a:lstStyle/>
          <a:p>
            <a:endParaRPr/>
          </a:p>
        </p:txBody>
      </p:sp>
      <p:sp>
        <p:nvSpPr>
          <p:cNvPr id="1817" name="object 1817"/>
          <p:cNvSpPr/>
          <p:nvPr/>
        </p:nvSpPr>
        <p:spPr>
          <a:xfrm>
            <a:off x="8166925" y="1353893"/>
            <a:ext cx="2232" cy="1974"/>
          </a:xfrm>
          <a:custGeom>
            <a:avLst/>
            <a:gdLst/>
            <a:ahLst/>
            <a:cxnLst/>
            <a:rect l="l" t="t" r="r" b="b"/>
            <a:pathLst>
              <a:path w="2232" h="1974">
                <a:moveTo>
                  <a:pt x="2232" y="493"/>
                </a:moveTo>
                <a:lnTo>
                  <a:pt x="1488" y="0"/>
                </a:lnTo>
                <a:lnTo>
                  <a:pt x="496" y="246"/>
                </a:lnTo>
                <a:lnTo>
                  <a:pt x="0" y="987"/>
                </a:lnTo>
                <a:lnTo>
                  <a:pt x="248" y="1974"/>
                </a:lnTo>
                <a:lnTo>
                  <a:pt x="2232" y="493"/>
                </a:lnTo>
                <a:close/>
              </a:path>
            </a:pathLst>
          </a:custGeom>
          <a:solidFill>
            <a:srgbClr val="000000"/>
          </a:solidFill>
        </p:spPr>
        <p:txBody>
          <a:bodyPr wrap="square" lIns="0" tIns="0" rIns="0" bIns="0" rtlCol="0">
            <a:noAutofit/>
          </a:bodyPr>
          <a:lstStyle/>
          <a:p>
            <a:endParaRPr/>
          </a:p>
        </p:txBody>
      </p:sp>
      <p:sp>
        <p:nvSpPr>
          <p:cNvPr id="1818" name="object 1818"/>
          <p:cNvSpPr/>
          <p:nvPr/>
        </p:nvSpPr>
        <p:spPr>
          <a:xfrm>
            <a:off x="8167173" y="1354387"/>
            <a:ext cx="10416" cy="15546"/>
          </a:xfrm>
          <a:custGeom>
            <a:avLst/>
            <a:gdLst/>
            <a:ahLst/>
            <a:cxnLst/>
            <a:rect l="l" t="t" r="r" b="b"/>
            <a:pathLst>
              <a:path w="10416" h="15546">
                <a:moveTo>
                  <a:pt x="10168" y="13572"/>
                </a:moveTo>
                <a:lnTo>
                  <a:pt x="1984" y="0"/>
                </a:lnTo>
                <a:lnTo>
                  <a:pt x="0" y="1480"/>
                </a:lnTo>
                <a:lnTo>
                  <a:pt x="8184" y="15053"/>
                </a:lnTo>
                <a:lnTo>
                  <a:pt x="9176" y="15546"/>
                </a:lnTo>
                <a:lnTo>
                  <a:pt x="9920" y="15300"/>
                </a:lnTo>
                <a:lnTo>
                  <a:pt x="10416" y="14559"/>
                </a:lnTo>
                <a:lnTo>
                  <a:pt x="10168" y="13572"/>
                </a:lnTo>
                <a:lnTo>
                  <a:pt x="7936" y="14312"/>
                </a:lnTo>
                <a:lnTo>
                  <a:pt x="10168" y="13572"/>
                </a:lnTo>
                <a:close/>
              </a:path>
            </a:pathLst>
          </a:custGeom>
          <a:solidFill>
            <a:srgbClr val="000000"/>
          </a:solidFill>
        </p:spPr>
        <p:txBody>
          <a:bodyPr wrap="square" lIns="0" tIns="0" rIns="0" bIns="0" rtlCol="0">
            <a:noAutofit/>
          </a:bodyPr>
          <a:lstStyle/>
          <a:p>
            <a:endParaRPr/>
          </a:p>
        </p:txBody>
      </p:sp>
      <p:sp>
        <p:nvSpPr>
          <p:cNvPr id="1819" name="object 1819"/>
          <p:cNvSpPr/>
          <p:nvPr/>
        </p:nvSpPr>
        <p:spPr>
          <a:xfrm>
            <a:off x="8174117" y="1726279"/>
            <a:ext cx="2480" cy="987"/>
          </a:xfrm>
          <a:custGeom>
            <a:avLst/>
            <a:gdLst/>
            <a:ahLst/>
            <a:cxnLst/>
            <a:rect l="l" t="t" r="r" b="b"/>
            <a:pathLst>
              <a:path w="2480" h="987">
                <a:moveTo>
                  <a:pt x="0" y="0"/>
                </a:moveTo>
                <a:lnTo>
                  <a:pt x="496" y="740"/>
                </a:lnTo>
                <a:lnTo>
                  <a:pt x="1240" y="987"/>
                </a:lnTo>
                <a:lnTo>
                  <a:pt x="1984" y="740"/>
                </a:lnTo>
                <a:lnTo>
                  <a:pt x="2480" y="0"/>
                </a:lnTo>
                <a:lnTo>
                  <a:pt x="0" y="0"/>
                </a:lnTo>
                <a:close/>
              </a:path>
            </a:pathLst>
          </a:custGeom>
          <a:solidFill>
            <a:srgbClr val="000000"/>
          </a:solidFill>
        </p:spPr>
        <p:txBody>
          <a:bodyPr wrap="square" lIns="0" tIns="0" rIns="0" bIns="0" rtlCol="0">
            <a:noAutofit/>
          </a:bodyPr>
          <a:lstStyle/>
          <a:p>
            <a:endParaRPr/>
          </a:p>
        </p:txBody>
      </p:sp>
      <p:sp>
        <p:nvSpPr>
          <p:cNvPr id="1820" name="object 1820"/>
          <p:cNvSpPr/>
          <p:nvPr/>
        </p:nvSpPr>
        <p:spPr>
          <a:xfrm>
            <a:off x="7831863" y="1401768"/>
            <a:ext cx="168895" cy="314392"/>
          </a:xfrm>
          <a:custGeom>
            <a:avLst/>
            <a:gdLst/>
            <a:ahLst/>
            <a:cxnLst/>
            <a:rect l="l" t="t" r="r" b="b"/>
            <a:pathLst>
              <a:path w="168895" h="314392">
                <a:moveTo>
                  <a:pt x="168647" y="314392"/>
                </a:moveTo>
                <a:lnTo>
                  <a:pt x="168895" y="35042"/>
                </a:lnTo>
                <a:lnTo>
                  <a:pt x="162943" y="23196"/>
                </a:lnTo>
                <a:lnTo>
                  <a:pt x="153518" y="17274"/>
                </a:lnTo>
                <a:lnTo>
                  <a:pt x="140870" y="12338"/>
                </a:lnTo>
                <a:lnTo>
                  <a:pt x="125989" y="8637"/>
                </a:lnTo>
                <a:lnTo>
                  <a:pt x="110116" y="5675"/>
                </a:lnTo>
                <a:lnTo>
                  <a:pt x="102180" y="4441"/>
                </a:lnTo>
                <a:lnTo>
                  <a:pt x="94244" y="3208"/>
                </a:lnTo>
                <a:lnTo>
                  <a:pt x="86555" y="1974"/>
                </a:lnTo>
                <a:lnTo>
                  <a:pt x="79115" y="987"/>
                </a:lnTo>
                <a:lnTo>
                  <a:pt x="72419" y="0"/>
                </a:lnTo>
                <a:lnTo>
                  <a:pt x="67211" y="1727"/>
                </a:lnTo>
                <a:lnTo>
                  <a:pt x="61754" y="3701"/>
                </a:lnTo>
                <a:lnTo>
                  <a:pt x="55802" y="5429"/>
                </a:lnTo>
                <a:lnTo>
                  <a:pt x="49850" y="7650"/>
                </a:lnTo>
                <a:lnTo>
                  <a:pt x="43897" y="9871"/>
                </a:lnTo>
                <a:lnTo>
                  <a:pt x="37945" y="12092"/>
                </a:lnTo>
                <a:lnTo>
                  <a:pt x="26289" y="17027"/>
                </a:lnTo>
                <a:lnTo>
                  <a:pt x="15872" y="22703"/>
                </a:lnTo>
                <a:lnTo>
                  <a:pt x="7688" y="28872"/>
                </a:lnTo>
                <a:lnTo>
                  <a:pt x="496" y="39977"/>
                </a:lnTo>
                <a:lnTo>
                  <a:pt x="0" y="43926"/>
                </a:lnTo>
                <a:lnTo>
                  <a:pt x="248" y="309209"/>
                </a:lnTo>
                <a:lnTo>
                  <a:pt x="168647" y="314392"/>
                </a:lnTo>
                <a:close/>
              </a:path>
            </a:pathLst>
          </a:custGeom>
          <a:solidFill>
            <a:srgbClr val="000000"/>
          </a:solidFill>
        </p:spPr>
        <p:txBody>
          <a:bodyPr wrap="square" lIns="0" tIns="0" rIns="0" bIns="0" rtlCol="0">
            <a:noAutofit/>
          </a:bodyPr>
          <a:lstStyle/>
          <a:p>
            <a:endParaRPr/>
          </a:p>
        </p:txBody>
      </p:sp>
      <p:sp>
        <p:nvSpPr>
          <p:cNvPr id="1821" name="object 1821"/>
          <p:cNvSpPr/>
          <p:nvPr/>
        </p:nvSpPr>
        <p:spPr>
          <a:xfrm>
            <a:off x="7830623" y="1400535"/>
            <a:ext cx="74155" cy="46147"/>
          </a:xfrm>
          <a:custGeom>
            <a:avLst/>
            <a:gdLst/>
            <a:ahLst/>
            <a:cxnLst/>
            <a:rect l="l" t="t" r="r" b="b"/>
            <a:pathLst>
              <a:path w="74155" h="46147">
                <a:moveTo>
                  <a:pt x="496" y="40964"/>
                </a:moveTo>
                <a:lnTo>
                  <a:pt x="0" y="45159"/>
                </a:lnTo>
                <a:lnTo>
                  <a:pt x="496" y="45900"/>
                </a:lnTo>
                <a:lnTo>
                  <a:pt x="1240" y="46147"/>
                </a:lnTo>
                <a:lnTo>
                  <a:pt x="1984" y="45900"/>
                </a:lnTo>
                <a:lnTo>
                  <a:pt x="2480" y="45159"/>
                </a:lnTo>
                <a:lnTo>
                  <a:pt x="2976" y="41458"/>
                </a:lnTo>
                <a:lnTo>
                  <a:pt x="4216" y="37756"/>
                </a:lnTo>
                <a:lnTo>
                  <a:pt x="6696" y="34301"/>
                </a:lnTo>
                <a:lnTo>
                  <a:pt x="9672" y="31093"/>
                </a:lnTo>
                <a:lnTo>
                  <a:pt x="13392" y="27885"/>
                </a:lnTo>
                <a:lnTo>
                  <a:pt x="17856" y="24924"/>
                </a:lnTo>
                <a:lnTo>
                  <a:pt x="22569" y="21963"/>
                </a:lnTo>
                <a:lnTo>
                  <a:pt x="28025" y="19495"/>
                </a:lnTo>
                <a:lnTo>
                  <a:pt x="33729" y="17027"/>
                </a:lnTo>
                <a:lnTo>
                  <a:pt x="39681" y="14559"/>
                </a:lnTo>
                <a:lnTo>
                  <a:pt x="45634" y="12338"/>
                </a:lnTo>
                <a:lnTo>
                  <a:pt x="51586" y="10117"/>
                </a:lnTo>
                <a:lnTo>
                  <a:pt x="57538" y="7896"/>
                </a:lnTo>
                <a:lnTo>
                  <a:pt x="63490" y="6169"/>
                </a:lnTo>
                <a:lnTo>
                  <a:pt x="68947" y="4195"/>
                </a:lnTo>
                <a:lnTo>
                  <a:pt x="74155" y="2467"/>
                </a:lnTo>
                <a:lnTo>
                  <a:pt x="73163" y="0"/>
                </a:lnTo>
                <a:lnTo>
                  <a:pt x="67955" y="1727"/>
                </a:lnTo>
                <a:lnTo>
                  <a:pt x="62498" y="3701"/>
                </a:lnTo>
                <a:lnTo>
                  <a:pt x="56546" y="5429"/>
                </a:lnTo>
                <a:lnTo>
                  <a:pt x="50594" y="7650"/>
                </a:lnTo>
                <a:lnTo>
                  <a:pt x="44642" y="9871"/>
                </a:lnTo>
                <a:lnTo>
                  <a:pt x="38689" y="12092"/>
                </a:lnTo>
                <a:lnTo>
                  <a:pt x="32737" y="14559"/>
                </a:lnTo>
                <a:lnTo>
                  <a:pt x="27033" y="17027"/>
                </a:lnTo>
                <a:lnTo>
                  <a:pt x="21576" y="19988"/>
                </a:lnTo>
                <a:lnTo>
                  <a:pt x="16368" y="22950"/>
                </a:lnTo>
                <a:lnTo>
                  <a:pt x="11904" y="25911"/>
                </a:lnTo>
                <a:lnTo>
                  <a:pt x="8184" y="29119"/>
                </a:lnTo>
                <a:lnTo>
                  <a:pt x="4712" y="32821"/>
                </a:lnTo>
                <a:lnTo>
                  <a:pt x="2232" y="36769"/>
                </a:lnTo>
                <a:lnTo>
                  <a:pt x="496" y="40964"/>
                </a:lnTo>
                <a:close/>
              </a:path>
            </a:pathLst>
          </a:custGeom>
          <a:solidFill>
            <a:srgbClr val="000000"/>
          </a:solidFill>
        </p:spPr>
        <p:txBody>
          <a:bodyPr wrap="square" lIns="0" tIns="0" rIns="0" bIns="0" rtlCol="0">
            <a:noAutofit/>
          </a:bodyPr>
          <a:lstStyle/>
          <a:p>
            <a:endParaRPr/>
          </a:p>
        </p:txBody>
      </p:sp>
      <p:sp>
        <p:nvSpPr>
          <p:cNvPr id="1822" name="object 1822"/>
          <p:cNvSpPr/>
          <p:nvPr/>
        </p:nvSpPr>
        <p:spPr>
          <a:xfrm>
            <a:off x="7831738" y="1709744"/>
            <a:ext cx="1116" cy="2220"/>
          </a:xfrm>
          <a:custGeom>
            <a:avLst/>
            <a:gdLst/>
            <a:ahLst/>
            <a:cxnLst/>
            <a:rect l="l" t="t" r="r" b="b"/>
            <a:pathLst>
              <a:path w="1116" h="2220">
                <a:moveTo>
                  <a:pt x="372" y="0"/>
                </a:moveTo>
                <a:lnTo>
                  <a:pt x="0" y="2097"/>
                </a:lnTo>
                <a:lnTo>
                  <a:pt x="372" y="2220"/>
                </a:lnTo>
                <a:lnTo>
                  <a:pt x="1116" y="1974"/>
                </a:lnTo>
                <a:lnTo>
                  <a:pt x="372" y="0"/>
                </a:lnTo>
                <a:close/>
              </a:path>
            </a:pathLst>
          </a:custGeom>
          <a:solidFill>
            <a:srgbClr val="000000"/>
          </a:solidFill>
        </p:spPr>
        <p:txBody>
          <a:bodyPr wrap="square" lIns="0" tIns="0" rIns="0" bIns="0" rtlCol="0">
            <a:noAutofit/>
          </a:bodyPr>
          <a:lstStyle/>
          <a:p>
            <a:endParaRPr/>
          </a:p>
        </p:txBody>
      </p:sp>
      <p:sp>
        <p:nvSpPr>
          <p:cNvPr id="1823" name="object 1823"/>
          <p:cNvSpPr/>
          <p:nvPr/>
        </p:nvSpPr>
        <p:spPr>
          <a:xfrm>
            <a:off x="7830622" y="1445695"/>
            <a:ext cx="2728" cy="266147"/>
          </a:xfrm>
          <a:custGeom>
            <a:avLst/>
            <a:gdLst/>
            <a:ahLst/>
            <a:cxnLst/>
            <a:rect l="l" t="t" r="r" b="b"/>
            <a:pathLst>
              <a:path w="2728" h="266147">
                <a:moveTo>
                  <a:pt x="2232" y="266024"/>
                </a:moveTo>
                <a:lnTo>
                  <a:pt x="2728" y="265283"/>
                </a:lnTo>
                <a:lnTo>
                  <a:pt x="2480" y="0"/>
                </a:lnTo>
                <a:lnTo>
                  <a:pt x="0" y="0"/>
                </a:lnTo>
                <a:lnTo>
                  <a:pt x="248" y="265283"/>
                </a:lnTo>
                <a:lnTo>
                  <a:pt x="744" y="266024"/>
                </a:lnTo>
                <a:lnTo>
                  <a:pt x="1116" y="266147"/>
                </a:lnTo>
                <a:lnTo>
                  <a:pt x="1488" y="264049"/>
                </a:lnTo>
                <a:lnTo>
                  <a:pt x="2232" y="266024"/>
                </a:lnTo>
                <a:close/>
              </a:path>
            </a:pathLst>
          </a:custGeom>
          <a:solidFill>
            <a:srgbClr val="000000"/>
          </a:solidFill>
        </p:spPr>
        <p:txBody>
          <a:bodyPr wrap="square" lIns="0" tIns="0" rIns="0" bIns="0" rtlCol="0">
            <a:noAutofit/>
          </a:bodyPr>
          <a:lstStyle/>
          <a:p>
            <a:endParaRPr/>
          </a:p>
        </p:txBody>
      </p:sp>
      <p:sp>
        <p:nvSpPr>
          <p:cNvPr id="1824" name="object 1824"/>
          <p:cNvSpPr/>
          <p:nvPr/>
        </p:nvSpPr>
        <p:spPr>
          <a:xfrm>
            <a:off x="7832111" y="1709744"/>
            <a:ext cx="169639" cy="7650"/>
          </a:xfrm>
          <a:custGeom>
            <a:avLst/>
            <a:gdLst/>
            <a:ahLst/>
            <a:cxnLst/>
            <a:rect l="l" t="t" r="r" b="b"/>
            <a:pathLst>
              <a:path w="169639" h="7650">
                <a:moveTo>
                  <a:pt x="169143" y="7156"/>
                </a:moveTo>
                <a:lnTo>
                  <a:pt x="169639" y="6416"/>
                </a:lnTo>
                <a:lnTo>
                  <a:pt x="169143" y="5675"/>
                </a:lnTo>
                <a:lnTo>
                  <a:pt x="168399" y="5182"/>
                </a:lnTo>
                <a:lnTo>
                  <a:pt x="0" y="0"/>
                </a:lnTo>
                <a:lnTo>
                  <a:pt x="0" y="2467"/>
                </a:lnTo>
                <a:lnTo>
                  <a:pt x="168399" y="7650"/>
                </a:lnTo>
                <a:lnTo>
                  <a:pt x="167159" y="6416"/>
                </a:lnTo>
                <a:lnTo>
                  <a:pt x="168399" y="7650"/>
                </a:lnTo>
                <a:lnTo>
                  <a:pt x="169143" y="7156"/>
                </a:lnTo>
                <a:close/>
              </a:path>
            </a:pathLst>
          </a:custGeom>
          <a:solidFill>
            <a:srgbClr val="000000"/>
          </a:solidFill>
        </p:spPr>
        <p:txBody>
          <a:bodyPr wrap="square" lIns="0" tIns="0" rIns="0" bIns="0" rtlCol="0">
            <a:noAutofit/>
          </a:bodyPr>
          <a:lstStyle/>
          <a:p>
            <a:endParaRPr/>
          </a:p>
        </p:txBody>
      </p:sp>
      <p:sp>
        <p:nvSpPr>
          <p:cNvPr id="1825" name="object 1825"/>
          <p:cNvSpPr/>
          <p:nvPr/>
        </p:nvSpPr>
        <p:spPr>
          <a:xfrm>
            <a:off x="7999269" y="1435577"/>
            <a:ext cx="2728" cy="280583"/>
          </a:xfrm>
          <a:custGeom>
            <a:avLst/>
            <a:gdLst/>
            <a:ahLst/>
            <a:cxnLst/>
            <a:rect l="l" t="t" r="r" b="b"/>
            <a:pathLst>
              <a:path w="2728" h="280583">
                <a:moveTo>
                  <a:pt x="248" y="1233"/>
                </a:moveTo>
                <a:lnTo>
                  <a:pt x="0" y="280583"/>
                </a:lnTo>
                <a:lnTo>
                  <a:pt x="2480" y="280583"/>
                </a:lnTo>
                <a:lnTo>
                  <a:pt x="2728" y="1233"/>
                </a:lnTo>
                <a:lnTo>
                  <a:pt x="2232" y="493"/>
                </a:lnTo>
                <a:lnTo>
                  <a:pt x="1488" y="0"/>
                </a:lnTo>
                <a:lnTo>
                  <a:pt x="744" y="493"/>
                </a:lnTo>
                <a:lnTo>
                  <a:pt x="248" y="1233"/>
                </a:lnTo>
                <a:close/>
              </a:path>
            </a:pathLst>
          </a:custGeom>
          <a:solidFill>
            <a:srgbClr val="000000"/>
          </a:solidFill>
        </p:spPr>
        <p:txBody>
          <a:bodyPr wrap="square" lIns="0" tIns="0" rIns="0" bIns="0" rtlCol="0">
            <a:noAutofit/>
          </a:bodyPr>
          <a:lstStyle/>
          <a:p>
            <a:endParaRPr/>
          </a:p>
        </p:txBody>
      </p:sp>
      <p:sp>
        <p:nvSpPr>
          <p:cNvPr id="1826" name="object 1826"/>
          <p:cNvSpPr/>
          <p:nvPr/>
        </p:nvSpPr>
        <p:spPr>
          <a:xfrm>
            <a:off x="7904529" y="1400535"/>
            <a:ext cx="6696" cy="2467"/>
          </a:xfrm>
          <a:custGeom>
            <a:avLst/>
            <a:gdLst/>
            <a:ahLst/>
            <a:cxnLst/>
            <a:rect l="l" t="t" r="r" b="b"/>
            <a:pathLst>
              <a:path w="6696" h="2467">
                <a:moveTo>
                  <a:pt x="0" y="0"/>
                </a:moveTo>
                <a:lnTo>
                  <a:pt x="248" y="2467"/>
                </a:lnTo>
                <a:lnTo>
                  <a:pt x="6696" y="987"/>
                </a:lnTo>
                <a:lnTo>
                  <a:pt x="0" y="0"/>
                </a:lnTo>
                <a:close/>
              </a:path>
            </a:pathLst>
          </a:custGeom>
          <a:solidFill>
            <a:srgbClr val="000000"/>
          </a:solidFill>
        </p:spPr>
        <p:txBody>
          <a:bodyPr wrap="square" lIns="0" tIns="0" rIns="0" bIns="0" rtlCol="0">
            <a:noAutofit/>
          </a:bodyPr>
          <a:lstStyle/>
          <a:p>
            <a:endParaRPr/>
          </a:p>
        </p:txBody>
      </p:sp>
      <p:sp>
        <p:nvSpPr>
          <p:cNvPr id="1827" name="object 1827"/>
          <p:cNvSpPr/>
          <p:nvPr/>
        </p:nvSpPr>
        <p:spPr>
          <a:xfrm>
            <a:off x="7903289" y="1400534"/>
            <a:ext cx="98708" cy="36276"/>
          </a:xfrm>
          <a:custGeom>
            <a:avLst/>
            <a:gdLst/>
            <a:ahLst/>
            <a:cxnLst/>
            <a:rect l="l" t="t" r="r" b="b"/>
            <a:pathLst>
              <a:path w="98708" h="36276">
                <a:moveTo>
                  <a:pt x="744" y="2467"/>
                </a:moveTo>
                <a:lnTo>
                  <a:pt x="7440" y="3454"/>
                </a:lnTo>
                <a:lnTo>
                  <a:pt x="14880" y="4441"/>
                </a:lnTo>
                <a:lnTo>
                  <a:pt x="22569" y="5675"/>
                </a:lnTo>
                <a:lnTo>
                  <a:pt x="30505" y="6909"/>
                </a:lnTo>
                <a:lnTo>
                  <a:pt x="38441" y="8143"/>
                </a:lnTo>
                <a:lnTo>
                  <a:pt x="46378" y="9377"/>
                </a:lnTo>
                <a:lnTo>
                  <a:pt x="54314" y="11104"/>
                </a:lnTo>
                <a:lnTo>
                  <a:pt x="62002" y="12832"/>
                </a:lnTo>
                <a:lnTo>
                  <a:pt x="69195" y="14806"/>
                </a:lnTo>
                <a:lnTo>
                  <a:pt x="75643" y="17027"/>
                </a:lnTo>
                <a:lnTo>
                  <a:pt x="81595" y="19495"/>
                </a:lnTo>
                <a:lnTo>
                  <a:pt x="86555" y="22209"/>
                </a:lnTo>
                <a:lnTo>
                  <a:pt x="90772" y="25417"/>
                </a:lnTo>
                <a:lnTo>
                  <a:pt x="93748" y="28625"/>
                </a:lnTo>
                <a:lnTo>
                  <a:pt x="95484" y="32327"/>
                </a:lnTo>
                <a:lnTo>
                  <a:pt x="96228" y="36276"/>
                </a:lnTo>
                <a:lnTo>
                  <a:pt x="98708" y="36276"/>
                </a:lnTo>
                <a:lnTo>
                  <a:pt x="97964" y="31340"/>
                </a:lnTo>
                <a:lnTo>
                  <a:pt x="95732" y="27145"/>
                </a:lnTo>
                <a:lnTo>
                  <a:pt x="92260" y="23443"/>
                </a:lnTo>
                <a:lnTo>
                  <a:pt x="88043" y="20235"/>
                </a:lnTo>
                <a:lnTo>
                  <a:pt x="82587" y="17521"/>
                </a:lnTo>
                <a:lnTo>
                  <a:pt x="76635" y="14559"/>
                </a:lnTo>
                <a:lnTo>
                  <a:pt x="69691" y="12338"/>
                </a:lnTo>
                <a:lnTo>
                  <a:pt x="62498" y="10364"/>
                </a:lnTo>
                <a:lnTo>
                  <a:pt x="54810" y="8637"/>
                </a:lnTo>
                <a:lnTo>
                  <a:pt x="46874" y="6909"/>
                </a:lnTo>
                <a:lnTo>
                  <a:pt x="38937" y="5675"/>
                </a:lnTo>
                <a:lnTo>
                  <a:pt x="31001" y="4441"/>
                </a:lnTo>
                <a:lnTo>
                  <a:pt x="23065" y="3208"/>
                </a:lnTo>
                <a:lnTo>
                  <a:pt x="15376" y="1974"/>
                </a:lnTo>
                <a:lnTo>
                  <a:pt x="7936" y="987"/>
                </a:lnTo>
                <a:lnTo>
                  <a:pt x="1488" y="2467"/>
                </a:lnTo>
                <a:lnTo>
                  <a:pt x="1240" y="0"/>
                </a:lnTo>
                <a:lnTo>
                  <a:pt x="248" y="246"/>
                </a:lnTo>
                <a:lnTo>
                  <a:pt x="0" y="987"/>
                </a:lnTo>
                <a:lnTo>
                  <a:pt x="0" y="1974"/>
                </a:lnTo>
                <a:lnTo>
                  <a:pt x="744" y="2467"/>
                </a:lnTo>
                <a:close/>
              </a:path>
            </a:pathLst>
          </a:custGeom>
          <a:solidFill>
            <a:srgbClr val="000000"/>
          </a:solidFill>
        </p:spPr>
        <p:txBody>
          <a:bodyPr wrap="square" lIns="0" tIns="0" rIns="0" bIns="0" rtlCol="0">
            <a:noAutofit/>
          </a:bodyPr>
          <a:lstStyle/>
          <a:p>
            <a:endParaRPr/>
          </a:p>
        </p:txBody>
      </p:sp>
      <p:sp>
        <p:nvSpPr>
          <p:cNvPr id="1828" name="object 1828"/>
          <p:cNvSpPr/>
          <p:nvPr/>
        </p:nvSpPr>
        <p:spPr>
          <a:xfrm>
            <a:off x="7823926" y="1401768"/>
            <a:ext cx="168895" cy="314392"/>
          </a:xfrm>
          <a:custGeom>
            <a:avLst/>
            <a:gdLst/>
            <a:ahLst/>
            <a:cxnLst/>
            <a:rect l="l" t="t" r="r" b="b"/>
            <a:pathLst>
              <a:path w="168895" h="314392">
                <a:moveTo>
                  <a:pt x="168647" y="314392"/>
                </a:moveTo>
                <a:lnTo>
                  <a:pt x="168895" y="35042"/>
                </a:lnTo>
                <a:lnTo>
                  <a:pt x="162943" y="23196"/>
                </a:lnTo>
                <a:lnTo>
                  <a:pt x="153518" y="17274"/>
                </a:lnTo>
                <a:lnTo>
                  <a:pt x="140870" y="12338"/>
                </a:lnTo>
                <a:lnTo>
                  <a:pt x="125989" y="8637"/>
                </a:lnTo>
                <a:lnTo>
                  <a:pt x="110116" y="5675"/>
                </a:lnTo>
                <a:lnTo>
                  <a:pt x="102180" y="4441"/>
                </a:lnTo>
                <a:lnTo>
                  <a:pt x="94244" y="3208"/>
                </a:lnTo>
                <a:lnTo>
                  <a:pt x="86555" y="1974"/>
                </a:lnTo>
                <a:lnTo>
                  <a:pt x="79115" y="987"/>
                </a:lnTo>
                <a:lnTo>
                  <a:pt x="72419" y="0"/>
                </a:lnTo>
                <a:lnTo>
                  <a:pt x="67211" y="1727"/>
                </a:lnTo>
                <a:lnTo>
                  <a:pt x="61754" y="3701"/>
                </a:lnTo>
                <a:lnTo>
                  <a:pt x="55802" y="5429"/>
                </a:lnTo>
                <a:lnTo>
                  <a:pt x="49850" y="7650"/>
                </a:lnTo>
                <a:lnTo>
                  <a:pt x="43897" y="9871"/>
                </a:lnTo>
                <a:lnTo>
                  <a:pt x="37945" y="12092"/>
                </a:lnTo>
                <a:lnTo>
                  <a:pt x="26289" y="17027"/>
                </a:lnTo>
                <a:lnTo>
                  <a:pt x="15872" y="22703"/>
                </a:lnTo>
                <a:lnTo>
                  <a:pt x="7688" y="28872"/>
                </a:lnTo>
                <a:lnTo>
                  <a:pt x="496" y="39977"/>
                </a:lnTo>
                <a:lnTo>
                  <a:pt x="0" y="43926"/>
                </a:lnTo>
                <a:lnTo>
                  <a:pt x="248" y="309209"/>
                </a:lnTo>
                <a:lnTo>
                  <a:pt x="168647" y="314392"/>
                </a:lnTo>
                <a:close/>
              </a:path>
            </a:pathLst>
          </a:custGeom>
          <a:solidFill>
            <a:srgbClr val="FFFFFF"/>
          </a:solidFill>
        </p:spPr>
        <p:txBody>
          <a:bodyPr wrap="square" lIns="0" tIns="0" rIns="0" bIns="0" rtlCol="0">
            <a:noAutofit/>
          </a:bodyPr>
          <a:lstStyle/>
          <a:p>
            <a:endParaRPr/>
          </a:p>
        </p:txBody>
      </p:sp>
      <p:sp>
        <p:nvSpPr>
          <p:cNvPr id="1829" name="object 1829"/>
          <p:cNvSpPr/>
          <p:nvPr/>
        </p:nvSpPr>
        <p:spPr>
          <a:xfrm>
            <a:off x="7822686" y="1400535"/>
            <a:ext cx="74155" cy="46147"/>
          </a:xfrm>
          <a:custGeom>
            <a:avLst/>
            <a:gdLst/>
            <a:ahLst/>
            <a:cxnLst/>
            <a:rect l="l" t="t" r="r" b="b"/>
            <a:pathLst>
              <a:path w="74155" h="46147">
                <a:moveTo>
                  <a:pt x="496" y="40964"/>
                </a:moveTo>
                <a:lnTo>
                  <a:pt x="0" y="45159"/>
                </a:lnTo>
                <a:lnTo>
                  <a:pt x="496" y="45900"/>
                </a:lnTo>
                <a:lnTo>
                  <a:pt x="1240" y="46147"/>
                </a:lnTo>
                <a:lnTo>
                  <a:pt x="1984" y="45900"/>
                </a:lnTo>
                <a:lnTo>
                  <a:pt x="2480" y="45159"/>
                </a:lnTo>
                <a:lnTo>
                  <a:pt x="2976" y="41458"/>
                </a:lnTo>
                <a:lnTo>
                  <a:pt x="4216" y="37756"/>
                </a:lnTo>
                <a:lnTo>
                  <a:pt x="6696" y="34301"/>
                </a:lnTo>
                <a:lnTo>
                  <a:pt x="9672" y="31093"/>
                </a:lnTo>
                <a:lnTo>
                  <a:pt x="13392" y="27885"/>
                </a:lnTo>
                <a:lnTo>
                  <a:pt x="17856" y="24924"/>
                </a:lnTo>
                <a:lnTo>
                  <a:pt x="22569" y="21963"/>
                </a:lnTo>
                <a:lnTo>
                  <a:pt x="28025" y="19495"/>
                </a:lnTo>
                <a:lnTo>
                  <a:pt x="33729" y="17027"/>
                </a:lnTo>
                <a:lnTo>
                  <a:pt x="39681" y="14559"/>
                </a:lnTo>
                <a:lnTo>
                  <a:pt x="45634" y="12338"/>
                </a:lnTo>
                <a:lnTo>
                  <a:pt x="51586" y="10117"/>
                </a:lnTo>
                <a:lnTo>
                  <a:pt x="57538" y="7896"/>
                </a:lnTo>
                <a:lnTo>
                  <a:pt x="63490" y="6169"/>
                </a:lnTo>
                <a:lnTo>
                  <a:pt x="68947" y="4195"/>
                </a:lnTo>
                <a:lnTo>
                  <a:pt x="74155" y="2467"/>
                </a:lnTo>
                <a:lnTo>
                  <a:pt x="73163" y="0"/>
                </a:lnTo>
                <a:lnTo>
                  <a:pt x="67955" y="1727"/>
                </a:lnTo>
                <a:lnTo>
                  <a:pt x="62498" y="3701"/>
                </a:lnTo>
                <a:lnTo>
                  <a:pt x="56546" y="5429"/>
                </a:lnTo>
                <a:lnTo>
                  <a:pt x="50594" y="7650"/>
                </a:lnTo>
                <a:lnTo>
                  <a:pt x="44642" y="9871"/>
                </a:lnTo>
                <a:lnTo>
                  <a:pt x="38689" y="12092"/>
                </a:lnTo>
                <a:lnTo>
                  <a:pt x="32737" y="14559"/>
                </a:lnTo>
                <a:lnTo>
                  <a:pt x="27033" y="17027"/>
                </a:lnTo>
                <a:lnTo>
                  <a:pt x="21576" y="19988"/>
                </a:lnTo>
                <a:lnTo>
                  <a:pt x="16368" y="22950"/>
                </a:lnTo>
                <a:lnTo>
                  <a:pt x="11904" y="25911"/>
                </a:lnTo>
                <a:lnTo>
                  <a:pt x="8184" y="29119"/>
                </a:lnTo>
                <a:lnTo>
                  <a:pt x="4712" y="32821"/>
                </a:lnTo>
                <a:lnTo>
                  <a:pt x="2232" y="36769"/>
                </a:lnTo>
                <a:lnTo>
                  <a:pt x="496" y="40964"/>
                </a:lnTo>
                <a:close/>
              </a:path>
            </a:pathLst>
          </a:custGeom>
          <a:solidFill>
            <a:srgbClr val="000000"/>
          </a:solidFill>
        </p:spPr>
        <p:txBody>
          <a:bodyPr wrap="square" lIns="0" tIns="0" rIns="0" bIns="0" rtlCol="0">
            <a:noAutofit/>
          </a:bodyPr>
          <a:lstStyle/>
          <a:p>
            <a:endParaRPr/>
          </a:p>
        </p:txBody>
      </p:sp>
      <p:sp>
        <p:nvSpPr>
          <p:cNvPr id="1830" name="object 1830"/>
          <p:cNvSpPr/>
          <p:nvPr/>
        </p:nvSpPr>
        <p:spPr>
          <a:xfrm>
            <a:off x="7823801" y="1709744"/>
            <a:ext cx="1116" cy="2220"/>
          </a:xfrm>
          <a:custGeom>
            <a:avLst/>
            <a:gdLst/>
            <a:ahLst/>
            <a:cxnLst/>
            <a:rect l="l" t="t" r="r" b="b"/>
            <a:pathLst>
              <a:path w="1116" h="2220">
                <a:moveTo>
                  <a:pt x="372" y="0"/>
                </a:moveTo>
                <a:lnTo>
                  <a:pt x="0" y="2097"/>
                </a:lnTo>
                <a:lnTo>
                  <a:pt x="372" y="2220"/>
                </a:lnTo>
                <a:lnTo>
                  <a:pt x="1116" y="1974"/>
                </a:lnTo>
                <a:lnTo>
                  <a:pt x="372" y="0"/>
                </a:lnTo>
                <a:close/>
              </a:path>
            </a:pathLst>
          </a:custGeom>
          <a:solidFill>
            <a:srgbClr val="000000"/>
          </a:solidFill>
        </p:spPr>
        <p:txBody>
          <a:bodyPr wrap="square" lIns="0" tIns="0" rIns="0" bIns="0" rtlCol="0">
            <a:noAutofit/>
          </a:bodyPr>
          <a:lstStyle/>
          <a:p>
            <a:endParaRPr/>
          </a:p>
        </p:txBody>
      </p:sp>
      <p:sp>
        <p:nvSpPr>
          <p:cNvPr id="1831" name="object 1831"/>
          <p:cNvSpPr/>
          <p:nvPr/>
        </p:nvSpPr>
        <p:spPr>
          <a:xfrm>
            <a:off x="7822685" y="1445695"/>
            <a:ext cx="2728" cy="266147"/>
          </a:xfrm>
          <a:custGeom>
            <a:avLst/>
            <a:gdLst/>
            <a:ahLst/>
            <a:cxnLst/>
            <a:rect l="l" t="t" r="r" b="b"/>
            <a:pathLst>
              <a:path w="2728" h="266147">
                <a:moveTo>
                  <a:pt x="2232" y="266024"/>
                </a:moveTo>
                <a:lnTo>
                  <a:pt x="2728" y="265283"/>
                </a:lnTo>
                <a:lnTo>
                  <a:pt x="2480" y="0"/>
                </a:lnTo>
                <a:lnTo>
                  <a:pt x="0" y="0"/>
                </a:lnTo>
                <a:lnTo>
                  <a:pt x="248" y="265283"/>
                </a:lnTo>
                <a:lnTo>
                  <a:pt x="744" y="266024"/>
                </a:lnTo>
                <a:lnTo>
                  <a:pt x="1116" y="266147"/>
                </a:lnTo>
                <a:lnTo>
                  <a:pt x="1488" y="264049"/>
                </a:lnTo>
                <a:lnTo>
                  <a:pt x="2232" y="266024"/>
                </a:lnTo>
                <a:close/>
              </a:path>
            </a:pathLst>
          </a:custGeom>
          <a:solidFill>
            <a:srgbClr val="000000"/>
          </a:solidFill>
        </p:spPr>
        <p:txBody>
          <a:bodyPr wrap="square" lIns="0" tIns="0" rIns="0" bIns="0" rtlCol="0">
            <a:noAutofit/>
          </a:bodyPr>
          <a:lstStyle/>
          <a:p>
            <a:endParaRPr/>
          </a:p>
        </p:txBody>
      </p:sp>
      <p:sp>
        <p:nvSpPr>
          <p:cNvPr id="1832" name="object 1832"/>
          <p:cNvSpPr/>
          <p:nvPr/>
        </p:nvSpPr>
        <p:spPr>
          <a:xfrm>
            <a:off x="7824174" y="1709744"/>
            <a:ext cx="169639" cy="7650"/>
          </a:xfrm>
          <a:custGeom>
            <a:avLst/>
            <a:gdLst/>
            <a:ahLst/>
            <a:cxnLst/>
            <a:rect l="l" t="t" r="r" b="b"/>
            <a:pathLst>
              <a:path w="169639" h="7650">
                <a:moveTo>
                  <a:pt x="169143" y="7156"/>
                </a:moveTo>
                <a:lnTo>
                  <a:pt x="169639" y="6416"/>
                </a:lnTo>
                <a:lnTo>
                  <a:pt x="169143" y="5675"/>
                </a:lnTo>
                <a:lnTo>
                  <a:pt x="168399" y="5182"/>
                </a:lnTo>
                <a:lnTo>
                  <a:pt x="0" y="0"/>
                </a:lnTo>
                <a:lnTo>
                  <a:pt x="0" y="2467"/>
                </a:lnTo>
                <a:lnTo>
                  <a:pt x="168399" y="7650"/>
                </a:lnTo>
                <a:lnTo>
                  <a:pt x="167159" y="6416"/>
                </a:lnTo>
                <a:lnTo>
                  <a:pt x="168399" y="7650"/>
                </a:lnTo>
                <a:lnTo>
                  <a:pt x="169143" y="7156"/>
                </a:lnTo>
                <a:close/>
              </a:path>
            </a:pathLst>
          </a:custGeom>
          <a:solidFill>
            <a:srgbClr val="000000"/>
          </a:solidFill>
        </p:spPr>
        <p:txBody>
          <a:bodyPr wrap="square" lIns="0" tIns="0" rIns="0" bIns="0" rtlCol="0">
            <a:noAutofit/>
          </a:bodyPr>
          <a:lstStyle/>
          <a:p>
            <a:endParaRPr/>
          </a:p>
        </p:txBody>
      </p:sp>
      <p:sp>
        <p:nvSpPr>
          <p:cNvPr id="1833" name="object 1833"/>
          <p:cNvSpPr/>
          <p:nvPr/>
        </p:nvSpPr>
        <p:spPr>
          <a:xfrm>
            <a:off x="7991333" y="1435577"/>
            <a:ext cx="2728" cy="280583"/>
          </a:xfrm>
          <a:custGeom>
            <a:avLst/>
            <a:gdLst/>
            <a:ahLst/>
            <a:cxnLst/>
            <a:rect l="l" t="t" r="r" b="b"/>
            <a:pathLst>
              <a:path w="2728" h="280583">
                <a:moveTo>
                  <a:pt x="248" y="1233"/>
                </a:moveTo>
                <a:lnTo>
                  <a:pt x="0" y="280583"/>
                </a:lnTo>
                <a:lnTo>
                  <a:pt x="2480" y="280583"/>
                </a:lnTo>
                <a:lnTo>
                  <a:pt x="2728" y="1233"/>
                </a:lnTo>
                <a:lnTo>
                  <a:pt x="2232" y="493"/>
                </a:lnTo>
                <a:lnTo>
                  <a:pt x="1488" y="0"/>
                </a:lnTo>
                <a:lnTo>
                  <a:pt x="744" y="493"/>
                </a:lnTo>
                <a:lnTo>
                  <a:pt x="248" y="1233"/>
                </a:lnTo>
                <a:close/>
              </a:path>
            </a:pathLst>
          </a:custGeom>
          <a:solidFill>
            <a:srgbClr val="000000"/>
          </a:solidFill>
        </p:spPr>
        <p:txBody>
          <a:bodyPr wrap="square" lIns="0" tIns="0" rIns="0" bIns="0" rtlCol="0">
            <a:noAutofit/>
          </a:bodyPr>
          <a:lstStyle/>
          <a:p>
            <a:endParaRPr/>
          </a:p>
        </p:txBody>
      </p:sp>
      <p:sp>
        <p:nvSpPr>
          <p:cNvPr id="1834" name="object 1834"/>
          <p:cNvSpPr/>
          <p:nvPr/>
        </p:nvSpPr>
        <p:spPr>
          <a:xfrm>
            <a:off x="7896593" y="1400535"/>
            <a:ext cx="6696" cy="2467"/>
          </a:xfrm>
          <a:custGeom>
            <a:avLst/>
            <a:gdLst/>
            <a:ahLst/>
            <a:cxnLst/>
            <a:rect l="l" t="t" r="r" b="b"/>
            <a:pathLst>
              <a:path w="6696" h="2467">
                <a:moveTo>
                  <a:pt x="0" y="0"/>
                </a:moveTo>
                <a:lnTo>
                  <a:pt x="248" y="2467"/>
                </a:lnTo>
                <a:lnTo>
                  <a:pt x="6696" y="987"/>
                </a:lnTo>
                <a:lnTo>
                  <a:pt x="0" y="0"/>
                </a:lnTo>
                <a:close/>
              </a:path>
            </a:pathLst>
          </a:custGeom>
          <a:solidFill>
            <a:srgbClr val="000000"/>
          </a:solidFill>
        </p:spPr>
        <p:txBody>
          <a:bodyPr wrap="square" lIns="0" tIns="0" rIns="0" bIns="0" rtlCol="0">
            <a:noAutofit/>
          </a:bodyPr>
          <a:lstStyle/>
          <a:p>
            <a:endParaRPr/>
          </a:p>
        </p:txBody>
      </p:sp>
      <p:sp>
        <p:nvSpPr>
          <p:cNvPr id="1835" name="object 1835"/>
          <p:cNvSpPr/>
          <p:nvPr/>
        </p:nvSpPr>
        <p:spPr>
          <a:xfrm>
            <a:off x="7895352" y="1400534"/>
            <a:ext cx="98708" cy="36276"/>
          </a:xfrm>
          <a:custGeom>
            <a:avLst/>
            <a:gdLst/>
            <a:ahLst/>
            <a:cxnLst/>
            <a:rect l="l" t="t" r="r" b="b"/>
            <a:pathLst>
              <a:path w="98708" h="36276">
                <a:moveTo>
                  <a:pt x="744" y="2467"/>
                </a:moveTo>
                <a:lnTo>
                  <a:pt x="7440" y="3454"/>
                </a:lnTo>
                <a:lnTo>
                  <a:pt x="14880" y="4441"/>
                </a:lnTo>
                <a:lnTo>
                  <a:pt x="22569" y="5675"/>
                </a:lnTo>
                <a:lnTo>
                  <a:pt x="30505" y="6909"/>
                </a:lnTo>
                <a:lnTo>
                  <a:pt x="38441" y="8143"/>
                </a:lnTo>
                <a:lnTo>
                  <a:pt x="46378" y="9377"/>
                </a:lnTo>
                <a:lnTo>
                  <a:pt x="54314" y="11104"/>
                </a:lnTo>
                <a:lnTo>
                  <a:pt x="62002" y="12832"/>
                </a:lnTo>
                <a:lnTo>
                  <a:pt x="69195" y="14806"/>
                </a:lnTo>
                <a:lnTo>
                  <a:pt x="75643" y="17027"/>
                </a:lnTo>
                <a:lnTo>
                  <a:pt x="81595" y="19495"/>
                </a:lnTo>
                <a:lnTo>
                  <a:pt x="86555" y="22209"/>
                </a:lnTo>
                <a:lnTo>
                  <a:pt x="90772" y="25417"/>
                </a:lnTo>
                <a:lnTo>
                  <a:pt x="93748" y="28625"/>
                </a:lnTo>
                <a:lnTo>
                  <a:pt x="95484" y="32327"/>
                </a:lnTo>
                <a:lnTo>
                  <a:pt x="96228" y="36276"/>
                </a:lnTo>
                <a:lnTo>
                  <a:pt x="98708" y="36276"/>
                </a:lnTo>
                <a:lnTo>
                  <a:pt x="97964" y="31340"/>
                </a:lnTo>
                <a:lnTo>
                  <a:pt x="95732" y="27145"/>
                </a:lnTo>
                <a:lnTo>
                  <a:pt x="92260" y="23443"/>
                </a:lnTo>
                <a:lnTo>
                  <a:pt x="88043" y="20235"/>
                </a:lnTo>
                <a:lnTo>
                  <a:pt x="82587" y="17521"/>
                </a:lnTo>
                <a:lnTo>
                  <a:pt x="76635" y="14559"/>
                </a:lnTo>
                <a:lnTo>
                  <a:pt x="69691" y="12338"/>
                </a:lnTo>
                <a:lnTo>
                  <a:pt x="62498" y="10364"/>
                </a:lnTo>
                <a:lnTo>
                  <a:pt x="54810" y="8637"/>
                </a:lnTo>
                <a:lnTo>
                  <a:pt x="46874" y="6909"/>
                </a:lnTo>
                <a:lnTo>
                  <a:pt x="38937" y="5675"/>
                </a:lnTo>
                <a:lnTo>
                  <a:pt x="31001" y="4441"/>
                </a:lnTo>
                <a:lnTo>
                  <a:pt x="23065" y="3208"/>
                </a:lnTo>
                <a:lnTo>
                  <a:pt x="15376" y="1974"/>
                </a:lnTo>
                <a:lnTo>
                  <a:pt x="7936" y="987"/>
                </a:lnTo>
                <a:lnTo>
                  <a:pt x="1488" y="2467"/>
                </a:lnTo>
                <a:lnTo>
                  <a:pt x="1240" y="0"/>
                </a:lnTo>
                <a:lnTo>
                  <a:pt x="248" y="246"/>
                </a:lnTo>
                <a:lnTo>
                  <a:pt x="0" y="987"/>
                </a:lnTo>
                <a:lnTo>
                  <a:pt x="0" y="1974"/>
                </a:lnTo>
                <a:lnTo>
                  <a:pt x="744" y="2467"/>
                </a:lnTo>
                <a:close/>
              </a:path>
            </a:pathLst>
          </a:custGeom>
          <a:solidFill>
            <a:srgbClr val="000000"/>
          </a:solidFill>
        </p:spPr>
        <p:txBody>
          <a:bodyPr wrap="square" lIns="0" tIns="0" rIns="0" bIns="0" rtlCol="0">
            <a:noAutofit/>
          </a:bodyPr>
          <a:lstStyle/>
          <a:p>
            <a:endParaRPr/>
          </a:p>
        </p:txBody>
      </p:sp>
      <p:sp>
        <p:nvSpPr>
          <p:cNvPr id="1836" name="object 1836"/>
          <p:cNvSpPr/>
          <p:nvPr/>
        </p:nvSpPr>
        <p:spPr>
          <a:xfrm>
            <a:off x="7831862" y="1438785"/>
            <a:ext cx="149302" cy="266517"/>
          </a:xfrm>
          <a:custGeom>
            <a:avLst/>
            <a:gdLst/>
            <a:ahLst/>
            <a:cxnLst/>
            <a:rect l="l" t="t" r="r" b="b"/>
            <a:pathLst>
              <a:path w="149302" h="266517">
                <a:moveTo>
                  <a:pt x="149302" y="0"/>
                </a:moveTo>
                <a:lnTo>
                  <a:pt x="0" y="9871"/>
                </a:lnTo>
                <a:lnTo>
                  <a:pt x="248" y="261088"/>
                </a:lnTo>
                <a:lnTo>
                  <a:pt x="149302" y="266517"/>
                </a:lnTo>
                <a:lnTo>
                  <a:pt x="149302" y="0"/>
                </a:lnTo>
                <a:close/>
              </a:path>
            </a:pathLst>
          </a:custGeom>
          <a:solidFill>
            <a:srgbClr val="000000"/>
          </a:solidFill>
        </p:spPr>
        <p:txBody>
          <a:bodyPr wrap="square" lIns="0" tIns="0" rIns="0" bIns="0" rtlCol="0">
            <a:noAutofit/>
          </a:bodyPr>
          <a:lstStyle/>
          <a:p>
            <a:endParaRPr/>
          </a:p>
        </p:txBody>
      </p:sp>
      <p:sp>
        <p:nvSpPr>
          <p:cNvPr id="1837" name="object 1837"/>
          <p:cNvSpPr/>
          <p:nvPr/>
        </p:nvSpPr>
        <p:spPr>
          <a:xfrm>
            <a:off x="7832359" y="1409912"/>
            <a:ext cx="75643" cy="36029"/>
          </a:xfrm>
          <a:custGeom>
            <a:avLst/>
            <a:gdLst/>
            <a:ahLst/>
            <a:cxnLst/>
            <a:rect l="l" t="t" r="r" b="b"/>
            <a:pathLst>
              <a:path w="75643" h="36029">
                <a:moveTo>
                  <a:pt x="50098" y="5675"/>
                </a:moveTo>
                <a:lnTo>
                  <a:pt x="59770" y="0"/>
                </a:lnTo>
                <a:lnTo>
                  <a:pt x="55802" y="1727"/>
                </a:lnTo>
                <a:lnTo>
                  <a:pt x="51338" y="3454"/>
                </a:lnTo>
                <a:lnTo>
                  <a:pt x="46626" y="4935"/>
                </a:lnTo>
                <a:lnTo>
                  <a:pt x="41913" y="6662"/>
                </a:lnTo>
                <a:lnTo>
                  <a:pt x="37201" y="8390"/>
                </a:lnTo>
                <a:lnTo>
                  <a:pt x="32241" y="10364"/>
                </a:lnTo>
                <a:lnTo>
                  <a:pt x="27529" y="12092"/>
                </a:lnTo>
                <a:lnTo>
                  <a:pt x="22817" y="14066"/>
                </a:lnTo>
                <a:lnTo>
                  <a:pt x="18600" y="16287"/>
                </a:lnTo>
                <a:lnTo>
                  <a:pt x="14384" y="18508"/>
                </a:lnTo>
                <a:lnTo>
                  <a:pt x="10664" y="20975"/>
                </a:lnTo>
                <a:lnTo>
                  <a:pt x="7440" y="23443"/>
                </a:lnTo>
                <a:lnTo>
                  <a:pt x="4464" y="26158"/>
                </a:lnTo>
                <a:lnTo>
                  <a:pt x="2232" y="29366"/>
                </a:lnTo>
                <a:lnTo>
                  <a:pt x="744" y="32574"/>
                </a:lnTo>
                <a:lnTo>
                  <a:pt x="0" y="36029"/>
                </a:lnTo>
                <a:lnTo>
                  <a:pt x="75643" y="30600"/>
                </a:lnTo>
                <a:lnTo>
                  <a:pt x="70931" y="30106"/>
                </a:lnTo>
                <a:lnTo>
                  <a:pt x="65970" y="29859"/>
                </a:lnTo>
                <a:lnTo>
                  <a:pt x="60514" y="29613"/>
                </a:lnTo>
                <a:lnTo>
                  <a:pt x="55306" y="29119"/>
                </a:lnTo>
                <a:lnTo>
                  <a:pt x="50098" y="28625"/>
                </a:lnTo>
                <a:lnTo>
                  <a:pt x="45138" y="28132"/>
                </a:lnTo>
                <a:lnTo>
                  <a:pt x="40673" y="27392"/>
                </a:lnTo>
                <a:lnTo>
                  <a:pt x="37201" y="26158"/>
                </a:lnTo>
                <a:lnTo>
                  <a:pt x="34473" y="24677"/>
                </a:lnTo>
                <a:lnTo>
                  <a:pt x="32985" y="22950"/>
                </a:lnTo>
                <a:lnTo>
                  <a:pt x="32985" y="20729"/>
                </a:lnTo>
                <a:lnTo>
                  <a:pt x="34473" y="17767"/>
                </a:lnTo>
                <a:lnTo>
                  <a:pt x="37697" y="14312"/>
                </a:lnTo>
                <a:lnTo>
                  <a:pt x="42657" y="10364"/>
                </a:lnTo>
                <a:lnTo>
                  <a:pt x="50098" y="5675"/>
                </a:lnTo>
                <a:close/>
              </a:path>
            </a:pathLst>
          </a:custGeom>
          <a:solidFill>
            <a:srgbClr val="000000"/>
          </a:solidFill>
        </p:spPr>
        <p:txBody>
          <a:bodyPr wrap="square" lIns="0" tIns="0" rIns="0" bIns="0" rtlCol="0">
            <a:noAutofit/>
          </a:bodyPr>
          <a:lstStyle/>
          <a:p>
            <a:endParaRPr/>
          </a:p>
        </p:txBody>
      </p:sp>
      <p:sp>
        <p:nvSpPr>
          <p:cNvPr id="1838" name="object 1838"/>
          <p:cNvSpPr/>
          <p:nvPr/>
        </p:nvSpPr>
        <p:spPr>
          <a:xfrm>
            <a:off x="7831862" y="1438785"/>
            <a:ext cx="149302" cy="266517"/>
          </a:xfrm>
          <a:custGeom>
            <a:avLst/>
            <a:gdLst/>
            <a:ahLst/>
            <a:cxnLst/>
            <a:rect l="l" t="t" r="r" b="b"/>
            <a:pathLst>
              <a:path w="149302" h="266517">
                <a:moveTo>
                  <a:pt x="0" y="9871"/>
                </a:moveTo>
                <a:lnTo>
                  <a:pt x="149302" y="0"/>
                </a:lnTo>
                <a:lnTo>
                  <a:pt x="149302" y="266517"/>
                </a:lnTo>
                <a:lnTo>
                  <a:pt x="248" y="261088"/>
                </a:lnTo>
                <a:lnTo>
                  <a:pt x="0" y="9871"/>
                </a:lnTo>
              </a:path>
            </a:pathLst>
          </a:custGeom>
          <a:ln w="247">
            <a:solidFill>
              <a:srgbClr val="000000"/>
            </a:solidFill>
          </a:ln>
        </p:spPr>
        <p:txBody>
          <a:bodyPr wrap="square" lIns="0" tIns="0" rIns="0" bIns="0" rtlCol="0">
            <a:noAutofit/>
          </a:bodyPr>
          <a:lstStyle/>
          <a:p>
            <a:endParaRPr/>
          </a:p>
        </p:txBody>
      </p:sp>
      <p:sp>
        <p:nvSpPr>
          <p:cNvPr id="1839" name="object 1839"/>
          <p:cNvSpPr/>
          <p:nvPr/>
        </p:nvSpPr>
        <p:spPr>
          <a:xfrm>
            <a:off x="7832359" y="1409912"/>
            <a:ext cx="75643" cy="36029"/>
          </a:xfrm>
          <a:custGeom>
            <a:avLst/>
            <a:gdLst/>
            <a:ahLst/>
            <a:cxnLst/>
            <a:rect l="l" t="t" r="r" b="b"/>
            <a:pathLst>
              <a:path w="75643" h="36029">
                <a:moveTo>
                  <a:pt x="59770" y="0"/>
                </a:moveTo>
                <a:lnTo>
                  <a:pt x="55802" y="1727"/>
                </a:lnTo>
                <a:lnTo>
                  <a:pt x="51338" y="3454"/>
                </a:lnTo>
                <a:lnTo>
                  <a:pt x="46626" y="4935"/>
                </a:lnTo>
                <a:lnTo>
                  <a:pt x="41913" y="6662"/>
                </a:lnTo>
                <a:lnTo>
                  <a:pt x="37201" y="8390"/>
                </a:lnTo>
                <a:lnTo>
                  <a:pt x="32241" y="10364"/>
                </a:lnTo>
                <a:lnTo>
                  <a:pt x="27529" y="12092"/>
                </a:lnTo>
                <a:lnTo>
                  <a:pt x="22817" y="14066"/>
                </a:lnTo>
                <a:lnTo>
                  <a:pt x="18600" y="16287"/>
                </a:lnTo>
                <a:lnTo>
                  <a:pt x="14384" y="18508"/>
                </a:lnTo>
                <a:lnTo>
                  <a:pt x="10664" y="20975"/>
                </a:lnTo>
                <a:lnTo>
                  <a:pt x="7440" y="23443"/>
                </a:lnTo>
                <a:lnTo>
                  <a:pt x="4464" y="26158"/>
                </a:lnTo>
                <a:lnTo>
                  <a:pt x="2232" y="29366"/>
                </a:lnTo>
                <a:lnTo>
                  <a:pt x="744" y="32574"/>
                </a:lnTo>
                <a:lnTo>
                  <a:pt x="0" y="36029"/>
                </a:lnTo>
                <a:lnTo>
                  <a:pt x="75643" y="30600"/>
                </a:lnTo>
                <a:lnTo>
                  <a:pt x="70931" y="30106"/>
                </a:lnTo>
                <a:lnTo>
                  <a:pt x="65970" y="29859"/>
                </a:lnTo>
                <a:lnTo>
                  <a:pt x="60514" y="29613"/>
                </a:lnTo>
                <a:lnTo>
                  <a:pt x="55306" y="29119"/>
                </a:lnTo>
                <a:lnTo>
                  <a:pt x="50098" y="28625"/>
                </a:lnTo>
                <a:lnTo>
                  <a:pt x="45138" y="28132"/>
                </a:lnTo>
                <a:lnTo>
                  <a:pt x="40673" y="27392"/>
                </a:lnTo>
                <a:lnTo>
                  <a:pt x="37201" y="26158"/>
                </a:lnTo>
                <a:lnTo>
                  <a:pt x="34473" y="24677"/>
                </a:lnTo>
                <a:lnTo>
                  <a:pt x="32985" y="22950"/>
                </a:lnTo>
                <a:lnTo>
                  <a:pt x="32985" y="20729"/>
                </a:lnTo>
                <a:lnTo>
                  <a:pt x="34473" y="17767"/>
                </a:lnTo>
                <a:lnTo>
                  <a:pt x="37697" y="14312"/>
                </a:lnTo>
                <a:lnTo>
                  <a:pt x="42657" y="10364"/>
                </a:lnTo>
                <a:lnTo>
                  <a:pt x="50098" y="5675"/>
                </a:lnTo>
                <a:lnTo>
                  <a:pt x="59770" y="0"/>
                </a:lnTo>
              </a:path>
            </a:pathLst>
          </a:custGeom>
          <a:ln w="247">
            <a:solidFill>
              <a:srgbClr val="000000"/>
            </a:solidFill>
          </a:ln>
        </p:spPr>
        <p:txBody>
          <a:bodyPr wrap="square" lIns="0" tIns="0" rIns="0" bIns="0" rtlCol="0">
            <a:noAutofit/>
          </a:bodyPr>
          <a:lstStyle/>
          <a:p>
            <a:endParaRPr/>
          </a:p>
        </p:txBody>
      </p:sp>
      <p:sp>
        <p:nvSpPr>
          <p:cNvPr id="1840" name="object 1840"/>
          <p:cNvSpPr/>
          <p:nvPr/>
        </p:nvSpPr>
        <p:spPr>
          <a:xfrm>
            <a:off x="7827149" y="1680872"/>
            <a:ext cx="4960" cy="9871"/>
          </a:xfrm>
          <a:custGeom>
            <a:avLst/>
            <a:gdLst/>
            <a:ahLst/>
            <a:cxnLst/>
            <a:rect l="l" t="t" r="r" b="b"/>
            <a:pathLst>
              <a:path w="4960" h="9871">
                <a:moveTo>
                  <a:pt x="4960" y="0"/>
                </a:moveTo>
                <a:lnTo>
                  <a:pt x="2728" y="246"/>
                </a:lnTo>
                <a:lnTo>
                  <a:pt x="1240" y="1480"/>
                </a:lnTo>
                <a:lnTo>
                  <a:pt x="248" y="2961"/>
                </a:lnTo>
                <a:lnTo>
                  <a:pt x="0" y="4688"/>
                </a:lnTo>
                <a:lnTo>
                  <a:pt x="0" y="6662"/>
                </a:lnTo>
                <a:lnTo>
                  <a:pt x="992" y="8143"/>
                </a:lnTo>
                <a:lnTo>
                  <a:pt x="2480" y="9377"/>
                </a:lnTo>
                <a:lnTo>
                  <a:pt x="4464" y="9871"/>
                </a:lnTo>
                <a:lnTo>
                  <a:pt x="4960" y="0"/>
                </a:lnTo>
                <a:close/>
              </a:path>
            </a:pathLst>
          </a:custGeom>
          <a:solidFill>
            <a:srgbClr val="FFFFFF"/>
          </a:solidFill>
        </p:spPr>
        <p:txBody>
          <a:bodyPr wrap="square" lIns="0" tIns="0" rIns="0" bIns="0" rtlCol="0">
            <a:noAutofit/>
          </a:bodyPr>
          <a:lstStyle/>
          <a:p>
            <a:endParaRPr/>
          </a:p>
        </p:txBody>
      </p:sp>
      <p:sp>
        <p:nvSpPr>
          <p:cNvPr id="1841" name="object 1841"/>
          <p:cNvSpPr/>
          <p:nvPr/>
        </p:nvSpPr>
        <p:spPr>
          <a:xfrm>
            <a:off x="7831614" y="1680871"/>
            <a:ext cx="149798" cy="15300"/>
          </a:xfrm>
          <a:custGeom>
            <a:avLst/>
            <a:gdLst/>
            <a:ahLst/>
            <a:cxnLst/>
            <a:rect l="l" t="t" r="r" b="b"/>
            <a:pathLst>
              <a:path w="149798" h="15300">
                <a:moveTo>
                  <a:pt x="149550" y="10364"/>
                </a:moveTo>
                <a:lnTo>
                  <a:pt x="149798" y="5429"/>
                </a:lnTo>
                <a:lnTo>
                  <a:pt x="496" y="0"/>
                </a:lnTo>
                <a:lnTo>
                  <a:pt x="0" y="9871"/>
                </a:lnTo>
                <a:lnTo>
                  <a:pt x="149302" y="15300"/>
                </a:lnTo>
                <a:lnTo>
                  <a:pt x="149550" y="10364"/>
                </a:lnTo>
                <a:close/>
              </a:path>
            </a:pathLst>
          </a:custGeom>
          <a:solidFill>
            <a:srgbClr val="FFFFFF"/>
          </a:solidFill>
        </p:spPr>
        <p:txBody>
          <a:bodyPr wrap="square" lIns="0" tIns="0" rIns="0" bIns="0" rtlCol="0">
            <a:noAutofit/>
          </a:bodyPr>
          <a:lstStyle/>
          <a:p>
            <a:endParaRPr/>
          </a:p>
        </p:txBody>
      </p:sp>
      <p:sp>
        <p:nvSpPr>
          <p:cNvPr id="1842" name="object 1842"/>
          <p:cNvSpPr/>
          <p:nvPr/>
        </p:nvSpPr>
        <p:spPr>
          <a:xfrm>
            <a:off x="7980916" y="1686301"/>
            <a:ext cx="5208" cy="9871"/>
          </a:xfrm>
          <a:custGeom>
            <a:avLst/>
            <a:gdLst/>
            <a:ahLst/>
            <a:cxnLst/>
            <a:rect l="l" t="t" r="r" b="b"/>
            <a:pathLst>
              <a:path w="5208" h="9871">
                <a:moveTo>
                  <a:pt x="0" y="9871"/>
                </a:moveTo>
                <a:lnTo>
                  <a:pt x="2232" y="9624"/>
                </a:lnTo>
                <a:lnTo>
                  <a:pt x="3720" y="8390"/>
                </a:lnTo>
                <a:lnTo>
                  <a:pt x="4712" y="6909"/>
                </a:lnTo>
                <a:lnTo>
                  <a:pt x="5208" y="5182"/>
                </a:lnTo>
                <a:lnTo>
                  <a:pt x="4960" y="3208"/>
                </a:lnTo>
                <a:lnTo>
                  <a:pt x="3968" y="1727"/>
                </a:lnTo>
                <a:lnTo>
                  <a:pt x="2480" y="493"/>
                </a:lnTo>
                <a:lnTo>
                  <a:pt x="496" y="0"/>
                </a:lnTo>
                <a:lnTo>
                  <a:pt x="0" y="9871"/>
                </a:lnTo>
                <a:close/>
              </a:path>
            </a:pathLst>
          </a:custGeom>
          <a:solidFill>
            <a:srgbClr val="FFFFFF"/>
          </a:solidFill>
        </p:spPr>
        <p:txBody>
          <a:bodyPr wrap="square" lIns="0" tIns="0" rIns="0" bIns="0" rtlCol="0">
            <a:noAutofit/>
          </a:bodyPr>
          <a:lstStyle/>
          <a:p>
            <a:endParaRPr/>
          </a:p>
        </p:txBody>
      </p:sp>
      <p:sp>
        <p:nvSpPr>
          <p:cNvPr id="1843" name="object 1843"/>
          <p:cNvSpPr/>
          <p:nvPr/>
        </p:nvSpPr>
        <p:spPr>
          <a:xfrm>
            <a:off x="7827149" y="1664585"/>
            <a:ext cx="4960" cy="9871"/>
          </a:xfrm>
          <a:custGeom>
            <a:avLst/>
            <a:gdLst/>
            <a:ahLst/>
            <a:cxnLst/>
            <a:rect l="l" t="t" r="r" b="b"/>
            <a:pathLst>
              <a:path w="4960" h="9871">
                <a:moveTo>
                  <a:pt x="4960" y="0"/>
                </a:moveTo>
                <a:lnTo>
                  <a:pt x="2728" y="246"/>
                </a:lnTo>
                <a:lnTo>
                  <a:pt x="1240" y="1480"/>
                </a:lnTo>
                <a:lnTo>
                  <a:pt x="248" y="2961"/>
                </a:lnTo>
                <a:lnTo>
                  <a:pt x="0" y="4688"/>
                </a:lnTo>
                <a:lnTo>
                  <a:pt x="0" y="6662"/>
                </a:lnTo>
                <a:lnTo>
                  <a:pt x="992" y="8143"/>
                </a:lnTo>
                <a:lnTo>
                  <a:pt x="2480" y="9377"/>
                </a:lnTo>
                <a:lnTo>
                  <a:pt x="4464" y="9871"/>
                </a:lnTo>
                <a:lnTo>
                  <a:pt x="4960" y="0"/>
                </a:lnTo>
                <a:close/>
              </a:path>
            </a:pathLst>
          </a:custGeom>
          <a:solidFill>
            <a:srgbClr val="FFFFFF"/>
          </a:solidFill>
        </p:spPr>
        <p:txBody>
          <a:bodyPr wrap="square" lIns="0" tIns="0" rIns="0" bIns="0" rtlCol="0">
            <a:noAutofit/>
          </a:bodyPr>
          <a:lstStyle/>
          <a:p>
            <a:endParaRPr/>
          </a:p>
        </p:txBody>
      </p:sp>
      <p:sp>
        <p:nvSpPr>
          <p:cNvPr id="1844" name="object 1844"/>
          <p:cNvSpPr/>
          <p:nvPr/>
        </p:nvSpPr>
        <p:spPr>
          <a:xfrm>
            <a:off x="7831614" y="1664585"/>
            <a:ext cx="149798" cy="14559"/>
          </a:xfrm>
          <a:custGeom>
            <a:avLst/>
            <a:gdLst/>
            <a:ahLst/>
            <a:cxnLst/>
            <a:rect l="l" t="t" r="r" b="b"/>
            <a:pathLst>
              <a:path w="149798" h="14559">
                <a:moveTo>
                  <a:pt x="149550" y="9624"/>
                </a:moveTo>
                <a:lnTo>
                  <a:pt x="149798" y="4688"/>
                </a:lnTo>
                <a:lnTo>
                  <a:pt x="496" y="0"/>
                </a:lnTo>
                <a:lnTo>
                  <a:pt x="0" y="9871"/>
                </a:lnTo>
                <a:lnTo>
                  <a:pt x="149302" y="14559"/>
                </a:lnTo>
                <a:lnTo>
                  <a:pt x="149550" y="9624"/>
                </a:lnTo>
                <a:close/>
              </a:path>
            </a:pathLst>
          </a:custGeom>
          <a:solidFill>
            <a:srgbClr val="FFFFFF"/>
          </a:solidFill>
        </p:spPr>
        <p:txBody>
          <a:bodyPr wrap="square" lIns="0" tIns="0" rIns="0" bIns="0" rtlCol="0">
            <a:noAutofit/>
          </a:bodyPr>
          <a:lstStyle/>
          <a:p>
            <a:endParaRPr/>
          </a:p>
        </p:txBody>
      </p:sp>
      <p:sp>
        <p:nvSpPr>
          <p:cNvPr id="1845" name="object 1845"/>
          <p:cNvSpPr/>
          <p:nvPr/>
        </p:nvSpPr>
        <p:spPr>
          <a:xfrm>
            <a:off x="7980916" y="1669274"/>
            <a:ext cx="5208" cy="9871"/>
          </a:xfrm>
          <a:custGeom>
            <a:avLst/>
            <a:gdLst/>
            <a:ahLst/>
            <a:cxnLst/>
            <a:rect l="l" t="t" r="r" b="b"/>
            <a:pathLst>
              <a:path w="5208" h="9871">
                <a:moveTo>
                  <a:pt x="0" y="9871"/>
                </a:moveTo>
                <a:lnTo>
                  <a:pt x="2232" y="9624"/>
                </a:lnTo>
                <a:lnTo>
                  <a:pt x="3720" y="8390"/>
                </a:lnTo>
                <a:lnTo>
                  <a:pt x="4712" y="6909"/>
                </a:lnTo>
                <a:lnTo>
                  <a:pt x="5208" y="5182"/>
                </a:lnTo>
                <a:lnTo>
                  <a:pt x="4960" y="3208"/>
                </a:lnTo>
                <a:lnTo>
                  <a:pt x="3968" y="1727"/>
                </a:lnTo>
                <a:lnTo>
                  <a:pt x="2480" y="493"/>
                </a:lnTo>
                <a:lnTo>
                  <a:pt x="496" y="0"/>
                </a:lnTo>
                <a:lnTo>
                  <a:pt x="0" y="9871"/>
                </a:lnTo>
                <a:close/>
              </a:path>
            </a:pathLst>
          </a:custGeom>
          <a:solidFill>
            <a:srgbClr val="FFFFFF"/>
          </a:solidFill>
        </p:spPr>
        <p:txBody>
          <a:bodyPr wrap="square" lIns="0" tIns="0" rIns="0" bIns="0" rtlCol="0">
            <a:noAutofit/>
          </a:bodyPr>
          <a:lstStyle/>
          <a:p>
            <a:endParaRPr/>
          </a:p>
        </p:txBody>
      </p:sp>
      <p:sp>
        <p:nvSpPr>
          <p:cNvPr id="1846" name="object 1846"/>
          <p:cNvSpPr/>
          <p:nvPr/>
        </p:nvSpPr>
        <p:spPr>
          <a:xfrm>
            <a:off x="7827149" y="1648544"/>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47" name="object 1847"/>
          <p:cNvSpPr/>
          <p:nvPr/>
        </p:nvSpPr>
        <p:spPr>
          <a:xfrm>
            <a:off x="7831862" y="1648544"/>
            <a:ext cx="149302" cy="13325"/>
          </a:xfrm>
          <a:custGeom>
            <a:avLst/>
            <a:gdLst/>
            <a:ahLst/>
            <a:cxnLst/>
            <a:rect l="l" t="t" r="r" b="b"/>
            <a:pathLst>
              <a:path w="149302" h="13325">
                <a:moveTo>
                  <a:pt x="149302" y="8390"/>
                </a:moveTo>
                <a:lnTo>
                  <a:pt x="149302" y="3454"/>
                </a:lnTo>
                <a:lnTo>
                  <a:pt x="0" y="0"/>
                </a:lnTo>
                <a:lnTo>
                  <a:pt x="0" y="9871"/>
                </a:lnTo>
                <a:lnTo>
                  <a:pt x="149302" y="13325"/>
                </a:lnTo>
                <a:lnTo>
                  <a:pt x="149302" y="8390"/>
                </a:lnTo>
                <a:close/>
              </a:path>
            </a:pathLst>
          </a:custGeom>
          <a:solidFill>
            <a:srgbClr val="FFFFFF"/>
          </a:solidFill>
        </p:spPr>
        <p:txBody>
          <a:bodyPr wrap="square" lIns="0" tIns="0" rIns="0" bIns="0" rtlCol="0">
            <a:noAutofit/>
          </a:bodyPr>
          <a:lstStyle/>
          <a:p>
            <a:endParaRPr/>
          </a:p>
        </p:txBody>
      </p:sp>
      <p:sp>
        <p:nvSpPr>
          <p:cNvPr id="1848" name="object 1848"/>
          <p:cNvSpPr/>
          <p:nvPr/>
        </p:nvSpPr>
        <p:spPr>
          <a:xfrm>
            <a:off x="7981164" y="1651999"/>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49" name="object 1849"/>
          <p:cNvSpPr/>
          <p:nvPr/>
        </p:nvSpPr>
        <p:spPr>
          <a:xfrm>
            <a:off x="7827149" y="1632751"/>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50" name="object 1850"/>
          <p:cNvSpPr/>
          <p:nvPr/>
        </p:nvSpPr>
        <p:spPr>
          <a:xfrm>
            <a:off x="7831862" y="1632751"/>
            <a:ext cx="149302" cy="13325"/>
          </a:xfrm>
          <a:custGeom>
            <a:avLst/>
            <a:gdLst/>
            <a:ahLst/>
            <a:cxnLst/>
            <a:rect l="l" t="t" r="r" b="b"/>
            <a:pathLst>
              <a:path w="149302" h="13325">
                <a:moveTo>
                  <a:pt x="149302" y="8390"/>
                </a:moveTo>
                <a:lnTo>
                  <a:pt x="149302" y="3454"/>
                </a:lnTo>
                <a:lnTo>
                  <a:pt x="0" y="0"/>
                </a:lnTo>
                <a:lnTo>
                  <a:pt x="0" y="9871"/>
                </a:lnTo>
                <a:lnTo>
                  <a:pt x="149302" y="13325"/>
                </a:lnTo>
                <a:lnTo>
                  <a:pt x="149302" y="8390"/>
                </a:lnTo>
                <a:close/>
              </a:path>
            </a:pathLst>
          </a:custGeom>
          <a:solidFill>
            <a:srgbClr val="FFFFFF"/>
          </a:solidFill>
        </p:spPr>
        <p:txBody>
          <a:bodyPr wrap="square" lIns="0" tIns="0" rIns="0" bIns="0" rtlCol="0">
            <a:noAutofit/>
          </a:bodyPr>
          <a:lstStyle/>
          <a:p>
            <a:endParaRPr/>
          </a:p>
        </p:txBody>
      </p:sp>
      <p:sp>
        <p:nvSpPr>
          <p:cNvPr id="1851" name="object 1851"/>
          <p:cNvSpPr/>
          <p:nvPr/>
        </p:nvSpPr>
        <p:spPr>
          <a:xfrm>
            <a:off x="7981164" y="1636206"/>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52" name="object 1852"/>
          <p:cNvSpPr/>
          <p:nvPr/>
        </p:nvSpPr>
        <p:spPr>
          <a:xfrm>
            <a:off x="7827149" y="1615477"/>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53" name="object 1853"/>
          <p:cNvSpPr/>
          <p:nvPr/>
        </p:nvSpPr>
        <p:spPr>
          <a:xfrm>
            <a:off x="7831862" y="1615477"/>
            <a:ext cx="149302" cy="11351"/>
          </a:xfrm>
          <a:custGeom>
            <a:avLst/>
            <a:gdLst/>
            <a:ahLst/>
            <a:cxnLst/>
            <a:rect l="l" t="t" r="r" b="b"/>
            <a:pathLst>
              <a:path w="149302" h="11351">
                <a:moveTo>
                  <a:pt x="149302" y="6416"/>
                </a:moveTo>
                <a:lnTo>
                  <a:pt x="149302" y="1480"/>
                </a:lnTo>
                <a:lnTo>
                  <a:pt x="0" y="0"/>
                </a:lnTo>
                <a:lnTo>
                  <a:pt x="0" y="9871"/>
                </a:lnTo>
                <a:lnTo>
                  <a:pt x="149302" y="11351"/>
                </a:lnTo>
                <a:lnTo>
                  <a:pt x="149302" y="6416"/>
                </a:lnTo>
                <a:close/>
              </a:path>
            </a:pathLst>
          </a:custGeom>
          <a:solidFill>
            <a:srgbClr val="FFFFFF"/>
          </a:solidFill>
        </p:spPr>
        <p:txBody>
          <a:bodyPr wrap="square" lIns="0" tIns="0" rIns="0" bIns="0" rtlCol="0">
            <a:noAutofit/>
          </a:bodyPr>
          <a:lstStyle/>
          <a:p>
            <a:endParaRPr/>
          </a:p>
        </p:txBody>
      </p:sp>
      <p:sp>
        <p:nvSpPr>
          <p:cNvPr id="1854" name="object 1854"/>
          <p:cNvSpPr/>
          <p:nvPr/>
        </p:nvSpPr>
        <p:spPr>
          <a:xfrm>
            <a:off x="7981164" y="1616957"/>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55" name="object 1855"/>
          <p:cNvSpPr/>
          <p:nvPr/>
        </p:nvSpPr>
        <p:spPr>
          <a:xfrm>
            <a:off x="7827397" y="1600423"/>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56" name="object 1856"/>
          <p:cNvSpPr/>
          <p:nvPr/>
        </p:nvSpPr>
        <p:spPr>
          <a:xfrm>
            <a:off x="7832110" y="1600423"/>
            <a:ext cx="149054" cy="10611"/>
          </a:xfrm>
          <a:custGeom>
            <a:avLst/>
            <a:gdLst/>
            <a:ahLst/>
            <a:cxnLst/>
            <a:rect l="l" t="t" r="r" b="b"/>
            <a:pathLst>
              <a:path w="149054" h="10611">
                <a:moveTo>
                  <a:pt x="149054" y="5675"/>
                </a:moveTo>
                <a:lnTo>
                  <a:pt x="149054" y="740"/>
                </a:lnTo>
                <a:lnTo>
                  <a:pt x="0" y="0"/>
                </a:lnTo>
                <a:lnTo>
                  <a:pt x="0" y="9871"/>
                </a:lnTo>
                <a:lnTo>
                  <a:pt x="149054" y="10611"/>
                </a:lnTo>
                <a:lnTo>
                  <a:pt x="149054" y="5675"/>
                </a:lnTo>
                <a:close/>
              </a:path>
            </a:pathLst>
          </a:custGeom>
          <a:solidFill>
            <a:srgbClr val="FFFFFF"/>
          </a:solidFill>
        </p:spPr>
        <p:txBody>
          <a:bodyPr wrap="square" lIns="0" tIns="0" rIns="0" bIns="0" rtlCol="0">
            <a:noAutofit/>
          </a:bodyPr>
          <a:lstStyle/>
          <a:p>
            <a:endParaRPr/>
          </a:p>
        </p:txBody>
      </p:sp>
      <p:sp>
        <p:nvSpPr>
          <p:cNvPr id="1857" name="object 1857"/>
          <p:cNvSpPr/>
          <p:nvPr/>
        </p:nvSpPr>
        <p:spPr>
          <a:xfrm>
            <a:off x="7981164" y="1601164"/>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58" name="object 1858"/>
          <p:cNvSpPr/>
          <p:nvPr/>
        </p:nvSpPr>
        <p:spPr>
          <a:xfrm>
            <a:off x="7827149" y="1585863"/>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59" name="object 1859"/>
          <p:cNvSpPr/>
          <p:nvPr/>
        </p:nvSpPr>
        <p:spPr>
          <a:xfrm>
            <a:off x="7831862" y="1585863"/>
            <a:ext cx="149302" cy="9871"/>
          </a:xfrm>
          <a:custGeom>
            <a:avLst/>
            <a:gdLst/>
            <a:ahLst/>
            <a:cxnLst/>
            <a:rect l="l" t="t" r="r" b="b"/>
            <a:pathLst>
              <a:path w="149302" h="9871">
                <a:moveTo>
                  <a:pt x="149302" y="4935"/>
                </a:moveTo>
                <a:lnTo>
                  <a:pt x="149302" y="0"/>
                </a:lnTo>
                <a:lnTo>
                  <a:pt x="0" y="0"/>
                </a:lnTo>
                <a:lnTo>
                  <a:pt x="0" y="9871"/>
                </a:lnTo>
                <a:lnTo>
                  <a:pt x="149302" y="9871"/>
                </a:lnTo>
                <a:lnTo>
                  <a:pt x="149302" y="4935"/>
                </a:lnTo>
                <a:close/>
              </a:path>
            </a:pathLst>
          </a:custGeom>
          <a:solidFill>
            <a:srgbClr val="FFFFFF"/>
          </a:solidFill>
        </p:spPr>
        <p:txBody>
          <a:bodyPr wrap="square" lIns="0" tIns="0" rIns="0" bIns="0" rtlCol="0">
            <a:noAutofit/>
          </a:bodyPr>
          <a:lstStyle/>
          <a:p>
            <a:endParaRPr/>
          </a:p>
        </p:txBody>
      </p:sp>
      <p:sp>
        <p:nvSpPr>
          <p:cNvPr id="1860" name="object 1860"/>
          <p:cNvSpPr/>
          <p:nvPr/>
        </p:nvSpPr>
        <p:spPr>
          <a:xfrm>
            <a:off x="7981164" y="1585863"/>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61" name="object 1861"/>
          <p:cNvSpPr/>
          <p:nvPr/>
        </p:nvSpPr>
        <p:spPr>
          <a:xfrm>
            <a:off x="7827149" y="1476789"/>
            <a:ext cx="4960" cy="9871"/>
          </a:xfrm>
          <a:custGeom>
            <a:avLst/>
            <a:gdLst/>
            <a:ahLst/>
            <a:cxnLst/>
            <a:rect l="l" t="t" r="r" b="b"/>
            <a:pathLst>
              <a:path w="4960" h="9871">
                <a:moveTo>
                  <a:pt x="4464" y="0"/>
                </a:moveTo>
                <a:lnTo>
                  <a:pt x="2480" y="493"/>
                </a:lnTo>
                <a:lnTo>
                  <a:pt x="992" y="1727"/>
                </a:lnTo>
                <a:lnTo>
                  <a:pt x="0" y="3208"/>
                </a:lnTo>
                <a:lnTo>
                  <a:pt x="0" y="5182"/>
                </a:lnTo>
                <a:lnTo>
                  <a:pt x="248" y="6909"/>
                </a:lnTo>
                <a:lnTo>
                  <a:pt x="1240" y="8390"/>
                </a:lnTo>
                <a:lnTo>
                  <a:pt x="2728" y="9624"/>
                </a:lnTo>
                <a:lnTo>
                  <a:pt x="4960" y="9871"/>
                </a:lnTo>
                <a:lnTo>
                  <a:pt x="4464" y="0"/>
                </a:lnTo>
                <a:close/>
              </a:path>
            </a:pathLst>
          </a:custGeom>
          <a:solidFill>
            <a:srgbClr val="FFFFFF"/>
          </a:solidFill>
        </p:spPr>
        <p:txBody>
          <a:bodyPr wrap="square" lIns="0" tIns="0" rIns="0" bIns="0" rtlCol="0">
            <a:noAutofit/>
          </a:bodyPr>
          <a:lstStyle/>
          <a:p>
            <a:endParaRPr/>
          </a:p>
        </p:txBody>
      </p:sp>
      <p:sp>
        <p:nvSpPr>
          <p:cNvPr id="1862" name="object 1862"/>
          <p:cNvSpPr/>
          <p:nvPr/>
        </p:nvSpPr>
        <p:spPr>
          <a:xfrm>
            <a:off x="7831614" y="1471606"/>
            <a:ext cx="149798" cy="15053"/>
          </a:xfrm>
          <a:custGeom>
            <a:avLst/>
            <a:gdLst/>
            <a:ahLst/>
            <a:cxnLst/>
            <a:rect l="l" t="t" r="r" b="b"/>
            <a:pathLst>
              <a:path w="149798" h="15053">
                <a:moveTo>
                  <a:pt x="149550" y="4935"/>
                </a:moveTo>
                <a:lnTo>
                  <a:pt x="149302" y="0"/>
                </a:lnTo>
                <a:lnTo>
                  <a:pt x="0" y="5182"/>
                </a:lnTo>
                <a:lnTo>
                  <a:pt x="496" y="15053"/>
                </a:lnTo>
                <a:lnTo>
                  <a:pt x="149798" y="9871"/>
                </a:lnTo>
                <a:lnTo>
                  <a:pt x="149550" y="4935"/>
                </a:lnTo>
                <a:close/>
              </a:path>
            </a:pathLst>
          </a:custGeom>
          <a:solidFill>
            <a:srgbClr val="FFFFFF"/>
          </a:solidFill>
        </p:spPr>
        <p:txBody>
          <a:bodyPr wrap="square" lIns="0" tIns="0" rIns="0" bIns="0" rtlCol="0">
            <a:noAutofit/>
          </a:bodyPr>
          <a:lstStyle/>
          <a:p>
            <a:endParaRPr/>
          </a:p>
        </p:txBody>
      </p:sp>
      <p:sp>
        <p:nvSpPr>
          <p:cNvPr id="1863" name="object 1863"/>
          <p:cNvSpPr/>
          <p:nvPr/>
        </p:nvSpPr>
        <p:spPr>
          <a:xfrm>
            <a:off x="7980916" y="1471606"/>
            <a:ext cx="5208" cy="9871"/>
          </a:xfrm>
          <a:custGeom>
            <a:avLst/>
            <a:gdLst/>
            <a:ahLst/>
            <a:cxnLst/>
            <a:rect l="l" t="t" r="r" b="b"/>
            <a:pathLst>
              <a:path w="5208" h="9871">
                <a:moveTo>
                  <a:pt x="496" y="9871"/>
                </a:moveTo>
                <a:lnTo>
                  <a:pt x="2480" y="9377"/>
                </a:lnTo>
                <a:lnTo>
                  <a:pt x="3968" y="8143"/>
                </a:lnTo>
                <a:lnTo>
                  <a:pt x="4960" y="6662"/>
                </a:lnTo>
                <a:lnTo>
                  <a:pt x="5208" y="4688"/>
                </a:lnTo>
                <a:lnTo>
                  <a:pt x="4712" y="2961"/>
                </a:lnTo>
                <a:lnTo>
                  <a:pt x="3720" y="1480"/>
                </a:lnTo>
                <a:lnTo>
                  <a:pt x="2232" y="246"/>
                </a:lnTo>
                <a:lnTo>
                  <a:pt x="0" y="0"/>
                </a:lnTo>
                <a:lnTo>
                  <a:pt x="496" y="9871"/>
                </a:lnTo>
                <a:close/>
              </a:path>
            </a:pathLst>
          </a:custGeom>
          <a:solidFill>
            <a:srgbClr val="FFFFFF"/>
          </a:solidFill>
        </p:spPr>
        <p:txBody>
          <a:bodyPr wrap="square" lIns="0" tIns="0" rIns="0" bIns="0" rtlCol="0">
            <a:noAutofit/>
          </a:bodyPr>
          <a:lstStyle/>
          <a:p>
            <a:endParaRPr/>
          </a:p>
        </p:txBody>
      </p:sp>
      <p:sp>
        <p:nvSpPr>
          <p:cNvPr id="1864" name="object 1864"/>
          <p:cNvSpPr/>
          <p:nvPr/>
        </p:nvSpPr>
        <p:spPr>
          <a:xfrm>
            <a:off x="7827149" y="1493323"/>
            <a:ext cx="4960" cy="9871"/>
          </a:xfrm>
          <a:custGeom>
            <a:avLst/>
            <a:gdLst/>
            <a:ahLst/>
            <a:cxnLst/>
            <a:rect l="l" t="t" r="r" b="b"/>
            <a:pathLst>
              <a:path w="4960" h="9871">
                <a:moveTo>
                  <a:pt x="4464" y="0"/>
                </a:moveTo>
                <a:lnTo>
                  <a:pt x="2480" y="493"/>
                </a:lnTo>
                <a:lnTo>
                  <a:pt x="992" y="1727"/>
                </a:lnTo>
                <a:lnTo>
                  <a:pt x="0" y="3208"/>
                </a:lnTo>
                <a:lnTo>
                  <a:pt x="0" y="5182"/>
                </a:lnTo>
                <a:lnTo>
                  <a:pt x="248" y="6909"/>
                </a:lnTo>
                <a:lnTo>
                  <a:pt x="1240" y="8390"/>
                </a:lnTo>
                <a:lnTo>
                  <a:pt x="2728" y="9624"/>
                </a:lnTo>
                <a:lnTo>
                  <a:pt x="4960" y="9871"/>
                </a:lnTo>
                <a:lnTo>
                  <a:pt x="4464" y="0"/>
                </a:lnTo>
                <a:close/>
              </a:path>
            </a:pathLst>
          </a:custGeom>
          <a:solidFill>
            <a:srgbClr val="FFFFFF"/>
          </a:solidFill>
        </p:spPr>
        <p:txBody>
          <a:bodyPr wrap="square" lIns="0" tIns="0" rIns="0" bIns="0" rtlCol="0">
            <a:noAutofit/>
          </a:bodyPr>
          <a:lstStyle/>
          <a:p>
            <a:endParaRPr/>
          </a:p>
        </p:txBody>
      </p:sp>
      <p:sp>
        <p:nvSpPr>
          <p:cNvPr id="1865" name="object 1865"/>
          <p:cNvSpPr/>
          <p:nvPr/>
        </p:nvSpPr>
        <p:spPr>
          <a:xfrm>
            <a:off x="7831614" y="1488634"/>
            <a:ext cx="149798" cy="14559"/>
          </a:xfrm>
          <a:custGeom>
            <a:avLst/>
            <a:gdLst/>
            <a:ahLst/>
            <a:cxnLst/>
            <a:rect l="l" t="t" r="r" b="b"/>
            <a:pathLst>
              <a:path w="149798" h="14559">
                <a:moveTo>
                  <a:pt x="149550" y="4935"/>
                </a:moveTo>
                <a:lnTo>
                  <a:pt x="149302" y="0"/>
                </a:lnTo>
                <a:lnTo>
                  <a:pt x="0" y="4688"/>
                </a:lnTo>
                <a:lnTo>
                  <a:pt x="496" y="14559"/>
                </a:lnTo>
                <a:lnTo>
                  <a:pt x="149798" y="9871"/>
                </a:lnTo>
                <a:lnTo>
                  <a:pt x="149550" y="4935"/>
                </a:lnTo>
                <a:close/>
              </a:path>
            </a:pathLst>
          </a:custGeom>
          <a:solidFill>
            <a:srgbClr val="FFFFFF"/>
          </a:solidFill>
        </p:spPr>
        <p:txBody>
          <a:bodyPr wrap="square" lIns="0" tIns="0" rIns="0" bIns="0" rtlCol="0">
            <a:noAutofit/>
          </a:bodyPr>
          <a:lstStyle/>
          <a:p>
            <a:endParaRPr/>
          </a:p>
        </p:txBody>
      </p:sp>
      <p:sp>
        <p:nvSpPr>
          <p:cNvPr id="1866" name="object 1866"/>
          <p:cNvSpPr/>
          <p:nvPr/>
        </p:nvSpPr>
        <p:spPr>
          <a:xfrm>
            <a:off x="7980916" y="1488634"/>
            <a:ext cx="5208" cy="9871"/>
          </a:xfrm>
          <a:custGeom>
            <a:avLst/>
            <a:gdLst/>
            <a:ahLst/>
            <a:cxnLst/>
            <a:rect l="l" t="t" r="r" b="b"/>
            <a:pathLst>
              <a:path w="5208" h="9871">
                <a:moveTo>
                  <a:pt x="496" y="9871"/>
                </a:moveTo>
                <a:lnTo>
                  <a:pt x="2480" y="9377"/>
                </a:lnTo>
                <a:lnTo>
                  <a:pt x="3968" y="8143"/>
                </a:lnTo>
                <a:lnTo>
                  <a:pt x="4960" y="6662"/>
                </a:lnTo>
                <a:lnTo>
                  <a:pt x="5208" y="4688"/>
                </a:lnTo>
                <a:lnTo>
                  <a:pt x="4712" y="2961"/>
                </a:lnTo>
                <a:lnTo>
                  <a:pt x="3720" y="1480"/>
                </a:lnTo>
                <a:lnTo>
                  <a:pt x="2232" y="246"/>
                </a:lnTo>
                <a:lnTo>
                  <a:pt x="0" y="0"/>
                </a:lnTo>
                <a:lnTo>
                  <a:pt x="496" y="9871"/>
                </a:lnTo>
                <a:close/>
              </a:path>
            </a:pathLst>
          </a:custGeom>
          <a:solidFill>
            <a:srgbClr val="FFFFFF"/>
          </a:solidFill>
        </p:spPr>
        <p:txBody>
          <a:bodyPr wrap="square" lIns="0" tIns="0" rIns="0" bIns="0" rtlCol="0">
            <a:noAutofit/>
          </a:bodyPr>
          <a:lstStyle/>
          <a:p>
            <a:endParaRPr/>
          </a:p>
        </p:txBody>
      </p:sp>
      <p:sp>
        <p:nvSpPr>
          <p:cNvPr id="1867" name="object 1867"/>
          <p:cNvSpPr/>
          <p:nvPr/>
        </p:nvSpPr>
        <p:spPr>
          <a:xfrm>
            <a:off x="7827149" y="1509116"/>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68" name="object 1868"/>
          <p:cNvSpPr/>
          <p:nvPr/>
        </p:nvSpPr>
        <p:spPr>
          <a:xfrm>
            <a:off x="7831862" y="1505908"/>
            <a:ext cx="149302" cy="13079"/>
          </a:xfrm>
          <a:custGeom>
            <a:avLst/>
            <a:gdLst/>
            <a:ahLst/>
            <a:cxnLst/>
            <a:rect l="l" t="t" r="r" b="b"/>
            <a:pathLst>
              <a:path w="149302" h="13079">
                <a:moveTo>
                  <a:pt x="149302" y="4935"/>
                </a:moveTo>
                <a:lnTo>
                  <a:pt x="149302" y="0"/>
                </a:lnTo>
                <a:lnTo>
                  <a:pt x="0" y="3208"/>
                </a:lnTo>
                <a:lnTo>
                  <a:pt x="0" y="13079"/>
                </a:lnTo>
                <a:lnTo>
                  <a:pt x="149302" y="9871"/>
                </a:lnTo>
                <a:lnTo>
                  <a:pt x="149302" y="4935"/>
                </a:lnTo>
                <a:close/>
              </a:path>
            </a:pathLst>
          </a:custGeom>
          <a:solidFill>
            <a:srgbClr val="FFFFFF"/>
          </a:solidFill>
        </p:spPr>
        <p:txBody>
          <a:bodyPr wrap="square" lIns="0" tIns="0" rIns="0" bIns="0" rtlCol="0">
            <a:noAutofit/>
          </a:bodyPr>
          <a:lstStyle/>
          <a:p>
            <a:endParaRPr/>
          </a:p>
        </p:txBody>
      </p:sp>
      <p:sp>
        <p:nvSpPr>
          <p:cNvPr id="1869" name="object 1869"/>
          <p:cNvSpPr/>
          <p:nvPr/>
        </p:nvSpPr>
        <p:spPr>
          <a:xfrm>
            <a:off x="7981164" y="1505908"/>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70" name="object 1870"/>
          <p:cNvSpPr/>
          <p:nvPr/>
        </p:nvSpPr>
        <p:spPr>
          <a:xfrm>
            <a:off x="7827149" y="1525157"/>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71" name="object 1871"/>
          <p:cNvSpPr/>
          <p:nvPr/>
        </p:nvSpPr>
        <p:spPr>
          <a:xfrm>
            <a:off x="7831862" y="1521702"/>
            <a:ext cx="149302" cy="13325"/>
          </a:xfrm>
          <a:custGeom>
            <a:avLst/>
            <a:gdLst/>
            <a:ahLst/>
            <a:cxnLst/>
            <a:rect l="l" t="t" r="r" b="b"/>
            <a:pathLst>
              <a:path w="149302" h="13325">
                <a:moveTo>
                  <a:pt x="149302" y="4935"/>
                </a:moveTo>
                <a:lnTo>
                  <a:pt x="149302" y="0"/>
                </a:lnTo>
                <a:lnTo>
                  <a:pt x="0" y="3454"/>
                </a:lnTo>
                <a:lnTo>
                  <a:pt x="0" y="13325"/>
                </a:lnTo>
                <a:lnTo>
                  <a:pt x="149302" y="9871"/>
                </a:lnTo>
                <a:lnTo>
                  <a:pt x="149302" y="4935"/>
                </a:lnTo>
                <a:close/>
              </a:path>
            </a:pathLst>
          </a:custGeom>
          <a:solidFill>
            <a:srgbClr val="FFFFFF"/>
          </a:solidFill>
        </p:spPr>
        <p:txBody>
          <a:bodyPr wrap="square" lIns="0" tIns="0" rIns="0" bIns="0" rtlCol="0">
            <a:noAutofit/>
          </a:bodyPr>
          <a:lstStyle/>
          <a:p>
            <a:endParaRPr/>
          </a:p>
        </p:txBody>
      </p:sp>
      <p:sp>
        <p:nvSpPr>
          <p:cNvPr id="1872" name="object 1872"/>
          <p:cNvSpPr/>
          <p:nvPr/>
        </p:nvSpPr>
        <p:spPr>
          <a:xfrm>
            <a:off x="7981164" y="1521702"/>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73" name="object 1873"/>
          <p:cNvSpPr/>
          <p:nvPr/>
        </p:nvSpPr>
        <p:spPr>
          <a:xfrm>
            <a:off x="7827149" y="1542184"/>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74" name="object 1874"/>
          <p:cNvSpPr/>
          <p:nvPr/>
        </p:nvSpPr>
        <p:spPr>
          <a:xfrm>
            <a:off x="7831862" y="1540704"/>
            <a:ext cx="149302" cy="11351"/>
          </a:xfrm>
          <a:custGeom>
            <a:avLst/>
            <a:gdLst/>
            <a:ahLst/>
            <a:cxnLst/>
            <a:rect l="l" t="t" r="r" b="b"/>
            <a:pathLst>
              <a:path w="149302" h="11351">
                <a:moveTo>
                  <a:pt x="149302" y="4935"/>
                </a:moveTo>
                <a:lnTo>
                  <a:pt x="149302" y="0"/>
                </a:lnTo>
                <a:lnTo>
                  <a:pt x="0" y="1480"/>
                </a:lnTo>
                <a:lnTo>
                  <a:pt x="0" y="11351"/>
                </a:lnTo>
                <a:lnTo>
                  <a:pt x="149302" y="9871"/>
                </a:lnTo>
                <a:lnTo>
                  <a:pt x="149302" y="4935"/>
                </a:lnTo>
                <a:close/>
              </a:path>
            </a:pathLst>
          </a:custGeom>
          <a:solidFill>
            <a:srgbClr val="FFFFFF"/>
          </a:solidFill>
        </p:spPr>
        <p:txBody>
          <a:bodyPr wrap="square" lIns="0" tIns="0" rIns="0" bIns="0" rtlCol="0">
            <a:noAutofit/>
          </a:bodyPr>
          <a:lstStyle/>
          <a:p>
            <a:endParaRPr/>
          </a:p>
        </p:txBody>
      </p:sp>
      <p:sp>
        <p:nvSpPr>
          <p:cNvPr id="1875" name="object 1875"/>
          <p:cNvSpPr/>
          <p:nvPr/>
        </p:nvSpPr>
        <p:spPr>
          <a:xfrm>
            <a:off x="7981164" y="1540704"/>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76" name="object 1876"/>
          <p:cNvSpPr/>
          <p:nvPr/>
        </p:nvSpPr>
        <p:spPr>
          <a:xfrm>
            <a:off x="7827397" y="1557237"/>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77" name="object 1877"/>
          <p:cNvSpPr/>
          <p:nvPr/>
        </p:nvSpPr>
        <p:spPr>
          <a:xfrm>
            <a:off x="7832110" y="1556743"/>
            <a:ext cx="149054" cy="10364"/>
          </a:xfrm>
          <a:custGeom>
            <a:avLst/>
            <a:gdLst/>
            <a:ahLst/>
            <a:cxnLst/>
            <a:rect l="l" t="t" r="r" b="b"/>
            <a:pathLst>
              <a:path w="149054" h="10364">
                <a:moveTo>
                  <a:pt x="149054" y="4935"/>
                </a:moveTo>
                <a:lnTo>
                  <a:pt x="149054" y="0"/>
                </a:lnTo>
                <a:lnTo>
                  <a:pt x="0" y="493"/>
                </a:lnTo>
                <a:lnTo>
                  <a:pt x="0" y="10364"/>
                </a:lnTo>
                <a:lnTo>
                  <a:pt x="149054" y="9871"/>
                </a:lnTo>
                <a:lnTo>
                  <a:pt x="149054" y="4935"/>
                </a:lnTo>
                <a:close/>
              </a:path>
            </a:pathLst>
          </a:custGeom>
          <a:solidFill>
            <a:srgbClr val="FFFFFF"/>
          </a:solidFill>
        </p:spPr>
        <p:txBody>
          <a:bodyPr wrap="square" lIns="0" tIns="0" rIns="0" bIns="0" rtlCol="0">
            <a:noAutofit/>
          </a:bodyPr>
          <a:lstStyle/>
          <a:p>
            <a:endParaRPr/>
          </a:p>
        </p:txBody>
      </p:sp>
      <p:sp>
        <p:nvSpPr>
          <p:cNvPr id="1878" name="object 1878"/>
          <p:cNvSpPr/>
          <p:nvPr/>
        </p:nvSpPr>
        <p:spPr>
          <a:xfrm>
            <a:off x="7981164" y="1556744"/>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79" name="object 1879"/>
          <p:cNvSpPr/>
          <p:nvPr/>
        </p:nvSpPr>
        <p:spPr>
          <a:xfrm>
            <a:off x="7827149" y="1571797"/>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FFFFFF"/>
          </a:solidFill>
        </p:spPr>
        <p:txBody>
          <a:bodyPr wrap="square" lIns="0" tIns="0" rIns="0" bIns="0" rtlCol="0">
            <a:noAutofit/>
          </a:bodyPr>
          <a:lstStyle/>
          <a:p>
            <a:endParaRPr/>
          </a:p>
        </p:txBody>
      </p:sp>
      <p:sp>
        <p:nvSpPr>
          <p:cNvPr id="1880" name="object 1880"/>
          <p:cNvSpPr/>
          <p:nvPr/>
        </p:nvSpPr>
        <p:spPr>
          <a:xfrm>
            <a:off x="7831862" y="1571797"/>
            <a:ext cx="149302" cy="9871"/>
          </a:xfrm>
          <a:custGeom>
            <a:avLst/>
            <a:gdLst/>
            <a:ahLst/>
            <a:cxnLst/>
            <a:rect l="l" t="t" r="r" b="b"/>
            <a:pathLst>
              <a:path w="149302" h="9871">
                <a:moveTo>
                  <a:pt x="149302" y="4935"/>
                </a:moveTo>
                <a:lnTo>
                  <a:pt x="149302" y="0"/>
                </a:lnTo>
                <a:lnTo>
                  <a:pt x="0" y="0"/>
                </a:lnTo>
                <a:lnTo>
                  <a:pt x="0" y="9871"/>
                </a:lnTo>
                <a:lnTo>
                  <a:pt x="149302" y="9871"/>
                </a:lnTo>
                <a:lnTo>
                  <a:pt x="149302" y="4935"/>
                </a:lnTo>
                <a:close/>
              </a:path>
            </a:pathLst>
          </a:custGeom>
          <a:solidFill>
            <a:srgbClr val="FFFFFF"/>
          </a:solidFill>
        </p:spPr>
        <p:txBody>
          <a:bodyPr wrap="square" lIns="0" tIns="0" rIns="0" bIns="0" rtlCol="0">
            <a:noAutofit/>
          </a:bodyPr>
          <a:lstStyle/>
          <a:p>
            <a:endParaRPr/>
          </a:p>
        </p:txBody>
      </p:sp>
      <p:sp>
        <p:nvSpPr>
          <p:cNvPr id="1881" name="object 1881"/>
          <p:cNvSpPr/>
          <p:nvPr/>
        </p:nvSpPr>
        <p:spPr>
          <a:xfrm>
            <a:off x="7981164" y="1571797"/>
            <a:ext cx="4960" cy="9871"/>
          </a:xfrm>
          <a:custGeom>
            <a:avLst/>
            <a:gdLst/>
            <a:ahLst/>
            <a:cxnLst/>
            <a:rect l="l" t="t" r="r" b="b"/>
            <a:pathLst>
              <a:path w="4960" h="9871">
                <a:moveTo>
                  <a:pt x="0" y="9871"/>
                </a:moveTo>
                <a:lnTo>
                  <a:pt x="2232" y="9377"/>
                </a:lnTo>
                <a:lnTo>
                  <a:pt x="3720" y="8390"/>
                </a:lnTo>
                <a:lnTo>
                  <a:pt x="4464" y="6662"/>
                </a:lnTo>
                <a:lnTo>
                  <a:pt x="4960" y="4935"/>
                </a:lnTo>
                <a:lnTo>
                  <a:pt x="4464" y="3208"/>
                </a:lnTo>
                <a:lnTo>
                  <a:pt x="3720" y="1480"/>
                </a:lnTo>
                <a:lnTo>
                  <a:pt x="2232" y="493"/>
                </a:lnTo>
                <a:lnTo>
                  <a:pt x="0" y="0"/>
                </a:lnTo>
                <a:lnTo>
                  <a:pt x="0" y="9871"/>
                </a:lnTo>
                <a:close/>
              </a:path>
            </a:pathLst>
          </a:custGeom>
          <a:solidFill>
            <a:srgbClr val="FFFFFF"/>
          </a:solidFill>
        </p:spPr>
        <p:txBody>
          <a:bodyPr wrap="square" lIns="0" tIns="0" rIns="0" bIns="0" rtlCol="0">
            <a:noAutofit/>
          </a:bodyPr>
          <a:lstStyle/>
          <a:p>
            <a:endParaRPr/>
          </a:p>
        </p:txBody>
      </p:sp>
      <p:sp>
        <p:nvSpPr>
          <p:cNvPr id="1882" name="object 1882"/>
          <p:cNvSpPr/>
          <p:nvPr/>
        </p:nvSpPr>
        <p:spPr>
          <a:xfrm>
            <a:off x="7827149" y="1462229"/>
            <a:ext cx="4960" cy="9871"/>
          </a:xfrm>
          <a:custGeom>
            <a:avLst/>
            <a:gdLst/>
            <a:ahLst/>
            <a:cxnLst/>
            <a:rect l="l" t="t" r="r" b="b"/>
            <a:pathLst>
              <a:path w="4960" h="9871">
                <a:moveTo>
                  <a:pt x="4464" y="0"/>
                </a:moveTo>
                <a:lnTo>
                  <a:pt x="2480" y="493"/>
                </a:lnTo>
                <a:lnTo>
                  <a:pt x="992" y="1727"/>
                </a:lnTo>
                <a:lnTo>
                  <a:pt x="0" y="3208"/>
                </a:lnTo>
                <a:lnTo>
                  <a:pt x="0" y="5182"/>
                </a:lnTo>
                <a:lnTo>
                  <a:pt x="248" y="6909"/>
                </a:lnTo>
                <a:lnTo>
                  <a:pt x="1240" y="8390"/>
                </a:lnTo>
                <a:lnTo>
                  <a:pt x="2728" y="9624"/>
                </a:lnTo>
                <a:lnTo>
                  <a:pt x="4960" y="9871"/>
                </a:lnTo>
                <a:lnTo>
                  <a:pt x="4464" y="0"/>
                </a:lnTo>
                <a:close/>
              </a:path>
            </a:pathLst>
          </a:custGeom>
          <a:solidFill>
            <a:srgbClr val="FFFFFF"/>
          </a:solidFill>
        </p:spPr>
        <p:txBody>
          <a:bodyPr wrap="square" lIns="0" tIns="0" rIns="0" bIns="0" rtlCol="0">
            <a:noAutofit/>
          </a:bodyPr>
          <a:lstStyle/>
          <a:p>
            <a:endParaRPr/>
          </a:p>
        </p:txBody>
      </p:sp>
      <p:sp>
        <p:nvSpPr>
          <p:cNvPr id="1883" name="object 1883"/>
          <p:cNvSpPr/>
          <p:nvPr/>
        </p:nvSpPr>
        <p:spPr>
          <a:xfrm>
            <a:off x="7831614" y="1454825"/>
            <a:ext cx="149798" cy="17274"/>
          </a:xfrm>
          <a:custGeom>
            <a:avLst/>
            <a:gdLst/>
            <a:ahLst/>
            <a:cxnLst/>
            <a:rect l="l" t="t" r="r" b="b"/>
            <a:pathLst>
              <a:path w="149798" h="17274">
                <a:moveTo>
                  <a:pt x="149550" y="4935"/>
                </a:moveTo>
                <a:lnTo>
                  <a:pt x="149302" y="0"/>
                </a:lnTo>
                <a:lnTo>
                  <a:pt x="0" y="7403"/>
                </a:lnTo>
                <a:lnTo>
                  <a:pt x="496" y="17274"/>
                </a:lnTo>
                <a:lnTo>
                  <a:pt x="149798" y="9871"/>
                </a:lnTo>
                <a:lnTo>
                  <a:pt x="149550" y="4935"/>
                </a:lnTo>
                <a:close/>
              </a:path>
            </a:pathLst>
          </a:custGeom>
          <a:solidFill>
            <a:srgbClr val="FFFFFF"/>
          </a:solidFill>
        </p:spPr>
        <p:txBody>
          <a:bodyPr wrap="square" lIns="0" tIns="0" rIns="0" bIns="0" rtlCol="0">
            <a:noAutofit/>
          </a:bodyPr>
          <a:lstStyle/>
          <a:p>
            <a:endParaRPr/>
          </a:p>
        </p:txBody>
      </p:sp>
      <p:sp>
        <p:nvSpPr>
          <p:cNvPr id="1884" name="object 1884"/>
          <p:cNvSpPr/>
          <p:nvPr/>
        </p:nvSpPr>
        <p:spPr>
          <a:xfrm>
            <a:off x="7980916" y="1454826"/>
            <a:ext cx="5208" cy="9871"/>
          </a:xfrm>
          <a:custGeom>
            <a:avLst/>
            <a:gdLst/>
            <a:ahLst/>
            <a:cxnLst/>
            <a:rect l="l" t="t" r="r" b="b"/>
            <a:pathLst>
              <a:path w="5208" h="9871">
                <a:moveTo>
                  <a:pt x="496" y="9871"/>
                </a:moveTo>
                <a:lnTo>
                  <a:pt x="2480" y="9377"/>
                </a:lnTo>
                <a:lnTo>
                  <a:pt x="3968" y="8143"/>
                </a:lnTo>
                <a:lnTo>
                  <a:pt x="4960" y="6662"/>
                </a:lnTo>
                <a:lnTo>
                  <a:pt x="5208" y="4688"/>
                </a:lnTo>
                <a:lnTo>
                  <a:pt x="4712" y="2961"/>
                </a:lnTo>
                <a:lnTo>
                  <a:pt x="3720" y="1480"/>
                </a:lnTo>
                <a:lnTo>
                  <a:pt x="2232" y="246"/>
                </a:lnTo>
                <a:lnTo>
                  <a:pt x="0" y="0"/>
                </a:lnTo>
                <a:lnTo>
                  <a:pt x="496" y="9871"/>
                </a:lnTo>
                <a:close/>
              </a:path>
            </a:pathLst>
          </a:custGeom>
          <a:solidFill>
            <a:srgbClr val="FFFFFF"/>
          </a:solidFill>
        </p:spPr>
        <p:txBody>
          <a:bodyPr wrap="square" lIns="0" tIns="0" rIns="0" bIns="0" rtlCol="0">
            <a:noAutofit/>
          </a:bodyPr>
          <a:lstStyle/>
          <a:p>
            <a:endParaRPr/>
          </a:p>
        </p:txBody>
      </p:sp>
      <p:sp>
        <p:nvSpPr>
          <p:cNvPr id="1885" name="object 1885"/>
          <p:cNvSpPr/>
          <p:nvPr/>
        </p:nvSpPr>
        <p:spPr>
          <a:xfrm>
            <a:off x="7827149" y="1447422"/>
            <a:ext cx="4960" cy="9871"/>
          </a:xfrm>
          <a:custGeom>
            <a:avLst/>
            <a:gdLst/>
            <a:ahLst/>
            <a:cxnLst/>
            <a:rect l="l" t="t" r="r" b="b"/>
            <a:pathLst>
              <a:path w="4960" h="9871">
                <a:moveTo>
                  <a:pt x="4464" y="0"/>
                </a:moveTo>
                <a:lnTo>
                  <a:pt x="2480" y="493"/>
                </a:lnTo>
                <a:lnTo>
                  <a:pt x="992" y="1727"/>
                </a:lnTo>
                <a:lnTo>
                  <a:pt x="0" y="3208"/>
                </a:lnTo>
                <a:lnTo>
                  <a:pt x="0" y="5182"/>
                </a:lnTo>
                <a:lnTo>
                  <a:pt x="248" y="6909"/>
                </a:lnTo>
                <a:lnTo>
                  <a:pt x="1240" y="8390"/>
                </a:lnTo>
                <a:lnTo>
                  <a:pt x="2728" y="9624"/>
                </a:lnTo>
                <a:lnTo>
                  <a:pt x="4960" y="9871"/>
                </a:lnTo>
                <a:lnTo>
                  <a:pt x="4464" y="0"/>
                </a:lnTo>
                <a:close/>
              </a:path>
            </a:pathLst>
          </a:custGeom>
          <a:solidFill>
            <a:srgbClr val="FFFFFF"/>
          </a:solidFill>
        </p:spPr>
        <p:txBody>
          <a:bodyPr wrap="square" lIns="0" tIns="0" rIns="0" bIns="0" rtlCol="0">
            <a:noAutofit/>
          </a:bodyPr>
          <a:lstStyle/>
          <a:p>
            <a:endParaRPr/>
          </a:p>
        </p:txBody>
      </p:sp>
      <p:sp>
        <p:nvSpPr>
          <p:cNvPr id="1886" name="object 1886"/>
          <p:cNvSpPr/>
          <p:nvPr/>
        </p:nvSpPr>
        <p:spPr>
          <a:xfrm>
            <a:off x="7831614" y="1438044"/>
            <a:ext cx="149798" cy="19248"/>
          </a:xfrm>
          <a:custGeom>
            <a:avLst/>
            <a:gdLst/>
            <a:ahLst/>
            <a:cxnLst/>
            <a:rect l="l" t="t" r="r" b="b"/>
            <a:pathLst>
              <a:path w="149798" h="19248">
                <a:moveTo>
                  <a:pt x="149550" y="4935"/>
                </a:moveTo>
                <a:lnTo>
                  <a:pt x="149302" y="0"/>
                </a:lnTo>
                <a:lnTo>
                  <a:pt x="0" y="9377"/>
                </a:lnTo>
                <a:lnTo>
                  <a:pt x="496" y="19248"/>
                </a:lnTo>
                <a:lnTo>
                  <a:pt x="149798" y="9871"/>
                </a:lnTo>
                <a:lnTo>
                  <a:pt x="149550" y="4935"/>
                </a:lnTo>
                <a:close/>
              </a:path>
            </a:pathLst>
          </a:custGeom>
          <a:solidFill>
            <a:srgbClr val="FFFFFF"/>
          </a:solidFill>
        </p:spPr>
        <p:txBody>
          <a:bodyPr wrap="square" lIns="0" tIns="0" rIns="0" bIns="0" rtlCol="0">
            <a:noAutofit/>
          </a:bodyPr>
          <a:lstStyle/>
          <a:p>
            <a:endParaRPr/>
          </a:p>
        </p:txBody>
      </p:sp>
      <p:sp>
        <p:nvSpPr>
          <p:cNvPr id="1887" name="object 1887"/>
          <p:cNvSpPr/>
          <p:nvPr/>
        </p:nvSpPr>
        <p:spPr>
          <a:xfrm>
            <a:off x="7980916" y="1438045"/>
            <a:ext cx="5208" cy="9871"/>
          </a:xfrm>
          <a:custGeom>
            <a:avLst/>
            <a:gdLst/>
            <a:ahLst/>
            <a:cxnLst/>
            <a:rect l="l" t="t" r="r" b="b"/>
            <a:pathLst>
              <a:path w="5208" h="9871">
                <a:moveTo>
                  <a:pt x="496" y="9871"/>
                </a:moveTo>
                <a:lnTo>
                  <a:pt x="2480" y="9377"/>
                </a:lnTo>
                <a:lnTo>
                  <a:pt x="3968" y="8143"/>
                </a:lnTo>
                <a:lnTo>
                  <a:pt x="4960" y="6662"/>
                </a:lnTo>
                <a:lnTo>
                  <a:pt x="5208" y="4688"/>
                </a:lnTo>
                <a:lnTo>
                  <a:pt x="4712" y="2961"/>
                </a:lnTo>
                <a:lnTo>
                  <a:pt x="3720" y="1480"/>
                </a:lnTo>
                <a:lnTo>
                  <a:pt x="2232" y="246"/>
                </a:lnTo>
                <a:lnTo>
                  <a:pt x="0" y="0"/>
                </a:lnTo>
                <a:lnTo>
                  <a:pt x="496" y="9871"/>
                </a:lnTo>
                <a:close/>
              </a:path>
            </a:pathLst>
          </a:custGeom>
          <a:solidFill>
            <a:srgbClr val="FFFFFF"/>
          </a:solidFill>
        </p:spPr>
        <p:txBody>
          <a:bodyPr wrap="square" lIns="0" tIns="0" rIns="0" bIns="0" rtlCol="0">
            <a:noAutofit/>
          </a:bodyPr>
          <a:lstStyle/>
          <a:p>
            <a:endParaRPr/>
          </a:p>
        </p:txBody>
      </p:sp>
      <p:sp>
        <p:nvSpPr>
          <p:cNvPr id="1888" name="object 1888"/>
          <p:cNvSpPr/>
          <p:nvPr/>
        </p:nvSpPr>
        <p:spPr>
          <a:xfrm>
            <a:off x="7699920" y="1711471"/>
            <a:ext cx="452868" cy="115490"/>
          </a:xfrm>
          <a:custGeom>
            <a:avLst/>
            <a:gdLst/>
            <a:ahLst/>
            <a:cxnLst/>
            <a:rect l="l" t="t" r="r" b="b"/>
            <a:pathLst>
              <a:path w="452868" h="115490">
                <a:moveTo>
                  <a:pt x="0" y="0"/>
                </a:moveTo>
                <a:lnTo>
                  <a:pt x="0" y="90566"/>
                </a:lnTo>
                <a:lnTo>
                  <a:pt x="452372" y="115490"/>
                </a:lnTo>
                <a:lnTo>
                  <a:pt x="452868" y="16287"/>
                </a:lnTo>
                <a:lnTo>
                  <a:pt x="0" y="0"/>
                </a:lnTo>
                <a:close/>
              </a:path>
            </a:pathLst>
          </a:custGeom>
          <a:solidFill>
            <a:srgbClr val="BEBEBE"/>
          </a:solidFill>
        </p:spPr>
        <p:txBody>
          <a:bodyPr wrap="square" lIns="0" tIns="0" rIns="0" bIns="0" rtlCol="0">
            <a:noAutofit/>
          </a:bodyPr>
          <a:lstStyle/>
          <a:p>
            <a:endParaRPr/>
          </a:p>
        </p:txBody>
      </p:sp>
      <p:sp>
        <p:nvSpPr>
          <p:cNvPr id="1889" name="object 1889"/>
          <p:cNvSpPr/>
          <p:nvPr/>
        </p:nvSpPr>
        <p:spPr>
          <a:xfrm>
            <a:off x="7698680" y="1711472"/>
            <a:ext cx="2480" cy="91553"/>
          </a:xfrm>
          <a:custGeom>
            <a:avLst/>
            <a:gdLst/>
            <a:ahLst/>
            <a:cxnLst/>
            <a:rect l="l" t="t" r="r" b="b"/>
            <a:pathLst>
              <a:path w="2480" h="91553">
                <a:moveTo>
                  <a:pt x="868" y="91430"/>
                </a:moveTo>
                <a:lnTo>
                  <a:pt x="1240" y="91553"/>
                </a:lnTo>
                <a:lnTo>
                  <a:pt x="1240" y="89332"/>
                </a:lnTo>
                <a:lnTo>
                  <a:pt x="2480" y="0"/>
                </a:lnTo>
                <a:lnTo>
                  <a:pt x="0" y="0"/>
                </a:lnTo>
                <a:lnTo>
                  <a:pt x="0" y="90566"/>
                </a:lnTo>
                <a:lnTo>
                  <a:pt x="496" y="91306"/>
                </a:lnTo>
                <a:lnTo>
                  <a:pt x="868" y="91430"/>
                </a:lnTo>
                <a:close/>
              </a:path>
            </a:pathLst>
          </a:custGeom>
          <a:solidFill>
            <a:srgbClr val="000000"/>
          </a:solidFill>
        </p:spPr>
        <p:txBody>
          <a:bodyPr wrap="square" lIns="0" tIns="0" rIns="0" bIns="0" rtlCol="0">
            <a:noAutofit/>
          </a:bodyPr>
          <a:lstStyle/>
          <a:p>
            <a:endParaRPr/>
          </a:p>
        </p:txBody>
      </p:sp>
      <p:sp>
        <p:nvSpPr>
          <p:cNvPr id="1890" name="object 1890"/>
          <p:cNvSpPr/>
          <p:nvPr/>
        </p:nvSpPr>
        <p:spPr>
          <a:xfrm>
            <a:off x="7699920" y="1711472"/>
            <a:ext cx="1240" cy="91553"/>
          </a:xfrm>
          <a:custGeom>
            <a:avLst/>
            <a:gdLst/>
            <a:ahLst/>
            <a:cxnLst/>
            <a:rect l="l" t="t" r="r" b="b"/>
            <a:pathLst>
              <a:path w="1240" h="91553">
                <a:moveTo>
                  <a:pt x="0" y="89332"/>
                </a:moveTo>
                <a:lnTo>
                  <a:pt x="0" y="91553"/>
                </a:lnTo>
                <a:lnTo>
                  <a:pt x="744" y="91306"/>
                </a:lnTo>
                <a:lnTo>
                  <a:pt x="1240" y="90566"/>
                </a:lnTo>
                <a:lnTo>
                  <a:pt x="1240" y="0"/>
                </a:lnTo>
                <a:lnTo>
                  <a:pt x="0" y="89332"/>
                </a:lnTo>
                <a:close/>
              </a:path>
            </a:pathLst>
          </a:custGeom>
          <a:solidFill>
            <a:srgbClr val="000000"/>
          </a:solidFill>
        </p:spPr>
        <p:txBody>
          <a:bodyPr wrap="square" lIns="0" tIns="0" rIns="0" bIns="0" rtlCol="0">
            <a:noAutofit/>
          </a:bodyPr>
          <a:lstStyle/>
          <a:p>
            <a:endParaRPr/>
          </a:p>
        </p:txBody>
      </p:sp>
      <p:sp>
        <p:nvSpPr>
          <p:cNvPr id="1891" name="object 1891"/>
          <p:cNvSpPr/>
          <p:nvPr/>
        </p:nvSpPr>
        <p:spPr>
          <a:xfrm>
            <a:off x="7699920" y="1800804"/>
            <a:ext cx="453612" cy="27392"/>
          </a:xfrm>
          <a:custGeom>
            <a:avLst/>
            <a:gdLst/>
            <a:ahLst/>
            <a:cxnLst/>
            <a:rect l="l" t="t" r="r" b="b"/>
            <a:pathLst>
              <a:path w="453612" h="27392">
                <a:moveTo>
                  <a:pt x="453116" y="26898"/>
                </a:moveTo>
                <a:lnTo>
                  <a:pt x="453612" y="26158"/>
                </a:lnTo>
                <a:lnTo>
                  <a:pt x="453116" y="25417"/>
                </a:lnTo>
                <a:lnTo>
                  <a:pt x="452372" y="24924"/>
                </a:lnTo>
                <a:lnTo>
                  <a:pt x="0" y="0"/>
                </a:lnTo>
                <a:lnTo>
                  <a:pt x="0" y="2467"/>
                </a:lnTo>
                <a:lnTo>
                  <a:pt x="452372" y="27392"/>
                </a:lnTo>
                <a:lnTo>
                  <a:pt x="451132" y="26158"/>
                </a:lnTo>
                <a:lnTo>
                  <a:pt x="452372" y="27392"/>
                </a:lnTo>
                <a:lnTo>
                  <a:pt x="453116" y="26898"/>
                </a:lnTo>
                <a:close/>
              </a:path>
            </a:pathLst>
          </a:custGeom>
          <a:solidFill>
            <a:srgbClr val="000000"/>
          </a:solidFill>
        </p:spPr>
        <p:txBody>
          <a:bodyPr wrap="square" lIns="0" tIns="0" rIns="0" bIns="0" rtlCol="0">
            <a:noAutofit/>
          </a:bodyPr>
          <a:lstStyle/>
          <a:p>
            <a:endParaRPr/>
          </a:p>
        </p:txBody>
      </p:sp>
      <p:sp>
        <p:nvSpPr>
          <p:cNvPr id="1892" name="object 1892"/>
          <p:cNvSpPr/>
          <p:nvPr/>
        </p:nvSpPr>
        <p:spPr>
          <a:xfrm>
            <a:off x="8152044" y="1726526"/>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1893" name="object 1893"/>
          <p:cNvSpPr/>
          <p:nvPr/>
        </p:nvSpPr>
        <p:spPr>
          <a:xfrm>
            <a:off x="8151052" y="1726526"/>
            <a:ext cx="2976" cy="100437"/>
          </a:xfrm>
          <a:custGeom>
            <a:avLst/>
            <a:gdLst/>
            <a:ahLst/>
            <a:cxnLst/>
            <a:rect l="l" t="t" r="r" b="b"/>
            <a:pathLst>
              <a:path w="2976" h="100437">
                <a:moveTo>
                  <a:pt x="992" y="493"/>
                </a:moveTo>
                <a:lnTo>
                  <a:pt x="496" y="1233"/>
                </a:lnTo>
                <a:lnTo>
                  <a:pt x="0" y="100437"/>
                </a:lnTo>
                <a:lnTo>
                  <a:pt x="2480" y="100437"/>
                </a:lnTo>
                <a:lnTo>
                  <a:pt x="2976" y="1233"/>
                </a:lnTo>
                <a:lnTo>
                  <a:pt x="2480" y="493"/>
                </a:lnTo>
                <a:lnTo>
                  <a:pt x="1736" y="0"/>
                </a:lnTo>
                <a:lnTo>
                  <a:pt x="1736" y="2467"/>
                </a:lnTo>
                <a:lnTo>
                  <a:pt x="992" y="493"/>
                </a:lnTo>
                <a:close/>
              </a:path>
            </a:pathLst>
          </a:custGeom>
          <a:solidFill>
            <a:srgbClr val="000000"/>
          </a:solidFill>
        </p:spPr>
        <p:txBody>
          <a:bodyPr wrap="square" lIns="0" tIns="0" rIns="0" bIns="0" rtlCol="0">
            <a:noAutofit/>
          </a:bodyPr>
          <a:lstStyle/>
          <a:p>
            <a:endParaRPr/>
          </a:p>
        </p:txBody>
      </p:sp>
      <p:sp>
        <p:nvSpPr>
          <p:cNvPr id="1894" name="object 1894"/>
          <p:cNvSpPr/>
          <p:nvPr/>
        </p:nvSpPr>
        <p:spPr>
          <a:xfrm>
            <a:off x="7698928" y="1710237"/>
            <a:ext cx="453860" cy="18754"/>
          </a:xfrm>
          <a:custGeom>
            <a:avLst/>
            <a:gdLst/>
            <a:ahLst/>
            <a:cxnLst/>
            <a:rect l="l" t="t" r="r" b="b"/>
            <a:pathLst>
              <a:path w="453860" h="18754">
                <a:moveTo>
                  <a:pt x="124" y="863"/>
                </a:moveTo>
                <a:lnTo>
                  <a:pt x="0" y="1233"/>
                </a:lnTo>
                <a:lnTo>
                  <a:pt x="248" y="1974"/>
                </a:lnTo>
                <a:lnTo>
                  <a:pt x="992" y="2467"/>
                </a:lnTo>
                <a:lnTo>
                  <a:pt x="453860" y="18754"/>
                </a:lnTo>
                <a:lnTo>
                  <a:pt x="453860" y="16287"/>
                </a:lnTo>
                <a:lnTo>
                  <a:pt x="2232" y="1233"/>
                </a:lnTo>
                <a:lnTo>
                  <a:pt x="992" y="0"/>
                </a:lnTo>
                <a:lnTo>
                  <a:pt x="248" y="493"/>
                </a:lnTo>
                <a:lnTo>
                  <a:pt x="124" y="863"/>
                </a:lnTo>
                <a:close/>
              </a:path>
              <a:path w="453860" h="18754">
                <a:moveTo>
                  <a:pt x="992" y="0"/>
                </a:moveTo>
                <a:lnTo>
                  <a:pt x="2232" y="1233"/>
                </a:lnTo>
                <a:lnTo>
                  <a:pt x="453860" y="16287"/>
                </a:lnTo>
                <a:lnTo>
                  <a:pt x="992" y="0"/>
                </a:lnTo>
                <a:close/>
              </a:path>
            </a:pathLst>
          </a:custGeom>
          <a:solidFill>
            <a:srgbClr val="000000"/>
          </a:solidFill>
        </p:spPr>
        <p:txBody>
          <a:bodyPr wrap="square" lIns="0" tIns="0" rIns="0" bIns="0" rtlCol="0">
            <a:noAutofit/>
          </a:bodyPr>
          <a:lstStyle/>
          <a:p>
            <a:endParaRPr/>
          </a:p>
        </p:txBody>
      </p:sp>
      <p:sp>
        <p:nvSpPr>
          <p:cNvPr id="1895" name="object 1895"/>
          <p:cNvSpPr/>
          <p:nvPr/>
        </p:nvSpPr>
        <p:spPr>
          <a:xfrm>
            <a:off x="7738609" y="1804753"/>
            <a:ext cx="356144" cy="117711"/>
          </a:xfrm>
          <a:custGeom>
            <a:avLst/>
            <a:gdLst/>
            <a:ahLst/>
            <a:cxnLst/>
            <a:rect l="l" t="t" r="r" b="b"/>
            <a:pathLst>
              <a:path w="356144" h="117711">
                <a:moveTo>
                  <a:pt x="10664" y="0"/>
                </a:moveTo>
                <a:lnTo>
                  <a:pt x="0" y="85384"/>
                </a:lnTo>
                <a:lnTo>
                  <a:pt x="345479" y="117711"/>
                </a:lnTo>
                <a:lnTo>
                  <a:pt x="356144" y="19001"/>
                </a:lnTo>
                <a:lnTo>
                  <a:pt x="10664" y="0"/>
                </a:lnTo>
                <a:close/>
              </a:path>
            </a:pathLst>
          </a:custGeom>
          <a:solidFill>
            <a:srgbClr val="404040"/>
          </a:solidFill>
        </p:spPr>
        <p:txBody>
          <a:bodyPr wrap="square" lIns="0" tIns="0" rIns="0" bIns="0" rtlCol="0">
            <a:noAutofit/>
          </a:bodyPr>
          <a:lstStyle/>
          <a:p>
            <a:endParaRPr/>
          </a:p>
        </p:txBody>
      </p:sp>
      <p:sp>
        <p:nvSpPr>
          <p:cNvPr id="1896" name="object 1896"/>
          <p:cNvSpPr/>
          <p:nvPr/>
        </p:nvSpPr>
        <p:spPr>
          <a:xfrm>
            <a:off x="7738403" y="1888903"/>
            <a:ext cx="1446" cy="2220"/>
          </a:xfrm>
          <a:custGeom>
            <a:avLst/>
            <a:gdLst/>
            <a:ahLst/>
            <a:cxnLst/>
            <a:rect l="l" t="t" r="r" b="b"/>
            <a:pathLst>
              <a:path w="1446" h="2220">
                <a:moveTo>
                  <a:pt x="206" y="0"/>
                </a:moveTo>
                <a:lnTo>
                  <a:pt x="0" y="2220"/>
                </a:lnTo>
                <a:lnTo>
                  <a:pt x="950" y="2220"/>
                </a:lnTo>
                <a:lnTo>
                  <a:pt x="1446" y="1480"/>
                </a:lnTo>
                <a:lnTo>
                  <a:pt x="206" y="0"/>
                </a:lnTo>
                <a:close/>
              </a:path>
            </a:pathLst>
          </a:custGeom>
          <a:solidFill>
            <a:srgbClr val="000000"/>
          </a:solidFill>
        </p:spPr>
        <p:txBody>
          <a:bodyPr wrap="square" lIns="0" tIns="0" rIns="0" bIns="0" rtlCol="0">
            <a:noAutofit/>
          </a:bodyPr>
          <a:lstStyle/>
          <a:p>
            <a:endParaRPr/>
          </a:p>
        </p:txBody>
      </p:sp>
      <p:sp>
        <p:nvSpPr>
          <p:cNvPr id="1897" name="object 1897"/>
          <p:cNvSpPr/>
          <p:nvPr/>
        </p:nvSpPr>
        <p:spPr>
          <a:xfrm>
            <a:off x="7737369" y="1804506"/>
            <a:ext cx="13144" cy="86618"/>
          </a:xfrm>
          <a:custGeom>
            <a:avLst/>
            <a:gdLst/>
            <a:ahLst/>
            <a:cxnLst/>
            <a:rect l="l" t="t" r="r" b="b"/>
            <a:pathLst>
              <a:path w="13144" h="86618">
                <a:moveTo>
                  <a:pt x="2480" y="85877"/>
                </a:moveTo>
                <a:lnTo>
                  <a:pt x="13144" y="493"/>
                </a:lnTo>
                <a:lnTo>
                  <a:pt x="10664" y="0"/>
                </a:lnTo>
                <a:lnTo>
                  <a:pt x="0" y="85384"/>
                </a:lnTo>
                <a:lnTo>
                  <a:pt x="248" y="86371"/>
                </a:lnTo>
                <a:lnTo>
                  <a:pt x="992" y="86618"/>
                </a:lnTo>
                <a:lnTo>
                  <a:pt x="1240" y="84397"/>
                </a:lnTo>
                <a:lnTo>
                  <a:pt x="2480" y="85877"/>
                </a:lnTo>
                <a:close/>
              </a:path>
            </a:pathLst>
          </a:custGeom>
          <a:solidFill>
            <a:srgbClr val="000000"/>
          </a:solidFill>
        </p:spPr>
        <p:txBody>
          <a:bodyPr wrap="square" lIns="0" tIns="0" rIns="0" bIns="0" rtlCol="0">
            <a:noAutofit/>
          </a:bodyPr>
          <a:lstStyle/>
          <a:p>
            <a:endParaRPr/>
          </a:p>
        </p:txBody>
      </p:sp>
      <p:sp>
        <p:nvSpPr>
          <p:cNvPr id="1898" name="object 1898"/>
          <p:cNvSpPr/>
          <p:nvPr/>
        </p:nvSpPr>
        <p:spPr>
          <a:xfrm>
            <a:off x="7738610" y="1888904"/>
            <a:ext cx="346719" cy="34795"/>
          </a:xfrm>
          <a:custGeom>
            <a:avLst/>
            <a:gdLst/>
            <a:ahLst/>
            <a:cxnLst/>
            <a:rect l="l" t="t" r="r" b="b"/>
            <a:pathLst>
              <a:path w="346719" h="34795">
                <a:moveTo>
                  <a:pt x="346719" y="33561"/>
                </a:moveTo>
                <a:lnTo>
                  <a:pt x="346223" y="32821"/>
                </a:lnTo>
                <a:lnTo>
                  <a:pt x="345479" y="32327"/>
                </a:lnTo>
                <a:lnTo>
                  <a:pt x="344239" y="33314"/>
                </a:lnTo>
                <a:lnTo>
                  <a:pt x="345479" y="32327"/>
                </a:lnTo>
                <a:lnTo>
                  <a:pt x="0" y="0"/>
                </a:lnTo>
                <a:lnTo>
                  <a:pt x="0" y="2467"/>
                </a:lnTo>
                <a:lnTo>
                  <a:pt x="345479" y="34795"/>
                </a:lnTo>
                <a:lnTo>
                  <a:pt x="346223" y="34301"/>
                </a:lnTo>
                <a:lnTo>
                  <a:pt x="346365" y="34090"/>
                </a:lnTo>
                <a:lnTo>
                  <a:pt x="346719" y="33561"/>
                </a:lnTo>
                <a:close/>
              </a:path>
            </a:pathLst>
          </a:custGeom>
          <a:solidFill>
            <a:srgbClr val="000000"/>
          </a:solidFill>
        </p:spPr>
        <p:txBody>
          <a:bodyPr wrap="square" lIns="0" tIns="0" rIns="0" bIns="0" rtlCol="0">
            <a:noAutofit/>
          </a:bodyPr>
          <a:lstStyle/>
          <a:p>
            <a:endParaRPr/>
          </a:p>
        </p:txBody>
      </p:sp>
      <p:sp>
        <p:nvSpPr>
          <p:cNvPr id="1899" name="object 1899"/>
          <p:cNvSpPr/>
          <p:nvPr/>
        </p:nvSpPr>
        <p:spPr>
          <a:xfrm>
            <a:off x="8082849" y="1822520"/>
            <a:ext cx="13144" cy="100190"/>
          </a:xfrm>
          <a:custGeom>
            <a:avLst/>
            <a:gdLst/>
            <a:ahLst/>
            <a:cxnLst/>
            <a:rect l="l" t="t" r="r" b="b"/>
            <a:pathLst>
              <a:path w="13144" h="100190">
                <a:moveTo>
                  <a:pt x="11904" y="2467"/>
                </a:moveTo>
                <a:lnTo>
                  <a:pt x="11947" y="51"/>
                </a:lnTo>
                <a:lnTo>
                  <a:pt x="11160" y="246"/>
                </a:lnTo>
                <a:lnTo>
                  <a:pt x="10664" y="987"/>
                </a:lnTo>
                <a:lnTo>
                  <a:pt x="0" y="99697"/>
                </a:lnTo>
                <a:lnTo>
                  <a:pt x="2480" y="100190"/>
                </a:lnTo>
                <a:lnTo>
                  <a:pt x="13144" y="1480"/>
                </a:lnTo>
                <a:lnTo>
                  <a:pt x="12896" y="493"/>
                </a:lnTo>
                <a:lnTo>
                  <a:pt x="12152" y="0"/>
                </a:lnTo>
                <a:lnTo>
                  <a:pt x="11947" y="51"/>
                </a:lnTo>
                <a:lnTo>
                  <a:pt x="11904" y="2467"/>
                </a:lnTo>
                <a:close/>
              </a:path>
            </a:pathLst>
          </a:custGeom>
          <a:solidFill>
            <a:srgbClr val="000000"/>
          </a:solidFill>
        </p:spPr>
        <p:txBody>
          <a:bodyPr wrap="square" lIns="0" tIns="0" rIns="0" bIns="0" rtlCol="0">
            <a:noAutofit/>
          </a:bodyPr>
          <a:lstStyle/>
          <a:p>
            <a:endParaRPr/>
          </a:p>
        </p:txBody>
      </p:sp>
      <p:sp>
        <p:nvSpPr>
          <p:cNvPr id="1900" name="object 1900"/>
          <p:cNvSpPr/>
          <p:nvPr/>
        </p:nvSpPr>
        <p:spPr>
          <a:xfrm>
            <a:off x="7748283" y="1803520"/>
            <a:ext cx="346471" cy="21469"/>
          </a:xfrm>
          <a:custGeom>
            <a:avLst/>
            <a:gdLst/>
            <a:ahLst/>
            <a:cxnLst/>
            <a:rect l="l" t="t" r="r" b="b"/>
            <a:pathLst>
              <a:path w="346471" h="21469">
                <a:moveTo>
                  <a:pt x="202" y="628"/>
                </a:moveTo>
                <a:lnTo>
                  <a:pt x="0" y="1233"/>
                </a:lnTo>
                <a:lnTo>
                  <a:pt x="248" y="1974"/>
                </a:lnTo>
                <a:lnTo>
                  <a:pt x="992" y="2467"/>
                </a:lnTo>
                <a:lnTo>
                  <a:pt x="346471" y="21469"/>
                </a:lnTo>
                <a:lnTo>
                  <a:pt x="346471" y="19001"/>
                </a:lnTo>
                <a:lnTo>
                  <a:pt x="2232" y="1480"/>
                </a:lnTo>
                <a:lnTo>
                  <a:pt x="992" y="0"/>
                </a:lnTo>
                <a:lnTo>
                  <a:pt x="248" y="493"/>
                </a:lnTo>
                <a:lnTo>
                  <a:pt x="202" y="628"/>
                </a:lnTo>
                <a:close/>
              </a:path>
              <a:path w="346471" h="21469">
                <a:moveTo>
                  <a:pt x="992" y="0"/>
                </a:moveTo>
                <a:lnTo>
                  <a:pt x="2232" y="1480"/>
                </a:lnTo>
                <a:lnTo>
                  <a:pt x="346471" y="19001"/>
                </a:lnTo>
                <a:lnTo>
                  <a:pt x="992" y="0"/>
                </a:lnTo>
                <a:close/>
              </a:path>
            </a:pathLst>
          </a:custGeom>
          <a:solidFill>
            <a:srgbClr val="000000"/>
          </a:solidFill>
        </p:spPr>
        <p:txBody>
          <a:bodyPr wrap="square" lIns="0" tIns="0" rIns="0" bIns="0" rtlCol="0">
            <a:noAutofit/>
          </a:bodyPr>
          <a:lstStyle/>
          <a:p>
            <a:endParaRPr/>
          </a:p>
        </p:txBody>
      </p:sp>
      <p:sp>
        <p:nvSpPr>
          <p:cNvPr id="1901" name="object 1901"/>
          <p:cNvSpPr/>
          <p:nvPr/>
        </p:nvSpPr>
        <p:spPr>
          <a:xfrm>
            <a:off x="8065736" y="1615229"/>
            <a:ext cx="99204" cy="87358"/>
          </a:xfrm>
          <a:custGeom>
            <a:avLst/>
            <a:gdLst/>
            <a:ahLst/>
            <a:cxnLst/>
            <a:rect l="l" t="t" r="r" b="b"/>
            <a:pathLst>
              <a:path w="99204" h="87358">
                <a:moveTo>
                  <a:pt x="28025" y="0"/>
                </a:moveTo>
                <a:lnTo>
                  <a:pt x="22321" y="493"/>
                </a:lnTo>
                <a:lnTo>
                  <a:pt x="17112" y="2220"/>
                </a:lnTo>
                <a:lnTo>
                  <a:pt x="12400" y="4688"/>
                </a:lnTo>
                <a:lnTo>
                  <a:pt x="8184" y="8143"/>
                </a:lnTo>
                <a:lnTo>
                  <a:pt x="4712" y="12338"/>
                </a:lnTo>
                <a:lnTo>
                  <a:pt x="2232" y="17027"/>
                </a:lnTo>
                <a:lnTo>
                  <a:pt x="496" y="22209"/>
                </a:lnTo>
                <a:lnTo>
                  <a:pt x="0" y="27885"/>
                </a:lnTo>
                <a:lnTo>
                  <a:pt x="0" y="58485"/>
                </a:lnTo>
                <a:lnTo>
                  <a:pt x="496" y="64161"/>
                </a:lnTo>
                <a:lnTo>
                  <a:pt x="2232" y="69343"/>
                </a:lnTo>
                <a:lnTo>
                  <a:pt x="4960" y="74032"/>
                </a:lnTo>
                <a:lnTo>
                  <a:pt x="8432" y="78227"/>
                </a:lnTo>
                <a:lnTo>
                  <a:pt x="12400" y="81435"/>
                </a:lnTo>
                <a:lnTo>
                  <a:pt x="17360" y="84150"/>
                </a:lnTo>
                <a:lnTo>
                  <a:pt x="22569" y="85631"/>
                </a:lnTo>
                <a:lnTo>
                  <a:pt x="28025" y="86371"/>
                </a:lnTo>
                <a:lnTo>
                  <a:pt x="71179" y="87358"/>
                </a:lnTo>
                <a:lnTo>
                  <a:pt x="76635" y="86865"/>
                </a:lnTo>
                <a:lnTo>
                  <a:pt x="81843" y="85384"/>
                </a:lnTo>
                <a:lnTo>
                  <a:pt x="86555" y="82669"/>
                </a:lnTo>
                <a:lnTo>
                  <a:pt x="90772" y="79214"/>
                </a:lnTo>
                <a:lnTo>
                  <a:pt x="94244" y="75266"/>
                </a:lnTo>
                <a:lnTo>
                  <a:pt x="96972" y="70331"/>
                </a:lnTo>
                <a:lnTo>
                  <a:pt x="98708" y="65148"/>
                </a:lnTo>
                <a:lnTo>
                  <a:pt x="99204" y="59472"/>
                </a:lnTo>
                <a:lnTo>
                  <a:pt x="99204" y="27885"/>
                </a:lnTo>
                <a:lnTo>
                  <a:pt x="98708" y="22209"/>
                </a:lnTo>
                <a:lnTo>
                  <a:pt x="96972" y="17027"/>
                </a:lnTo>
                <a:lnTo>
                  <a:pt x="94492" y="12338"/>
                </a:lnTo>
                <a:lnTo>
                  <a:pt x="91020" y="8143"/>
                </a:lnTo>
                <a:lnTo>
                  <a:pt x="86803" y="4688"/>
                </a:lnTo>
                <a:lnTo>
                  <a:pt x="82091" y="2220"/>
                </a:lnTo>
                <a:lnTo>
                  <a:pt x="76883" y="493"/>
                </a:lnTo>
                <a:lnTo>
                  <a:pt x="71179" y="0"/>
                </a:lnTo>
                <a:lnTo>
                  <a:pt x="28025" y="0"/>
                </a:lnTo>
                <a:close/>
              </a:path>
            </a:pathLst>
          </a:custGeom>
          <a:solidFill>
            <a:srgbClr val="FFFFFF"/>
          </a:solidFill>
        </p:spPr>
        <p:txBody>
          <a:bodyPr wrap="square" lIns="0" tIns="0" rIns="0" bIns="0" rtlCol="0">
            <a:noAutofit/>
          </a:bodyPr>
          <a:lstStyle/>
          <a:p>
            <a:endParaRPr/>
          </a:p>
        </p:txBody>
      </p:sp>
      <p:sp>
        <p:nvSpPr>
          <p:cNvPr id="1902" name="object 1902"/>
          <p:cNvSpPr/>
          <p:nvPr/>
        </p:nvSpPr>
        <p:spPr>
          <a:xfrm>
            <a:off x="8093762" y="1615229"/>
            <a:ext cx="43153" cy="0"/>
          </a:xfrm>
          <a:custGeom>
            <a:avLst/>
            <a:gdLst/>
            <a:ahLst/>
            <a:cxnLst/>
            <a:rect l="l" t="t" r="r" b="b"/>
            <a:pathLst>
              <a:path w="43153">
                <a:moveTo>
                  <a:pt x="0" y="0"/>
                </a:moveTo>
                <a:lnTo>
                  <a:pt x="43153" y="0"/>
                </a:lnTo>
              </a:path>
            </a:pathLst>
          </a:custGeom>
          <a:ln w="3737">
            <a:solidFill>
              <a:srgbClr val="000000"/>
            </a:solidFill>
          </a:ln>
        </p:spPr>
        <p:txBody>
          <a:bodyPr wrap="square" lIns="0" tIns="0" rIns="0" bIns="0" rtlCol="0">
            <a:noAutofit/>
          </a:bodyPr>
          <a:lstStyle/>
          <a:p>
            <a:endParaRPr/>
          </a:p>
        </p:txBody>
      </p:sp>
      <p:sp>
        <p:nvSpPr>
          <p:cNvPr id="1903" name="object 1903"/>
          <p:cNvSpPr/>
          <p:nvPr/>
        </p:nvSpPr>
        <p:spPr>
          <a:xfrm>
            <a:off x="8136916" y="1613996"/>
            <a:ext cx="29265" cy="29119"/>
          </a:xfrm>
          <a:custGeom>
            <a:avLst/>
            <a:gdLst/>
            <a:ahLst/>
            <a:cxnLst/>
            <a:rect l="l" t="t" r="r" b="b"/>
            <a:pathLst>
              <a:path w="29265" h="29119">
                <a:moveTo>
                  <a:pt x="27033" y="17767"/>
                </a:moveTo>
                <a:lnTo>
                  <a:pt x="24305" y="12832"/>
                </a:lnTo>
                <a:lnTo>
                  <a:pt x="20832" y="8390"/>
                </a:lnTo>
                <a:lnTo>
                  <a:pt x="16368" y="4935"/>
                </a:lnTo>
                <a:lnTo>
                  <a:pt x="11408" y="2220"/>
                </a:lnTo>
                <a:lnTo>
                  <a:pt x="5952" y="493"/>
                </a:lnTo>
                <a:lnTo>
                  <a:pt x="0" y="0"/>
                </a:lnTo>
                <a:lnTo>
                  <a:pt x="0" y="2467"/>
                </a:lnTo>
                <a:lnTo>
                  <a:pt x="5456" y="2961"/>
                </a:lnTo>
                <a:lnTo>
                  <a:pt x="10416" y="4688"/>
                </a:lnTo>
                <a:lnTo>
                  <a:pt x="14880" y="6909"/>
                </a:lnTo>
                <a:lnTo>
                  <a:pt x="18848" y="10364"/>
                </a:lnTo>
                <a:lnTo>
                  <a:pt x="22321" y="14312"/>
                </a:lnTo>
                <a:lnTo>
                  <a:pt x="24553" y="18754"/>
                </a:lnTo>
                <a:lnTo>
                  <a:pt x="26289" y="23690"/>
                </a:lnTo>
                <a:lnTo>
                  <a:pt x="26785" y="29119"/>
                </a:lnTo>
                <a:lnTo>
                  <a:pt x="29265" y="29119"/>
                </a:lnTo>
                <a:lnTo>
                  <a:pt x="28769" y="23196"/>
                </a:lnTo>
                <a:lnTo>
                  <a:pt x="27033" y="17767"/>
                </a:lnTo>
                <a:close/>
              </a:path>
            </a:pathLst>
          </a:custGeom>
          <a:solidFill>
            <a:srgbClr val="000000"/>
          </a:solidFill>
        </p:spPr>
        <p:txBody>
          <a:bodyPr wrap="square" lIns="0" tIns="0" rIns="0" bIns="0" rtlCol="0">
            <a:noAutofit/>
          </a:bodyPr>
          <a:lstStyle/>
          <a:p>
            <a:endParaRPr/>
          </a:p>
        </p:txBody>
      </p:sp>
      <p:sp>
        <p:nvSpPr>
          <p:cNvPr id="1904" name="object 1904"/>
          <p:cNvSpPr/>
          <p:nvPr/>
        </p:nvSpPr>
        <p:spPr>
          <a:xfrm>
            <a:off x="8163701" y="1658908"/>
            <a:ext cx="2480" cy="0"/>
          </a:xfrm>
          <a:custGeom>
            <a:avLst/>
            <a:gdLst/>
            <a:ahLst/>
            <a:cxnLst/>
            <a:rect l="l" t="t" r="r" b="b"/>
            <a:pathLst>
              <a:path w="2480">
                <a:moveTo>
                  <a:pt x="0" y="0"/>
                </a:moveTo>
                <a:lnTo>
                  <a:pt x="2480" y="0"/>
                </a:lnTo>
              </a:path>
            </a:pathLst>
          </a:custGeom>
          <a:ln w="32857">
            <a:solidFill>
              <a:srgbClr val="000000"/>
            </a:solidFill>
          </a:ln>
        </p:spPr>
        <p:txBody>
          <a:bodyPr wrap="square" lIns="0" tIns="0" rIns="0" bIns="0" rtlCol="0">
            <a:noAutofit/>
          </a:bodyPr>
          <a:lstStyle/>
          <a:p>
            <a:endParaRPr/>
          </a:p>
        </p:txBody>
      </p:sp>
      <p:sp>
        <p:nvSpPr>
          <p:cNvPr id="1905" name="object 1905"/>
          <p:cNvSpPr/>
          <p:nvPr/>
        </p:nvSpPr>
        <p:spPr>
          <a:xfrm>
            <a:off x="8136916" y="1674703"/>
            <a:ext cx="29265" cy="29119"/>
          </a:xfrm>
          <a:custGeom>
            <a:avLst/>
            <a:gdLst/>
            <a:ahLst/>
            <a:cxnLst/>
            <a:rect l="l" t="t" r="r" b="b"/>
            <a:pathLst>
              <a:path w="29265" h="29119">
                <a:moveTo>
                  <a:pt x="0" y="26651"/>
                </a:moveTo>
                <a:lnTo>
                  <a:pt x="0" y="29119"/>
                </a:lnTo>
                <a:lnTo>
                  <a:pt x="5704" y="28625"/>
                </a:lnTo>
                <a:lnTo>
                  <a:pt x="11160" y="27145"/>
                </a:lnTo>
                <a:lnTo>
                  <a:pt x="16120" y="24184"/>
                </a:lnTo>
                <a:lnTo>
                  <a:pt x="20336" y="20729"/>
                </a:lnTo>
                <a:lnTo>
                  <a:pt x="24057" y="16533"/>
                </a:lnTo>
                <a:lnTo>
                  <a:pt x="27033" y="11351"/>
                </a:lnTo>
                <a:lnTo>
                  <a:pt x="28769" y="5922"/>
                </a:lnTo>
                <a:lnTo>
                  <a:pt x="29265" y="0"/>
                </a:lnTo>
                <a:lnTo>
                  <a:pt x="26785" y="0"/>
                </a:lnTo>
                <a:lnTo>
                  <a:pt x="26289" y="5429"/>
                </a:lnTo>
                <a:lnTo>
                  <a:pt x="24553" y="10364"/>
                </a:lnTo>
                <a:lnTo>
                  <a:pt x="22072" y="15053"/>
                </a:lnTo>
                <a:lnTo>
                  <a:pt x="18848" y="18754"/>
                </a:lnTo>
                <a:lnTo>
                  <a:pt x="14632" y="22209"/>
                </a:lnTo>
                <a:lnTo>
                  <a:pt x="10168" y="24677"/>
                </a:lnTo>
                <a:lnTo>
                  <a:pt x="5208" y="26158"/>
                </a:lnTo>
                <a:lnTo>
                  <a:pt x="0" y="26651"/>
                </a:lnTo>
                <a:close/>
              </a:path>
            </a:pathLst>
          </a:custGeom>
          <a:solidFill>
            <a:srgbClr val="000000"/>
          </a:solidFill>
        </p:spPr>
        <p:txBody>
          <a:bodyPr wrap="square" lIns="0" tIns="0" rIns="0" bIns="0" rtlCol="0">
            <a:noAutofit/>
          </a:bodyPr>
          <a:lstStyle/>
          <a:p>
            <a:endParaRPr/>
          </a:p>
        </p:txBody>
      </p:sp>
      <p:sp>
        <p:nvSpPr>
          <p:cNvPr id="1906" name="object 1906"/>
          <p:cNvSpPr/>
          <p:nvPr/>
        </p:nvSpPr>
        <p:spPr>
          <a:xfrm>
            <a:off x="8093762" y="1700366"/>
            <a:ext cx="43153" cy="3454"/>
          </a:xfrm>
          <a:custGeom>
            <a:avLst/>
            <a:gdLst/>
            <a:ahLst/>
            <a:cxnLst/>
            <a:rect l="l" t="t" r="r" b="b"/>
            <a:pathLst>
              <a:path w="43153" h="3454">
                <a:moveTo>
                  <a:pt x="0" y="2467"/>
                </a:moveTo>
                <a:lnTo>
                  <a:pt x="43153" y="3454"/>
                </a:lnTo>
                <a:lnTo>
                  <a:pt x="43153" y="987"/>
                </a:lnTo>
                <a:lnTo>
                  <a:pt x="0" y="0"/>
                </a:lnTo>
                <a:lnTo>
                  <a:pt x="0" y="2467"/>
                </a:lnTo>
                <a:close/>
              </a:path>
            </a:pathLst>
          </a:custGeom>
          <a:solidFill>
            <a:srgbClr val="000000"/>
          </a:solidFill>
        </p:spPr>
        <p:txBody>
          <a:bodyPr wrap="square" lIns="0" tIns="0" rIns="0" bIns="0" rtlCol="0">
            <a:noAutofit/>
          </a:bodyPr>
          <a:lstStyle/>
          <a:p>
            <a:endParaRPr/>
          </a:p>
        </p:txBody>
      </p:sp>
      <p:sp>
        <p:nvSpPr>
          <p:cNvPr id="1907" name="object 1907"/>
          <p:cNvSpPr/>
          <p:nvPr/>
        </p:nvSpPr>
        <p:spPr>
          <a:xfrm>
            <a:off x="8064497" y="1673716"/>
            <a:ext cx="29265" cy="29119"/>
          </a:xfrm>
          <a:custGeom>
            <a:avLst/>
            <a:gdLst/>
            <a:ahLst/>
            <a:cxnLst/>
            <a:rect l="l" t="t" r="r" b="b"/>
            <a:pathLst>
              <a:path w="29265" h="29119">
                <a:moveTo>
                  <a:pt x="4712" y="10364"/>
                </a:moveTo>
                <a:lnTo>
                  <a:pt x="2976" y="5429"/>
                </a:lnTo>
                <a:lnTo>
                  <a:pt x="2480" y="0"/>
                </a:lnTo>
                <a:lnTo>
                  <a:pt x="0" y="0"/>
                </a:lnTo>
                <a:lnTo>
                  <a:pt x="496" y="5922"/>
                </a:lnTo>
                <a:lnTo>
                  <a:pt x="2232" y="11351"/>
                </a:lnTo>
                <a:lnTo>
                  <a:pt x="5208" y="16287"/>
                </a:lnTo>
                <a:lnTo>
                  <a:pt x="8680" y="20729"/>
                </a:lnTo>
                <a:lnTo>
                  <a:pt x="12896" y="23937"/>
                </a:lnTo>
                <a:lnTo>
                  <a:pt x="18104" y="26898"/>
                </a:lnTo>
                <a:lnTo>
                  <a:pt x="23561" y="28379"/>
                </a:lnTo>
                <a:lnTo>
                  <a:pt x="29265" y="29119"/>
                </a:lnTo>
                <a:lnTo>
                  <a:pt x="29265" y="26651"/>
                </a:lnTo>
                <a:lnTo>
                  <a:pt x="24057" y="25911"/>
                </a:lnTo>
                <a:lnTo>
                  <a:pt x="19096" y="24430"/>
                </a:lnTo>
                <a:lnTo>
                  <a:pt x="14384" y="21963"/>
                </a:lnTo>
                <a:lnTo>
                  <a:pt x="10664" y="18754"/>
                </a:lnTo>
                <a:lnTo>
                  <a:pt x="7192" y="14806"/>
                </a:lnTo>
                <a:lnTo>
                  <a:pt x="4712" y="10364"/>
                </a:lnTo>
                <a:close/>
              </a:path>
            </a:pathLst>
          </a:custGeom>
          <a:solidFill>
            <a:srgbClr val="000000"/>
          </a:solidFill>
        </p:spPr>
        <p:txBody>
          <a:bodyPr wrap="square" lIns="0" tIns="0" rIns="0" bIns="0" rtlCol="0">
            <a:noAutofit/>
          </a:bodyPr>
          <a:lstStyle/>
          <a:p>
            <a:endParaRPr/>
          </a:p>
        </p:txBody>
      </p:sp>
      <p:sp>
        <p:nvSpPr>
          <p:cNvPr id="1908" name="object 1908"/>
          <p:cNvSpPr/>
          <p:nvPr/>
        </p:nvSpPr>
        <p:spPr>
          <a:xfrm>
            <a:off x="8064496" y="1658415"/>
            <a:ext cx="2480" cy="0"/>
          </a:xfrm>
          <a:custGeom>
            <a:avLst/>
            <a:gdLst/>
            <a:ahLst/>
            <a:cxnLst/>
            <a:rect l="l" t="t" r="r" b="b"/>
            <a:pathLst>
              <a:path w="2480">
                <a:moveTo>
                  <a:pt x="0" y="0"/>
                </a:moveTo>
                <a:lnTo>
                  <a:pt x="2480" y="0"/>
                </a:lnTo>
              </a:path>
            </a:pathLst>
          </a:custGeom>
          <a:ln w="31870">
            <a:solidFill>
              <a:srgbClr val="000000"/>
            </a:solidFill>
          </a:ln>
        </p:spPr>
        <p:txBody>
          <a:bodyPr wrap="square" lIns="0" tIns="0" rIns="0" bIns="0" rtlCol="0">
            <a:noAutofit/>
          </a:bodyPr>
          <a:lstStyle/>
          <a:p>
            <a:endParaRPr/>
          </a:p>
        </p:txBody>
      </p:sp>
      <p:sp>
        <p:nvSpPr>
          <p:cNvPr id="1909" name="object 1909"/>
          <p:cNvSpPr/>
          <p:nvPr/>
        </p:nvSpPr>
        <p:spPr>
          <a:xfrm>
            <a:off x="8064497" y="1613996"/>
            <a:ext cx="29265" cy="29119"/>
          </a:xfrm>
          <a:custGeom>
            <a:avLst/>
            <a:gdLst/>
            <a:ahLst/>
            <a:cxnLst/>
            <a:rect l="l" t="t" r="r" b="b"/>
            <a:pathLst>
              <a:path w="29265" h="29119">
                <a:moveTo>
                  <a:pt x="2480" y="29119"/>
                </a:moveTo>
                <a:lnTo>
                  <a:pt x="2976" y="23690"/>
                </a:lnTo>
                <a:lnTo>
                  <a:pt x="4712" y="18754"/>
                </a:lnTo>
                <a:lnTo>
                  <a:pt x="6944" y="14312"/>
                </a:lnTo>
                <a:lnTo>
                  <a:pt x="10416" y="10364"/>
                </a:lnTo>
                <a:lnTo>
                  <a:pt x="14384" y="6909"/>
                </a:lnTo>
                <a:lnTo>
                  <a:pt x="18848" y="4688"/>
                </a:lnTo>
                <a:lnTo>
                  <a:pt x="23809" y="2961"/>
                </a:lnTo>
                <a:lnTo>
                  <a:pt x="29265" y="2467"/>
                </a:lnTo>
                <a:lnTo>
                  <a:pt x="29265" y="0"/>
                </a:lnTo>
                <a:lnTo>
                  <a:pt x="23313" y="493"/>
                </a:lnTo>
                <a:lnTo>
                  <a:pt x="17856" y="2220"/>
                </a:lnTo>
                <a:lnTo>
                  <a:pt x="12896" y="4935"/>
                </a:lnTo>
                <a:lnTo>
                  <a:pt x="8432" y="8390"/>
                </a:lnTo>
                <a:lnTo>
                  <a:pt x="4960" y="12832"/>
                </a:lnTo>
                <a:lnTo>
                  <a:pt x="2232" y="17767"/>
                </a:lnTo>
                <a:lnTo>
                  <a:pt x="496" y="23196"/>
                </a:lnTo>
                <a:lnTo>
                  <a:pt x="0" y="29119"/>
                </a:lnTo>
                <a:lnTo>
                  <a:pt x="2480" y="29119"/>
                </a:lnTo>
                <a:close/>
              </a:path>
            </a:pathLst>
          </a:custGeom>
          <a:solidFill>
            <a:srgbClr val="000000"/>
          </a:solidFill>
        </p:spPr>
        <p:txBody>
          <a:bodyPr wrap="square" lIns="0" tIns="0" rIns="0" bIns="0" rtlCol="0">
            <a:noAutofit/>
          </a:bodyPr>
          <a:lstStyle/>
          <a:p>
            <a:endParaRPr/>
          </a:p>
        </p:txBody>
      </p:sp>
      <p:sp>
        <p:nvSpPr>
          <p:cNvPr id="1910" name="object 1910"/>
          <p:cNvSpPr/>
          <p:nvPr/>
        </p:nvSpPr>
        <p:spPr>
          <a:xfrm>
            <a:off x="8074169" y="1620658"/>
            <a:ext cx="89284" cy="78474"/>
          </a:xfrm>
          <a:custGeom>
            <a:avLst/>
            <a:gdLst/>
            <a:ahLst/>
            <a:cxnLst/>
            <a:rect l="l" t="t" r="r" b="b"/>
            <a:pathLst>
              <a:path w="89284" h="78474">
                <a:moveTo>
                  <a:pt x="25049" y="0"/>
                </a:moveTo>
                <a:lnTo>
                  <a:pt x="20088" y="493"/>
                </a:lnTo>
                <a:lnTo>
                  <a:pt x="15376" y="1974"/>
                </a:lnTo>
                <a:lnTo>
                  <a:pt x="10912" y="4195"/>
                </a:lnTo>
                <a:lnTo>
                  <a:pt x="7440" y="7156"/>
                </a:lnTo>
                <a:lnTo>
                  <a:pt x="4216" y="10858"/>
                </a:lnTo>
                <a:lnTo>
                  <a:pt x="1984" y="15300"/>
                </a:lnTo>
                <a:lnTo>
                  <a:pt x="496" y="19988"/>
                </a:lnTo>
                <a:lnTo>
                  <a:pt x="0" y="24924"/>
                </a:lnTo>
                <a:lnTo>
                  <a:pt x="0" y="52563"/>
                </a:lnTo>
                <a:lnTo>
                  <a:pt x="496" y="57745"/>
                </a:lnTo>
                <a:lnTo>
                  <a:pt x="1984" y="62434"/>
                </a:lnTo>
                <a:lnTo>
                  <a:pt x="4464" y="66629"/>
                </a:lnTo>
                <a:lnTo>
                  <a:pt x="7440" y="70331"/>
                </a:lnTo>
                <a:lnTo>
                  <a:pt x="11160" y="73292"/>
                </a:lnTo>
                <a:lnTo>
                  <a:pt x="15376" y="75760"/>
                </a:lnTo>
                <a:lnTo>
                  <a:pt x="20088" y="77240"/>
                </a:lnTo>
                <a:lnTo>
                  <a:pt x="25049" y="77734"/>
                </a:lnTo>
                <a:lnTo>
                  <a:pt x="63986" y="78474"/>
                </a:lnTo>
                <a:lnTo>
                  <a:pt x="68947" y="77981"/>
                </a:lnTo>
                <a:lnTo>
                  <a:pt x="73659" y="76747"/>
                </a:lnTo>
                <a:lnTo>
                  <a:pt x="77875" y="74279"/>
                </a:lnTo>
                <a:lnTo>
                  <a:pt x="81595" y="71318"/>
                </a:lnTo>
                <a:lnTo>
                  <a:pt x="84819" y="67616"/>
                </a:lnTo>
                <a:lnTo>
                  <a:pt x="87299" y="63174"/>
                </a:lnTo>
                <a:lnTo>
                  <a:pt x="88787" y="58485"/>
                </a:lnTo>
                <a:lnTo>
                  <a:pt x="89284" y="53550"/>
                </a:lnTo>
                <a:lnTo>
                  <a:pt x="89284" y="24924"/>
                </a:lnTo>
                <a:lnTo>
                  <a:pt x="88787" y="19988"/>
                </a:lnTo>
                <a:lnTo>
                  <a:pt x="87299" y="15300"/>
                </a:lnTo>
                <a:lnTo>
                  <a:pt x="84819" y="11104"/>
                </a:lnTo>
                <a:lnTo>
                  <a:pt x="81843" y="7403"/>
                </a:lnTo>
                <a:lnTo>
                  <a:pt x="78123" y="4195"/>
                </a:lnTo>
                <a:lnTo>
                  <a:pt x="73907" y="1974"/>
                </a:lnTo>
                <a:lnTo>
                  <a:pt x="68947" y="493"/>
                </a:lnTo>
                <a:lnTo>
                  <a:pt x="63986" y="0"/>
                </a:lnTo>
                <a:lnTo>
                  <a:pt x="25049" y="0"/>
                </a:lnTo>
                <a:close/>
              </a:path>
            </a:pathLst>
          </a:custGeom>
          <a:solidFill>
            <a:srgbClr val="EFEFEF"/>
          </a:solidFill>
        </p:spPr>
        <p:txBody>
          <a:bodyPr wrap="square" lIns="0" tIns="0" rIns="0" bIns="0" rtlCol="0">
            <a:noAutofit/>
          </a:bodyPr>
          <a:lstStyle/>
          <a:p>
            <a:endParaRPr/>
          </a:p>
        </p:txBody>
      </p:sp>
      <p:sp>
        <p:nvSpPr>
          <p:cNvPr id="1911" name="object 1911"/>
          <p:cNvSpPr/>
          <p:nvPr/>
        </p:nvSpPr>
        <p:spPr>
          <a:xfrm>
            <a:off x="8099219" y="1620658"/>
            <a:ext cx="38937" cy="0"/>
          </a:xfrm>
          <a:custGeom>
            <a:avLst/>
            <a:gdLst/>
            <a:ahLst/>
            <a:cxnLst/>
            <a:rect l="l" t="t" r="r" b="b"/>
            <a:pathLst>
              <a:path w="38937">
                <a:moveTo>
                  <a:pt x="0" y="0"/>
                </a:moveTo>
                <a:lnTo>
                  <a:pt x="38937" y="0"/>
                </a:lnTo>
              </a:path>
            </a:pathLst>
          </a:custGeom>
          <a:ln w="3737">
            <a:solidFill>
              <a:srgbClr val="000000"/>
            </a:solidFill>
          </a:ln>
        </p:spPr>
        <p:txBody>
          <a:bodyPr wrap="square" lIns="0" tIns="0" rIns="0" bIns="0" rtlCol="0">
            <a:noAutofit/>
          </a:bodyPr>
          <a:lstStyle/>
          <a:p>
            <a:endParaRPr/>
          </a:p>
        </p:txBody>
      </p:sp>
      <p:sp>
        <p:nvSpPr>
          <p:cNvPr id="1912" name="object 1912"/>
          <p:cNvSpPr/>
          <p:nvPr/>
        </p:nvSpPr>
        <p:spPr>
          <a:xfrm>
            <a:off x="8138156" y="1619424"/>
            <a:ext cx="26537" cy="26158"/>
          </a:xfrm>
          <a:custGeom>
            <a:avLst/>
            <a:gdLst/>
            <a:ahLst/>
            <a:cxnLst/>
            <a:rect l="l" t="t" r="r" b="b"/>
            <a:pathLst>
              <a:path w="26537" h="26158">
                <a:moveTo>
                  <a:pt x="24553" y="16040"/>
                </a:moveTo>
                <a:lnTo>
                  <a:pt x="21824" y="11598"/>
                </a:lnTo>
                <a:lnTo>
                  <a:pt x="18848" y="7896"/>
                </a:lnTo>
                <a:lnTo>
                  <a:pt x="14880" y="4441"/>
                </a:lnTo>
                <a:lnTo>
                  <a:pt x="10416" y="1974"/>
                </a:lnTo>
                <a:lnTo>
                  <a:pt x="5208" y="493"/>
                </a:lnTo>
                <a:lnTo>
                  <a:pt x="0" y="0"/>
                </a:lnTo>
                <a:lnTo>
                  <a:pt x="0" y="2467"/>
                </a:lnTo>
                <a:lnTo>
                  <a:pt x="4712" y="2961"/>
                </a:lnTo>
                <a:lnTo>
                  <a:pt x="9424" y="4441"/>
                </a:lnTo>
                <a:lnTo>
                  <a:pt x="13392" y="6416"/>
                </a:lnTo>
                <a:lnTo>
                  <a:pt x="16864" y="9377"/>
                </a:lnTo>
                <a:lnTo>
                  <a:pt x="19840" y="13079"/>
                </a:lnTo>
                <a:lnTo>
                  <a:pt x="22072" y="17027"/>
                </a:lnTo>
                <a:lnTo>
                  <a:pt x="23561" y="21469"/>
                </a:lnTo>
                <a:lnTo>
                  <a:pt x="24057" y="26158"/>
                </a:lnTo>
                <a:lnTo>
                  <a:pt x="26537" y="26158"/>
                </a:lnTo>
                <a:lnTo>
                  <a:pt x="26041" y="20975"/>
                </a:lnTo>
                <a:lnTo>
                  <a:pt x="24553" y="16040"/>
                </a:lnTo>
                <a:close/>
              </a:path>
            </a:pathLst>
          </a:custGeom>
          <a:solidFill>
            <a:srgbClr val="000000"/>
          </a:solidFill>
        </p:spPr>
        <p:txBody>
          <a:bodyPr wrap="square" lIns="0" tIns="0" rIns="0" bIns="0" rtlCol="0">
            <a:noAutofit/>
          </a:bodyPr>
          <a:lstStyle/>
          <a:p>
            <a:endParaRPr/>
          </a:p>
        </p:txBody>
      </p:sp>
      <p:sp>
        <p:nvSpPr>
          <p:cNvPr id="1913" name="object 1913"/>
          <p:cNvSpPr/>
          <p:nvPr/>
        </p:nvSpPr>
        <p:spPr>
          <a:xfrm>
            <a:off x="8162212" y="1659895"/>
            <a:ext cx="2480" cy="0"/>
          </a:xfrm>
          <a:custGeom>
            <a:avLst/>
            <a:gdLst/>
            <a:ahLst/>
            <a:cxnLst/>
            <a:rect l="l" t="t" r="r" b="b"/>
            <a:pathLst>
              <a:path w="2480">
                <a:moveTo>
                  <a:pt x="0" y="0"/>
                </a:moveTo>
                <a:lnTo>
                  <a:pt x="2480" y="0"/>
                </a:lnTo>
              </a:path>
            </a:pathLst>
          </a:custGeom>
          <a:ln w="29895">
            <a:solidFill>
              <a:srgbClr val="000000"/>
            </a:solidFill>
          </a:ln>
        </p:spPr>
        <p:txBody>
          <a:bodyPr wrap="square" lIns="0" tIns="0" rIns="0" bIns="0" rtlCol="0">
            <a:noAutofit/>
          </a:bodyPr>
          <a:lstStyle/>
          <a:p>
            <a:endParaRPr/>
          </a:p>
        </p:txBody>
      </p:sp>
      <p:sp>
        <p:nvSpPr>
          <p:cNvPr id="1914" name="object 1914"/>
          <p:cNvSpPr/>
          <p:nvPr/>
        </p:nvSpPr>
        <p:spPr>
          <a:xfrm>
            <a:off x="8138156" y="1674208"/>
            <a:ext cx="26537" cy="26158"/>
          </a:xfrm>
          <a:custGeom>
            <a:avLst/>
            <a:gdLst/>
            <a:ahLst/>
            <a:cxnLst/>
            <a:rect l="l" t="t" r="r" b="b"/>
            <a:pathLst>
              <a:path w="26537" h="26158">
                <a:moveTo>
                  <a:pt x="0" y="23690"/>
                </a:moveTo>
                <a:lnTo>
                  <a:pt x="0" y="26158"/>
                </a:lnTo>
                <a:lnTo>
                  <a:pt x="5208" y="25664"/>
                </a:lnTo>
                <a:lnTo>
                  <a:pt x="10168" y="24430"/>
                </a:lnTo>
                <a:lnTo>
                  <a:pt x="14632" y="21716"/>
                </a:lnTo>
                <a:lnTo>
                  <a:pt x="18352" y="18754"/>
                </a:lnTo>
                <a:lnTo>
                  <a:pt x="21824" y="14806"/>
                </a:lnTo>
                <a:lnTo>
                  <a:pt x="24553" y="10117"/>
                </a:lnTo>
                <a:lnTo>
                  <a:pt x="26041" y="5182"/>
                </a:lnTo>
                <a:lnTo>
                  <a:pt x="26537" y="0"/>
                </a:lnTo>
                <a:lnTo>
                  <a:pt x="24057" y="0"/>
                </a:lnTo>
                <a:lnTo>
                  <a:pt x="23561" y="4688"/>
                </a:lnTo>
                <a:lnTo>
                  <a:pt x="22072" y="9130"/>
                </a:lnTo>
                <a:lnTo>
                  <a:pt x="19840" y="13325"/>
                </a:lnTo>
                <a:lnTo>
                  <a:pt x="16864" y="16780"/>
                </a:lnTo>
                <a:lnTo>
                  <a:pt x="13144" y="19742"/>
                </a:lnTo>
                <a:lnTo>
                  <a:pt x="9176" y="21963"/>
                </a:lnTo>
                <a:lnTo>
                  <a:pt x="4712" y="23196"/>
                </a:lnTo>
                <a:lnTo>
                  <a:pt x="0" y="23690"/>
                </a:lnTo>
                <a:close/>
              </a:path>
            </a:pathLst>
          </a:custGeom>
          <a:solidFill>
            <a:srgbClr val="000000"/>
          </a:solidFill>
        </p:spPr>
        <p:txBody>
          <a:bodyPr wrap="square" lIns="0" tIns="0" rIns="0" bIns="0" rtlCol="0">
            <a:noAutofit/>
          </a:bodyPr>
          <a:lstStyle/>
          <a:p>
            <a:endParaRPr/>
          </a:p>
        </p:txBody>
      </p:sp>
      <p:sp>
        <p:nvSpPr>
          <p:cNvPr id="1915" name="object 1915"/>
          <p:cNvSpPr/>
          <p:nvPr/>
        </p:nvSpPr>
        <p:spPr>
          <a:xfrm>
            <a:off x="8099219" y="1697158"/>
            <a:ext cx="38937" cy="3208"/>
          </a:xfrm>
          <a:custGeom>
            <a:avLst/>
            <a:gdLst/>
            <a:ahLst/>
            <a:cxnLst/>
            <a:rect l="l" t="t" r="r" b="b"/>
            <a:pathLst>
              <a:path w="38937" h="3208">
                <a:moveTo>
                  <a:pt x="0" y="2467"/>
                </a:moveTo>
                <a:lnTo>
                  <a:pt x="38937" y="3208"/>
                </a:lnTo>
                <a:lnTo>
                  <a:pt x="38937" y="740"/>
                </a:lnTo>
                <a:lnTo>
                  <a:pt x="0" y="0"/>
                </a:lnTo>
                <a:lnTo>
                  <a:pt x="0" y="2467"/>
                </a:lnTo>
                <a:close/>
              </a:path>
            </a:pathLst>
          </a:custGeom>
          <a:solidFill>
            <a:srgbClr val="000000"/>
          </a:solidFill>
        </p:spPr>
        <p:txBody>
          <a:bodyPr wrap="square" lIns="0" tIns="0" rIns="0" bIns="0" rtlCol="0">
            <a:noAutofit/>
          </a:bodyPr>
          <a:lstStyle/>
          <a:p>
            <a:endParaRPr/>
          </a:p>
        </p:txBody>
      </p:sp>
      <p:sp>
        <p:nvSpPr>
          <p:cNvPr id="1916" name="object 1916"/>
          <p:cNvSpPr/>
          <p:nvPr/>
        </p:nvSpPr>
        <p:spPr>
          <a:xfrm>
            <a:off x="8072929" y="1673221"/>
            <a:ext cx="26289" cy="26404"/>
          </a:xfrm>
          <a:custGeom>
            <a:avLst/>
            <a:gdLst/>
            <a:ahLst/>
            <a:cxnLst/>
            <a:rect l="l" t="t" r="r" b="b"/>
            <a:pathLst>
              <a:path w="26289" h="26404">
                <a:moveTo>
                  <a:pt x="4464" y="9377"/>
                </a:moveTo>
                <a:lnTo>
                  <a:pt x="2976" y="4935"/>
                </a:lnTo>
                <a:lnTo>
                  <a:pt x="2480" y="0"/>
                </a:lnTo>
                <a:lnTo>
                  <a:pt x="0" y="0"/>
                </a:lnTo>
                <a:lnTo>
                  <a:pt x="496" y="5429"/>
                </a:lnTo>
                <a:lnTo>
                  <a:pt x="1984" y="10364"/>
                </a:lnTo>
                <a:lnTo>
                  <a:pt x="4712" y="14806"/>
                </a:lnTo>
                <a:lnTo>
                  <a:pt x="7688" y="18754"/>
                </a:lnTo>
                <a:lnTo>
                  <a:pt x="11656" y="21716"/>
                </a:lnTo>
                <a:lnTo>
                  <a:pt x="16120" y="24430"/>
                </a:lnTo>
                <a:lnTo>
                  <a:pt x="21080" y="25911"/>
                </a:lnTo>
                <a:lnTo>
                  <a:pt x="26289" y="26404"/>
                </a:lnTo>
                <a:lnTo>
                  <a:pt x="26289" y="23937"/>
                </a:lnTo>
                <a:lnTo>
                  <a:pt x="21576" y="23443"/>
                </a:lnTo>
                <a:lnTo>
                  <a:pt x="17112" y="21963"/>
                </a:lnTo>
                <a:lnTo>
                  <a:pt x="13144" y="19742"/>
                </a:lnTo>
                <a:lnTo>
                  <a:pt x="9672" y="16780"/>
                </a:lnTo>
                <a:lnTo>
                  <a:pt x="6696" y="13325"/>
                </a:lnTo>
                <a:lnTo>
                  <a:pt x="4464" y="9377"/>
                </a:lnTo>
                <a:close/>
              </a:path>
            </a:pathLst>
          </a:custGeom>
          <a:solidFill>
            <a:srgbClr val="000000"/>
          </a:solidFill>
        </p:spPr>
        <p:txBody>
          <a:bodyPr wrap="square" lIns="0" tIns="0" rIns="0" bIns="0" rtlCol="0">
            <a:noAutofit/>
          </a:bodyPr>
          <a:lstStyle/>
          <a:p>
            <a:endParaRPr/>
          </a:p>
        </p:txBody>
      </p:sp>
      <p:sp>
        <p:nvSpPr>
          <p:cNvPr id="1917" name="object 1917"/>
          <p:cNvSpPr/>
          <p:nvPr/>
        </p:nvSpPr>
        <p:spPr>
          <a:xfrm>
            <a:off x="8072928" y="1659402"/>
            <a:ext cx="2480" cy="0"/>
          </a:xfrm>
          <a:custGeom>
            <a:avLst/>
            <a:gdLst/>
            <a:ahLst/>
            <a:cxnLst/>
            <a:rect l="l" t="t" r="r" b="b"/>
            <a:pathLst>
              <a:path w="2480">
                <a:moveTo>
                  <a:pt x="0" y="0"/>
                </a:moveTo>
                <a:lnTo>
                  <a:pt x="2480" y="0"/>
                </a:lnTo>
              </a:path>
            </a:pathLst>
          </a:custGeom>
          <a:ln w="28908">
            <a:solidFill>
              <a:srgbClr val="000000"/>
            </a:solidFill>
          </a:ln>
        </p:spPr>
        <p:txBody>
          <a:bodyPr wrap="square" lIns="0" tIns="0" rIns="0" bIns="0" rtlCol="0">
            <a:noAutofit/>
          </a:bodyPr>
          <a:lstStyle/>
          <a:p>
            <a:endParaRPr/>
          </a:p>
        </p:txBody>
      </p:sp>
      <p:sp>
        <p:nvSpPr>
          <p:cNvPr id="1918" name="object 1918"/>
          <p:cNvSpPr/>
          <p:nvPr/>
        </p:nvSpPr>
        <p:spPr>
          <a:xfrm>
            <a:off x="8072929" y="1619424"/>
            <a:ext cx="26289" cy="26158"/>
          </a:xfrm>
          <a:custGeom>
            <a:avLst/>
            <a:gdLst/>
            <a:ahLst/>
            <a:cxnLst/>
            <a:rect l="l" t="t" r="r" b="b"/>
            <a:pathLst>
              <a:path w="26289" h="26158">
                <a:moveTo>
                  <a:pt x="2480" y="26158"/>
                </a:moveTo>
                <a:lnTo>
                  <a:pt x="2976" y="21469"/>
                </a:lnTo>
                <a:lnTo>
                  <a:pt x="4464" y="17027"/>
                </a:lnTo>
                <a:lnTo>
                  <a:pt x="6448" y="12832"/>
                </a:lnTo>
                <a:lnTo>
                  <a:pt x="9672" y="9377"/>
                </a:lnTo>
                <a:lnTo>
                  <a:pt x="12896" y="6416"/>
                </a:lnTo>
                <a:lnTo>
                  <a:pt x="17112" y="4441"/>
                </a:lnTo>
                <a:lnTo>
                  <a:pt x="21576" y="2961"/>
                </a:lnTo>
                <a:lnTo>
                  <a:pt x="26289" y="2467"/>
                </a:lnTo>
                <a:lnTo>
                  <a:pt x="26289" y="0"/>
                </a:lnTo>
                <a:lnTo>
                  <a:pt x="21080" y="493"/>
                </a:lnTo>
                <a:lnTo>
                  <a:pt x="16120" y="1974"/>
                </a:lnTo>
                <a:lnTo>
                  <a:pt x="11408" y="4441"/>
                </a:lnTo>
                <a:lnTo>
                  <a:pt x="7688" y="7403"/>
                </a:lnTo>
                <a:lnTo>
                  <a:pt x="4464" y="11351"/>
                </a:lnTo>
                <a:lnTo>
                  <a:pt x="1984" y="16040"/>
                </a:lnTo>
                <a:lnTo>
                  <a:pt x="496" y="20975"/>
                </a:lnTo>
                <a:lnTo>
                  <a:pt x="0" y="26158"/>
                </a:lnTo>
                <a:lnTo>
                  <a:pt x="2480" y="26158"/>
                </a:lnTo>
                <a:close/>
              </a:path>
            </a:pathLst>
          </a:custGeom>
          <a:solidFill>
            <a:srgbClr val="000000"/>
          </a:solidFill>
        </p:spPr>
        <p:txBody>
          <a:bodyPr wrap="square" lIns="0" tIns="0" rIns="0" bIns="0" rtlCol="0">
            <a:noAutofit/>
          </a:bodyPr>
          <a:lstStyle/>
          <a:p>
            <a:endParaRPr/>
          </a:p>
        </p:txBody>
      </p:sp>
      <p:sp>
        <p:nvSpPr>
          <p:cNvPr id="1919" name="object 1919"/>
          <p:cNvSpPr/>
          <p:nvPr/>
        </p:nvSpPr>
        <p:spPr>
          <a:xfrm>
            <a:off x="8113602" y="1632504"/>
            <a:ext cx="50098" cy="62681"/>
          </a:xfrm>
          <a:custGeom>
            <a:avLst/>
            <a:gdLst/>
            <a:ahLst/>
            <a:cxnLst/>
            <a:rect l="l" t="t" r="r" b="b"/>
            <a:pathLst>
              <a:path w="50098" h="62681">
                <a:moveTo>
                  <a:pt x="25049" y="0"/>
                </a:moveTo>
                <a:lnTo>
                  <a:pt x="20088" y="740"/>
                </a:lnTo>
                <a:lnTo>
                  <a:pt x="15376" y="2467"/>
                </a:lnTo>
                <a:lnTo>
                  <a:pt x="10912" y="5429"/>
                </a:lnTo>
                <a:lnTo>
                  <a:pt x="7440" y="9130"/>
                </a:lnTo>
                <a:lnTo>
                  <a:pt x="4216" y="13819"/>
                </a:lnTo>
                <a:lnTo>
                  <a:pt x="1984" y="19248"/>
                </a:lnTo>
                <a:lnTo>
                  <a:pt x="496" y="24924"/>
                </a:lnTo>
                <a:lnTo>
                  <a:pt x="0" y="31340"/>
                </a:lnTo>
                <a:lnTo>
                  <a:pt x="496" y="37756"/>
                </a:lnTo>
                <a:lnTo>
                  <a:pt x="1984" y="43432"/>
                </a:lnTo>
                <a:lnTo>
                  <a:pt x="4216" y="48861"/>
                </a:lnTo>
                <a:lnTo>
                  <a:pt x="7440" y="53550"/>
                </a:lnTo>
                <a:lnTo>
                  <a:pt x="10912" y="57251"/>
                </a:lnTo>
                <a:lnTo>
                  <a:pt x="15376" y="60213"/>
                </a:lnTo>
                <a:lnTo>
                  <a:pt x="20088" y="61940"/>
                </a:lnTo>
                <a:lnTo>
                  <a:pt x="25049" y="62681"/>
                </a:lnTo>
                <a:lnTo>
                  <a:pt x="30009" y="61940"/>
                </a:lnTo>
                <a:lnTo>
                  <a:pt x="34721" y="60213"/>
                </a:lnTo>
                <a:lnTo>
                  <a:pt x="38937" y="57251"/>
                </a:lnTo>
                <a:lnTo>
                  <a:pt x="42657" y="53550"/>
                </a:lnTo>
                <a:lnTo>
                  <a:pt x="45882" y="48861"/>
                </a:lnTo>
                <a:lnTo>
                  <a:pt x="48114" y="43432"/>
                </a:lnTo>
                <a:lnTo>
                  <a:pt x="49602" y="37756"/>
                </a:lnTo>
                <a:lnTo>
                  <a:pt x="50098" y="31340"/>
                </a:lnTo>
                <a:lnTo>
                  <a:pt x="49602" y="24924"/>
                </a:lnTo>
                <a:lnTo>
                  <a:pt x="48114" y="19248"/>
                </a:lnTo>
                <a:lnTo>
                  <a:pt x="45882" y="13819"/>
                </a:lnTo>
                <a:lnTo>
                  <a:pt x="42657" y="9130"/>
                </a:lnTo>
                <a:lnTo>
                  <a:pt x="38937" y="5429"/>
                </a:lnTo>
                <a:lnTo>
                  <a:pt x="34721" y="2467"/>
                </a:lnTo>
                <a:lnTo>
                  <a:pt x="30009" y="740"/>
                </a:lnTo>
                <a:lnTo>
                  <a:pt x="25049" y="0"/>
                </a:lnTo>
                <a:close/>
              </a:path>
            </a:pathLst>
          </a:custGeom>
          <a:solidFill>
            <a:srgbClr val="000000"/>
          </a:solidFill>
        </p:spPr>
        <p:txBody>
          <a:bodyPr wrap="square" lIns="0" tIns="0" rIns="0" bIns="0" rtlCol="0">
            <a:noAutofit/>
          </a:bodyPr>
          <a:lstStyle/>
          <a:p>
            <a:endParaRPr/>
          </a:p>
        </p:txBody>
      </p:sp>
      <p:sp>
        <p:nvSpPr>
          <p:cNvPr id="1920" name="object 1920"/>
          <p:cNvSpPr/>
          <p:nvPr/>
        </p:nvSpPr>
        <p:spPr>
          <a:xfrm>
            <a:off x="8138652" y="1631269"/>
            <a:ext cx="26289" cy="32574"/>
          </a:xfrm>
          <a:custGeom>
            <a:avLst/>
            <a:gdLst/>
            <a:ahLst/>
            <a:cxnLst/>
            <a:rect l="l" t="t" r="r" b="b"/>
            <a:pathLst>
              <a:path w="26289" h="32574">
                <a:moveTo>
                  <a:pt x="4712" y="3208"/>
                </a:moveTo>
                <a:lnTo>
                  <a:pt x="9176" y="4688"/>
                </a:lnTo>
                <a:lnTo>
                  <a:pt x="13144" y="7650"/>
                </a:lnTo>
                <a:lnTo>
                  <a:pt x="16616" y="11104"/>
                </a:lnTo>
                <a:lnTo>
                  <a:pt x="19840" y="15546"/>
                </a:lnTo>
                <a:lnTo>
                  <a:pt x="21824" y="20975"/>
                </a:lnTo>
                <a:lnTo>
                  <a:pt x="23313" y="26404"/>
                </a:lnTo>
                <a:lnTo>
                  <a:pt x="23809" y="32574"/>
                </a:lnTo>
                <a:lnTo>
                  <a:pt x="26289" y="32574"/>
                </a:lnTo>
                <a:lnTo>
                  <a:pt x="25793" y="25911"/>
                </a:lnTo>
                <a:lnTo>
                  <a:pt x="24305" y="19988"/>
                </a:lnTo>
                <a:lnTo>
                  <a:pt x="21824" y="14559"/>
                </a:lnTo>
                <a:lnTo>
                  <a:pt x="18600" y="9624"/>
                </a:lnTo>
                <a:lnTo>
                  <a:pt x="14632" y="5675"/>
                </a:lnTo>
                <a:lnTo>
                  <a:pt x="10168" y="2714"/>
                </a:lnTo>
                <a:lnTo>
                  <a:pt x="5208" y="740"/>
                </a:lnTo>
                <a:lnTo>
                  <a:pt x="0" y="0"/>
                </a:lnTo>
                <a:lnTo>
                  <a:pt x="0" y="2467"/>
                </a:lnTo>
                <a:lnTo>
                  <a:pt x="4712" y="3208"/>
                </a:lnTo>
                <a:close/>
              </a:path>
            </a:pathLst>
          </a:custGeom>
          <a:solidFill>
            <a:srgbClr val="000000"/>
          </a:solidFill>
        </p:spPr>
        <p:txBody>
          <a:bodyPr wrap="square" lIns="0" tIns="0" rIns="0" bIns="0" rtlCol="0">
            <a:noAutofit/>
          </a:bodyPr>
          <a:lstStyle/>
          <a:p>
            <a:endParaRPr/>
          </a:p>
        </p:txBody>
      </p:sp>
      <p:sp>
        <p:nvSpPr>
          <p:cNvPr id="1921" name="object 1921"/>
          <p:cNvSpPr/>
          <p:nvPr/>
        </p:nvSpPr>
        <p:spPr>
          <a:xfrm>
            <a:off x="8138652" y="1663844"/>
            <a:ext cx="26289" cy="32574"/>
          </a:xfrm>
          <a:custGeom>
            <a:avLst/>
            <a:gdLst/>
            <a:ahLst/>
            <a:cxnLst/>
            <a:rect l="l" t="t" r="r" b="b"/>
            <a:pathLst>
              <a:path w="26289" h="32574">
                <a:moveTo>
                  <a:pt x="0" y="30106"/>
                </a:moveTo>
                <a:lnTo>
                  <a:pt x="0" y="32574"/>
                </a:lnTo>
                <a:lnTo>
                  <a:pt x="5208" y="31834"/>
                </a:lnTo>
                <a:lnTo>
                  <a:pt x="10168" y="29859"/>
                </a:lnTo>
                <a:lnTo>
                  <a:pt x="14632" y="26898"/>
                </a:lnTo>
                <a:lnTo>
                  <a:pt x="18600" y="22950"/>
                </a:lnTo>
                <a:lnTo>
                  <a:pt x="21824" y="18014"/>
                </a:lnTo>
                <a:lnTo>
                  <a:pt x="24305" y="12585"/>
                </a:lnTo>
                <a:lnTo>
                  <a:pt x="25793" y="6662"/>
                </a:lnTo>
                <a:lnTo>
                  <a:pt x="26289" y="0"/>
                </a:lnTo>
                <a:lnTo>
                  <a:pt x="23809" y="0"/>
                </a:lnTo>
                <a:lnTo>
                  <a:pt x="23313" y="6169"/>
                </a:lnTo>
                <a:lnTo>
                  <a:pt x="21824" y="11598"/>
                </a:lnTo>
                <a:lnTo>
                  <a:pt x="19840" y="17027"/>
                </a:lnTo>
                <a:lnTo>
                  <a:pt x="16616" y="21469"/>
                </a:lnTo>
                <a:lnTo>
                  <a:pt x="13144" y="24924"/>
                </a:lnTo>
                <a:lnTo>
                  <a:pt x="9176" y="27885"/>
                </a:lnTo>
                <a:lnTo>
                  <a:pt x="4712" y="29366"/>
                </a:lnTo>
                <a:lnTo>
                  <a:pt x="0" y="30106"/>
                </a:lnTo>
                <a:close/>
              </a:path>
            </a:pathLst>
          </a:custGeom>
          <a:solidFill>
            <a:srgbClr val="000000"/>
          </a:solidFill>
        </p:spPr>
        <p:txBody>
          <a:bodyPr wrap="square" lIns="0" tIns="0" rIns="0" bIns="0" rtlCol="0">
            <a:noAutofit/>
          </a:bodyPr>
          <a:lstStyle/>
          <a:p>
            <a:endParaRPr/>
          </a:p>
        </p:txBody>
      </p:sp>
      <p:sp>
        <p:nvSpPr>
          <p:cNvPr id="1922" name="object 1922"/>
          <p:cNvSpPr/>
          <p:nvPr/>
        </p:nvSpPr>
        <p:spPr>
          <a:xfrm>
            <a:off x="8112363" y="1663844"/>
            <a:ext cx="26289" cy="32574"/>
          </a:xfrm>
          <a:custGeom>
            <a:avLst/>
            <a:gdLst/>
            <a:ahLst/>
            <a:cxnLst/>
            <a:rect l="l" t="t" r="r" b="b"/>
            <a:pathLst>
              <a:path w="26289" h="32574">
                <a:moveTo>
                  <a:pt x="6448" y="17027"/>
                </a:moveTo>
                <a:lnTo>
                  <a:pt x="4464" y="11598"/>
                </a:lnTo>
                <a:lnTo>
                  <a:pt x="2976" y="6169"/>
                </a:lnTo>
                <a:lnTo>
                  <a:pt x="2480" y="0"/>
                </a:lnTo>
                <a:lnTo>
                  <a:pt x="0" y="0"/>
                </a:lnTo>
                <a:lnTo>
                  <a:pt x="496" y="6662"/>
                </a:lnTo>
                <a:lnTo>
                  <a:pt x="1984" y="12585"/>
                </a:lnTo>
                <a:lnTo>
                  <a:pt x="4464" y="18014"/>
                </a:lnTo>
                <a:lnTo>
                  <a:pt x="7688" y="22950"/>
                </a:lnTo>
                <a:lnTo>
                  <a:pt x="11408" y="26898"/>
                </a:lnTo>
                <a:lnTo>
                  <a:pt x="16120" y="29859"/>
                </a:lnTo>
                <a:lnTo>
                  <a:pt x="21080" y="31834"/>
                </a:lnTo>
                <a:lnTo>
                  <a:pt x="26289" y="32574"/>
                </a:lnTo>
                <a:lnTo>
                  <a:pt x="26289" y="30106"/>
                </a:lnTo>
                <a:lnTo>
                  <a:pt x="21576" y="29366"/>
                </a:lnTo>
                <a:lnTo>
                  <a:pt x="17112" y="27885"/>
                </a:lnTo>
                <a:lnTo>
                  <a:pt x="12896" y="24924"/>
                </a:lnTo>
                <a:lnTo>
                  <a:pt x="9672" y="21469"/>
                </a:lnTo>
                <a:lnTo>
                  <a:pt x="6448" y="17027"/>
                </a:lnTo>
                <a:close/>
              </a:path>
            </a:pathLst>
          </a:custGeom>
          <a:solidFill>
            <a:srgbClr val="000000"/>
          </a:solidFill>
        </p:spPr>
        <p:txBody>
          <a:bodyPr wrap="square" lIns="0" tIns="0" rIns="0" bIns="0" rtlCol="0">
            <a:noAutofit/>
          </a:bodyPr>
          <a:lstStyle/>
          <a:p>
            <a:endParaRPr/>
          </a:p>
        </p:txBody>
      </p:sp>
      <p:sp>
        <p:nvSpPr>
          <p:cNvPr id="1923" name="object 1923"/>
          <p:cNvSpPr/>
          <p:nvPr/>
        </p:nvSpPr>
        <p:spPr>
          <a:xfrm>
            <a:off x="8112363" y="1631269"/>
            <a:ext cx="26289" cy="32574"/>
          </a:xfrm>
          <a:custGeom>
            <a:avLst/>
            <a:gdLst/>
            <a:ahLst/>
            <a:cxnLst/>
            <a:rect l="l" t="t" r="r" b="b"/>
            <a:pathLst>
              <a:path w="26289" h="32574">
                <a:moveTo>
                  <a:pt x="2480" y="32574"/>
                </a:moveTo>
                <a:lnTo>
                  <a:pt x="2976" y="26404"/>
                </a:lnTo>
                <a:lnTo>
                  <a:pt x="4464" y="20975"/>
                </a:lnTo>
                <a:lnTo>
                  <a:pt x="6448" y="15546"/>
                </a:lnTo>
                <a:lnTo>
                  <a:pt x="9672" y="11104"/>
                </a:lnTo>
                <a:lnTo>
                  <a:pt x="12896" y="7650"/>
                </a:lnTo>
                <a:lnTo>
                  <a:pt x="17112" y="4688"/>
                </a:lnTo>
                <a:lnTo>
                  <a:pt x="21576" y="3208"/>
                </a:lnTo>
                <a:lnTo>
                  <a:pt x="26289" y="2467"/>
                </a:lnTo>
                <a:lnTo>
                  <a:pt x="26289" y="0"/>
                </a:lnTo>
                <a:lnTo>
                  <a:pt x="21080" y="740"/>
                </a:lnTo>
                <a:lnTo>
                  <a:pt x="16120" y="2714"/>
                </a:lnTo>
                <a:lnTo>
                  <a:pt x="11408" y="5675"/>
                </a:lnTo>
                <a:lnTo>
                  <a:pt x="7688" y="9624"/>
                </a:lnTo>
                <a:lnTo>
                  <a:pt x="4464" y="14559"/>
                </a:lnTo>
                <a:lnTo>
                  <a:pt x="1984" y="19988"/>
                </a:lnTo>
                <a:lnTo>
                  <a:pt x="496" y="25911"/>
                </a:lnTo>
                <a:lnTo>
                  <a:pt x="0" y="32574"/>
                </a:lnTo>
                <a:lnTo>
                  <a:pt x="2480" y="32574"/>
                </a:lnTo>
                <a:close/>
              </a:path>
            </a:pathLst>
          </a:custGeom>
          <a:solidFill>
            <a:srgbClr val="000000"/>
          </a:solidFill>
        </p:spPr>
        <p:txBody>
          <a:bodyPr wrap="square" lIns="0" tIns="0" rIns="0" bIns="0" rtlCol="0">
            <a:noAutofit/>
          </a:bodyPr>
          <a:lstStyle/>
          <a:p>
            <a:endParaRPr/>
          </a:p>
        </p:txBody>
      </p:sp>
      <p:sp>
        <p:nvSpPr>
          <p:cNvPr id="1924" name="object 1924"/>
          <p:cNvSpPr/>
          <p:nvPr/>
        </p:nvSpPr>
        <p:spPr>
          <a:xfrm>
            <a:off x="8069952" y="1632998"/>
            <a:ext cx="47866" cy="60213"/>
          </a:xfrm>
          <a:custGeom>
            <a:avLst/>
            <a:gdLst/>
            <a:ahLst/>
            <a:cxnLst/>
            <a:rect l="l" t="t" r="r" b="b"/>
            <a:pathLst>
              <a:path w="47866" h="60213">
                <a:moveTo>
                  <a:pt x="24057" y="0"/>
                </a:moveTo>
                <a:lnTo>
                  <a:pt x="19096" y="493"/>
                </a:lnTo>
                <a:lnTo>
                  <a:pt x="14632" y="2467"/>
                </a:lnTo>
                <a:lnTo>
                  <a:pt x="10664" y="5182"/>
                </a:lnTo>
                <a:lnTo>
                  <a:pt x="6944" y="8883"/>
                </a:lnTo>
                <a:lnTo>
                  <a:pt x="3968" y="13325"/>
                </a:lnTo>
                <a:lnTo>
                  <a:pt x="1984" y="18508"/>
                </a:lnTo>
                <a:lnTo>
                  <a:pt x="496" y="24184"/>
                </a:lnTo>
                <a:lnTo>
                  <a:pt x="0" y="30106"/>
                </a:lnTo>
                <a:lnTo>
                  <a:pt x="496" y="36029"/>
                </a:lnTo>
                <a:lnTo>
                  <a:pt x="1984" y="41705"/>
                </a:lnTo>
                <a:lnTo>
                  <a:pt x="3968" y="46887"/>
                </a:lnTo>
                <a:lnTo>
                  <a:pt x="6944" y="51329"/>
                </a:lnTo>
                <a:lnTo>
                  <a:pt x="10664" y="55030"/>
                </a:lnTo>
                <a:lnTo>
                  <a:pt x="14632" y="57745"/>
                </a:lnTo>
                <a:lnTo>
                  <a:pt x="19096" y="59719"/>
                </a:lnTo>
                <a:lnTo>
                  <a:pt x="24057" y="60213"/>
                </a:lnTo>
                <a:lnTo>
                  <a:pt x="28769" y="59719"/>
                </a:lnTo>
                <a:lnTo>
                  <a:pt x="33233" y="57745"/>
                </a:lnTo>
                <a:lnTo>
                  <a:pt x="37449" y="55030"/>
                </a:lnTo>
                <a:lnTo>
                  <a:pt x="40921" y="51329"/>
                </a:lnTo>
                <a:lnTo>
                  <a:pt x="43897" y="46887"/>
                </a:lnTo>
                <a:lnTo>
                  <a:pt x="45882" y="41705"/>
                </a:lnTo>
                <a:lnTo>
                  <a:pt x="47370" y="36029"/>
                </a:lnTo>
                <a:lnTo>
                  <a:pt x="47866" y="30106"/>
                </a:lnTo>
                <a:lnTo>
                  <a:pt x="47370" y="24184"/>
                </a:lnTo>
                <a:lnTo>
                  <a:pt x="45882" y="18508"/>
                </a:lnTo>
                <a:lnTo>
                  <a:pt x="43897" y="13325"/>
                </a:lnTo>
                <a:lnTo>
                  <a:pt x="40921" y="8883"/>
                </a:lnTo>
                <a:lnTo>
                  <a:pt x="37449" y="5182"/>
                </a:lnTo>
                <a:lnTo>
                  <a:pt x="33233" y="2467"/>
                </a:lnTo>
                <a:lnTo>
                  <a:pt x="28769" y="493"/>
                </a:lnTo>
                <a:lnTo>
                  <a:pt x="24057" y="0"/>
                </a:lnTo>
                <a:close/>
              </a:path>
            </a:pathLst>
          </a:custGeom>
          <a:solidFill>
            <a:srgbClr val="000000"/>
          </a:solidFill>
        </p:spPr>
        <p:txBody>
          <a:bodyPr wrap="square" lIns="0" tIns="0" rIns="0" bIns="0" rtlCol="0">
            <a:noAutofit/>
          </a:bodyPr>
          <a:lstStyle/>
          <a:p>
            <a:endParaRPr/>
          </a:p>
        </p:txBody>
      </p:sp>
      <p:sp>
        <p:nvSpPr>
          <p:cNvPr id="1925" name="object 1925"/>
          <p:cNvSpPr/>
          <p:nvPr/>
        </p:nvSpPr>
        <p:spPr>
          <a:xfrm>
            <a:off x="8094010" y="1631763"/>
            <a:ext cx="25049" cy="31340"/>
          </a:xfrm>
          <a:custGeom>
            <a:avLst/>
            <a:gdLst/>
            <a:ahLst/>
            <a:cxnLst/>
            <a:rect l="l" t="t" r="r" b="b"/>
            <a:pathLst>
              <a:path w="25049" h="31340">
                <a:moveTo>
                  <a:pt x="4464" y="2961"/>
                </a:moveTo>
                <a:lnTo>
                  <a:pt x="8680" y="4688"/>
                </a:lnTo>
                <a:lnTo>
                  <a:pt x="12648" y="7403"/>
                </a:lnTo>
                <a:lnTo>
                  <a:pt x="15872" y="10858"/>
                </a:lnTo>
                <a:lnTo>
                  <a:pt x="18848" y="15053"/>
                </a:lnTo>
                <a:lnTo>
                  <a:pt x="20584" y="20235"/>
                </a:lnTo>
                <a:lnTo>
                  <a:pt x="22072" y="25664"/>
                </a:lnTo>
                <a:lnTo>
                  <a:pt x="22569" y="31340"/>
                </a:lnTo>
                <a:lnTo>
                  <a:pt x="25049" y="31340"/>
                </a:lnTo>
                <a:lnTo>
                  <a:pt x="24553" y="25171"/>
                </a:lnTo>
                <a:lnTo>
                  <a:pt x="23065" y="19248"/>
                </a:lnTo>
                <a:lnTo>
                  <a:pt x="20832" y="14066"/>
                </a:lnTo>
                <a:lnTo>
                  <a:pt x="17856" y="9377"/>
                </a:lnTo>
                <a:lnTo>
                  <a:pt x="14136" y="5429"/>
                </a:lnTo>
                <a:lnTo>
                  <a:pt x="9672" y="2714"/>
                </a:lnTo>
                <a:lnTo>
                  <a:pt x="4960" y="493"/>
                </a:lnTo>
                <a:lnTo>
                  <a:pt x="0" y="0"/>
                </a:lnTo>
                <a:lnTo>
                  <a:pt x="0" y="2467"/>
                </a:lnTo>
                <a:lnTo>
                  <a:pt x="4464" y="2961"/>
                </a:lnTo>
                <a:close/>
              </a:path>
            </a:pathLst>
          </a:custGeom>
          <a:solidFill>
            <a:srgbClr val="000000"/>
          </a:solidFill>
        </p:spPr>
        <p:txBody>
          <a:bodyPr wrap="square" lIns="0" tIns="0" rIns="0" bIns="0" rtlCol="0">
            <a:noAutofit/>
          </a:bodyPr>
          <a:lstStyle/>
          <a:p>
            <a:endParaRPr/>
          </a:p>
        </p:txBody>
      </p:sp>
      <p:sp>
        <p:nvSpPr>
          <p:cNvPr id="1926" name="object 1926"/>
          <p:cNvSpPr/>
          <p:nvPr/>
        </p:nvSpPr>
        <p:spPr>
          <a:xfrm>
            <a:off x="8094010" y="1663103"/>
            <a:ext cx="25049" cy="31340"/>
          </a:xfrm>
          <a:custGeom>
            <a:avLst/>
            <a:gdLst/>
            <a:ahLst/>
            <a:cxnLst/>
            <a:rect l="l" t="t" r="r" b="b"/>
            <a:pathLst>
              <a:path w="25049" h="31340">
                <a:moveTo>
                  <a:pt x="4960" y="30846"/>
                </a:moveTo>
                <a:lnTo>
                  <a:pt x="9672" y="28625"/>
                </a:lnTo>
                <a:lnTo>
                  <a:pt x="14136" y="25911"/>
                </a:lnTo>
                <a:lnTo>
                  <a:pt x="17856" y="21963"/>
                </a:lnTo>
                <a:lnTo>
                  <a:pt x="20832" y="17274"/>
                </a:lnTo>
                <a:lnTo>
                  <a:pt x="23065" y="12092"/>
                </a:lnTo>
                <a:lnTo>
                  <a:pt x="24553" y="6169"/>
                </a:lnTo>
                <a:lnTo>
                  <a:pt x="25049" y="0"/>
                </a:lnTo>
                <a:lnTo>
                  <a:pt x="22569" y="0"/>
                </a:lnTo>
                <a:lnTo>
                  <a:pt x="22072" y="5675"/>
                </a:lnTo>
                <a:lnTo>
                  <a:pt x="20584" y="11104"/>
                </a:lnTo>
                <a:lnTo>
                  <a:pt x="18848" y="16287"/>
                </a:lnTo>
                <a:lnTo>
                  <a:pt x="15872" y="20482"/>
                </a:lnTo>
                <a:lnTo>
                  <a:pt x="12648" y="23937"/>
                </a:lnTo>
                <a:lnTo>
                  <a:pt x="8680" y="26651"/>
                </a:lnTo>
                <a:lnTo>
                  <a:pt x="4464" y="28379"/>
                </a:lnTo>
                <a:lnTo>
                  <a:pt x="0" y="28872"/>
                </a:lnTo>
                <a:lnTo>
                  <a:pt x="0" y="31340"/>
                </a:lnTo>
                <a:lnTo>
                  <a:pt x="4960" y="30846"/>
                </a:lnTo>
                <a:close/>
              </a:path>
            </a:pathLst>
          </a:custGeom>
          <a:solidFill>
            <a:srgbClr val="000000"/>
          </a:solidFill>
        </p:spPr>
        <p:txBody>
          <a:bodyPr wrap="square" lIns="0" tIns="0" rIns="0" bIns="0" rtlCol="0">
            <a:noAutofit/>
          </a:bodyPr>
          <a:lstStyle/>
          <a:p>
            <a:endParaRPr/>
          </a:p>
        </p:txBody>
      </p:sp>
      <p:sp>
        <p:nvSpPr>
          <p:cNvPr id="1927" name="object 1927"/>
          <p:cNvSpPr/>
          <p:nvPr/>
        </p:nvSpPr>
        <p:spPr>
          <a:xfrm>
            <a:off x="8068713" y="1663103"/>
            <a:ext cx="25297" cy="31340"/>
          </a:xfrm>
          <a:custGeom>
            <a:avLst/>
            <a:gdLst/>
            <a:ahLst/>
            <a:cxnLst/>
            <a:rect l="l" t="t" r="r" b="b"/>
            <a:pathLst>
              <a:path w="25297" h="31340">
                <a:moveTo>
                  <a:pt x="6200" y="16287"/>
                </a:moveTo>
                <a:lnTo>
                  <a:pt x="4464" y="11104"/>
                </a:lnTo>
                <a:lnTo>
                  <a:pt x="2976" y="5675"/>
                </a:lnTo>
                <a:lnTo>
                  <a:pt x="2480" y="0"/>
                </a:lnTo>
                <a:lnTo>
                  <a:pt x="0" y="0"/>
                </a:lnTo>
                <a:lnTo>
                  <a:pt x="496" y="6169"/>
                </a:lnTo>
                <a:lnTo>
                  <a:pt x="1984" y="12092"/>
                </a:lnTo>
                <a:lnTo>
                  <a:pt x="4216" y="17274"/>
                </a:lnTo>
                <a:lnTo>
                  <a:pt x="7192" y="21963"/>
                </a:lnTo>
                <a:lnTo>
                  <a:pt x="11160" y="25911"/>
                </a:lnTo>
                <a:lnTo>
                  <a:pt x="15376" y="28625"/>
                </a:lnTo>
                <a:lnTo>
                  <a:pt x="20088" y="30846"/>
                </a:lnTo>
                <a:lnTo>
                  <a:pt x="25297" y="31340"/>
                </a:lnTo>
                <a:lnTo>
                  <a:pt x="25297" y="28872"/>
                </a:lnTo>
                <a:lnTo>
                  <a:pt x="20584" y="28379"/>
                </a:lnTo>
                <a:lnTo>
                  <a:pt x="16368" y="26651"/>
                </a:lnTo>
                <a:lnTo>
                  <a:pt x="12648" y="23937"/>
                </a:lnTo>
                <a:lnTo>
                  <a:pt x="9176" y="20482"/>
                </a:lnTo>
                <a:lnTo>
                  <a:pt x="6200" y="16287"/>
                </a:lnTo>
                <a:close/>
              </a:path>
            </a:pathLst>
          </a:custGeom>
          <a:solidFill>
            <a:srgbClr val="000000"/>
          </a:solidFill>
        </p:spPr>
        <p:txBody>
          <a:bodyPr wrap="square" lIns="0" tIns="0" rIns="0" bIns="0" rtlCol="0">
            <a:noAutofit/>
          </a:bodyPr>
          <a:lstStyle/>
          <a:p>
            <a:endParaRPr/>
          </a:p>
        </p:txBody>
      </p:sp>
      <p:sp>
        <p:nvSpPr>
          <p:cNvPr id="1928" name="object 1928"/>
          <p:cNvSpPr/>
          <p:nvPr/>
        </p:nvSpPr>
        <p:spPr>
          <a:xfrm>
            <a:off x="8068713" y="1631763"/>
            <a:ext cx="25297" cy="31340"/>
          </a:xfrm>
          <a:custGeom>
            <a:avLst/>
            <a:gdLst/>
            <a:ahLst/>
            <a:cxnLst/>
            <a:rect l="l" t="t" r="r" b="b"/>
            <a:pathLst>
              <a:path w="25297" h="31340">
                <a:moveTo>
                  <a:pt x="2480" y="31340"/>
                </a:moveTo>
                <a:lnTo>
                  <a:pt x="2976" y="25664"/>
                </a:lnTo>
                <a:lnTo>
                  <a:pt x="4464" y="20235"/>
                </a:lnTo>
                <a:lnTo>
                  <a:pt x="6200" y="15053"/>
                </a:lnTo>
                <a:lnTo>
                  <a:pt x="9176" y="10858"/>
                </a:lnTo>
                <a:lnTo>
                  <a:pt x="12648" y="7403"/>
                </a:lnTo>
                <a:lnTo>
                  <a:pt x="16368" y="4688"/>
                </a:lnTo>
                <a:lnTo>
                  <a:pt x="20584" y="2961"/>
                </a:lnTo>
                <a:lnTo>
                  <a:pt x="25297" y="2467"/>
                </a:lnTo>
                <a:lnTo>
                  <a:pt x="25297" y="0"/>
                </a:lnTo>
                <a:lnTo>
                  <a:pt x="20088" y="493"/>
                </a:lnTo>
                <a:lnTo>
                  <a:pt x="15376" y="2714"/>
                </a:lnTo>
                <a:lnTo>
                  <a:pt x="11160" y="5429"/>
                </a:lnTo>
                <a:lnTo>
                  <a:pt x="7192" y="9377"/>
                </a:lnTo>
                <a:lnTo>
                  <a:pt x="4216" y="14066"/>
                </a:lnTo>
                <a:lnTo>
                  <a:pt x="1984" y="19248"/>
                </a:lnTo>
                <a:lnTo>
                  <a:pt x="496" y="25171"/>
                </a:lnTo>
                <a:lnTo>
                  <a:pt x="0" y="31340"/>
                </a:lnTo>
                <a:lnTo>
                  <a:pt x="2480" y="31340"/>
                </a:lnTo>
                <a:close/>
              </a:path>
            </a:pathLst>
          </a:custGeom>
          <a:solidFill>
            <a:srgbClr val="000000"/>
          </a:solidFill>
        </p:spPr>
        <p:txBody>
          <a:bodyPr wrap="square" lIns="0" tIns="0" rIns="0" bIns="0" rtlCol="0">
            <a:noAutofit/>
          </a:bodyPr>
          <a:lstStyle/>
          <a:p>
            <a:endParaRPr/>
          </a:p>
        </p:txBody>
      </p:sp>
      <p:sp>
        <p:nvSpPr>
          <p:cNvPr id="1929" name="object 1929"/>
          <p:cNvSpPr/>
          <p:nvPr/>
        </p:nvSpPr>
        <p:spPr>
          <a:xfrm>
            <a:off x="8113107" y="1635711"/>
            <a:ext cx="44393" cy="56018"/>
          </a:xfrm>
          <a:custGeom>
            <a:avLst/>
            <a:gdLst/>
            <a:ahLst/>
            <a:cxnLst/>
            <a:rect l="l" t="t" r="r" b="b"/>
            <a:pathLst>
              <a:path w="44393" h="56018">
                <a:moveTo>
                  <a:pt x="0" y="28132"/>
                </a:moveTo>
                <a:lnTo>
                  <a:pt x="496" y="33808"/>
                </a:lnTo>
                <a:lnTo>
                  <a:pt x="1736" y="38990"/>
                </a:lnTo>
                <a:lnTo>
                  <a:pt x="3720" y="43679"/>
                </a:lnTo>
                <a:lnTo>
                  <a:pt x="6448" y="47874"/>
                </a:lnTo>
                <a:lnTo>
                  <a:pt x="9672" y="51329"/>
                </a:lnTo>
                <a:lnTo>
                  <a:pt x="13392" y="53797"/>
                </a:lnTo>
                <a:lnTo>
                  <a:pt x="17608" y="55524"/>
                </a:lnTo>
                <a:lnTo>
                  <a:pt x="22072" y="56018"/>
                </a:lnTo>
                <a:lnTo>
                  <a:pt x="26537" y="55524"/>
                </a:lnTo>
                <a:lnTo>
                  <a:pt x="30505" y="53797"/>
                </a:lnTo>
                <a:lnTo>
                  <a:pt x="34473" y="51329"/>
                </a:lnTo>
                <a:lnTo>
                  <a:pt x="37697" y="47874"/>
                </a:lnTo>
                <a:lnTo>
                  <a:pt x="40425" y="43679"/>
                </a:lnTo>
                <a:lnTo>
                  <a:pt x="42657" y="38990"/>
                </a:lnTo>
                <a:lnTo>
                  <a:pt x="43897" y="33808"/>
                </a:lnTo>
                <a:lnTo>
                  <a:pt x="44393" y="28132"/>
                </a:lnTo>
                <a:lnTo>
                  <a:pt x="43897" y="22456"/>
                </a:lnTo>
                <a:lnTo>
                  <a:pt x="42657" y="17274"/>
                </a:lnTo>
                <a:lnTo>
                  <a:pt x="40425" y="12338"/>
                </a:lnTo>
                <a:lnTo>
                  <a:pt x="37697" y="8143"/>
                </a:lnTo>
                <a:lnTo>
                  <a:pt x="34473" y="4688"/>
                </a:lnTo>
                <a:lnTo>
                  <a:pt x="30505" y="2220"/>
                </a:lnTo>
                <a:lnTo>
                  <a:pt x="26537" y="493"/>
                </a:lnTo>
                <a:lnTo>
                  <a:pt x="22072" y="0"/>
                </a:lnTo>
                <a:lnTo>
                  <a:pt x="17608" y="493"/>
                </a:lnTo>
                <a:lnTo>
                  <a:pt x="13392" y="2220"/>
                </a:lnTo>
                <a:lnTo>
                  <a:pt x="9672" y="4688"/>
                </a:lnTo>
                <a:lnTo>
                  <a:pt x="6448" y="8143"/>
                </a:lnTo>
                <a:lnTo>
                  <a:pt x="3720" y="12338"/>
                </a:lnTo>
                <a:lnTo>
                  <a:pt x="1736" y="17274"/>
                </a:lnTo>
                <a:lnTo>
                  <a:pt x="496" y="22456"/>
                </a:lnTo>
                <a:lnTo>
                  <a:pt x="0" y="28132"/>
                </a:lnTo>
                <a:close/>
              </a:path>
            </a:pathLst>
          </a:custGeom>
          <a:solidFill>
            <a:srgbClr val="E4FFE4"/>
          </a:solidFill>
        </p:spPr>
        <p:txBody>
          <a:bodyPr wrap="square" lIns="0" tIns="0" rIns="0" bIns="0" rtlCol="0">
            <a:noAutofit/>
          </a:bodyPr>
          <a:lstStyle/>
          <a:p>
            <a:endParaRPr/>
          </a:p>
        </p:txBody>
      </p:sp>
      <p:sp>
        <p:nvSpPr>
          <p:cNvPr id="1930" name="object 1930"/>
          <p:cNvSpPr/>
          <p:nvPr/>
        </p:nvSpPr>
        <p:spPr>
          <a:xfrm>
            <a:off x="8069457" y="1636451"/>
            <a:ext cx="42657" cy="53550"/>
          </a:xfrm>
          <a:custGeom>
            <a:avLst/>
            <a:gdLst/>
            <a:ahLst/>
            <a:cxnLst/>
            <a:rect l="l" t="t" r="r" b="b"/>
            <a:pathLst>
              <a:path w="42657" h="53550">
                <a:moveTo>
                  <a:pt x="0" y="26898"/>
                </a:moveTo>
                <a:lnTo>
                  <a:pt x="496" y="32327"/>
                </a:lnTo>
                <a:lnTo>
                  <a:pt x="1736" y="37263"/>
                </a:lnTo>
                <a:lnTo>
                  <a:pt x="3720" y="41705"/>
                </a:lnTo>
                <a:lnTo>
                  <a:pt x="6200" y="45653"/>
                </a:lnTo>
                <a:lnTo>
                  <a:pt x="9424" y="48861"/>
                </a:lnTo>
                <a:lnTo>
                  <a:pt x="12896" y="51329"/>
                </a:lnTo>
                <a:lnTo>
                  <a:pt x="17112" y="53056"/>
                </a:lnTo>
                <a:lnTo>
                  <a:pt x="21328" y="53550"/>
                </a:lnTo>
                <a:lnTo>
                  <a:pt x="25545" y="53056"/>
                </a:lnTo>
                <a:lnTo>
                  <a:pt x="29513" y="51329"/>
                </a:lnTo>
                <a:lnTo>
                  <a:pt x="32985" y="48861"/>
                </a:lnTo>
                <a:lnTo>
                  <a:pt x="36209" y="45653"/>
                </a:lnTo>
                <a:lnTo>
                  <a:pt x="38937" y="41705"/>
                </a:lnTo>
                <a:lnTo>
                  <a:pt x="40921" y="37263"/>
                </a:lnTo>
                <a:lnTo>
                  <a:pt x="42161" y="32327"/>
                </a:lnTo>
                <a:lnTo>
                  <a:pt x="42657" y="26898"/>
                </a:lnTo>
                <a:lnTo>
                  <a:pt x="42161" y="21469"/>
                </a:lnTo>
                <a:lnTo>
                  <a:pt x="40921" y="16533"/>
                </a:lnTo>
                <a:lnTo>
                  <a:pt x="38937" y="11845"/>
                </a:lnTo>
                <a:lnTo>
                  <a:pt x="36209" y="7896"/>
                </a:lnTo>
                <a:lnTo>
                  <a:pt x="32985" y="4688"/>
                </a:lnTo>
                <a:lnTo>
                  <a:pt x="29513" y="2220"/>
                </a:lnTo>
                <a:lnTo>
                  <a:pt x="25545" y="493"/>
                </a:lnTo>
                <a:lnTo>
                  <a:pt x="21328" y="0"/>
                </a:lnTo>
                <a:lnTo>
                  <a:pt x="17112" y="493"/>
                </a:lnTo>
                <a:lnTo>
                  <a:pt x="12896" y="2220"/>
                </a:lnTo>
                <a:lnTo>
                  <a:pt x="9424" y="4688"/>
                </a:lnTo>
                <a:lnTo>
                  <a:pt x="6200" y="7896"/>
                </a:lnTo>
                <a:lnTo>
                  <a:pt x="3720" y="11845"/>
                </a:lnTo>
                <a:lnTo>
                  <a:pt x="1736" y="16533"/>
                </a:lnTo>
                <a:lnTo>
                  <a:pt x="496" y="21469"/>
                </a:lnTo>
                <a:lnTo>
                  <a:pt x="0" y="26898"/>
                </a:lnTo>
                <a:close/>
              </a:path>
            </a:pathLst>
          </a:custGeom>
          <a:solidFill>
            <a:srgbClr val="E4FFE4"/>
          </a:solidFill>
        </p:spPr>
        <p:txBody>
          <a:bodyPr wrap="square" lIns="0" tIns="0" rIns="0" bIns="0" rtlCol="0">
            <a:noAutofit/>
          </a:bodyPr>
          <a:lstStyle/>
          <a:p>
            <a:endParaRPr/>
          </a:p>
        </p:txBody>
      </p:sp>
      <p:sp>
        <p:nvSpPr>
          <p:cNvPr id="1931" name="object 1931"/>
          <p:cNvSpPr/>
          <p:nvPr/>
        </p:nvSpPr>
        <p:spPr>
          <a:xfrm>
            <a:off x="8135180" y="1634477"/>
            <a:ext cx="23561" cy="29366"/>
          </a:xfrm>
          <a:custGeom>
            <a:avLst/>
            <a:gdLst/>
            <a:ahLst/>
            <a:cxnLst/>
            <a:rect l="l" t="t" r="r" b="b"/>
            <a:pathLst>
              <a:path w="23561" h="29366">
                <a:moveTo>
                  <a:pt x="4216" y="2961"/>
                </a:moveTo>
                <a:lnTo>
                  <a:pt x="7936" y="4441"/>
                </a:lnTo>
                <a:lnTo>
                  <a:pt x="11656" y="6909"/>
                </a:lnTo>
                <a:lnTo>
                  <a:pt x="14632" y="10117"/>
                </a:lnTo>
                <a:lnTo>
                  <a:pt x="17360" y="14066"/>
                </a:lnTo>
                <a:lnTo>
                  <a:pt x="19344" y="19001"/>
                </a:lnTo>
                <a:lnTo>
                  <a:pt x="20584" y="23937"/>
                </a:lnTo>
                <a:lnTo>
                  <a:pt x="21080" y="29366"/>
                </a:lnTo>
                <a:lnTo>
                  <a:pt x="23561" y="29366"/>
                </a:lnTo>
                <a:lnTo>
                  <a:pt x="23065" y="23443"/>
                </a:lnTo>
                <a:lnTo>
                  <a:pt x="21824" y="18014"/>
                </a:lnTo>
                <a:lnTo>
                  <a:pt x="19344" y="13079"/>
                </a:lnTo>
                <a:lnTo>
                  <a:pt x="16616" y="8637"/>
                </a:lnTo>
                <a:lnTo>
                  <a:pt x="13144" y="4935"/>
                </a:lnTo>
                <a:lnTo>
                  <a:pt x="8928" y="2467"/>
                </a:lnTo>
                <a:lnTo>
                  <a:pt x="4712" y="493"/>
                </a:lnTo>
                <a:lnTo>
                  <a:pt x="0" y="0"/>
                </a:lnTo>
                <a:lnTo>
                  <a:pt x="0" y="2467"/>
                </a:lnTo>
                <a:lnTo>
                  <a:pt x="4216" y="2961"/>
                </a:lnTo>
                <a:close/>
              </a:path>
            </a:pathLst>
          </a:custGeom>
          <a:solidFill>
            <a:srgbClr val="000000"/>
          </a:solidFill>
        </p:spPr>
        <p:txBody>
          <a:bodyPr wrap="square" lIns="0" tIns="0" rIns="0" bIns="0" rtlCol="0">
            <a:noAutofit/>
          </a:bodyPr>
          <a:lstStyle/>
          <a:p>
            <a:endParaRPr/>
          </a:p>
        </p:txBody>
      </p:sp>
      <p:sp>
        <p:nvSpPr>
          <p:cNvPr id="1932" name="object 1932"/>
          <p:cNvSpPr/>
          <p:nvPr/>
        </p:nvSpPr>
        <p:spPr>
          <a:xfrm>
            <a:off x="8135180" y="1663845"/>
            <a:ext cx="23561" cy="29119"/>
          </a:xfrm>
          <a:custGeom>
            <a:avLst/>
            <a:gdLst/>
            <a:ahLst/>
            <a:cxnLst/>
            <a:rect l="l" t="t" r="r" b="b"/>
            <a:pathLst>
              <a:path w="23561" h="29119">
                <a:moveTo>
                  <a:pt x="0" y="26651"/>
                </a:moveTo>
                <a:lnTo>
                  <a:pt x="0" y="29119"/>
                </a:lnTo>
                <a:lnTo>
                  <a:pt x="4712" y="28625"/>
                </a:lnTo>
                <a:lnTo>
                  <a:pt x="8928" y="26651"/>
                </a:lnTo>
                <a:lnTo>
                  <a:pt x="13144" y="24184"/>
                </a:lnTo>
                <a:lnTo>
                  <a:pt x="16616" y="20482"/>
                </a:lnTo>
                <a:lnTo>
                  <a:pt x="19344" y="16040"/>
                </a:lnTo>
                <a:lnTo>
                  <a:pt x="21824" y="11351"/>
                </a:lnTo>
                <a:lnTo>
                  <a:pt x="23065" y="5922"/>
                </a:lnTo>
                <a:lnTo>
                  <a:pt x="23561" y="0"/>
                </a:lnTo>
                <a:lnTo>
                  <a:pt x="21080" y="0"/>
                </a:lnTo>
                <a:lnTo>
                  <a:pt x="20584" y="5429"/>
                </a:lnTo>
                <a:lnTo>
                  <a:pt x="19344" y="10364"/>
                </a:lnTo>
                <a:lnTo>
                  <a:pt x="17360" y="15053"/>
                </a:lnTo>
                <a:lnTo>
                  <a:pt x="14632" y="19001"/>
                </a:lnTo>
                <a:lnTo>
                  <a:pt x="11656" y="22209"/>
                </a:lnTo>
                <a:lnTo>
                  <a:pt x="7936" y="24677"/>
                </a:lnTo>
                <a:lnTo>
                  <a:pt x="4216" y="26158"/>
                </a:lnTo>
                <a:lnTo>
                  <a:pt x="0" y="26651"/>
                </a:lnTo>
                <a:close/>
              </a:path>
            </a:pathLst>
          </a:custGeom>
          <a:solidFill>
            <a:srgbClr val="000000"/>
          </a:solidFill>
        </p:spPr>
        <p:txBody>
          <a:bodyPr wrap="square" lIns="0" tIns="0" rIns="0" bIns="0" rtlCol="0">
            <a:noAutofit/>
          </a:bodyPr>
          <a:lstStyle/>
          <a:p>
            <a:endParaRPr/>
          </a:p>
        </p:txBody>
      </p:sp>
      <p:sp>
        <p:nvSpPr>
          <p:cNvPr id="1933" name="object 1933"/>
          <p:cNvSpPr/>
          <p:nvPr/>
        </p:nvSpPr>
        <p:spPr>
          <a:xfrm>
            <a:off x="8111867" y="1663845"/>
            <a:ext cx="23313" cy="29119"/>
          </a:xfrm>
          <a:custGeom>
            <a:avLst/>
            <a:gdLst/>
            <a:ahLst/>
            <a:cxnLst/>
            <a:rect l="l" t="t" r="r" b="b"/>
            <a:pathLst>
              <a:path w="23313" h="29119">
                <a:moveTo>
                  <a:pt x="5952" y="15053"/>
                </a:moveTo>
                <a:lnTo>
                  <a:pt x="4216" y="10364"/>
                </a:lnTo>
                <a:lnTo>
                  <a:pt x="2976" y="5429"/>
                </a:lnTo>
                <a:lnTo>
                  <a:pt x="2480" y="0"/>
                </a:lnTo>
                <a:lnTo>
                  <a:pt x="0" y="0"/>
                </a:lnTo>
                <a:lnTo>
                  <a:pt x="496" y="5922"/>
                </a:lnTo>
                <a:lnTo>
                  <a:pt x="1736" y="11351"/>
                </a:lnTo>
                <a:lnTo>
                  <a:pt x="3968" y="16040"/>
                </a:lnTo>
                <a:lnTo>
                  <a:pt x="6696" y="20482"/>
                </a:lnTo>
                <a:lnTo>
                  <a:pt x="10168" y="24184"/>
                </a:lnTo>
                <a:lnTo>
                  <a:pt x="14136" y="26651"/>
                </a:lnTo>
                <a:lnTo>
                  <a:pt x="18600" y="28625"/>
                </a:lnTo>
                <a:lnTo>
                  <a:pt x="23313" y="29119"/>
                </a:lnTo>
                <a:lnTo>
                  <a:pt x="23313" y="26651"/>
                </a:lnTo>
                <a:lnTo>
                  <a:pt x="19096" y="26158"/>
                </a:lnTo>
                <a:lnTo>
                  <a:pt x="15128" y="24677"/>
                </a:lnTo>
                <a:lnTo>
                  <a:pt x="11656" y="22209"/>
                </a:lnTo>
                <a:lnTo>
                  <a:pt x="8680" y="19001"/>
                </a:lnTo>
                <a:lnTo>
                  <a:pt x="5952" y="15053"/>
                </a:lnTo>
                <a:close/>
              </a:path>
            </a:pathLst>
          </a:custGeom>
          <a:solidFill>
            <a:srgbClr val="000000"/>
          </a:solidFill>
        </p:spPr>
        <p:txBody>
          <a:bodyPr wrap="square" lIns="0" tIns="0" rIns="0" bIns="0" rtlCol="0">
            <a:noAutofit/>
          </a:bodyPr>
          <a:lstStyle/>
          <a:p>
            <a:endParaRPr/>
          </a:p>
        </p:txBody>
      </p:sp>
      <p:sp>
        <p:nvSpPr>
          <p:cNvPr id="1934" name="object 1934"/>
          <p:cNvSpPr/>
          <p:nvPr/>
        </p:nvSpPr>
        <p:spPr>
          <a:xfrm>
            <a:off x="8111867" y="1634477"/>
            <a:ext cx="23313" cy="29366"/>
          </a:xfrm>
          <a:custGeom>
            <a:avLst/>
            <a:gdLst/>
            <a:ahLst/>
            <a:cxnLst/>
            <a:rect l="l" t="t" r="r" b="b"/>
            <a:pathLst>
              <a:path w="23313" h="29366">
                <a:moveTo>
                  <a:pt x="496" y="23443"/>
                </a:moveTo>
                <a:lnTo>
                  <a:pt x="0" y="29366"/>
                </a:lnTo>
                <a:lnTo>
                  <a:pt x="2480" y="29366"/>
                </a:lnTo>
                <a:lnTo>
                  <a:pt x="2976" y="23937"/>
                </a:lnTo>
                <a:lnTo>
                  <a:pt x="4216" y="19001"/>
                </a:lnTo>
                <a:lnTo>
                  <a:pt x="5952" y="14066"/>
                </a:lnTo>
                <a:lnTo>
                  <a:pt x="8680" y="10117"/>
                </a:lnTo>
                <a:lnTo>
                  <a:pt x="11656" y="6909"/>
                </a:lnTo>
                <a:lnTo>
                  <a:pt x="15128" y="4441"/>
                </a:lnTo>
                <a:lnTo>
                  <a:pt x="19096" y="2961"/>
                </a:lnTo>
                <a:lnTo>
                  <a:pt x="23313" y="2467"/>
                </a:lnTo>
                <a:lnTo>
                  <a:pt x="23313" y="0"/>
                </a:lnTo>
                <a:lnTo>
                  <a:pt x="18600" y="493"/>
                </a:lnTo>
                <a:lnTo>
                  <a:pt x="14136" y="2467"/>
                </a:lnTo>
                <a:lnTo>
                  <a:pt x="10168" y="4935"/>
                </a:lnTo>
                <a:lnTo>
                  <a:pt x="6696" y="8637"/>
                </a:lnTo>
                <a:lnTo>
                  <a:pt x="3968" y="13079"/>
                </a:lnTo>
                <a:lnTo>
                  <a:pt x="1736" y="18014"/>
                </a:lnTo>
                <a:lnTo>
                  <a:pt x="496" y="23443"/>
                </a:lnTo>
                <a:close/>
              </a:path>
            </a:pathLst>
          </a:custGeom>
          <a:solidFill>
            <a:srgbClr val="000000"/>
          </a:solidFill>
        </p:spPr>
        <p:txBody>
          <a:bodyPr wrap="square" lIns="0" tIns="0" rIns="0" bIns="0" rtlCol="0">
            <a:noAutofit/>
          </a:bodyPr>
          <a:lstStyle/>
          <a:p>
            <a:endParaRPr/>
          </a:p>
        </p:txBody>
      </p:sp>
      <p:sp>
        <p:nvSpPr>
          <p:cNvPr id="1935" name="object 1935"/>
          <p:cNvSpPr/>
          <p:nvPr/>
        </p:nvSpPr>
        <p:spPr>
          <a:xfrm>
            <a:off x="8090786" y="1635218"/>
            <a:ext cx="22569" cy="28132"/>
          </a:xfrm>
          <a:custGeom>
            <a:avLst/>
            <a:gdLst/>
            <a:ahLst/>
            <a:cxnLst/>
            <a:rect l="l" t="t" r="r" b="b"/>
            <a:pathLst>
              <a:path w="22569" h="28132">
                <a:moveTo>
                  <a:pt x="3968" y="2961"/>
                </a:moveTo>
                <a:lnTo>
                  <a:pt x="7688" y="4441"/>
                </a:lnTo>
                <a:lnTo>
                  <a:pt x="10912" y="6909"/>
                </a:lnTo>
                <a:lnTo>
                  <a:pt x="13888" y="9871"/>
                </a:lnTo>
                <a:lnTo>
                  <a:pt x="16616" y="13572"/>
                </a:lnTo>
                <a:lnTo>
                  <a:pt x="18352" y="18261"/>
                </a:lnTo>
                <a:lnTo>
                  <a:pt x="19592" y="22950"/>
                </a:lnTo>
                <a:lnTo>
                  <a:pt x="20088" y="28132"/>
                </a:lnTo>
                <a:lnTo>
                  <a:pt x="22569" y="28132"/>
                </a:lnTo>
                <a:lnTo>
                  <a:pt x="22072" y="22456"/>
                </a:lnTo>
                <a:lnTo>
                  <a:pt x="20832" y="17274"/>
                </a:lnTo>
                <a:lnTo>
                  <a:pt x="18600" y="12585"/>
                </a:lnTo>
                <a:lnTo>
                  <a:pt x="15872" y="8390"/>
                </a:lnTo>
                <a:lnTo>
                  <a:pt x="12400" y="4935"/>
                </a:lnTo>
                <a:lnTo>
                  <a:pt x="8680" y="2467"/>
                </a:lnTo>
                <a:lnTo>
                  <a:pt x="4464" y="493"/>
                </a:lnTo>
                <a:lnTo>
                  <a:pt x="0" y="0"/>
                </a:lnTo>
                <a:lnTo>
                  <a:pt x="0" y="2467"/>
                </a:lnTo>
                <a:lnTo>
                  <a:pt x="3968" y="2961"/>
                </a:lnTo>
                <a:close/>
              </a:path>
            </a:pathLst>
          </a:custGeom>
          <a:solidFill>
            <a:srgbClr val="000000"/>
          </a:solidFill>
        </p:spPr>
        <p:txBody>
          <a:bodyPr wrap="square" lIns="0" tIns="0" rIns="0" bIns="0" rtlCol="0">
            <a:noAutofit/>
          </a:bodyPr>
          <a:lstStyle/>
          <a:p>
            <a:endParaRPr/>
          </a:p>
        </p:txBody>
      </p:sp>
      <p:sp>
        <p:nvSpPr>
          <p:cNvPr id="1936" name="object 1936"/>
          <p:cNvSpPr/>
          <p:nvPr/>
        </p:nvSpPr>
        <p:spPr>
          <a:xfrm>
            <a:off x="8090786" y="1663351"/>
            <a:ext cx="22569" cy="27885"/>
          </a:xfrm>
          <a:custGeom>
            <a:avLst/>
            <a:gdLst/>
            <a:ahLst/>
            <a:cxnLst/>
            <a:rect l="l" t="t" r="r" b="b"/>
            <a:pathLst>
              <a:path w="22569" h="27885">
                <a:moveTo>
                  <a:pt x="4464" y="27392"/>
                </a:moveTo>
                <a:lnTo>
                  <a:pt x="8680" y="25417"/>
                </a:lnTo>
                <a:lnTo>
                  <a:pt x="12400" y="22950"/>
                </a:lnTo>
                <a:lnTo>
                  <a:pt x="15872" y="19495"/>
                </a:lnTo>
                <a:lnTo>
                  <a:pt x="18600" y="15300"/>
                </a:lnTo>
                <a:lnTo>
                  <a:pt x="20832" y="10858"/>
                </a:lnTo>
                <a:lnTo>
                  <a:pt x="22072" y="5675"/>
                </a:lnTo>
                <a:lnTo>
                  <a:pt x="22569" y="0"/>
                </a:lnTo>
                <a:lnTo>
                  <a:pt x="20088" y="0"/>
                </a:lnTo>
                <a:lnTo>
                  <a:pt x="19592" y="5182"/>
                </a:lnTo>
                <a:lnTo>
                  <a:pt x="18352" y="9871"/>
                </a:lnTo>
                <a:lnTo>
                  <a:pt x="16616" y="14312"/>
                </a:lnTo>
                <a:lnTo>
                  <a:pt x="13888" y="18014"/>
                </a:lnTo>
                <a:lnTo>
                  <a:pt x="10912" y="20975"/>
                </a:lnTo>
                <a:lnTo>
                  <a:pt x="7688" y="23443"/>
                </a:lnTo>
                <a:lnTo>
                  <a:pt x="3968" y="24924"/>
                </a:lnTo>
                <a:lnTo>
                  <a:pt x="0" y="25417"/>
                </a:lnTo>
                <a:lnTo>
                  <a:pt x="0" y="27885"/>
                </a:lnTo>
                <a:lnTo>
                  <a:pt x="4464" y="27392"/>
                </a:lnTo>
                <a:close/>
              </a:path>
            </a:pathLst>
          </a:custGeom>
          <a:solidFill>
            <a:srgbClr val="000000"/>
          </a:solidFill>
        </p:spPr>
        <p:txBody>
          <a:bodyPr wrap="square" lIns="0" tIns="0" rIns="0" bIns="0" rtlCol="0">
            <a:noAutofit/>
          </a:bodyPr>
          <a:lstStyle/>
          <a:p>
            <a:endParaRPr/>
          </a:p>
        </p:txBody>
      </p:sp>
      <p:sp>
        <p:nvSpPr>
          <p:cNvPr id="1937" name="object 1937"/>
          <p:cNvSpPr/>
          <p:nvPr/>
        </p:nvSpPr>
        <p:spPr>
          <a:xfrm>
            <a:off x="8068217" y="1663351"/>
            <a:ext cx="22569" cy="27885"/>
          </a:xfrm>
          <a:custGeom>
            <a:avLst/>
            <a:gdLst/>
            <a:ahLst/>
            <a:cxnLst/>
            <a:rect l="l" t="t" r="r" b="b"/>
            <a:pathLst>
              <a:path w="22569" h="27885">
                <a:moveTo>
                  <a:pt x="5952" y="14312"/>
                </a:moveTo>
                <a:lnTo>
                  <a:pt x="4216" y="9871"/>
                </a:lnTo>
                <a:lnTo>
                  <a:pt x="2976" y="5182"/>
                </a:lnTo>
                <a:lnTo>
                  <a:pt x="2480" y="0"/>
                </a:lnTo>
                <a:lnTo>
                  <a:pt x="0" y="0"/>
                </a:lnTo>
                <a:lnTo>
                  <a:pt x="496" y="5675"/>
                </a:lnTo>
                <a:lnTo>
                  <a:pt x="1736" y="10858"/>
                </a:lnTo>
                <a:lnTo>
                  <a:pt x="3968" y="15300"/>
                </a:lnTo>
                <a:lnTo>
                  <a:pt x="6448" y="19495"/>
                </a:lnTo>
                <a:lnTo>
                  <a:pt x="9920" y="22950"/>
                </a:lnTo>
                <a:lnTo>
                  <a:pt x="13640" y="25417"/>
                </a:lnTo>
                <a:lnTo>
                  <a:pt x="18104" y="27392"/>
                </a:lnTo>
                <a:lnTo>
                  <a:pt x="22569" y="27885"/>
                </a:lnTo>
                <a:lnTo>
                  <a:pt x="22569" y="25417"/>
                </a:lnTo>
                <a:lnTo>
                  <a:pt x="18600" y="24924"/>
                </a:lnTo>
                <a:lnTo>
                  <a:pt x="14632" y="23443"/>
                </a:lnTo>
                <a:lnTo>
                  <a:pt x="11408" y="20975"/>
                </a:lnTo>
                <a:lnTo>
                  <a:pt x="8432" y="18014"/>
                </a:lnTo>
                <a:lnTo>
                  <a:pt x="5952" y="14312"/>
                </a:lnTo>
                <a:close/>
              </a:path>
            </a:pathLst>
          </a:custGeom>
          <a:solidFill>
            <a:srgbClr val="000000"/>
          </a:solidFill>
        </p:spPr>
        <p:txBody>
          <a:bodyPr wrap="square" lIns="0" tIns="0" rIns="0" bIns="0" rtlCol="0">
            <a:noAutofit/>
          </a:bodyPr>
          <a:lstStyle/>
          <a:p>
            <a:endParaRPr/>
          </a:p>
        </p:txBody>
      </p:sp>
      <p:sp>
        <p:nvSpPr>
          <p:cNvPr id="1938" name="object 1938"/>
          <p:cNvSpPr/>
          <p:nvPr/>
        </p:nvSpPr>
        <p:spPr>
          <a:xfrm>
            <a:off x="8068217" y="1635218"/>
            <a:ext cx="22569" cy="28132"/>
          </a:xfrm>
          <a:custGeom>
            <a:avLst/>
            <a:gdLst/>
            <a:ahLst/>
            <a:cxnLst/>
            <a:rect l="l" t="t" r="r" b="b"/>
            <a:pathLst>
              <a:path w="22569" h="28132">
                <a:moveTo>
                  <a:pt x="496" y="22456"/>
                </a:moveTo>
                <a:lnTo>
                  <a:pt x="0" y="28132"/>
                </a:lnTo>
                <a:lnTo>
                  <a:pt x="2480" y="28132"/>
                </a:lnTo>
                <a:lnTo>
                  <a:pt x="2976" y="22950"/>
                </a:lnTo>
                <a:lnTo>
                  <a:pt x="4216" y="18261"/>
                </a:lnTo>
                <a:lnTo>
                  <a:pt x="5952" y="13572"/>
                </a:lnTo>
                <a:lnTo>
                  <a:pt x="8432" y="9871"/>
                </a:lnTo>
                <a:lnTo>
                  <a:pt x="11408" y="6909"/>
                </a:lnTo>
                <a:lnTo>
                  <a:pt x="14632" y="4441"/>
                </a:lnTo>
                <a:lnTo>
                  <a:pt x="18600" y="2961"/>
                </a:lnTo>
                <a:lnTo>
                  <a:pt x="22569" y="2467"/>
                </a:lnTo>
                <a:lnTo>
                  <a:pt x="22569" y="0"/>
                </a:lnTo>
                <a:lnTo>
                  <a:pt x="18104" y="493"/>
                </a:lnTo>
                <a:lnTo>
                  <a:pt x="13640" y="2467"/>
                </a:lnTo>
                <a:lnTo>
                  <a:pt x="9920" y="4935"/>
                </a:lnTo>
                <a:lnTo>
                  <a:pt x="6448" y="8390"/>
                </a:lnTo>
                <a:lnTo>
                  <a:pt x="3968" y="12585"/>
                </a:lnTo>
                <a:lnTo>
                  <a:pt x="1736" y="17274"/>
                </a:lnTo>
                <a:lnTo>
                  <a:pt x="496" y="22456"/>
                </a:lnTo>
                <a:close/>
              </a:path>
            </a:pathLst>
          </a:custGeom>
          <a:solidFill>
            <a:srgbClr val="000000"/>
          </a:solidFill>
        </p:spPr>
        <p:txBody>
          <a:bodyPr wrap="square" lIns="0" tIns="0" rIns="0" bIns="0" rtlCol="0">
            <a:noAutofit/>
          </a:bodyPr>
          <a:lstStyle/>
          <a:p>
            <a:endParaRPr/>
          </a:p>
        </p:txBody>
      </p:sp>
      <p:sp>
        <p:nvSpPr>
          <p:cNvPr id="1939" name="object 1939"/>
          <p:cNvSpPr/>
          <p:nvPr/>
        </p:nvSpPr>
        <p:spPr>
          <a:xfrm>
            <a:off x="8113107" y="1649284"/>
            <a:ext cx="44145" cy="30106"/>
          </a:xfrm>
          <a:custGeom>
            <a:avLst/>
            <a:gdLst/>
            <a:ahLst/>
            <a:cxnLst/>
            <a:rect l="l" t="t" r="r" b="b"/>
            <a:pathLst>
              <a:path w="44145" h="30106">
                <a:moveTo>
                  <a:pt x="744" y="21963"/>
                </a:moveTo>
                <a:lnTo>
                  <a:pt x="1488" y="25171"/>
                </a:lnTo>
                <a:lnTo>
                  <a:pt x="2728" y="28379"/>
                </a:lnTo>
                <a:lnTo>
                  <a:pt x="5952" y="30106"/>
                </a:lnTo>
                <a:lnTo>
                  <a:pt x="10664" y="29119"/>
                </a:lnTo>
                <a:lnTo>
                  <a:pt x="16368" y="26404"/>
                </a:lnTo>
                <a:lnTo>
                  <a:pt x="22321" y="23443"/>
                </a:lnTo>
                <a:lnTo>
                  <a:pt x="28025" y="20975"/>
                </a:lnTo>
                <a:lnTo>
                  <a:pt x="33481" y="20482"/>
                </a:lnTo>
                <a:lnTo>
                  <a:pt x="37945" y="22456"/>
                </a:lnTo>
                <a:lnTo>
                  <a:pt x="40921" y="28379"/>
                </a:lnTo>
                <a:lnTo>
                  <a:pt x="42409" y="25171"/>
                </a:lnTo>
                <a:lnTo>
                  <a:pt x="43401" y="21963"/>
                </a:lnTo>
                <a:lnTo>
                  <a:pt x="43897" y="18508"/>
                </a:lnTo>
                <a:lnTo>
                  <a:pt x="44145" y="15053"/>
                </a:lnTo>
                <a:lnTo>
                  <a:pt x="44145" y="11598"/>
                </a:lnTo>
                <a:lnTo>
                  <a:pt x="43649" y="8143"/>
                </a:lnTo>
                <a:lnTo>
                  <a:pt x="42657" y="4935"/>
                </a:lnTo>
                <a:lnTo>
                  <a:pt x="41665" y="1727"/>
                </a:lnTo>
                <a:lnTo>
                  <a:pt x="36705" y="6416"/>
                </a:lnTo>
                <a:lnTo>
                  <a:pt x="31001" y="8143"/>
                </a:lnTo>
                <a:lnTo>
                  <a:pt x="25297" y="7403"/>
                </a:lnTo>
                <a:lnTo>
                  <a:pt x="19344" y="5182"/>
                </a:lnTo>
                <a:lnTo>
                  <a:pt x="13888" y="2467"/>
                </a:lnTo>
                <a:lnTo>
                  <a:pt x="9176" y="493"/>
                </a:lnTo>
                <a:lnTo>
                  <a:pt x="4960" y="0"/>
                </a:lnTo>
                <a:lnTo>
                  <a:pt x="2232" y="1727"/>
                </a:lnTo>
                <a:lnTo>
                  <a:pt x="1240" y="4935"/>
                </a:lnTo>
                <a:lnTo>
                  <a:pt x="496" y="8390"/>
                </a:lnTo>
                <a:lnTo>
                  <a:pt x="0" y="11598"/>
                </a:lnTo>
                <a:lnTo>
                  <a:pt x="0" y="18508"/>
                </a:lnTo>
                <a:lnTo>
                  <a:pt x="744" y="21963"/>
                </a:lnTo>
                <a:close/>
              </a:path>
            </a:pathLst>
          </a:custGeom>
          <a:solidFill>
            <a:srgbClr val="000000"/>
          </a:solidFill>
        </p:spPr>
        <p:txBody>
          <a:bodyPr wrap="square" lIns="0" tIns="0" rIns="0" bIns="0" rtlCol="0">
            <a:noAutofit/>
          </a:bodyPr>
          <a:lstStyle/>
          <a:p>
            <a:endParaRPr/>
          </a:p>
        </p:txBody>
      </p:sp>
      <p:sp>
        <p:nvSpPr>
          <p:cNvPr id="1940" name="object 1940"/>
          <p:cNvSpPr/>
          <p:nvPr/>
        </p:nvSpPr>
        <p:spPr>
          <a:xfrm>
            <a:off x="8069457" y="1649284"/>
            <a:ext cx="42409" cy="28872"/>
          </a:xfrm>
          <a:custGeom>
            <a:avLst/>
            <a:gdLst/>
            <a:ahLst/>
            <a:cxnLst/>
            <a:rect l="l" t="t" r="r" b="b"/>
            <a:pathLst>
              <a:path w="42409" h="28872">
                <a:moveTo>
                  <a:pt x="744" y="21222"/>
                </a:moveTo>
                <a:lnTo>
                  <a:pt x="1488" y="24430"/>
                </a:lnTo>
                <a:lnTo>
                  <a:pt x="2728" y="27392"/>
                </a:lnTo>
                <a:lnTo>
                  <a:pt x="5952" y="28872"/>
                </a:lnTo>
                <a:lnTo>
                  <a:pt x="10168" y="27885"/>
                </a:lnTo>
                <a:lnTo>
                  <a:pt x="15624" y="25664"/>
                </a:lnTo>
                <a:lnTo>
                  <a:pt x="21328" y="22703"/>
                </a:lnTo>
                <a:lnTo>
                  <a:pt x="27033" y="20482"/>
                </a:lnTo>
                <a:lnTo>
                  <a:pt x="32241" y="19742"/>
                </a:lnTo>
                <a:lnTo>
                  <a:pt x="36457" y="21716"/>
                </a:lnTo>
                <a:lnTo>
                  <a:pt x="39433" y="27392"/>
                </a:lnTo>
                <a:lnTo>
                  <a:pt x="40921" y="24184"/>
                </a:lnTo>
                <a:lnTo>
                  <a:pt x="41665" y="20975"/>
                </a:lnTo>
                <a:lnTo>
                  <a:pt x="42409" y="17767"/>
                </a:lnTo>
                <a:lnTo>
                  <a:pt x="42409" y="11351"/>
                </a:lnTo>
                <a:lnTo>
                  <a:pt x="41913" y="8143"/>
                </a:lnTo>
                <a:lnTo>
                  <a:pt x="41169" y="4935"/>
                </a:lnTo>
                <a:lnTo>
                  <a:pt x="40177" y="1727"/>
                </a:lnTo>
                <a:lnTo>
                  <a:pt x="35465" y="6416"/>
                </a:lnTo>
                <a:lnTo>
                  <a:pt x="30009" y="7896"/>
                </a:lnTo>
                <a:lnTo>
                  <a:pt x="24305" y="7156"/>
                </a:lnTo>
                <a:lnTo>
                  <a:pt x="18848" y="4935"/>
                </a:lnTo>
                <a:lnTo>
                  <a:pt x="13392" y="2714"/>
                </a:lnTo>
                <a:lnTo>
                  <a:pt x="8680" y="493"/>
                </a:lnTo>
                <a:lnTo>
                  <a:pt x="4960" y="0"/>
                </a:lnTo>
                <a:lnTo>
                  <a:pt x="2232" y="1727"/>
                </a:lnTo>
                <a:lnTo>
                  <a:pt x="1240" y="4935"/>
                </a:lnTo>
                <a:lnTo>
                  <a:pt x="496" y="8143"/>
                </a:lnTo>
                <a:lnTo>
                  <a:pt x="0" y="11351"/>
                </a:lnTo>
                <a:lnTo>
                  <a:pt x="0" y="18014"/>
                </a:lnTo>
                <a:lnTo>
                  <a:pt x="744" y="21222"/>
                </a:lnTo>
                <a:close/>
              </a:path>
            </a:pathLst>
          </a:custGeom>
          <a:solidFill>
            <a:srgbClr val="000000"/>
          </a:solidFill>
        </p:spPr>
        <p:txBody>
          <a:bodyPr wrap="square" lIns="0" tIns="0" rIns="0" bIns="0" rtlCol="0">
            <a:noAutofit/>
          </a:bodyPr>
          <a:lstStyle/>
          <a:p>
            <a:endParaRPr/>
          </a:p>
        </p:txBody>
      </p:sp>
      <p:sp>
        <p:nvSpPr>
          <p:cNvPr id="1941" name="object 1941"/>
          <p:cNvSpPr/>
          <p:nvPr/>
        </p:nvSpPr>
        <p:spPr>
          <a:xfrm>
            <a:off x="8114347" y="1648051"/>
            <a:ext cx="41665" cy="10611"/>
          </a:xfrm>
          <a:custGeom>
            <a:avLst/>
            <a:gdLst/>
            <a:ahLst/>
            <a:cxnLst/>
            <a:rect l="l" t="t" r="r" b="b"/>
            <a:pathLst>
              <a:path w="41665" h="10611">
                <a:moveTo>
                  <a:pt x="3472" y="0"/>
                </a:moveTo>
                <a:lnTo>
                  <a:pt x="0" y="2220"/>
                </a:lnTo>
                <a:lnTo>
                  <a:pt x="1984" y="3701"/>
                </a:lnTo>
                <a:lnTo>
                  <a:pt x="3968" y="2467"/>
                </a:lnTo>
                <a:lnTo>
                  <a:pt x="7688" y="2961"/>
                </a:lnTo>
                <a:lnTo>
                  <a:pt x="12152" y="4935"/>
                </a:lnTo>
                <a:lnTo>
                  <a:pt x="17608" y="7650"/>
                </a:lnTo>
                <a:lnTo>
                  <a:pt x="23809" y="9871"/>
                </a:lnTo>
                <a:lnTo>
                  <a:pt x="29761" y="10611"/>
                </a:lnTo>
                <a:lnTo>
                  <a:pt x="36209" y="8637"/>
                </a:lnTo>
                <a:lnTo>
                  <a:pt x="41417" y="3701"/>
                </a:lnTo>
                <a:lnTo>
                  <a:pt x="41665" y="2714"/>
                </a:lnTo>
                <a:lnTo>
                  <a:pt x="41487" y="2448"/>
                </a:lnTo>
                <a:lnTo>
                  <a:pt x="41169" y="1974"/>
                </a:lnTo>
                <a:lnTo>
                  <a:pt x="40425" y="1727"/>
                </a:lnTo>
                <a:lnTo>
                  <a:pt x="39433" y="2220"/>
                </a:lnTo>
                <a:lnTo>
                  <a:pt x="39185" y="3454"/>
                </a:lnTo>
                <a:lnTo>
                  <a:pt x="39433" y="2220"/>
                </a:lnTo>
                <a:lnTo>
                  <a:pt x="34721" y="6662"/>
                </a:lnTo>
                <a:lnTo>
                  <a:pt x="29761" y="8143"/>
                </a:lnTo>
                <a:lnTo>
                  <a:pt x="24305" y="7403"/>
                </a:lnTo>
                <a:lnTo>
                  <a:pt x="18600" y="5182"/>
                </a:lnTo>
                <a:lnTo>
                  <a:pt x="13144" y="2467"/>
                </a:lnTo>
                <a:lnTo>
                  <a:pt x="8184" y="493"/>
                </a:lnTo>
                <a:lnTo>
                  <a:pt x="3472" y="0"/>
                </a:lnTo>
                <a:close/>
              </a:path>
            </a:pathLst>
          </a:custGeom>
          <a:solidFill>
            <a:srgbClr val="000000"/>
          </a:solidFill>
        </p:spPr>
        <p:txBody>
          <a:bodyPr wrap="square" lIns="0" tIns="0" rIns="0" bIns="0" rtlCol="0">
            <a:noAutofit/>
          </a:bodyPr>
          <a:lstStyle/>
          <a:p>
            <a:endParaRPr/>
          </a:p>
        </p:txBody>
      </p:sp>
      <p:sp>
        <p:nvSpPr>
          <p:cNvPr id="1942" name="object 1942"/>
          <p:cNvSpPr/>
          <p:nvPr/>
        </p:nvSpPr>
        <p:spPr>
          <a:xfrm>
            <a:off x="8153036" y="1650518"/>
            <a:ext cx="5456" cy="28132"/>
          </a:xfrm>
          <a:custGeom>
            <a:avLst/>
            <a:gdLst/>
            <a:ahLst/>
            <a:cxnLst/>
            <a:rect l="l" t="t" r="r" b="b"/>
            <a:pathLst>
              <a:path w="5456" h="28132">
                <a:moveTo>
                  <a:pt x="5456" y="13819"/>
                </a:moveTo>
                <a:lnTo>
                  <a:pt x="5456" y="10364"/>
                </a:lnTo>
                <a:lnTo>
                  <a:pt x="4960" y="6662"/>
                </a:lnTo>
                <a:lnTo>
                  <a:pt x="3968" y="3454"/>
                </a:lnTo>
                <a:lnTo>
                  <a:pt x="2976" y="0"/>
                </a:lnTo>
                <a:lnTo>
                  <a:pt x="496" y="987"/>
                </a:lnTo>
                <a:lnTo>
                  <a:pt x="1488" y="3948"/>
                </a:lnTo>
                <a:lnTo>
                  <a:pt x="2480" y="7156"/>
                </a:lnTo>
                <a:lnTo>
                  <a:pt x="2976" y="10364"/>
                </a:lnTo>
                <a:lnTo>
                  <a:pt x="2976" y="13819"/>
                </a:lnTo>
                <a:lnTo>
                  <a:pt x="2728" y="17027"/>
                </a:lnTo>
                <a:lnTo>
                  <a:pt x="2232" y="20482"/>
                </a:lnTo>
                <a:lnTo>
                  <a:pt x="2232" y="26898"/>
                </a:lnTo>
                <a:lnTo>
                  <a:pt x="2232" y="20482"/>
                </a:lnTo>
                <a:lnTo>
                  <a:pt x="1240" y="23443"/>
                </a:lnTo>
                <a:lnTo>
                  <a:pt x="0" y="26651"/>
                </a:lnTo>
                <a:lnTo>
                  <a:pt x="0" y="27392"/>
                </a:lnTo>
                <a:lnTo>
                  <a:pt x="744" y="28132"/>
                </a:lnTo>
                <a:lnTo>
                  <a:pt x="1488" y="28132"/>
                </a:lnTo>
                <a:lnTo>
                  <a:pt x="1984" y="27638"/>
                </a:lnTo>
                <a:lnTo>
                  <a:pt x="3720" y="24430"/>
                </a:lnTo>
                <a:lnTo>
                  <a:pt x="4712" y="20975"/>
                </a:lnTo>
                <a:lnTo>
                  <a:pt x="5208" y="17521"/>
                </a:lnTo>
                <a:lnTo>
                  <a:pt x="5456" y="13819"/>
                </a:lnTo>
                <a:close/>
              </a:path>
            </a:pathLst>
          </a:custGeom>
          <a:solidFill>
            <a:srgbClr val="000000"/>
          </a:solidFill>
        </p:spPr>
        <p:txBody>
          <a:bodyPr wrap="square" lIns="0" tIns="0" rIns="0" bIns="0" rtlCol="0">
            <a:noAutofit/>
          </a:bodyPr>
          <a:lstStyle/>
          <a:p>
            <a:endParaRPr/>
          </a:p>
        </p:txBody>
      </p:sp>
      <p:sp>
        <p:nvSpPr>
          <p:cNvPr id="1943" name="object 1943"/>
          <p:cNvSpPr/>
          <p:nvPr/>
        </p:nvSpPr>
        <p:spPr>
          <a:xfrm>
            <a:off x="8114595" y="1668532"/>
            <a:ext cx="40673" cy="12092"/>
          </a:xfrm>
          <a:custGeom>
            <a:avLst/>
            <a:gdLst/>
            <a:ahLst/>
            <a:cxnLst/>
            <a:rect l="l" t="t" r="r" b="b"/>
            <a:pathLst>
              <a:path w="40673" h="12092">
                <a:moveTo>
                  <a:pt x="4464" y="9624"/>
                </a:moveTo>
                <a:lnTo>
                  <a:pt x="2232" y="8390"/>
                </a:lnTo>
                <a:lnTo>
                  <a:pt x="1488" y="7896"/>
                </a:lnTo>
                <a:lnTo>
                  <a:pt x="496" y="8143"/>
                </a:lnTo>
                <a:lnTo>
                  <a:pt x="0" y="8883"/>
                </a:lnTo>
                <a:lnTo>
                  <a:pt x="248" y="9871"/>
                </a:lnTo>
                <a:lnTo>
                  <a:pt x="4464" y="12092"/>
                </a:lnTo>
                <a:lnTo>
                  <a:pt x="9672" y="11104"/>
                </a:lnTo>
                <a:lnTo>
                  <a:pt x="15376" y="8143"/>
                </a:lnTo>
                <a:lnTo>
                  <a:pt x="21328" y="5429"/>
                </a:lnTo>
                <a:lnTo>
                  <a:pt x="26785" y="2961"/>
                </a:lnTo>
                <a:lnTo>
                  <a:pt x="31745" y="2467"/>
                </a:lnTo>
                <a:lnTo>
                  <a:pt x="35465" y="3948"/>
                </a:lnTo>
                <a:lnTo>
                  <a:pt x="38193" y="9377"/>
                </a:lnTo>
                <a:lnTo>
                  <a:pt x="40673" y="8883"/>
                </a:lnTo>
                <a:lnTo>
                  <a:pt x="37449" y="2467"/>
                </a:lnTo>
                <a:lnTo>
                  <a:pt x="32241" y="0"/>
                </a:lnTo>
                <a:lnTo>
                  <a:pt x="26289" y="493"/>
                </a:lnTo>
                <a:lnTo>
                  <a:pt x="20336" y="2961"/>
                </a:lnTo>
                <a:lnTo>
                  <a:pt x="14384" y="6169"/>
                </a:lnTo>
                <a:lnTo>
                  <a:pt x="8680" y="8637"/>
                </a:lnTo>
                <a:lnTo>
                  <a:pt x="4464" y="9624"/>
                </a:lnTo>
                <a:lnTo>
                  <a:pt x="2480" y="8637"/>
                </a:lnTo>
                <a:lnTo>
                  <a:pt x="4464" y="9624"/>
                </a:lnTo>
                <a:close/>
              </a:path>
            </a:pathLst>
          </a:custGeom>
          <a:solidFill>
            <a:srgbClr val="000000"/>
          </a:solidFill>
        </p:spPr>
        <p:txBody>
          <a:bodyPr wrap="square" lIns="0" tIns="0" rIns="0" bIns="0" rtlCol="0">
            <a:noAutofit/>
          </a:bodyPr>
          <a:lstStyle/>
          <a:p>
            <a:endParaRPr/>
          </a:p>
        </p:txBody>
      </p:sp>
      <p:sp>
        <p:nvSpPr>
          <p:cNvPr id="1944" name="object 1944"/>
          <p:cNvSpPr/>
          <p:nvPr/>
        </p:nvSpPr>
        <p:spPr>
          <a:xfrm>
            <a:off x="8111866" y="1649778"/>
            <a:ext cx="5208" cy="28379"/>
          </a:xfrm>
          <a:custGeom>
            <a:avLst/>
            <a:gdLst/>
            <a:ahLst/>
            <a:cxnLst/>
            <a:rect l="l" t="t" r="r" b="b"/>
            <a:pathLst>
              <a:path w="5208" h="28379">
                <a:moveTo>
                  <a:pt x="2480" y="14559"/>
                </a:moveTo>
                <a:lnTo>
                  <a:pt x="2480" y="11104"/>
                </a:lnTo>
                <a:lnTo>
                  <a:pt x="2976" y="8143"/>
                </a:lnTo>
                <a:lnTo>
                  <a:pt x="3720" y="4688"/>
                </a:lnTo>
                <a:lnTo>
                  <a:pt x="4464" y="1974"/>
                </a:lnTo>
                <a:lnTo>
                  <a:pt x="3720" y="4688"/>
                </a:lnTo>
                <a:lnTo>
                  <a:pt x="4712" y="1727"/>
                </a:lnTo>
                <a:lnTo>
                  <a:pt x="4712" y="740"/>
                </a:lnTo>
                <a:lnTo>
                  <a:pt x="3968" y="0"/>
                </a:lnTo>
                <a:lnTo>
                  <a:pt x="2976" y="0"/>
                </a:lnTo>
                <a:lnTo>
                  <a:pt x="2232" y="740"/>
                </a:lnTo>
                <a:lnTo>
                  <a:pt x="1240" y="4195"/>
                </a:lnTo>
                <a:lnTo>
                  <a:pt x="496" y="7650"/>
                </a:lnTo>
                <a:lnTo>
                  <a:pt x="0" y="11104"/>
                </a:lnTo>
                <a:lnTo>
                  <a:pt x="0" y="18261"/>
                </a:lnTo>
                <a:lnTo>
                  <a:pt x="744" y="21716"/>
                </a:lnTo>
                <a:lnTo>
                  <a:pt x="1488" y="24924"/>
                </a:lnTo>
                <a:lnTo>
                  <a:pt x="2728" y="28379"/>
                </a:lnTo>
                <a:lnTo>
                  <a:pt x="5208" y="27392"/>
                </a:lnTo>
                <a:lnTo>
                  <a:pt x="3968" y="24430"/>
                </a:lnTo>
                <a:lnTo>
                  <a:pt x="3224" y="21222"/>
                </a:lnTo>
                <a:lnTo>
                  <a:pt x="2480" y="17767"/>
                </a:lnTo>
                <a:lnTo>
                  <a:pt x="2480" y="14559"/>
                </a:lnTo>
                <a:close/>
              </a:path>
            </a:pathLst>
          </a:custGeom>
          <a:solidFill>
            <a:srgbClr val="000000"/>
          </a:solidFill>
        </p:spPr>
        <p:txBody>
          <a:bodyPr wrap="square" lIns="0" tIns="0" rIns="0" bIns="0" rtlCol="0">
            <a:noAutofit/>
          </a:bodyPr>
          <a:lstStyle/>
          <a:p>
            <a:endParaRPr/>
          </a:p>
        </p:txBody>
      </p:sp>
      <p:sp>
        <p:nvSpPr>
          <p:cNvPr id="1945" name="object 1945"/>
          <p:cNvSpPr/>
          <p:nvPr/>
        </p:nvSpPr>
        <p:spPr>
          <a:xfrm>
            <a:off x="8070697" y="1648050"/>
            <a:ext cx="40177" cy="10364"/>
          </a:xfrm>
          <a:custGeom>
            <a:avLst/>
            <a:gdLst/>
            <a:ahLst/>
            <a:cxnLst/>
            <a:rect l="l" t="t" r="r" b="b"/>
            <a:pathLst>
              <a:path w="40177" h="10364">
                <a:moveTo>
                  <a:pt x="3472" y="0"/>
                </a:moveTo>
                <a:lnTo>
                  <a:pt x="0" y="2220"/>
                </a:lnTo>
                <a:lnTo>
                  <a:pt x="1984" y="3701"/>
                </a:lnTo>
                <a:lnTo>
                  <a:pt x="3968" y="2467"/>
                </a:lnTo>
                <a:lnTo>
                  <a:pt x="6944" y="2961"/>
                </a:lnTo>
                <a:lnTo>
                  <a:pt x="11656" y="5182"/>
                </a:lnTo>
                <a:lnTo>
                  <a:pt x="17112" y="7403"/>
                </a:lnTo>
                <a:lnTo>
                  <a:pt x="22817" y="9624"/>
                </a:lnTo>
                <a:lnTo>
                  <a:pt x="28769" y="10364"/>
                </a:lnTo>
                <a:lnTo>
                  <a:pt x="34969" y="8637"/>
                </a:lnTo>
                <a:lnTo>
                  <a:pt x="39929" y="3701"/>
                </a:lnTo>
                <a:lnTo>
                  <a:pt x="40177" y="2714"/>
                </a:lnTo>
                <a:lnTo>
                  <a:pt x="39999" y="2448"/>
                </a:lnTo>
                <a:lnTo>
                  <a:pt x="39681" y="1974"/>
                </a:lnTo>
                <a:lnTo>
                  <a:pt x="38937" y="1727"/>
                </a:lnTo>
                <a:lnTo>
                  <a:pt x="37945" y="2220"/>
                </a:lnTo>
                <a:lnTo>
                  <a:pt x="37697" y="3454"/>
                </a:lnTo>
                <a:lnTo>
                  <a:pt x="37945" y="2220"/>
                </a:lnTo>
                <a:lnTo>
                  <a:pt x="33481" y="6662"/>
                </a:lnTo>
                <a:lnTo>
                  <a:pt x="28769" y="7896"/>
                </a:lnTo>
                <a:lnTo>
                  <a:pt x="23313" y="7156"/>
                </a:lnTo>
                <a:lnTo>
                  <a:pt x="18104" y="4935"/>
                </a:lnTo>
                <a:lnTo>
                  <a:pt x="12648" y="2714"/>
                </a:lnTo>
                <a:lnTo>
                  <a:pt x="7936" y="493"/>
                </a:lnTo>
                <a:lnTo>
                  <a:pt x="3472" y="0"/>
                </a:lnTo>
                <a:close/>
              </a:path>
            </a:pathLst>
          </a:custGeom>
          <a:solidFill>
            <a:srgbClr val="000000"/>
          </a:solidFill>
        </p:spPr>
        <p:txBody>
          <a:bodyPr wrap="square" lIns="0" tIns="0" rIns="0" bIns="0" rtlCol="0">
            <a:noAutofit/>
          </a:bodyPr>
          <a:lstStyle/>
          <a:p>
            <a:endParaRPr/>
          </a:p>
        </p:txBody>
      </p:sp>
      <p:sp>
        <p:nvSpPr>
          <p:cNvPr id="1946" name="object 1946"/>
          <p:cNvSpPr/>
          <p:nvPr/>
        </p:nvSpPr>
        <p:spPr>
          <a:xfrm>
            <a:off x="8107898" y="1650519"/>
            <a:ext cx="5208" cy="27145"/>
          </a:xfrm>
          <a:custGeom>
            <a:avLst/>
            <a:gdLst/>
            <a:ahLst/>
            <a:cxnLst/>
            <a:rect l="l" t="t" r="r" b="b"/>
            <a:pathLst>
              <a:path w="5208" h="27145">
                <a:moveTo>
                  <a:pt x="5208" y="13325"/>
                </a:moveTo>
                <a:lnTo>
                  <a:pt x="5208" y="10117"/>
                </a:lnTo>
                <a:lnTo>
                  <a:pt x="4712" y="6662"/>
                </a:lnTo>
                <a:lnTo>
                  <a:pt x="3968" y="3454"/>
                </a:lnTo>
                <a:lnTo>
                  <a:pt x="2976" y="0"/>
                </a:lnTo>
                <a:lnTo>
                  <a:pt x="496" y="987"/>
                </a:lnTo>
                <a:lnTo>
                  <a:pt x="1488" y="3948"/>
                </a:lnTo>
                <a:lnTo>
                  <a:pt x="2232" y="7156"/>
                </a:lnTo>
                <a:lnTo>
                  <a:pt x="2728" y="10117"/>
                </a:lnTo>
                <a:lnTo>
                  <a:pt x="2728" y="16287"/>
                </a:lnTo>
                <a:lnTo>
                  <a:pt x="2232" y="25911"/>
                </a:lnTo>
                <a:lnTo>
                  <a:pt x="2728" y="16287"/>
                </a:lnTo>
                <a:lnTo>
                  <a:pt x="1984" y="19495"/>
                </a:lnTo>
                <a:lnTo>
                  <a:pt x="1240" y="22456"/>
                </a:lnTo>
                <a:lnTo>
                  <a:pt x="0" y="25664"/>
                </a:lnTo>
                <a:lnTo>
                  <a:pt x="0" y="26404"/>
                </a:lnTo>
                <a:lnTo>
                  <a:pt x="744" y="27145"/>
                </a:lnTo>
                <a:lnTo>
                  <a:pt x="1488" y="27145"/>
                </a:lnTo>
                <a:lnTo>
                  <a:pt x="1984" y="26651"/>
                </a:lnTo>
                <a:lnTo>
                  <a:pt x="3720" y="23443"/>
                </a:lnTo>
                <a:lnTo>
                  <a:pt x="4464" y="19988"/>
                </a:lnTo>
                <a:lnTo>
                  <a:pt x="5208" y="16780"/>
                </a:lnTo>
                <a:lnTo>
                  <a:pt x="5208" y="13325"/>
                </a:lnTo>
                <a:close/>
              </a:path>
            </a:pathLst>
          </a:custGeom>
          <a:solidFill>
            <a:srgbClr val="000000"/>
          </a:solidFill>
        </p:spPr>
        <p:txBody>
          <a:bodyPr wrap="square" lIns="0" tIns="0" rIns="0" bIns="0" rtlCol="0">
            <a:noAutofit/>
          </a:bodyPr>
          <a:lstStyle/>
          <a:p>
            <a:endParaRPr/>
          </a:p>
        </p:txBody>
      </p:sp>
      <p:sp>
        <p:nvSpPr>
          <p:cNvPr id="1947" name="object 1947"/>
          <p:cNvSpPr/>
          <p:nvPr/>
        </p:nvSpPr>
        <p:spPr>
          <a:xfrm>
            <a:off x="8070945" y="1667792"/>
            <a:ext cx="39185" cy="11598"/>
          </a:xfrm>
          <a:custGeom>
            <a:avLst/>
            <a:gdLst/>
            <a:ahLst/>
            <a:cxnLst/>
            <a:rect l="l" t="t" r="r" b="b"/>
            <a:pathLst>
              <a:path w="39185" h="11598">
                <a:moveTo>
                  <a:pt x="13640" y="5922"/>
                </a:moveTo>
                <a:lnTo>
                  <a:pt x="8184" y="8143"/>
                </a:lnTo>
                <a:lnTo>
                  <a:pt x="4464" y="9130"/>
                </a:lnTo>
                <a:lnTo>
                  <a:pt x="2232" y="8143"/>
                </a:lnTo>
                <a:lnTo>
                  <a:pt x="1488" y="7650"/>
                </a:lnTo>
                <a:lnTo>
                  <a:pt x="496" y="7896"/>
                </a:lnTo>
                <a:lnTo>
                  <a:pt x="0" y="8637"/>
                </a:lnTo>
                <a:lnTo>
                  <a:pt x="248" y="9624"/>
                </a:lnTo>
                <a:lnTo>
                  <a:pt x="248" y="9377"/>
                </a:lnTo>
                <a:lnTo>
                  <a:pt x="4464" y="11598"/>
                </a:lnTo>
                <a:lnTo>
                  <a:pt x="2232" y="8390"/>
                </a:lnTo>
                <a:lnTo>
                  <a:pt x="4464" y="11598"/>
                </a:lnTo>
                <a:lnTo>
                  <a:pt x="9176" y="10611"/>
                </a:lnTo>
                <a:lnTo>
                  <a:pt x="14632" y="8390"/>
                </a:lnTo>
                <a:lnTo>
                  <a:pt x="20336" y="5429"/>
                </a:lnTo>
                <a:lnTo>
                  <a:pt x="25793" y="3208"/>
                </a:lnTo>
                <a:lnTo>
                  <a:pt x="30505" y="2467"/>
                </a:lnTo>
                <a:lnTo>
                  <a:pt x="33977" y="3948"/>
                </a:lnTo>
                <a:lnTo>
                  <a:pt x="36705" y="9130"/>
                </a:lnTo>
                <a:lnTo>
                  <a:pt x="39185" y="8637"/>
                </a:lnTo>
                <a:lnTo>
                  <a:pt x="35961" y="2467"/>
                </a:lnTo>
                <a:lnTo>
                  <a:pt x="31001" y="0"/>
                </a:lnTo>
                <a:lnTo>
                  <a:pt x="25297" y="740"/>
                </a:lnTo>
                <a:lnTo>
                  <a:pt x="19344" y="2961"/>
                </a:lnTo>
                <a:lnTo>
                  <a:pt x="13640" y="5922"/>
                </a:lnTo>
                <a:close/>
              </a:path>
            </a:pathLst>
          </a:custGeom>
          <a:solidFill>
            <a:srgbClr val="000000"/>
          </a:solidFill>
        </p:spPr>
        <p:txBody>
          <a:bodyPr wrap="square" lIns="0" tIns="0" rIns="0" bIns="0" rtlCol="0">
            <a:noAutofit/>
          </a:bodyPr>
          <a:lstStyle/>
          <a:p>
            <a:endParaRPr/>
          </a:p>
        </p:txBody>
      </p:sp>
      <p:sp>
        <p:nvSpPr>
          <p:cNvPr id="1948" name="object 1948"/>
          <p:cNvSpPr/>
          <p:nvPr/>
        </p:nvSpPr>
        <p:spPr>
          <a:xfrm>
            <a:off x="8071192" y="1677169"/>
            <a:ext cx="4216" cy="2220"/>
          </a:xfrm>
          <a:custGeom>
            <a:avLst/>
            <a:gdLst/>
            <a:ahLst/>
            <a:cxnLst/>
            <a:rect l="l" t="t" r="r" b="b"/>
            <a:pathLst>
              <a:path w="4216" h="2220">
                <a:moveTo>
                  <a:pt x="4216" y="2220"/>
                </a:moveTo>
                <a:lnTo>
                  <a:pt x="0" y="0"/>
                </a:lnTo>
                <a:lnTo>
                  <a:pt x="0" y="246"/>
                </a:lnTo>
                <a:lnTo>
                  <a:pt x="4216" y="2220"/>
                </a:lnTo>
                <a:close/>
              </a:path>
            </a:pathLst>
          </a:custGeom>
          <a:solidFill>
            <a:srgbClr val="000000"/>
          </a:solidFill>
        </p:spPr>
        <p:txBody>
          <a:bodyPr wrap="square" lIns="0" tIns="0" rIns="0" bIns="0" rtlCol="0">
            <a:noAutofit/>
          </a:bodyPr>
          <a:lstStyle/>
          <a:p>
            <a:endParaRPr/>
          </a:p>
        </p:txBody>
      </p:sp>
      <p:sp>
        <p:nvSpPr>
          <p:cNvPr id="1949" name="object 1949"/>
          <p:cNvSpPr/>
          <p:nvPr/>
        </p:nvSpPr>
        <p:spPr>
          <a:xfrm>
            <a:off x="8068216" y="1649777"/>
            <a:ext cx="4960" cy="27392"/>
          </a:xfrm>
          <a:custGeom>
            <a:avLst/>
            <a:gdLst/>
            <a:ahLst/>
            <a:cxnLst/>
            <a:rect l="l" t="t" r="r" b="b"/>
            <a:pathLst>
              <a:path w="4960" h="27392">
                <a:moveTo>
                  <a:pt x="2480" y="14312"/>
                </a:moveTo>
                <a:lnTo>
                  <a:pt x="2480" y="10858"/>
                </a:lnTo>
                <a:lnTo>
                  <a:pt x="2976" y="7896"/>
                </a:lnTo>
                <a:lnTo>
                  <a:pt x="3720" y="4688"/>
                </a:lnTo>
                <a:lnTo>
                  <a:pt x="4464" y="1974"/>
                </a:lnTo>
                <a:lnTo>
                  <a:pt x="3720" y="4688"/>
                </a:lnTo>
                <a:lnTo>
                  <a:pt x="4712" y="1727"/>
                </a:lnTo>
                <a:lnTo>
                  <a:pt x="4712" y="740"/>
                </a:lnTo>
                <a:lnTo>
                  <a:pt x="3968" y="0"/>
                </a:lnTo>
                <a:lnTo>
                  <a:pt x="2976" y="0"/>
                </a:lnTo>
                <a:lnTo>
                  <a:pt x="2480" y="493"/>
                </a:lnTo>
                <a:lnTo>
                  <a:pt x="1240" y="4195"/>
                </a:lnTo>
                <a:lnTo>
                  <a:pt x="496" y="7403"/>
                </a:lnTo>
                <a:lnTo>
                  <a:pt x="0" y="10858"/>
                </a:lnTo>
                <a:lnTo>
                  <a:pt x="0" y="17767"/>
                </a:lnTo>
                <a:lnTo>
                  <a:pt x="744" y="20975"/>
                </a:lnTo>
                <a:lnTo>
                  <a:pt x="1488" y="24430"/>
                </a:lnTo>
                <a:lnTo>
                  <a:pt x="2976" y="27392"/>
                </a:lnTo>
                <a:lnTo>
                  <a:pt x="4960" y="26404"/>
                </a:lnTo>
                <a:lnTo>
                  <a:pt x="3968" y="23443"/>
                </a:lnTo>
                <a:lnTo>
                  <a:pt x="3224" y="20482"/>
                </a:lnTo>
                <a:lnTo>
                  <a:pt x="2480" y="17274"/>
                </a:lnTo>
                <a:lnTo>
                  <a:pt x="2480" y="14312"/>
                </a:lnTo>
                <a:close/>
              </a:path>
            </a:pathLst>
          </a:custGeom>
          <a:solidFill>
            <a:srgbClr val="000000"/>
          </a:solidFill>
        </p:spPr>
        <p:txBody>
          <a:bodyPr wrap="square" lIns="0" tIns="0" rIns="0" bIns="0" rtlCol="0">
            <a:noAutofit/>
          </a:bodyPr>
          <a:lstStyle/>
          <a:p>
            <a:endParaRPr/>
          </a:p>
        </p:txBody>
      </p:sp>
      <p:sp>
        <p:nvSpPr>
          <p:cNvPr id="1950" name="object 1950"/>
          <p:cNvSpPr/>
          <p:nvPr/>
        </p:nvSpPr>
        <p:spPr>
          <a:xfrm>
            <a:off x="8142124" y="1654467"/>
            <a:ext cx="10664" cy="21469"/>
          </a:xfrm>
          <a:custGeom>
            <a:avLst/>
            <a:gdLst/>
            <a:ahLst/>
            <a:cxnLst/>
            <a:rect l="l" t="t" r="r" b="b"/>
            <a:pathLst>
              <a:path w="10664" h="21469">
                <a:moveTo>
                  <a:pt x="10664" y="10611"/>
                </a:moveTo>
                <a:lnTo>
                  <a:pt x="10664" y="8390"/>
                </a:lnTo>
                <a:lnTo>
                  <a:pt x="10168" y="6416"/>
                </a:lnTo>
                <a:lnTo>
                  <a:pt x="9672" y="4688"/>
                </a:lnTo>
                <a:lnTo>
                  <a:pt x="9176" y="2961"/>
                </a:lnTo>
                <a:lnTo>
                  <a:pt x="8184" y="1727"/>
                </a:lnTo>
                <a:lnTo>
                  <a:pt x="7440" y="740"/>
                </a:lnTo>
                <a:lnTo>
                  <a:pt x="6200" y="246"/>
                </a:lnTo>
                <a:lnTo>
                  <a:pt x="5208" y="0"/>
                </a:lnTo>
                <a:lnTo>
                  <a:pt x="4216" y="246"/>
                </a:lnTo>
                <a:lnTo>
                  <a:pt x="3224" y="740"/>
                </a:lnTo>
                <a:lnTo>
                  <a:pt x="2480" y="1727"/>
                </a:lnTo>
                <a:lnTo>
                  <a:pt x="1488" y="2961"/>
                </a:lnTo>
                <a:lnTo>
                  <a:pt x="992" y="4688"/>
                </a:lnTo>
                <a:lnTo>
                  <a:pt x="496" y="6416"/>
                </a:lnTo>
                <a:lnTo>
                  <a:pt x="0" y="8390"/>
                </a:lnTo>
                <a:lnTo>
                  <a:pt x="0" y="12832"/>
                </a:lnTo>
                <a:lnTo>
                  <a:pt x="496" y="14806"/>
                </a:lnTo>
                <a:lnTo>
                  <a:pt x="992" y="16780"/>
                </a:lnTo>
                <a:lnTo>
                  <a:pt x="1488" y="18261"/>
                </a:lnTo>
                <a:lnTo>
                  <a:pt x="2480" y="19742"/>
                </a:lnTo>
                <a:lnTo>
                  <a:pt x="3224" y="20729"/>
                </a:lnTo>
                <a:lnTo>
                  <a:pt x="4216" y="21222"/>
                </a:lnTo>
                <a:lnTo>
                  <a:pt x="5208" y="21469"/>
                </a:lnTo>
                <a:lnTo>
                  <a:pt x="6200" y="21222"/>
                </a:lnTo>
                <a:lnTo>
                  <a:pt x="7440" y="20729"/>
                </a:lnTo>
                <a:lnTo>
                  <a:pt x="8184" y="19742"/>
                </a:lnTo>
                <a:lnTo>
                  <a:pt x="9176" y="18261"/>
                </a:lnTo>
                <a:lnTo>
                  <a:pt x="9672" y="16780"/>
                </a:lnTo>
                <a:lnTo>
                  <a:pt x="10168" y="14806"/>
                </a:lnTo>
                <a:lnTo>
                  <a:pt x="10664" y="12832"/>
                </a:lnTo>
                <a:lnTo>
                  <a:pt x="10664" y="10611"/>
                </a:lnTo>
                <a:close/>
              </a:path>
            </a:pathLst>
          </a:custGeom>
          <a:solidFill>
            <a:srgbClr val="BEBEBE"/>
          </a:solidFill>
        </p:spPr>
        <p:txBody>
          <a:bodyPr wrap="square" lIns="0" tIns="0" rIns="0" bIns="0" rtlCol="0">
            <a:noAutofit/>
          </a:bodyPr>
          <a:lstStyle/>
          <a:p>
            <a:endParaRPr/>
          </a:p>
        </p:txBody>
      </p:sp>
      <p:sp>
        <p:nvSpPr>
          <p:cNvPr id="1951" name="object 1951"/>
          <p:cNvSpPr/>
          <p:nvPr/>
        </p:nvSpPr>
        <p:spPr>
          <a:xfrm>
            <a:off x="8097482" y="1654466"/>
            <a:ext cx="9920" cy="20482"/>
          </a:xfrm>
          <a:custGeom>
            <a:avLst/>
            <a:gdLst/>
            <a:ahLst/>
            <a:cxnLst/>
            <a:rect l="l" t="t" r="r" b="b"/>
            <a:pathLst>
              <a:path w="9920" h="20482">
                <a:moveTo>
                  <a:pt x="9920" y="10117"/>
                </a:moveTo>
                <a:lnTo>
                  <a:pt x="9920" y="8143"/>
                </a:lnTo>
                <a:lnTo>
                  <a:pt x="9424" y="6169"/>
                </a:lnTo>
                <a:lnTo>
                  <a:pt x="9176" y="4441"/>
                </a:lnTo>
                <a:lnTo>
                  <a:pt x="8432" y="2961"/>
                </a:lnTo>
                <a:lnTo>
                  <a:pt x="7688" y="1727"/>
                </a:lnTo>
                <a:lnTo>
                  <a:pt x="6696" y="740"/>
                </a:lnTo>
                <a:lnTo>
                  <a:pt x="5704" y="246"/>
                </a:lnTo>
                <a:lnTo>
                  <a:pt x="4712" y="0"/>
                </a:lnTo>
                <a:lnTo>
                  <a:pt x="3720" y="246"/>
                </a:lnTo>
                <a:lnTo>
                  <a:pt x="2976" y="740"/>
                </a:lnTo>
                <a:lnTo>
                  <a:pt x="2232" y="1727"/>
                </a:lnTo>
                <a:lnTo>
                  <a:pt x="1488" y="2961"/>
                </a:lnTo>
                <a:lnTo>
                  <a:pt x="744" y="4441"/>
                </a:lnTo>
                <a:lnTo>
                  <a:pt x="496" y="6169"/>
                </a:lnTo>
                <a:lnTo>
                  <a:pt x="0" y="8143"/>
                </a:lnTo>
                <a:lnTo>
                  <a:pt x="0" y="12092"/>
                </a:lnTo>
                <a:lnTo>
                  <a:pt x="496" y="14066"/>
                </a:lnTo>
                <a:lnTo>
                  <a:pt x="744" y="15793"/>
                </a:lnTo>
                <a:lnTo>
                  <a:pt x="1488" y="17521"/>
                </a:lnTo>
                <a:lnTo>
                  <a:pt x="2232" y="18754"/>
                </a:lnTo>
                <a:lnTo>
                  <a:pt x="2976" y="19742"/>
                </a:lnTo>
                <a:lnTo>
                  <a:pt x="3720" y="20235"/>
                </a:lnTo>
                <a:lnTo>
                  <a:pt x="4712" y="20482"/>
                </a:lnTo>
                <a:lnTo>
                  <a:pt x="5704" y="20235"/>
                </a:lnTo>
                <a:lnTo>
                  <a:pt x="6696" y="19742"/>
                </a:lnTo>
                <a:lnTo>
                  <a:pt x="7688" y="18754"/>
                </a:lnTo>
                <a:lnTo>
                  <a:pt x="8432" y="17521"/>
                </a:lnTo>
                <a:lnTo>
                  <a:pt x="9176" y="15793"/>
                </a:lnTo>
                <a:lnTo>
                  <a:pt x="9424" y="14066"/>
                </a:lnTo>
                <a:lnTo>
                  <a:pt x="9920" y="12092"/>
                </a:lnTo>
                <a:lnTo>
                  <a:pt x="9920" y="10117"/>
                </a:lnTo>
                <a:close/>
              </a:path>
            </a:pathLst>
          </a:custGeom>
          <a:solidFill>
            <a:srgbClr val="BEBEBE"/>
          </a:solidFill>
        </p:spPr>
        <p:txBody>
          <a:bodyPr wrap="square" lIns="0" tIns="0" rIns="0" bIns="0" rtlCol="0">
            <a:noAutofit/>
          </a:bodyPr>
          <a:lstStyle/>
          <a:p>
            <a:endParaRPr/>
          </a:p>
        </p:txBody>
      </p:sp>
      <p:sp>
        <p:nvSpPr>
          <p:cNvPr id="1952" name="object 1952"/>
          <p:cNvSpPr/>
          <p:nvPr/>
        </p:nvSpPr>
        <p:spPr>
          <a:xfrm>
            <a:off x="8138651" y="1661624"/>
            <a:ext cx="16368" cy="6909"/>
          </a:xfrm>
          <a:custGeom>
            <a:avLst/>
            <a:gdLst/>
            <a:ahLst/>
            <a:cxnLst/>
            <a:rect l="l" t="t" r="r" b="b"/>
            <a:pathLst>
              <a:path w="16368" h="6909">
                <a:moveTo>
                  <a:pt x="0" y="3454"/>
                </a:moveTo>
                <a:lnTo>
                  <a:pt x="248" y="4195"/>
                </a:lnTo>
                <a:lnTo>
                  <a:pt x="744" y="4935"/>
                </a:lnTo>
                <a:lnTo>
                  <a:pt x="1488" y="5429"/>
                </a:lnTo>
                <a:lnTo>
                  <a:pt x="2480" y="5922"/>
                </a:lnTo>
                <a:lnTo>
                  <a:pt x="3720" y="6416"/>
                </a:lnTo>
                <a:lnTo>
                  <a:pt x="4960" y="6662"/>
                </a:lnTo>
                <a:lnTo>
                  <a:pt x="6448" y="6909"/>
                </a:lnTo>
                <a:lnTo>
                  <a:pt x="9920" y="6909"/>
                </a:lnTo>
                <a:lnTo>
                  <a:pt x="11408" y="6662"/>
                </a:lnTo>
                <a:lnTo>
                  <a:pt x="12648" y="6416"/>
                </a:lnTo>
                <a:lnTo>
                  <a:pt x="13888" y="5922"/>
                </a:lnTo>
                <a:lnTo>
                  <a:pt x="14880" y="5429"/>
                </a:lnTo>
                <a:lnTo>
                  <a:pt x="15624" y="4935"/>
                </a:lnTo>
                <a:lnTo>
                  <a:pt x="16120" y="4195"/>
                </a:lnTo>
                <a:lnTo>
                  <a:pt x="16368" y="3454"/>
                </a:lnTo>
                <a:lnTo>
                  <a:pt x="16120" y="2714"/>
                </a:lnTo>
                <a:lnTo>
                  <a:pt x="15624" y="1974"/>
                </a:lnTo>
                <a:lnTo>
                  <a:pt x="14880" y="1480"/>
                </a:lnTo>
                <a:lnTo>
                  <a:pt x="13888" y="987"/>
                </a:lnTo>
                <a:lnTo>
                  <a:pt x="12648" y="493"/>
                </a:lnTo>
                <a:lnTo>
                  <a:pt x="11408" y="246"/>
                </a:lnTo>
                <a:lnTo>
                  <a:pt x="9920" y="0"/>
                </a:lnTo>
                <a:lnTo>
                  <a:pt x="6448" y="0"/>
                </a:lnTo>
                <a:lnTo>
                  <a:pt x="4960" y="246"/>
                </a:lnTo>
                <a:lnTo>
                  <a:pt x="3720" y="493"/>
                </a:lnTo>
                <a:lnTo>
                  <a:pt x="2480" y="987"/>
                </a:lnTo>
                <a:lnTo>
                  <a:pt x="1488" y="1480"/>
                </a:lnTo>
                <a:lnTo>
                  <a:pt x="744" y="1974"/>
                </a:lnTo>
                <a:lnTo>
                  <a:pt x="248" y="2714"/>
                </a:lnTo>
                <a:lnTo>
                  <a:pt x="0" y="3454"/>
                </a:lnTo>
                <a:close/>
              </a:path>
            </a:pathLst>
          </a:custGeom>
          <a:solidFill>
            <a:srgbClr val="FFFFFF"/>
          </a:solidFill>
        </p:spPr>
        <p:txBody>
          <a:bodyPr wrap="square" lIns="0" tIns="0" rIns="0" bIns="0" rtlCol="0">
            <a:noAutofit/>
          </a:bodyPr>
          <a:lstStyle/>
          <a:p>
            <a:endParaRPr/>
          </a:p>
        </p:txBody>
      </p:sp>
      <p:sp>
        <p:nvSpPr>
          <p:cNvPr id="1953" name="object 1953"/>
          <p:cNvSpPr/>
          <p:nvPr/>
        </p:nvSpPr>
        <p:spPr>
          <a:xfrm>
            <a:off x="8094009" y="1661376"/>
            <a:ext cx="15624" cy="6416"/>
          </a:xfrm>
          <a:custGeom>
            <a:avLst/>
            <a:gdLst/>
            <a:ahLst/>
            <a:cxnLst/>
            <a:rect l="l" t="t" r="r" b="b"/>
            <a:pathLst>
              <a:path w="15624" h="6416">
                <a:moveTo>
                  <a:pt x="0" y="3208"/>
                </a:moveTo>
                <a:lnTo>
                  <a:pt x="248" y="3948"/>
                </a:lnTo>
                <a:lnTo>
                  <a:pt x="744" y="4441"/>
                </a:lnTo>
                <a:lnTo>
                  <a:pt x="1488" y="4935"/>
                </a:lnTo>
                <a:lnTo>
                  <a:pt x="2480" y="5429"/>
                </a:lnTo>
                <a:lnTo>
                  <a:pt x="3472" y="5922"/>
                </a:lnTo>
                <a:lnTo>
                  <a:pt x="4960" y="6169"/>
                </a:lnTo>
                <a:lnTo>
                  <a:pt x="6448" y="6416"/>
                </a:lnTo>
                <a:lnTo>
                  <a:pt x="9424" y="6416"/>
                </a:lnTo>
                <a:lnTo>
                  <a:pt x="10912" y="6169"/>
                </a:lnTo>
                <a:lnTo>
                  <a:pt x="12152" y="5922"/>
                </a:lnTo>
                <a:lnTo>
                  <a:pt x="13392" y="5429"/>
                </a:lnTo>
                <a:lnTo>
                  <a:pt x="14384" y="4935"/>
                </a:lnTo>
                <a:lnTo>
                  <a:pt x="15128" y="4441"/>
                </a:lnTo>
                <a:lnTo>
                  <a:pt x="15376" y="3948"/>
                </a:lnTo>
                <a:lnTo>
                  <a:pt x="15624" y="3208"/>
                </a:lnTo>
                <a:lnTo>
                  <a:pt x="15376" y="2467"/>
                </a:lnTo>
                <a:lnTo>
                  <a:pt x="15128" y="1974"/>
                </a:lnTo>
                <a:lnTo>
                  <a:pt x="14384" y="1233"/>
                </a:lnTo>
                <a:lnTo>
                  <a:pt x="13392" y="740"/>
                </a:lnTo>
                <a:lnTo>
                  <a:pt x="12152" y="493"/>
                </a:lnTo>
                <a:lnTo>
                  <a:pt x="10912" y="246"/>
                </a:lnTo>
                <a:lnTo>
                  <a:pt x="9424" y="0"/>
                </a:lnTo>
                <a:lnTo>
                  <a:pt x="6448" y="0"/>
                </a:lnTo>
                <a:lnTo>
                  <a:pt x="4960" y="246"/>
                </a:lnTo>
                <a:lnTo>
                  <a:pt x="3472" y="493"/>
                </a:lnTo>
                <a:lnTo>
                  <a:pt x="2480" y="740"/>
                </a:lnTo>
                <a:lnTo>
                  <a:pt x="1488" y="1233"/>
                </a:lnTo>
                <a:lnTo>
                  <a:pt x="744" y="1974"/>
                </a:lnTo>
                <a:lnTo>
                  <a:pt x="248" y="2467"/>
                </a:lnTo>
                <a:lnTo>
                  <a:pt x="0" y="3208"/>
                </a:lnTo>
                <a:close/>
              </a:path>
            </a:pathLst>
          </a:custGeom>
          <a:solidFill>
            <a:srgbClr val="FFFFFF"/>
          </a:solidFill>
        </p:spPr>
        <p:txBody>
          <a:bodyPr wrap="square" lIns="0" tIns="0" rIns="0" bIns="0" rtlCol="0">
            <a:noAutofit/>
          </a:bodyPr>
          <a:lstStyle/>
          <a:p>
            <a:endParaRPr/>
          </a:p>
        </p:txBody>
      </p:sp>
      <p:sp>
        <p:nvSpPr>
          <p:cNvPr id="1954" name="object 1954"/>
          <p:cNvSpPr/>
          <p:nvPr/>
        </p:nvSpPr>
        <p:spPr>
          <a:xfrm>
            <a:off x="8146092" y="1646076"/>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1955" name="object 1955"/>
          <p:cNvSpPr/>
          <p:nvPr/>
        </p:nvSpPr>
        <p:spPr>
          <a:xfrm>
            <a:off x="8141876" y="1646569"/>
            <a:ext cx="6448" cy="34548"/>
          </a:xfrm>
          <a:custGeom>
            <a:avLst/>
            <a:gdLst/>
            <a:ahLst/>
            <a:cxnLst/>
            <a:rect l="l" t="t" r="r" b="b"/>
            <a:pathLst>
              <a:path w="6448" h="34548">
                <a:moveTo>
                  <a:pt x="4216" y="0"/>
                </a:moveTo>
                <a:lnTo>
                  <a:pt x="1984" y="3948"/>
                </a:lnTo>
                <a:lnTo>
                  <a:pt x="744" y="8390"/>
                </a:lnTo>
                <a:lnTo>
                  <a:pt x="0" y="12832"/>
                </a:lnTo>
                <a:lnTo>
                  <a:pt x="0" y="17027"/>
                </a:lnTo>
                <a:lnTo>
                  <a:pt x="248" y="21716"/>
                </a:lnTo>
                <a:lnTo>
                  <a:pt x="1240" y="26158"/>
                </a:lnTo>
                <a:lnTo>
                  <a:pt x="2480" y="30600"/>
                </a:lnTo>
                <a:lnTo>
                  <a:pt x="3968" y="34548"/>
                </a:lnTo>
                <a:lnTo>
                  <a:pt x="6448" y="33561"/>
                </a:lnTo>
                <a:lnTo>
                  <a:pt x="4960" y="29613"/>
                </a:lnTo>
                <a:lnTo>
                  <a:pt x="3720" y="25664"/>
                </a:lnTo>
                <a:lnTo>
                  <a:pt x="2728" y="21222"/>
                </a:lnTo>
                <a:lnTo>
                  <a:pt x="2480" y="17027"/>
                </a:lnTo>
                <a:lnTo>
                  <a:pt x="2480" y="12832"/>
                </a:lnTo>
                <a:lnTo>
                  <a:pt x="3224" y="8883"/>
                </a:lnTo>
                <a:lnTo>
                  <a:pt x="4464" y="4935"/>
                </a:lnTo>
                <a:lnTo>
                  <a:pt x="6200" y="1480"/>
                </a:lnTo>
                <a:lnTo>
                  <a:pt x="4216" y="0"/>
                </a:lnTo>
                <a:close/>
              </a:path>
            </a:pathLst>
          </a:custGeom>
          <a:solidFill>
            <a:srgbClr val="BEBEBE"/>
          </a:solidFill>
        </p:spPr>
        <p:txBody>
          <a:bodyPr wrap="square" lIns="0" tIns="0" rIns="0" bIns="0" rtlCol="0">
            <a:noAutofit/>
          </a:bodyPr>
          <a:lstStyle/>
          <a:p>
            <a:endParaRPr/>
          </a:p>
        </p:txBody>
      </p:sp>
      <p:sp>
        <p:nvSpPr>
          <p:cNvPr id="1956" name="object 1956"/>
          <p:cNvSpPr/>
          <p:nvPr/>
        </p:nvSpPr>
        <p:spPr>
          <a:xfrm>
            <a:off x="8145844" y="1680132"/>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1957" name="object 1957"/>
          <p:cNvSpPr/>
          <p:nvPr/>
        </p:nvSpPr>
        <p:spPr>
          <a:xfrm>
            <a:off x="8137659" y="1640400"/>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1958" name="object 1958"/>
          <p:cNvSpPr/>
          <p:nvPr/>
        </p:nvSpPr>
        <p:spPr>
          <a:xfrm>
            <a:off x="8131955" y="1640893"/>
            <a:ext cx="7936" cy="45406"/>
          </a:xfrm>
          <a:custGeom>
            <a:avLst/>
            <a:gdLst/>
            <a:ahLst/>
            <a:cxnLst/>
            <a:rect l="l" t="t" r="r" b="b"/>
            <a:pathLst>
              <a:path w="7936" h="45406">
                <a:moveTo>
                  <a:pt x="5456" y="45406"/>
                </a:moveTo>
                <a:lnTo>
                  <a:pt x="7936" y="44419"/>
                </a:lnTo>
                <a:lnTo>
                  <a:pt x="6696" y="41705"/>
                </a:lnTo>
                <a:lnTo>
                  <a:pt x="5704" y="39237"/>
                </a:lnTo>
                <a:lnTo>
                  <a:pt x="4960" y="36769"/>
                </a:lnTo>
                <a:lnTo>
                  <a:pt x="4216" y="33808"/>
                </a:lnTo>
                <a:lnTo>
                  <a:pt x="3472" y="31093"/>
                </a:lnTo>
                <a:lnTo>
                  <a:pt x="2976" y="28132"/>
                </a:lnTo>
                <a:lnTo>
                  <a:pt x="2728" y="25417"/>
                </a:lnTo>
                <a:lnTo>
                  <a:pt x="2480" y="22456"/>
                </a:lnTo>
                <a:lnTo>
                  <a:pt x="2480" y="19742"/>
                </a:lnTo>
                <a:lnTo>
                  <a:pt x="2728" y="17027"/>
                </a:lnTo>
                <a:lnTo>
                  <a:pt x="3224" y="14066"/>
                </a:lnTo>
                <a:lnTo>
                  <a:pt x="3720" y="11351"/>
                </a:lnTo>
                <a:lnTo>
                  <a:pt x="4464" y="8883"/>
                </a:lnTo>
                <a:lnTo>
                  <a:pt x="5456" y="6169"/>
                </a:lnTo>
                <a:lnTo>
                  <a:pt x="6200" y="3701"/>
                </a:lnTo>
                <a:lnTo>
                  <a:pt x="7688" y="1480"/>
                </a:lnTo>
                <a:lnTo>
                  <a:pt x="5704" y="0"/>
                </a:lnTo>
                <a:lnTo>
                  <a:pt x="4216" y="2714"/>
                </a:lnTo>
                <a:lnTo>
                  <a:pt x="2976" y="5182"/>
                </a:lnTo>
                <a:lnTo>
                  <a:pt x="1984" y="7896"/>
                </a:lnTo>
                <a:lnTo>
                  <a:pt x="1240" y="10858"/>
                </a:lnTo>
                <a:lnTo>
                  <a:pt x="744" y="13572"/>
                </a:lnTo>
                <a:lnTo>
                  <a:pt x="248" y="16533"/>
                </a:lnTo>
                <a:lnTo>
                  <a:pt x="0" y="19742"/>
                </a:lnTo>
                <a:lnTo>
                  <a:pt x="0" y="22456"/>
                </a:lnTo>
                <a:lnTo>
                  <a:pt x="248" y="25417"/>
                </a:lnTo>
                <a:lnTo>
                  <a:pt x="496" y="28625"/>
                </a:lnTo>
                <a:lnTo>
                  <a:pt x="992" y="31587"/>
                </a:lnTo>
                <a:lnTo>
                  <a:pt x="1736" y="34301"/>
                </a:lnTo>
                <a:lnTo>
                  <a:pt x="2480" y="37263"/>
                </a:lnTo>
                <a:lnTo>
                  <a:pt x="3224" y="40224"/>
                </a:lnTo>
                <a:lnTo>
                  <a:pt x="4216" y="42692"/>
                </a:lnTo>
                <a:lnTo>
                  <a:pt x="5456" y="45406"/>
                </a:lnTo>
                <a:close/>
              </a:path>
            </a:pathLst>
          </a:custGeom>
          <a:solidFill>
            <a:srgbClr val="BEBEBE"/>
          </a:solidFill>
        </p:spPr>
        <p:txBody>
          <a:bodyPr wrap="square" lIns="0" tIns="0" rIns="0" bIns="0" rtlCol="0">
            <a:noAutofit/>
          </a:bodyPr>
          <a:lstStyle/>
          <a:p>
            <a:endParaRPr/>
          </a:p>
        </p:txBody>
      </p:sp>
      <p:sp>
        <p:nvSpPr>
          <p:cNvPr id="1959" name="object 1959"/>
          <p:cNvSpPr/>
          <p:nvPr/>
        </p:nvSpPr>
        <p:spPr>
          <a:xfrm>
            <a:off x="8137411" y="1685314"/>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1960" name="object 1960"/>
          <p:cNvSpPr/>
          <p:nvPr/>
        </p:nvSpPr>
        <p:spPr>
          <a:xfrm>
            <a:off x="8132203" y="1635464"/>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1961" name="object 1961"/>
          <p:cNvSpPr/>
          <p:nvPr/>
        </p:nvSpPr>
        <p:spPr>
          <a:xfrm>
            <a:off x="8121787" y="1635959"/>
            <a:ext cx="12400" cy="55771"/>
          </a:xfrm>
          <a:custGeom>
            <a:avLst/>
            <a:gdLst/>
            <a:ahLst/>
            <a:cxnLst/>
            <a:rect l="l" t="t" r="r" b="b"/>
            <a:pathLst>
              <a:path w="12400" h="55771">
                <a:moveTo>
                  <a:pt x="248" y="31340"/>
                </a:moveTo>
                <a:lnTo>
                  <a:pt x="992" y="34795"/>
                </a:lnTo>
                <a:lnTo>
                  <a:pt x="1736" y="38496"/>
                </a:lnTo>
                <a:lnTo>
                  <a:pt x="2976" y="42198"/>
                </a:lnTo>
                <a:lnTo>
                  <a:pt x="4464" y="45653"/>
                </a:lnTo>
                <a:lnTo>
                  <a:pt x="6200" y="49108"/>
                </a:lnTo>
                <a:lnTo>
                  <a:pt x="8184" y="52563"/>
                </a:lnTo>
                <a:lnTo>
                  <a:pt x="10416" y="55771"/>
                </a:lnTo>
                <a:lnTo>
                  <a:pt x="12400" y="54290"/>
                </a:lnTo>
                <a:lnTo>
                  <a:pt x="10168" y="51082"/>
                </a:lnTo>
                <a:lnTo>
                  <a:pt x="8184" y="48121"/>
                </a:lnTo>
                <a:lnTo>
                  <a:pt x="6944" y="44666"/>
                </a:lnTo>
                <a:lnTo>
                  <a:pt x="5456" y="41211"/>
                </a:lnTo>
                <a:lnTo>
                  <a:pt x="4216" y="38003"/>
                </a:lnTo>
                <a:lnTo>
                  <a:pt x="3472" y="34301"/>
                </a:lnTo>
                <a:lnTo>
                  <a:pt x="2728" y="30846"/>
                </a:lnTo>
                <a:lnTo>
                  <a:pt x="2480" y="27392"/>
                </a:lnTo>
                <a:lnTo>
                  <a:pt x="2480" y="23937"/>
                </a:lnTo>
                <a:lnTo>
                  <a:pt x="2976" y="20729"/>
                </a:lnTo>
                <a:lnTo>
                  <a:pt x="3720" y="17274"/>
                </a:lnTo>
                <a:lnTo>
                  <a:pt x="4712" y="14066"/>
                </a:lnTo>
                <a:lnTo>
                  <a:pt x="5952" y="10611"/>
                </a:lnTo>
                <a:lnTo>
                  <a:pt x="7688" y="7650"/>
                </a:lnTo>
                <a:lnTo>
                  <a:pt x="9920" y="4441"/>
                </a:lnTo>
                <a:lnTo>
                  <a:pt x="12400" y="1480"/>
                </a:lnTo>
                <a:lnTo>
                  <a:pt x="10416" y="0"/>
                </a:lnTo>
                <a:lnTo>
                  <a:pt x="7936" y="2961"/>
                </a:lnTo>
                <a:lnTo>
                  <a:pt x="5704" y="6169"/>
                </a:lnTo>
                <a:lnTo>
                  <a:pt x="3968" y="9624"/>
                </a:lnTo>
                <a:lnTo>
                  <a:pt x="2232" y="13079"/>
                </a:lnTo>
                <a:lnTo>
                  <a:pt x="1240" y="16780"/>
                </a:lnTo>
                <a:lnTo>
                  <a:pt x="496" y="20235"/>
                </a:lnTo>
                <a:lnTo>
                  <a:pt x="0" y="23937"/>
                </a:lnTo>
                <a:lnTo>
                  <a:pt x="0" y="27392"/>
                </a:lnTo>
                <a:lnTo>
                  <a:pt x="248" y="31340"/>
                </a:lnTo>
                <a:close/>
              </a:path>
            </a:pathLst>
          </a:custGeom>
          <a:solidFill>
            <a:srgbClr val="BEBEBE"/>
          </a:solidFill>
        </p:spPr>
        <p:txBody>
          <a:bodyPr wrap="square" lIns="0" tIns="0" rIns="0" bIns="0" rtlCol="0">
            <a:noAutofit/>
          </a:bodyPr>
          <a:lstStyle/>
          <a:p>
            <a:endParaRPr/>
          </a:p>
        </p:txBody>
      </p:sp>
      <p:sp>
        <p:nvSpPr>
          <p:cNvPr id="1962" name="object 1962"/>
          <p:cNvSpPr/>
          <p:nvPr/>
        </p:nvSpPr>
        <p:spPr>
          <a:xfrm>
            <a:off x="8132203" y="1690249"/>
            <a:ext cx="2232" cy="1974"/>
          </a:xfrm>
          <a:custGeom>
            <a:avLst/>
            <a:gdLst/>
            <a:ahLst/>
            <a:cxnLst/>
            <a:rect l="l" t="t" r="r" b="b"/>
            <a:pathLst>
              <a:path w="2232" h="1974">
                <a:moveTo>
                  <a:pt x="0" y="1480"/>
                </a:moveTo>
                <a:lnTo>
                  <a:pt x="992" y="1974"/>
                </a:lnTo>
                <a:lnTo>
                  <a:pt x="1736" y="1727"/>
                </a:lnTo>
                <a:lnTo>
                  <a:pt x="2232" y="987"/>
                </a:lnTo>
                <a:lnTo>
                  <a:pt x="1984" y="0"/>
                </a:lnTo>
                <a:lnTo>
                  <a:pt x="0" y="1480"/>
                </a:lnTo>
                <a:close/>
              </a:path>
            </a:pathLst>
          </a:custGeom>
          <a:solidFill>
            <a:srgbClr val="BEBEBE"/>
          </a:solidFill>
        </p:spPr>
        <p:txBody>
          <a:bodyPr wrap="square" lIns="0" tIns="0" rIns="0" bIns="0" rtlCol="0">
            <a:noAutofit/>
          </a:bodyPr>
          <a:lstStyle/>
          <a:p>
            <a:endParaRPr/>
          </a:p>
        </p:txBody>
      </p:sp>
      <p:sp>
        <p:nvSpPr>
          <p:cNvPr id="1963" name="object 1963"/>
          <p:cNvSpPr/>
          <p:nvPr/>
        </p:nvSpPr>
        <p:spPr>
          <a:xfrm>
            <a:off x="8120299" y="1646076"/>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1964" name="object 1964"/>
          <p:cNvSpPr/>
          <p:nvPr/>
        </p:nvSpPr>
        <p:spPr>
          <a:xfrm>
            <a:off x="8116082" y="1646569"/>
            <a:ext cx="6448" cy="34548"/>
          </a:xfrm>
          <a:custGeom>
            <a:avLst/>
            <a:gdLst/>
            <a:ahLst/>
            <a:cxnLst/>
            <a:rect l="l" t="t" r="r" b="b"/>
            <a:pathLst>
              <a:path w="6448" h="34548">
                <a:moveTo>
                  <a:pt x="4216" y="0"/>
                </a:moveTo>
                <a:lnTo>
                  <a:pt x="1984" y="4195"/>
                </a:lnTo>
                <a:lnTo>
                  <a:pt x="744" y="8390"/>
                </a:lnTo>
                <a:lnTo>
                  <a:pt x="0" y="12832"/>
                </a:lnTo>
                <a:lnTo>
                  <a:pt x="0" y="17274"/>
                </a:lnTo>
                <a:lnTo>
                  <a:pt x="248" y="21716"/>
                </a:lnTo>
                <a:lnTo>
                  <a:pt x="992" y="26158"/>
                </a:lnTo>
                <a:lnTo>
                  <a:pt x="2232" y="30600"/>
                </a:lnTo>
                <a:lnTo>
                  <a:pt x="3968" y="34548"/>
                </a:lnTo>
                <a:lnTo>
                  <a:pt x="6448" y="33561"/>
                </a:lnTo>
                <a:lnTo>
                  <a:pt x="4712" y="29613"/>
                </a:lnTo>
                <a:lnTo>
                  <a:pt x="3472" y="25664"/>
                </a:lnTo>
                <a:lnTo>
                  <a:pt x="2728" y="21222"/>
                </a:lnTo>
                <a:lnTo>
                  <a:pt x="2480" y="17274"/>
                </a:lnTo>
                <a:lnTo>
                  <a:pt x="2480" y="12832"/>
                </a:lnTo>
                <a:lnTo>
                  <a:pt x="3224" y="8883"/>
                </a:lnTo>
                <a:lnTo>
                  <a:pt x="4464" y="5182"/>
                </a:lnTo>
                <a:lnTo>
                  <a:pt x="6200" y="1480"/>
                </a:lnTo>
                <a:lnTo>
                  <a:pt x="4216" y="0"/>
                </a:lnTo>
                <a:close/>
              </a:path>
            </a:pathLst>
          </a:custGeom>
          <a:solidFill>
            <a:srgbClr val="BEBEBE"/>
          </a:solidFill>
        </p:spPr>
        <p:txBody>
          <a:bodyPr wrap="square" lIns="0" tIns="0" rIns="0" bIns="0" rtlCol="0">
            <a:noAutofit/>
          </a:bodyPr>
          <a:lstStyle/>
          <a:p>
            <a:endParaRPr/>
          </a:p>
        </p:txBody>
      </p:sp>
      <p:sp>
        <p:nvSpPr>
          <p:cNvPr id="1965" name="object 1965"/>
          <p:cNvSpPr/>
          <p:nvPr/>
        </p:nvSpPr>
        <p:spPr>
          <a:xfrm>
            <a:off x="8120051" y="1680132"/>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1966" name="object 1966"/>
          <p:cNvSpPr/>
          <p:nvPr/>
        </p:nvSpPr>
        <p:spPr>
          <a:xfrm>
            <a:off x="8101202" y="1646076"/>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1967" name="object 1967"/>
          <p:cNvSpPr/>
          <p:nvPr/>
        </p:nvSpPr>
        <p:spPr>
          <a:xfrm>
            <a:off x="8096986" y="1646569"/>
            <a:ext cx="6448" cy="33314"/>
          </a:xfrm>
          <a:custGeom>
            <a:avLst/>
            <a:gdLst/>
            <a:ahLst/>
            <a:cxnLst/>
            <a:rect l="l" t="t" r="r" b="b"/>
            <a:pathLst>
              <a:path w="6448" h="33314">
                <a:moveTo>
                  <a:pt x="3968" y="33314"/>
                </a:moveTo>
                <a:lnTo>
                  <a:pt x="6448" y="32327"/>
                </a:lnTo>
                <a:lnTo>
                  <a:pt x="4960" y="28379"/>
                </a:lnTo>
                <a:lnTo>
                  <a:pt x="3720" y="24677"/>
                </a:lnTo>
                <a:lnTo>
                  <a:pt x="2976" y="20482"/>
                </a:lnTo>
                <a:lnTo>
                  <a:pt x="2480" y="16533"/>
                </a:lnTo>
                <a:lnTo>
                  <a:pt x="2728" y="12585"/>
                </a:lnTo>
                <a:lnTo>
                  <a:pt x="3472" y="8637"/>
                </a:lnTo>
                <a:lnTo>
                  <a:pt x="4712" y="4935"/>
                </a:lnTo>
                <a:lnTo>
                  <a:pt x="6200" y="1480"/>
                </a:lnTo>
                <a:lnTo>
                  <a:pt x="4216" y="0"/>
                </a:lnTo>
                <a:lnTo>
                  <a:pt x="2232" y="3948"/>
                </a:lnTo>
                <a:lnTo>
                  <a:pt x="992" y="8143"/>
                </a:lnTo>
                <a:lnTo>
                  <a:pt x="248" y="12092"/>
                </a:lnTo>
                <a:lnTo>
                  <a:pt x="0" y="16533"/>
                </a:lnTo>
                <a:lnTo>
                  <a:pt x="496" y="20975"/>
                </a:lnTo>
                <a:lnTo>
                  <a:pt x="1240" y="25171"/>
                </a:lnTo>
                <a:lnTo>
                  <a:pt x="2480" y="29366"/>
                </a:lnTo>
                <a:lnTo>
                  <a:pt x="3968" y="33314"/>
                </a:lnTo>
                <a:close/>
              </a:path>
            </a:pathLst>
          </a:custGeom>
          <a:solidFill>
            <a:srgbClr val="BEBEBE"/>
          </a:solidFill>
        </p:spPr>
        <p:txBody>
          <a:bodyPr wrap="square" lIns="0" tIns="0" rIns="0" bIns="0" rtlCol="0">
            <a:noAutofit/>
          </a:bodyPr>
          <a:lstStyle/>
          <a:p>
            <a:endParaRPr/>
          </a:p>
        </p:txBody>
      </p:sp>
      <p:sp>
        <p:nvSpPr>
          <p:cNvPr id="1968" name="object 1968"/>
          <p:cNvSpPr/>
          <p:nvPr/>
        </p:nvSpPr>
        <p:spPr>
          <a:xfrm>
            <a:off x="8100954" y="1678898"/>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1969" name="object 1969"/>
          <p:cNvSpPr/>
          <p:nvPr/>
        </p:nvSpPr>
        <p:spPr>
          <a:xfrm>
            <a:off x="8093017" y="1640893"/>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1970" name="object 1970"/>
          <p:cNvSpPr/>
          <p:nvPr/>
        </p:nvSpPr>
        <p:spPr>
          <a:xfrm>
            <a:off x="8087561" y="1641388"/>
            <a:ext cx="7688" cy="43679"/>
          </a:xfrm>
          <a:custGeom>
            <a:avLst/>
            <a:gdLst/>
            <a:ahLst/>
            <a:cxnLst/>
            <a:rect l="l" t="t" r="r" b="b"/>
            <a:pathLst>
              <a:path w="7688" h="43679">
                <a:moveTo>
                  <a:pt x="5208" y="43679"/>
                </a:moveTo>
                <a:lnTo>
                  <a:pt x="7688" y="42692"/>
                </a:lnTo>
                <a:lnTo>
                  <a:pt x="6696" y="40224"/>
                </a:lnTo>
                <a:lnTo>
                  <a:pt x="5704" y="37509"/>
                </a:lnTo>
                <a:lnTo>
                  <a:pt x="4712" y="34795"/>
                </a:lnTo>
                <a:lnTo>
                  <a:pt x="3968" y="32327"/>
                </a:lnTo>
                <a:lnTo>
                  <a:pt x="3472" y="29613"/>
                </a:lnTo>
                <a:lnTo>
                  <a:pt x="2976" y="26898"/>
                </a:lnTo>
                <a:lnTo>
                  <a:pt x="2728" y="24430"/>
                </a:lnTo>
                <a:lnTo>
                  <a:pt x="2480" y="21469"/>
                </a:lnTo>
                <a:lnTo>
                  <a:pt x="2480" y="18754"/>
                </a:lnTo>
                <a:lnTo>
                  <a:pt x="2728" y="16287"/>
                </a:lnTo>
                <a:lnTo>
                  <a:pt x="3224" y="13572"/>
                </a:lnTo>
                <a:lnTo>
                  <a:pt x="3720" y="10858"/>
                </a:lnTo>
                <a:lnTo>
                  <a:pt x="4464" y="8390"/>
                </a:lnTo>
                <a:lnTo>
                  <a:pt x="5208" y="6169"/>
                </a:lnTo>
                <a:lnTo>
                  <a:pt x="6200" y="3701"/>
                </a:lnTo>
                <a:lnTo>
                  <a:pt x="7440" y="1480"/>
                </a:lnTo>
                <a:lnTo>
                  <a:pt x="5456" y="0"/>
                </a:lnTo>
                <a:lnTo>
                  <a:pt x="4216" y="2714"/>
                </a:lnTo>
                <a:lnTo>
                  <a:pt x="2728" y="5182"/>
                </a:lnTo>
                <a:lnTo>
                  <a:pt x="1984" y="7896"/>
                </a:lnTo>
                <a:lnTo>
                  <a:pt x="1240" y="10364"/>
                </a:lnTo>
                <a:lnTo>
                  <a:pt x="744" y="13079"/>
                </a:lnTo>
                <a:lnTo>
                  <a:pt x="248" y="15793"/>
                </a:lnTo>
                <a:lnTo>
                  <a:pt x="0" y="18754"/>
                </a:lnTo>
                <a:lnTo>
                  <a:pt x="0" y="21469"/>
                </a:lnTo>
                <a:lnTo>
                  <a:pt x="248" y="24430"/>
                </a:lnTo>
                <a:lnTo>
                  <a:pt x="496" y="27392"/>
                </a:lnTo>
                <a:lnTo>
                  <a:pt x="992" y="30106"/>
                </a:lnTo>
                <a:lnTo>
                  <a:pt x="1488" y="32821"/>
                </a:lnTo>
                <a:lnTo>
                  <a:pt x="2232" y="35782"/>
                </a:lnTo>
                <a:lnTo>
                  <a:pt x="3224" y="38496"/>
                </a:lnTo>
                <a:lnTo>
                  <a:pt x="4216" y="41211"/>
                </a:lnTo>
                <a:lnTo>
                  <a:pt x="5208" y="43679"/>
                </a:lnTo>
                <a:close/>
              </a:path>
            </a:pathLst>
          </a:custGeom>
          <a:solidFill>
            <a:srgbClr val="BEBEBE"/>
          </a:solidFill>
        </p:spPr>
        <p:txBody>
          <a:bodyPr wrap="square" lIns="0" tIns="0" rIns="0" bIns="0" rtlCol="0">
            <a:noAutofit/>
          </a:bodyPr>
          <a:lstStyle/>
          <a:p>
            <a:endParaRPr/>
          </a:p>
        </p:txBody>
      </p:sp>
      <p:sp>
        <p:nvSpPr>
          <p:cNvPr id="1971" name="object 1971"/>
          <p:cNvSpPr/>
          <p:nvPr/>
        </p:nvSpPr>
        <p:spPr>
          <a:xfrm>
            <a:off x="8092769" y="1684080"/>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1972" name="object 1972"/>
          <p:cNvSpPr/>
          <p:nvPr/>
        </p:nvSpPr>
        <p:spPr>
          <a:xfrm>
            <a:off x="8087809" y="1636205"/>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1973" name="object 1973"/>
          <p:cNvSpPr/>
          <p:nvPr/>
        </p:nvSpPr>
        <p:spPr>
          <a:xfrm>
            <a:off x="8077889" y="1636699"/>
            <a:ext cx="11904" cy="53303"/>
          </a:xfrm>
          <a:custGeom>
            <a:avLst/>
            <a:gdLst/>
            <a:ahLst/>
            <a:cxnLst/>
            <a:rect l="l" t="t" r="r" b="b"/>
            <a:pathLst>
              <a:path w="11904" h="53303">
                <a:moveTo>
                  <a:pt x="3968" y="36276"/>
                </a:moveTo>
                <a:lnTo>
                  <a:pt x="3224" y="32821"/>
                </a:lnTo>
                <a:lnTo>
                  <a:pt x="2728" y="29366"/>
                </a:lnTo>
                <a:lnTo>
                  <a:pt x="2480" y="26158"/>
                </a:lnTo>
                <a:lnTo>
                  <a:pt x="2480" y="22950"/>
                </a:lnTo>
                <a:lnTo>
                  <a:pt x="2728" y="19742"/>
                </a:lnTo>
                <a:lnTo>
                  <a:pt x="3472" y="16533"/>
                </a:lnTo>
                <a:lnTo>
                  <a:pt x="4464" y="13325"/>
                </a:lnTo>
                <a:lnTo>
                  <a:pt x="5456" y="10117"/>
                </a:lnTo>
                <a:lnTo>
                  <a:pt x="7192" y="7403"/>
                </a:lnTo>
                <a:lnTo>
                  <a:pt x="9424" y="4441"/>
                </a:lnTo>
                <a:lnTo>
                  <a:pt x="11904" y="1480"/>
                </a:lnTo>
                <a:lnTo>
                  <a:pt x="9920" y="0"/>
                </a:lnTo>
                <a:lnTo>
                  <a:pt x="7440" y="2961"/>
                </a:lnTo>
                <a:lnTo>
                  <a:pt x="5208" y="5922"/>
                </a:lnTo>
                <a:lnTo>
                  <a:pt x="3472" y="9130"/>
                </a:lnTo>
                <a:lnTo>
                  <a:pt x="1984" y="12338"/>
                </a:lnTo>
                <a:lnTo>
                  <a:pt x="992" y="16040"/>
                </a:lnTo>
                <a:lnTo>
                  <a:pt x="248" y="19248"/>
                </a:lnTo>
                <a:lnTo>
                  <a:pt x="0" y="22950"/>
                </a:lnTo>
                <a:lnTo>
                  <a:pt x="0" y="26158"/>
                </a:lnTo>
                <a:lnTo>
                  <a:pt x="248" y="29859"/>
                </a:lnTo>
                <a:lnTo>
                  <a:pt x="744" y="33314"/>
                </a:lnTo>
                <a:lnTo>
                  <a:pt x="1488" y="36769"/>
                </a:lnTo>
                <a:lnTo>
                  <a:pt x="2728" y="40224"/>
                </a:lnTo>
                <a:lnTo>
                  <a:pt x="4216" y="43679"/>
                </a:lnTo>
                <a:lnTo>
                  <a:pt x="5952" y="46887"/>
                </a:lnTo>
                <a:lnTo>
                  <a:pt x="7936" y="50342"/>
                </a:lnTo>
                <a:lnTo>
                  <a:pt x="9920" y="53303"/>
                </a:lnTo>
                <a:lnTo>
                  <a:pt x="11904" y="51822"/>
                </a:lnTo>
                <a:lnTo>
                  <a:pt x="9920" y="48861"/>
                </a:lnTo>
                <a:lnTo>
                  <a:pt x="7936" y="45900"/>
                </a:lnTo>
                <a:lnTo>
                  <a:pt x="6696" y="42692"/>
                </a:lnTo>
                <a:lnTo>
                  <a:pt x="5208" y="39237"/>
                </a:lnTo>
                <a:lnTo>
                  <a:pt x="3968" y="36276"/>
                </a:lnTo>
                <a:close/>
              </a:path>
            </a:pathLst>
          </a:custGeom>
          <a:solidFill>
            <a:srgbClr val="BEBEBE"/>
          </a:solidFill>
        </p:spPr>
        <p:txBody>
          <a:bodyPr wrap="square" lIns="0" tIns="0" rIns="0" bIns="0" rtlCol="0">
            <a:noAutofit/>
          </a:bodyPr>
          <a:lstStyle/>
          <a:p>
            <a:endParaRPr/>
          </a:p>
        </p:txBody>
      </p:sp>
      <p:sp>
        <p:nvSpPr>
          <p:cNvPr id="1974" name="object 1974"/>
          <p:cNvSpPr/>
          <p:nvPr/>
        </p:nvSpPr>
        <p:spPr>
          <a:xfrm>
            <a:off x="8087809" y="1688521"/>
            <a:ext cx="2232" cy="1974"/>
          </a:xfrm>
          <a:custGeom>
            <a:avLst/>
            <a:gdLst/>
            <a:ahLst/>
            <a:cxnLst/>
            <a:rect l="l" t="t" r="r" b="b"/>
            <a:pathLst>
              <a:path w="2232" h="1974">
                <a:moveTo>
                  <a:pt x="0" y="1480"/>
                </a:moveTo>
                <a:lnTo>
                  <a:pt x="992" y="1974"/>
                </a:lnTo>
                <a:lnTo>
                  <a:pt x="1736" y="1727"/>
                </a:lnTo>
                <a:lnTo>
                  <a:pt x="2232" y="987"/>
                </a:lnTo>
                <a:lnTo>
                  <a:pt x="1984" y="0"/>
                </a:lnTo>
                <a:lnTo>
                  <a:pt x="0" y="1480"/>
                </a:lnTo>
                <a:close/>
              </a:path>
            </a:pathLst>
          </a:custGeom>
          <a:solidFill>
            <a:srgbClr val="BEBEBE"/>
          </a:solidFill>
        </p:spPr>
        <p:txBody>
          <a:bodyPr wrap="square" lIns="0" tIns="0" rIns="0" bIns="0" rtlCol="0">
            <a:noAutofit/>
          </a:bodyPr>
          <a:lstStyle/>
          <a:p>
            <a:endParaRPr/>
          </a:p>
        </p:txBody>
      </p:sp>
      <p:sp>
        <p:nvSpPr>
          <p:cNvPr id="1975" name="object 1975"/>
          <p:cNvSpPr/>
          <p:nvPr/>
        </p:nvSpPr>
        <p:spPr>
          <a:xfrm>
            <a:off x="8076401" y="1646323"/>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1976" name="object 1976"/>
          <p:cNvSpPr/>
          <p:nvPr/>
        </p:nvSpPr>
        <p:spPr>
          <a:xfrm>
            <a:off x="8072184" y="1646816"/>
            <a:ext cx="6200" cy="33314"/>
          </a:xfrm>
          <a:custGeom>
            <a:avLst/>
            <a:gdLst/>
            <a:ahLst/>
            <a:cxnLst/>
            <a:rect l="l" t="t" r="r" b="b"/>
            <a:pathLst>
              <a:path w="6200" h="33314">
                <a:moveTo>
                  <a:pt x="4712" y="28379"/>
                </a:moveTo>
                <a:lnTo>
                  <a:pt x="3472" y="24677"/>
                </a:lnTo>
                <a:lnTo>
                  <a:pt x="2728" y="20482"/>
                </a:lnTo>
                <a:lnTo>
                  <a:pt x="2480" y="16533"/>
                </a:lnTo>
                <a:lnTo>
                  <a:pt x="2728" y="12338"/>
                </a:lnTo>
                <a:lnTo>
                  <a:pt x="3224" y="8637"/>
                </a:lnTo>
                <a:lnTo>
                  <a:pt x="4712" y="4935"/>
                </a:lnTo>
                <a:lnTo>
                  <a:pt x="6200" y="1480"/>
                </a:lnTo>
                <a:lnTo>
                  <a:pt x="4216" y="0"/>
                </a:lnTo>
                <a:lnTo>
                  <a:pt x="2232" y="3948"/>
                </a:lnTo>
                <a:lnTo>
                  <a:pt x="744" y="8143"/>
                </a:lnTo>
                <a:lnTo>
                  <a:pt x="248" y="12338"/>
                </a:lnTo>
                <a:lnTo>
                  <a:pt x="0" y="16533"/>
                </a:lnTo>
                <a:lnTo>
                  <a:pt x="248" y="20975"/>
                </a:lnTo>
                <a:lnTo>
                  <a:pt x="992" y="25171"/>
                </a:lnTo>
                <a:lnTo>
                  <a:pt x="2232" y="29366"/>
                </a:lnTo>
                <a:lnTo>
                  <a:pt x="4216" y="33314"/>
                </a:lnTo>
                <a:lnTo>
                  <a:pt x="6200" y="32327"/>
                </a:lnTo>
                <a:lnTo>
                  <a:pt x="4712" y="28379"/>
                </a:lnTo>
                <a:close/>
              </a:path>
            </a:pathLst>
          </a:custGeom>
          <a:solidFill>
            <a:srgbClr val="BEBEBE"/>
          </a:solidFill>
        </p:spPr>
        <p:txBody>
          <a:bodyPr wrap="square" lIns="0" tIns="0" rIns="0" bIns="0" rtlCol="0">
            <a:noAutofit/>
          </a:bodyPr>
          <a:lstStyle/>
          <a:p>
            <a:endParaRPr/>
          </a:p>
        </p:txBody>
      </p:sp>
      <p:sp>
        <p:nvSpPr>
          <p:cNvPr id="1977" name="object 1977"/>
          <p:cNvSpPr/>
          <p:nvPr/>
        </p:nvSpPr>
        <p:spPr>
          <a:xfrm>
            <a:off x="8076401" y="1679144"/>
            <a:ext cx="1984" cy="1480"/>
          </a:xfrm>
          <a:custGeom>
            <a:avLst/>
            <a:gdLst/>
            <a:ahLst/>
            <a:cxnLst/>
            <a:rect l="l" t="t" r="r" b="b"/>
            <a:pathLst>
              <a:path w="1984" h="1480">
                <a:moveTo>
                  <a:pt x="0" y="987"/>
                </a:moveTo>
                <a:lnTo>
                  <a:pt x="496" y="1480"/>
                </a:lnTo>
                <a:lnTo>
                  <a:pt x="1488" y="1480"/>
                </a:lnTo>
                <a:lnTo>
                  <a:pt x="1984" y="740"/>
                </a:lnTo>
                <a:lnTo>
                  <a:pt x="1984" y="0"/>
                </a:lnTo>
                <a:lnTo>
                  <a:pt x="0" y="987"/>
                </a:lnTo>
                <a:close/>
              </a:path>
            </a:pathLst>
          </a:custGeom>
          <a:solidFill>
            <a:srgbClr val="BEBEBE"/>
          </a:solidFill>
        </p:spPr>
        <p:txBody>
          <a:bodyPr wrap="square" lIns="0" tIns="0" rIns="0" bIns="0" rtlCol="0">
            <a:noAutofit/>
          </a:bodyPr>
          <a:lstStyle/>
          <a:p>
            <a:endParaRPr/>
          </a:p>
        </p:txBody>
      </p:sp>
      <p:sp>
        <p:nvSpPr>
          <p:cNvPr id="1978" name="object 1978"/>
          <p:cNvSpPr/>
          <p:nvPr/>
        </p:nvSpPr>
        <p:spPr>
          <a:xfrm>
            <a:off x="7724474" y="1615229"/>
            <a:ext cx="69195" cy="80448"/>
          </a:xfrm>
          <a:custGeom>
            <a:avLst/>
            <a:gdLst/>
            <a:ahLst/>
            <a:cxnLst/>
            <a:rect l="l" t="t" r="r" b="b"/>
            <a:pathLst>
              <a:path w="69195" h="80448">
                <a:moveTo>
                  <a:pt x="19592" y="0"/>
                </a:moveTo>
                <a:lnTo>
                  <a:pt x="15624" y="493"/>
                </a:lnTo>
                <a:lnTo>
                  <a:pt x="11904" y="1974"/>
                </a:lnTo>
                <a:lnTo>
                  <a:pt x="8680" y="4441"/>
                </a:lnTo>
                <a:lnTo>
                  <a:pt x="5704" y="7403"/>
                </a:lnTo>
                <a:lnTo>
                  <a:pt x="3224" y="11351"/>
                </a:lnTo>
                <a:lnTo>
                  <a:pt x="1488" y="15546"/>
                </a:lnTo>
                <a:lnTo>
                  <a:pt x="496" y="20482"/>
                </a:lnTo>
                <a:lnTo>
                  <a:pt x="0" y="25664"/>
                </a:lnTo>
                <a:lnTo>
                  <a:pt x="0" y="53797"/>
                </a:lnTo>
                <a:lnTo>
                  <a:pt x="496" y="58979"/>
                </a:lnTo>
                <a:lnTo>
                  <a:pt x="1488" y="63914"/>
                </a:lnTo>
                <a:lnTo>
                  <a:pt x="3472" y="68110"/>
                </a:lnTo>
                <a:lnTo>
                  <a:pt x="5704" y="71811"/>
                </a:lnTo>
                <a:lnTo>
                  <a:pt x="8680" y="75019"/>
                </a:lnTo>
                <a:lnTo>
                  <a:pt x="12152" y="77240"/>
                </a:lnTo>
                <a:lnTo>
                  <a:pt x="15624" y="78968"/>
                </a:lnTo>
                <a:lnTo>
                  <a:pt x="19592" y="79461"/>
                </a:lnTo>
                <a:lnTo>
                  <a:pt x="49602" y="80448"/>
                </a:lnTo>
                <a:lnTo>
                  <a:pt x="53322" y="79955"/>
                </a:lnTo>
                <a:lnTo>
                  <a:pt x="57042" y="78474"/>
                </a:lnTo>
                <a:lnTo>
                  <a:pt x="60266" y="76253"/>
                </a:lnTo>
                <a:lnTo>
                  <a:pt x="63242" y="73045"/>
                </a:lnTo>
                <a:lnTo>
                  <a:pt x="65722" y="69097"/>
                </a:lnTo>
                <a:lnTo>
                  <a:pt x="67707" y="64655"/>
                </a:lnTo>
                <a:lnTo>
                  <a:pt x="68699" y="59966"/>
                </a:lnTo>
                <a:lnTo>
                  <a:pt x="69195" y="54784"/>
                </a:lnTo>
                <a:lnTo>
                  <a:pt x="69195" y="25664"/>
                </a:lnTo>
                <a:lnTo>
                  <a:pt x="68699" y="20482"/>
                </a:lnTo>
                <a:lnTo>
                  <a:pt x="67707" y="15793"/>
                </a:lnTo>
                <a:lnTo>
                  <a:pt x="65722" y="11351"/>
                </a:lnTo>
                <a:lnTo>
                  <a:pt x="63490" y="7650"/>
                </a:lnTo>
                <a:lnTo>
                  <a:pt x="60514" y="4441"/>
                </a:lnTo>
                <a:lnTo>
                  <a:pt x="57042" y="1974"/>
                </a:lnTo>
                <a:lnTo>
                  <a:pt x="53570" y="493"/>
                </a:lnTo>
                <a:lnTo>
                  <a:pt x="49602" y="0"/>
                </a:lnTo>
                <a:lnTo>
                  <a:pt x="19592" y="0"/>
                </a:lnTo>
                <a:close/>
              </a:path>
            </a:pathLst>
          </a:custGeom>
          <a:solidFill>
            <a:srgbClr val="FFFFFF"/>
          </a:solidFill>
        </p:spPr>
        <p:txBody>
          <a:bodyPr wrap="square" lIns="0" tIns="0" rIns="0" bIns="0" rtlCol="0">
            <a:noAutofit/>
          </a:bodyPr>
          <a:lstStyle/>
          <a:p>
            <a:endParaRPr/>
          </a:p>
        </p:txBody>
      </p:sp>
      <p:sp>
        <p:nvSpPr>
          <p:cNvPr id="1979" name="object 1979"/>
          <p:cNvSpPr/>
          <p:nvPr/>
        </p:nvSpPr>
        <p:spPr>
          <a:xfrm>
            <a:off x="7744067" y="1615229"/>
            <a:ext cx="30009" cy="0"/>
          </a:xfrm>
          <a:custGeom>
            <a:avLst/>
            <a:gdLst/>
            <a:ahLst/>
            <a:cxnLst/>
            <a:rect l="l" t="t" r="r" b="b"/>
            <a:pathLst>
              <a:path w="30009">
                <a:moveTo>
                  <a:pt x="0" y="0"/>
                </a:moveTo>
                <a:lnTo>
                  <a:pt x="30009" y="0"/>
                </a:lnTo>
              </a:path>
            </a:pathLst>
          </a:custGeom>
          <a:ln w="3737">
            <a:solidFill>
              <a:srgbClr val="000000"/>
            </a:solidFill>
          </a:ln>
        </p:spPr>
        <p:txBody>
          <a:bodyPr wrap="square" lIns="0" tIns="0" rIns="0" bIns="0" rtlCol="0">
            <a:noAutofit/>
          </a:bodyPr>
          <a:lstStyle/>
          <a:p>
            <a:endParaRPr/>
          </a:p>
        </p:txBody>
      </p:sp>
      <p:sp>
        <p:nvSpPr>
          <p:cNvPr id="1980" name="object 1980"/>
          <p:cNvSpPr/>
          <p:nvPr/>
        </p:nvSpPr>
        <p:spPr>
          <a:xfrm>
            <a:off x="7774075" y="1613995"/>
            <a:ext cx="20832" cy="26898"/>
          </a:xfrm>
          <a:custGeom>
            <a:avLst/>
            <a:gdLst/>
            <a:ahLst/>
            <a:cxnLst/>
            <a:rect l="l" t="t" r="r" b="b"/>
            <a:pathLst>
              <a:path w="20832" h="26898">
                <a:moveTo>
                  <a:pt x="3720" y="2961"/>
                </a:moveTo>
                <a:lnTo>
                  <a:pt x="6944" y="4195"/>
                </a:lnTo>
                <a:lnTo>
                  <a:pt x="10168" y="6662"/>
                </a:lnTo>
                <a:lnTo>
                  <a:pt x="12896" y="9624"/>
                </a:lnTo>
                <a:lnTo>
                  <a:pt x="15128" y="13079"/>
                </a:lnTo>
                <a:lnTo>
                  <a:pt x="16864" y="17521"/>
                </a:lnTo>
                <a:lnTo>
                  <a:pt x="17856" y="21963"/>
                </a:lnTo>
                <a:lnTo>
                  <a:pt x="18352" y="26898"/>
                </a:lnTo>
                <a:lnTo>
                  <a:pt x="20832" y="26898"/>
                </a:lnTo>
                <a:lnTo>
                  <a:pt x="20336" y="21469"/>
                </a:lnTo>
                <a:lnTo>
                  <a:pt x="19344" y="16533"/>
                </a:lnTo>
                <a:lnTo>
                  <a:pt x="17112" y="12092"/>
                </a:lnTo>
                <a:lnTo>
                  <a:pt x="14880" y="8143"/>
                </a:lnTo>
                <a:lnTo>
                  <a:pt x="11656" y="4688"/>
                </a:lnTo>
                <a:lnTo>
                  <a:pt x="7936" y="2220"/>
                </a:lnTo>
                <a:lnTo>
                  <a:pt x="4216" y="493"/>
                </a:lnTo>
                <a:lnTo>
                  <a:pt x="0" y="0"/>
                </a:lnTo>
                <a:lnTo>
                  <a:pt x="0" y="2467"/>
                </a:lnTo>
                <a:lnTo>
                  <a:pt x="3720" y="2961"/>
                </a:lnTo>
                <a:close/>
              </a:path>
            </a:pathLst>
          </a:custGeom>
          <a:solidFill>
            <a:srgbClr val="000000"/>
          </a:solidFill>
        </p:spPr>
        <p:txBody>
          <a:bodyPr wrap="square" lIns="0" tIns="0" rIns="0" bIns="0" rtlCol="0">
            <a:noAutofit/>
          </a:bodyPr>
          <a:lstStyle/>
          <a:p>
            <a:endParaRPr/>
          </a:p>
        </p:txBody>
      </p:sp>
      <p:sp>
        <p:nvSpPr>
          <p:cNvPr id="1981" name="object 1981"/>
          <p:cNvSpPr/>
          <p:nvPr/>
        </p:nvSpPr>
        <p:spPr>
          <a:xfrm>
            <a:off x="7792428" y="1655453"/>
            <a:ext cx="2480" cy="0"/>
          </a:xfrm>
          <a:custGeom>
            <a:avLst/>
            <a:gdLst/>
            <a:ahLst/>
            <a:cxnLst/>
            <a:rect l="l" t="t" r="r" b="b"/>
            <a:pathLst>
              <a:path w="2480">
                <a:moveTo>
                  <a:pt x="0" y="0"/>
                </a:moveTo>
                <a:lnTo>
                  <a:pt x="2480" y="0"/>
                </a:lnTo>
              </a:path>
            </a:pathLst>
          </a:custGeom>
          <a:ln w="30389">
            <a:solidFill>
              <a:srgbClr val="000000"/>
            </a:solidFill>
          </a:ln>
        </p:spPr>
        <p:txBody>
          <a:bodyPr wrap="square" lIns="0" tIns="0" rIns="0" bIns="0" rtlCol="0">
            <a:noAutofit/>
          </a:bodyPr>
          <a:lstStyle/>
          <a:p>
            <a:endParaRPr/>
          </a:p>
        </p:txBody>
      </p:sp>
      <p:sp>
        <p:nvSpPr>
          <p:cNvPr id="1982" name="object 1982"/>
          <p:cNvSpPr/>
          <p:nvPr/>
        </p:nvSpPr>
        <p:spPr>
          <a:xfrm>
            <a:off x="7774075" y="1670013"/>
            <a:ext cx="20832" cy="26898"/>
          </a:xfrm>
          <a:custGeom>
            <a:avLst/>
            <a:gdLst/>
            <a:ahLst/>
            <a:cxnLst/>
            <a:rect l="l" t="t" r="r" b="b"/>
            <a:pathLst>
              <a:path w="20832" h="26898">
                <a:moveTo>
                  <a:pt x="3968" y="26404"/>
                </a:moveTo>
                <a:lnTo>
                  <a:pt x="7936" y="24677"/>
                </a:lnTo>
                <a:lnTo>
                  <a:pt x="11408" y="22456"/>
                </a:lnTo>
                <a:lnTo>
                  <a:pt x="14632" y="19001"/>
                </a:lnTo>
                <a:lnTo>
                  <a:pt x="17112" y="14806"/>
                </a:lnTo>
                <a:lnTo>
                  <a:pt x="19344" y="10364"/>
                </a:lnTo>
                <a:lnTo>
                  <a:pt x="20336" y="5429"/>
                </a:lnTo>
                <a:lnTo>
                  <a:pt x="20832" y="0"/>
                </a:lnTo>
                <a:lnTo>
                  <a:pt x="18352" y="0"/>
                </a:lnTo>
                <a:lnTo>
                  <a:pt x="17856" y="4935"/>
                </a:lnTo>
                <a:lnTo>
                  <a:pt x="16864" y="9377"/>
                </a:lnTo>
                <a:lnTo>
                  <a:pt x="15128" y="13819"/>
                </a:lnTo>
                <a:lnTo>
                  <a:pt x="12648" y="17521"/>
                </a:lnTo>
                <a:lnTo>
                  <a:pt x="9920" y="20482"/>
                </a:lnTo>
                <a:lnTo>
                  <a:pt x="6944" y="22703"/>
                </a:lnTo>
                <a:lnTo>
                  <a:pt x="3472" y="23937"/>
                </a:lnTo>
                <a:lnTo>
                  <a:pt x="0" y="24430"/>
                </a:lnTo>
                <a:lnTo>
                  <a:pt x="0" y="26898"/>
                </a:lnTo>
                <a:lnTo>
                  <a:pt x="3968" y="26404"/>
                </a:lnTo>
                <a:close/>
              </a:path>
            </a:pathLst>
          </a:custGeom>
          <a:solidFill>
            <a:srgbClr val="000000"/>
          </a:solidFill>
        </p:spPr>
        <p:txBody>
          <a:bodyPr wrap="square" lIns="0" tIns="0" rIns="0" bIns="0" rtlCol="0">
            <a:noAutofit/>
          </a:bodyPr>
          <a:lstStyle/>
          <a:p>
            <a:endParaRPr/>
          </a:p>
        </p:txBody>
      </p:sp>
      <p:sp>
        <p:nvSpPr>
          <p:cNvPr id="1983" name="object 1983"/>
          <p:cNvSpPr/>
          <p:nvPr/>
        </p:nvSpPr>
        <p:spPr>
          <a:xfrm>
            <a:off x="7744067" y="1693457"/>
            <a:ext cx="30009" cy="3454"/>
          </a:xfrm>
          <a:custGeom>
            <a:avLst/>
            <a:gdLst/>
            <a:ahLst/>
            <a:cxnLst/>
            <a:rect l="l" t="t" r="r" b="b"/>
            <a:pathLst>
              <a:path w="30009" h="3454">
                <a:moveTo>
                  <a:pt x="0" y="2467"/>
                </a:moveTo>
                <a:lnTo>
                  <a:pt x="30009" y="3454"/>
                </a:lnTo>
                <a:lnTo>
                  <a:pt x="30009" y="987"/>
                </a:lnTo>
                <a:lnTo>
                  <a:pt x="0" y="0"/>
                </a:lnTo>
                <a:lnTo>
                  <a:pt x="0" y="2467"/>
                </a:lnTo>
                <a:close/>
              </a:path>
            </a:pathLst>
          </a:custGeom>
          <a:solidFill>
            <a:srgbClr val="000000"/>
          </a:solidFill>
        </p:spPr>
        <p:txBody>
          <a:bodyPr wrap="square" lIns="0" tIns="0" rIns="0" bIns="0" rtlCol="0">
            <a:noAutofit/>
          </a:bodyPr>
          <a:lstStyle/>
          <a:p>
            <a:endParaRPr/>
          </a:p>
        </p:txBody>
      </p:sp>
      <p:sp>
        <p:nvSpPr>
          <p:cNvPr id="1984" name="object 1984"/>
          <p:cNvSpPr/>
          <p:nvPr/>
        </p:nvSpPr>
        <p:spPr>
          <a:xfrm>
            <a:off x="7723233" y="1669026"/>
            <a:ext cx="20832" cy="26898"/>
          </a:xfrm>
          <a:custGeom>
            <a:avLst/>
            <a:gdLst/>
            <a:ahLst/>
            <a:cxnLst/>
            <a:rect l="l" t="t" r="r" b="b"/>
            <a:pathLst>
              <a:path w="20832" h="26898">
                <a:moveTo>
                  <a:pt x="2480" y="0"/>
                </a:moveTo>
                <a:lnTo>
                  <a:pt x="0" y="0"/>
                </a:lnTo>
                <a:lnTo>
                  <a:pt x="496" y="5429"/>
                </a:lnTo>
                <a:lnTo>
                  <a:pt x="1488" y="10611"/>
                </a:lnTo>
                <a:lnTo>
                  <a:pt x="3720" y="14806"/>
                </a:lnTo>
                <a:lnTo>
                  <a:pt x="5952" y="18754"/>
                </a:lnTo>
                <a:lnTo>
                  <a:pt x="9176" y="22209"/>
                </a:lnTo>
                <a:lnTo>
                  <a:pt x="12896" y="24430"/>
                </a:lnTo>
                <a:lnTo>
                  <a:pt x="16616" y="26404"/>
                </a:lnTo>
                <a:lnTo>
                  <a:pt x="20832" y="26898"/>
                </a:lnTo>
                <a:lnTo>
                  <a:pt x="20832" y="24430"/>
                </a:lnTo>
                <a:lnTo>
                  <a:pt x="17112" y="23937"/>
                </a:lnTo>
                <a:lnTo>
                  <a:pt x="13888" y="22456"/>
                </a:lnTo>
                <a:lnTo>
                  <a:pt x="10664" y="20235"/>
                </a:lnTo>
                <a:lnTo>
                  <a:pt x="7936" y="17274"/>
                </a:lnTo>
                <a:lnTo>
                  <a:pt x="5704" y="13819"/>
                </a:lnTo>
                <a:lnTo>
                  <a:pt x="3968" y="9624"/>
                </a:lnTo>
                <a:lnTo>
                  <a:pt x="2976" y="4935"/>
                </a:lnTo>
                <a:lnTo>
                  <a:pt x="2480" y="0"/>
                </a:lnTo>
                <a:close/>
              </a:path>
            </a:pathLst>
          </a:custGeom>
          <a:solidFill>
            <a:srgbClr val="000000"/>
          </a:solidFill>
        </p:spPr>
        <p:txBody>
          <a:bodyPr wrap="square" lIns="0" tIns="0" rIns="0" bIns="0" rtlCol="0">
            <a:noAutofit/>
          </a:bodyPr>
          <a:lstStyle/>
          <a:p>
            <a:endParaRPr/>
          </a:p>
        </p:txBody>
      </p:sp>
      <p:sp>
        <p:nvSpPr>
          <p:cNvPr id="1985" name="object 1985"/>
          <p:cNvSpPr/>
          <p:nvPr/>
        </p:nvSpPr>
        <p:spPr>
          <a:xfrm>
            <a:off x="7723233" y="1654960"/>
            <a:ext cx="2480" cy="0"/>
          </a:xfrm>
          <a:custGeom>
            <a:avLst/>
            <a:gdLst/>
            <a:ahLst/>
            <a:cxnLst/>
            <a:rect l="l" t="t" r="r" b="b"/>
            <a:pathLst>
              <a:path w="2480">
                <a:moveTo>
                  <a:pt x="0" y="0"/>
                </a:moveTo>
                <a:lnTo>
                  <a:pt x="2480" y="0"/>
                </a:lnTo>
              </a:path>
            </a:pathLst>
          </a:custGeom>
          <a:ln w="29402">
            <a:solidFill>
              <a:srgbClr val="000000"/>
            </a:solidFill>
          </a:ln>
        </p:spPr>
        <p:txBody>
          <a:bodyPr wrap="square" lIns="0" tIns="0" rIns="0" bIns="0" rtlCol="0">
            <a:noAutofit/>
          </a:bodyPr>
          <a:lstStyle/>
          <a:p>
            <a:endParaRPr/>
          </a:p>
        </p:txBody>
      </p:sp>
      <p:sp>
        <p:nvSpPr>
          <p:cNvPr id="1986" name="object 1986"/>
          <p:cNvSpPr/>
          <p:nvPr/>
        </p:nvSpPr>
        <p:spPr>
          <a:xfrm>
            <a:off x="7723233" y="1613995"/>
            <a:ext cx="20832" cy="26898"/>
          </a:xfrm>
          <a:custGeom>
            <a:avLst/>
            <a:gdLst/>
            <a:ahLst/>
            <a:cxnLst/>
            <a:rect l="l" t="t" r="r" b="b"/>
            <a:pathLst>
              <a:path w="20832" h="26898">
                <a:moveTo>
                  <a:pt x="496" y="21469"/>
                </a:moveTo>
                <a:lnTo>
                  <a:pt x="0" y="26898"/>
                </a:lnTo>
                <a:lnTo>
                  <a:pt x="2480" y="26898"/>
                </a:lnTo>
                <a:lnTo>
                  <a:pt x="2976" y="21963"/>
                </a:lnTo>
                <a:lnTo>
                  <a:pt x="3968" y="17027"/>
                </a:lnTo>
                <a:lnTo>
                  <a:pt x="5456" y="13079"/>
                </a:lnTo>
                <a:lnTo>
                  <a:pt x="7936" y="9377"/>
                </a:lnTo>
                <a:lnTo>
                  <a:pt x="10664" y="6662"/>
                </a:lnTo>
                <a:lnTo>
                  <a:pt x="13640" y="4195"/>
                </a:lnTo>
                <a:lnTo>
                  <a:pt x="17112" y="2961"/>
                </a:lnTo>
                <a:lnTo>
                  <a:pt x="20832" y="2467"/>
                </a:lnTo>
                <a:lnTo>
                  <a:pt x="20832" y="0"/>
                </a:lnTo>
                <a:lnTo>
                  <a:pt x="16616" y="493"/>
                </a:lnTo>
                <a:lnTo>
                  <a:pt x="12648" y="2220"/>
                </a:lnTo>
                <a:lnTo>
                  <a:pt x="9176" y="4688"/>
                </a:lnTo>
                <a:lnTo>
                  <a:pt x="5952" y="7896"/>
                </a:lnTo>
                <a:lnTo>
                  <a:pt x="3472" y="12092"/>
                </a:lnTo>
                <a:lnTo>
                  <a:pt x="1488" y="16533"/>
                </a:lnTo>
                <a:lnTo>
                  <a:pt x="496" y="21469"/>
                </a:lnTo>
                <a:close/>
              </a:path>
            </a:pathLst>
          </a:custGeom>
          <a:solidFill>
            <a:srgbClr val="000000"/>
          </a:solidFill>
        </p:spPr>
        <p:txBody>
          <a:bodyPr wrap="square" lIns="0" tIns="0" rIns="0" bIns="0" rtlCol="0">
            <a:noAutofit/>
          </a:bodyPr>
          <a:lstStyle/>
          <a:p>
            <a:endParaRPr/>
          </a:p>
        </p:txBody>
      </p:sp>
      <p:sp>
        <p:nvSpPr>
          <p:cNvPr id="1987" name="object 1987"/>
          <p:cNvSpPr/>
          <p:nvPr/>
        </p:nvSpPr>
        <p:spPr>
          <a:xfrm>
            <a:off x="7730425" y="1620165"/>
            <a:ext cx="62250" cy="72305"/>
          </a:xfrm>
          <a:custGeom>
            <a:avLst/>
            <a:gdLst/>
            <a:ahLst/>
            <a:cxnLst/>
            <a:rect l="l" t="t" r="r" b="b"/>
            <a:pathLst>
              <a:path w="62250" h="72305">
                <a:moveTo>
                  <a:pt x="17608" y="0"/>
                </a:moveTo>
                <a:lnTo>
                  <a:pt x="14136" y="493"/>
                </a:lnTo>
                <a:lnTo>
                  <a:pt x="10664" y="1727"/>
                </a:lnTo>
                <a:lnTo>
                  <a:pt x="7688" y="3948"/>
                </a:lnTo>
                <a:lnTo>
                  <a:pt x="5208" y="6662"/>
                </a:lnTo>
                <a:lnTo>
                  <a:pt x="2976" y="10117"/>
                </a:lnTo>
                <a:lnTo>
                  <a:pt x="1488" y="14066"/>
                </a:lnTo>
                <a:lnTo>
                  <a:pt x="248" y="18261"/>
                </a:lnTo>
                <a:lnTo>
                  <a:pt x="0" y="22950"/>
                </a:lnTo>
                <a:lnTo>
                  <a:pt x="0" y="48368"/>
                </a:lnTo>
                <a:lnTo>
                  <a:pt x="248" y="53056"/>
                </a:lnTo>
                <a:lnTo>
                  <a:pt x="1488" y="57251"/>
                </a:lnTo>
                <a:lnTo>
                  <a:pt x="2976" y="61200"/>
                </a:lnTo>
                <a:lnTo>
                  <a:pt x="5208" y="64655"/>
                </a:lnTo>
                <a:lnTo>
                  <a:pt x="7688" y="67616"/>
                </a:lnTo>
                <a:lnTo>
                  <a:pt x="10664" y="69590"/>
                </a:lnTo>
                <a:lnTo>
                  <a:pt x="14136" y="71071"/>
                </a:lnTo>
                <a:lnTo>
                  <a:pt x="17608" y="71564"/>
                </a:lnTo>
                <a:lnTo>
                  <a:pt x="44642" y="72305"/>
                </a:lnTo>
                <a:lnTo>
                  <a:pt x="48114" y="71811"/>
                </a:lnTo>
                <a:lnTo>
                  <a:pt x="51338" y="70577"/>
                </a:lnTo>
                <a:lnTo>
                  <a:pt x="54314" y="68356"/>
                </a:lnTo>
                <a:lnTo>
                  <a:pt x="56794" y="65642"/>
                </a:lnTo>
                <a:lnTo>
                  <a:pt x="59026" y="62187"/>
                </a:lnTo>
                <a:lnTo>
                  <a:pt x="60762" y="58239"/>
                </a:lnTo>
                <a:lnTo>
                  <a:pt x="61754" y="54043"/>
                </a:lnTo>
                <a:lnTo>
                  <a:pt x="62250" y="49355"/>
                </a:lnTo>
                <a:lnTo>
                  <a:pt x="62250" y="22950"/>
                </a:lnTo>
                <a:lnTo>
                  <a:pt x="62002" y="18261"/>
                </a:lnTo>
                <a:lnTo>
                  <a:pt x="60762" y="14066"/>
                </a:lnTo>
                <a:lnTo>
                  <a:pt x="59274" y="10117"/>
                </a:lnTo>
                <a:lnTo>
                  <a:pt x="57042" y="6662"/>
                </a:lnTo>
                <a:lnTo>
                  <a:pt x="54562" y="3948"/>
                </a:lnTo>
                <a:lnTo>
                  <a:pt x="51586" y="1727"/>
                </a:lnTo>
                <a:lnTo>
                  <a:pt x="48114" y="493"/>
                </a:lnTo>
                <a:lnTo>
                  <a:pt x="44642" y="0"/>
                </a:lnTo>
                <a:lnTo>
                  <a:pt x="17608" y="0"/>
                </a:lnTo>
                <a:close/>
              </a:path>
            </a:pathLst>
          </a:custGeom>
          <a:solidFill>
            <a:srgbClr val="EFEFEF"/>
          </a:solidFill>
        </p:spPr>
        <p:txBody>
          <a:bodyPr wrap="square" lIns="0" tIns="0" rIns="0" bIns="0" rtlCol="0">
            <a:noAutofit/>
          </a:bodyPr>
          <a:lstStyle/>
          <a:p>
            <a:endParaRPr/>
          </a:p>
        </p:txBody>
      </p:sp>
      <p:sp>
        <p:nvSpPr>
          <p:cNvPr id="1988" name="object 1988"/>
          <p:cNvSpPr/>
          <p:nvPr/>
        </p:nvSpPr>
        <p:spPr>
          <a:xfrm>
            <a:off x="7748035" y="1620164"/>
            <a:ext cx="27033" cy="0"/>
          </a:xfrm>
          <a:custGeom>
            <a:avLst/>
            <a:gdLst/>
            <a:ahLst/>
            <a:cxnLst/>
            <a:rect l="l" t="t" r="r" b="b"/>
            <a:pathLst>
              <a:path w="27033">
                <a:moveTo>
                  <a:pt x="0" y="0"/>
                </a:moveTo>
                <a:lnTo>
                  <a:pt x="27033" y="0"/>
                </a:lnTo>
              </a:path>
            </a:pathLst>
          </a:custGeom>
          <a:ln w="3737">
            <a:solidFill>
              <a:srgbClr val="000000"/>
            </a:solidFill>
          </a:ln>
        </p:spPr>
        <p:txBody>
          <a:bodyPr wrap="square" lIns="0" tIns="0" rIns="0" bIns="0" rtlCol="0">
            <a:noAutofit/>
          </a:bodyPr>
          <a:lstStyle/>
          <a:p>
            <a:endParaRPr/>
          </a:p>
        </p:txBody>
      </p:sp>
      <p:sp>
        <p:nvSpPr>
          <p:cNvPr id="1989" name="object 1989"/>
          <p:cNvSpPr/>
          <p:nvPr/>
        </p:nvSpPr>
        <p:spPr>
          <a:xfrm>
            <a:off x="7775067" y="1618930"/>
            <a:ext cx="18848" cy="24184"/>
          </a:xfrm>
          <a:custGeom>
            <a:avLst/>
            <a:gdLst/>
            <a:ahLst/>
            <a:cxnLst/>
            <a:rect l="l" t="t" r="r" b="b"/>
            <a:pathLst>
              <a:path w="18848" h="24184">
                <a:moveTo>
                  <a:pt x="3224" y="2961"/>
                </a:moveTo>
                <a:lnTo>
                  <a:pt x="6448" y="3948"/>
                </a:lnTo>
                <a:lnTo>
                  <a:pt x="9176" y="6169"/>
                </a:lnTo>
                <a:lnTo>
                  <a:pt x="11408" y="8637"/>
                </a:lnTo>
                <a:lnTo>
                  <a:pt x="13640" y="11845"/>
                </a:lnTo>
                <a:lnTo>
                  <a:pt x="14880" y="15793"/>
                </a:lnTo>
                <a:lnTo>
                  <a:pt x="16120" y="19742"/>
                </a:lnTo>
                <a:lnTo>
                  <a:pt x="16368" y="24184"/>
                </a:lnTo>
                <a:lnTo>
                  <a:pt x="18848" y="24184"/>
                </a:lnTo>
                <a:lnTo>
                  <a:pt x="18600" y="19248"/>
                </a:lnTo>
                <a:lnTo>
                  <a:pt x="17360" y="14806"/>
                </a:lnTo>
                <a:lnTo>
                  <a:pt x="15624" y="10858"/>
                </a:lnTo>
                <a:lnTo>
                  <a:pt x="13392" y="7156"/>
                </a:lnTo>
                <a:lnTo>
                  <a:pt x="10664" y="4195"/>
                </a:lnTo>
                <a:lnTo>
                  <a:pt x="7440" y="1974"/>
                </a:lnTo>
                <a:lnTo>
                  <a:pt x="3720" y="493"/>
                </a:lnTo>
                <a:lnTo>
                  <a:pt x="0" y="0"/>
                </a:lnTo>
                <a:lnTo>
                  <a:pt x="0" y="2467"/>
                </a:lnTo>
                <a:lnTo>
                  <a:pt x="3224" y="2961"/>
                </a:lnTo>
                <a:close/>
              </a:path>
            </a:pathLst>
          </a:custGeom>
          <a:solidFill>
            <a:srgbClr val="000000"/>
          </a:solidFill>
        </p:spPr>
        <p:txBody>
          <a:bodyPr wrap="square" lIns="0" tIns="0" rIns="0" bIns="0" rtlCol="0">
            <a:noAutofit/>
          </a:bodyPr>
          <a:lstStyle/>
          <a:p>
            <a:endParaRPr/>
          </a:p>
        </p:txBody>
      </p:sp>
      <p:sp>
        <p:nvSpPr>
          <p:cNvPr id="1990" name="object 1990"/>
          <p:cNvSpPr/>
          <p:nvPr/>
        </p:nvSpPr>
        <p:spPr>
          <a:xfrm>
            <a:off x="7791436" y="1656317"/>
            <a:ext cx="2480" cy="0"/>
          </a:xfrm>
          <a:custGeom>
            <a:avLst/>
            <a:gdLst/>
            <a:ahLst/>
            <a:cxnLst/>
            <a:rect l="l" t="t" r="r" b="b"/>
            <a:pathLst>
              <a:path w="2480">
                <a:moveTo>
                  <a:pt x="0" y="0"/>
                </a:moveTo>
                <a:lnTo>
                  <a:pt x="2480" y="0"/>
                </a:lnTo>
              </a:path>
            </a:pathLst>
          </a:custGeom>
          <a:ln w="27674">
            <a:solidFill>
              <a:srgbClr val="000000"/>
            </a:solidFill>
          </a:ln>
        </p:spPr>
        <p:txBody>
          <a:bodyPr wrap="square" lIns="0" tIns="0" rIns="0" bIns="0" rtlCol="0">
            <a:noAutofit/>
          </a:bodyPr>
          <a:lstStyle/>
          <a:p>
            <a:endParaRPr/>
          </a:p>
        </p:txBody>
      </p:sp>
      <p:sp>
        <p:nvSpPr>
          <p:cNvPr id="1991" name="object 1991"/>
          <p:cNvSpPr/>
          <p:nvPr/>
        </p:nvSpPr>
        <p:spPr>
          <a:xfrm>
            <a:off x="7775067" y="1669519"/>
            <a:ext cx="18848" cy="24184"/>
          </a:xfrm>
          <a:custGeom>
            <a:avLst/>
            <a:gdLst/>
            <a:ahLst/>
            <a:cxnLst/>
            <a:rect l="l" t="t" r="r" b="b"/>
            <a:pathLst>
              <a:path w="18848" h="24184">
                <a:moveTo>
                  <a:pt x="3720" y="23690"/>
                </a:moveTo>
                <a:lnTo>
                  <a:pt x="7192" y="22209"/>
                </a:lnTo>
                <a:lnTo>
                  <a:pt x="10416" y="19988"/>
                </a:lnTo>
                <a:lnTo>
                  <a:pt x="13144" y="17027"/>
                </a:lnTo>
                <a:lnTo>
                  <a:pt x="15376" y="13325"/>
                </a:lnTo>
                <a:lnTo>
                  <a:pt x="17360" y="9377"/>
                </a:lnTo>
                <a:lnTo>
                  <a:pt x="18352" y="4935"/>
                </a:lnTo>
                <a:lnTo>
                  <a:pt x="18848" y="0"/>
                </a:lnTo>
                <a:lnTo>
                  <a:pt x="16368" y="0"/>
                </a:lnTo>
                <a:lnTo>
                  <a:pt x="15872" y="4441"/>
                </a:lnTo>
                <a:lnTo>
                  <a:pt x="14880" y="8390"/>
                </a:lnTo>
                <a:lnTo>
                  <a:pt x="13392" y="12338"/>
                </a:lnTo>
                <a:lnTo>
                  <a:pt x="11160" y="15546"/>
                </a:lnTo>
                <a:lnTo>
                  <a:pt x="8928" y="18014"/>
                </a:lnTo>
                <a:lnTo>
                  <a:pt x="6200" y="20235"/>
                </a:lnTo>
                <a:lnTo>
                  <a:pt x="3224" y="21222"/>
                </a:lnTo>
                <a:lnTo>
                  <a:pt x="0" y="21716"/>
                </a:lnTo>
                <a:lnTo>
                  <a:pt x="0" y="24184"/>
                </a:lnTo>
                <a:lnTo>
                  <a:pt x="3720" y="23690"/>
                </a:lnTo>
                <a:close/>
              </a:path>
            </a:pathLst>
          </a:custGeom>
          <a:solidFill>
            <a:srgbClr val="000000"/>
          </a:solidFill>
        </p:spPr>
        <p:txBody>
          <a:bodyPr wrap="square" lIns="0" tIns="0" rIns="0" bIns="0" rtlCol="0">
            <a:noAutofit/>
          </a:bodyPr>
          <a:lstStyle/>
          <a:p>
            <a:endParaRPr/>
          </a:p>
        </p:txBody>
      </p:sp>
      <p:sp>
        <p:nvSpPr>
          <p:cNvPr id="1992" name="object 1992"/>
          <p:cNvSpPr/>
          <p:nvPr/>
        </p:nvSpPr>
        <p:spPr>
          <a:xfrm>
            <a:off x="7748035" y="1690495"/>
            <a:ext cx="27033" cy="3208"/>
          </a:xfrm>
          <a:custGeom>
            <a:avLst/>
            <a:gdLst/>
            <a:ahLst/>
            <a:cxnLst/>
            <a:rect l="l" t="t" r="r" b="b"/>
            <a:pathLst>
              <a:path w="27033" h="3208">
                <a:moveTo>
                  <a:pt x="0" y="2467"/>
                </a:moveTo>
                <a:lnTo>
                  <a:pt x="27033" y="3208"/>
                </a:lnTo>
                <a:lnTo>
                  <a:pt x="27033" y="740"/>
                </a:lnTo>
                <a:lnTo>
                  <a:pt x="0" y="0"/>
                </a:lnTo>
                <a:lnTo>
                  <a:pt x="0" y="2467"/>
                </a:lnTo>
                <a:close/>
              </a:path>
            </a:pathLst>
          </a:custGeom>
          <a:solidFill>
            <a:srgbClr val="000000"/>
          </a:solidFill>
        </p:spPr>
        <p:txBody>
          <a:bodyPr wrap="square" lIns="0" tIns="0" rIns="0" bIns="0" rtlCol="0">
            <a:noAutofit/>
          </a:bodyPr>
          <a:lstStyle/>
          <a:p>
            <a:endParaRPr/>
          </a:p>
        </p:txBody>
      </p:sp>
      <p:sp>
        <p:nvSpPr>
          <p:cNvPr id="1993" name="object 1993"/>
          <p:cNvSpPr/>
          <p:nvPr/>
        </p:nvSpPr>
        <p:spPr>
          <a:xfrm>
            <a:off x="7729185" y="1668532"/>
            <a:ext cx="18848" cy="24430"/>
          </a:xfrm>
          <a:custGeom>
            <a:avLst/>
            <a:gdLst/>
            <a:ahLst/>
            <a:cxnLst/>
            <a:rect l="l" t="t" r="r" b="b"/>
            <a:pathLst>
              <a:path w="18848" h="24430">
                <a:moveTo>
                  <a:pt x="2480" y="0"/>
                </a:moveTo>
                <a:lnTo>
                  <a:pt x="0" y="0"/>
                </a:lnTo>
                <a:lnTo>
                  <a:pt x="248" y="4935"/>
                </a:lnTo>
                <a:lnTo>
                  <a:pt x="1488" y="9377"/>
                </a:lnTo>
                <a:lnTo>
                  <a:pt x="3224" y="13325"/>
                </a:lnTo>
                <a:lnTo>
                  <a:pt x="5456" y="17027"/>
                </a:lnTo>
                <a:lnTo>
                  <a:pt x="8184" y="20235"/>
                </a:lnTo>
                <a:lnTo>
                  <a:pt x="11408" y="22209"/>
                </a:lnTo>
                <a:lnTo>
                  <a:pt x="15128" y="23937"/>
                </a:lnTo>
                <a:lnTo>
                  <a:pt x="18848" y="24430"/>
                </a:lnTo>
                <a:lnTo>
                  <a:pt x="18848" y="21963"/>
                </a:lnTo>
                <a:lnTo>
                  <a:pt x="15624" y="21469"/>
                </a:lnTo>
                <a:lnTo>
                  <a:pt x="12400" y="20235"/>
                </a:lnTo>
                <a:lnTo>
                  <a:pt x="9672" y="18261"/>
                </a:lnTo>
                <a:lnTo>
                  <a:pt x="7440" y="15546"/>
                </a:lnTo>
                <a:lnTo>
                  <a:pt x="5208" y="12338"/>
                </a:lnTo>
                <a:lnTo>
                  <a:pt x="3968" y="8390"/>
                </a:lnTo>
                <a:lnTo>
                  <a:pt x="2728" y="4441"/>
                </a:lnTo>
                <a:lnTo>
                  <a:pt x="2480" y="0"/>
                </a:lnTo>
                <a:close/>
              </a:path>
            </a:pathLst>
          </a:custGeom>
          <a:solidFill>
            <a:srgbClr val="000000"/>
          </a:solidFill>
        </p:spPr>
        <p:txBody>
          <a:bodyPr wrap="square" lIns="0" tIns="0" rIns="0" bIns="0" rtlCol="0">
            <a:noAutofit/>
          </a:bodyPr>
          <a:lstStyle/>
          <a:p>
            <a:endParaRPr/>
          </a:p>
        </p:txBody>
      </p:sp>
      <p:sp>
        <p:nvSpPr>
          <p:cNvPr id="1994" name="object 1994"/>
          <p:cNvSpPr/>
          <p:nvPr/>
        </p:nvSpPr>
        <p:spPr>
          <a:xfrm>
            <a:off x="7729185" y="1655823"/>
            <a:ext cx="2480" cy="0"/>
          </a:xfrm>
          <a:custGeom>
            <a:avLst/>
            <a:gdLst/>
            <a:ahLst/>
            <a:cxnLst/>
            <a:rect l="l" t="t" r="r" b="b"/>
            <a:pathLst>
              <a:path w="2480">
                <a:moveTo>
                  <a:pt x="0" y="0"/>
                </a:moveTo>
                <a:lnTo>
                  <a:pt x="2480" y="0"/>
                </a:lnTo>
              </a:path>
            </a:pathLst>
          </a:custGeom>
          <a:ln w="26687">
            <a:solidFill>
              <a:srgbClr val="000000"/>
            </a:solidFill>
          </a:ln>
        </p:spPr>
        <p:txBody>
          <a:bodyPr wrap="square" lIns="0" tIns="0" rIns="0" bIns="0" rtlCol="0">
            <a:noAutofit/>
          </a:bodyPr>
          <a:lstStyle/>
          <a:p>
            <a:endParaRPr/>
          </a:p>
        </p:txBody>
      </p:sp>
      <p:sp>
        <p:nvSpPr>
          <p:cNvPr id="1995" name="object 1995"/>
          <p:cNvSpPr/>
          <p:nvPr/>
        </p:nvSpPr>
        <p:spPr>
          <a:xfrm>
            <a:off x="7729185" y="1618930"/>
            <a:ext cx="18848" cy="24184"/>
          </a:xfrm>
          <a:custGeom>
            <a:avLst/>
            <a:gdLst/>
            <a:ahLst/>
            <a:cxnLst/>
            <a:rect l="l" t="t" r="r" b="b"/>
            <a:pathLst>
              <a:path w="18848" h="24184">
                <a:moveTo>
                  <a:pt x="248" y="19248"/>
                </a:moveTo>
                <a:lnTo>
                  <a:pt x="0" y="24184"/>
                </a:lnTo>
                <a:lnTo>
                  <a:pt x="2480" y="24184"/>
                </a:lnTo>
                <a:lnTo>
                  <a:pt x="2728" y="19742"/>
                </a:lnTo>
                <a:lnTo>
                  <a:pt x="3968" y="15793"/>
                </a:lnTo>
                <a:lnTo>
                  <a:pt x="5208" y="11845"/>
                </a:lnTo>
                <a:lnTo>
                  <a:pt x="7440" y="8637"/>
                </a:lnTo>
                <a:lnTo>
                  <a:pt x="9672" y="6169"/>
                </a:lnTo>
                <a:lnTo>
                  <a:pt x="12400" y="3948"/>
                </a:lnTo>
                <a:lnTo>
                  <a:pt x="15624" y="2961"/>
                </a:lnTo>
                <a:lnTo>
                  <a:pt x="18848" y="2467"/>
                </a:lnTo>
                <a:lnTo>
                  <a:pt x="18848" y="0"/>
                </a:lnTo>
                <a:lnTo>
                  <a:pt x="15128" y="493"/>
                </a:lnTo>
                <a:lnTo>
                  <a:pt x="11408" y="1974"/>
                </a:lnTo>
                <a:lnTo>
                  <a:pt x="8184" y="4195"/>
                </a:lnTo>
                <a:lnTo>
                  <a:pt x="5456" y="7156"/>
                </a:lnTo>
                <a:lnTo>
                  <a:pt x="3224" y="10858"/>
                </a:lnTo>
                <a:lnTo>
                  <a:pt x="1488" y="14806"/>
                </a:lnTo>
                <a:lnTo>
                  <a:pt x="248" y="19248"/>
                </a:lnTo>
                <a:close/>
              </a:path>
            </a:pathLst>
          </a:custGeom>
          <a:solidFill>
            <a:srgbClr val="000000"/>
          </a:solidFill>
        </p:spPr>
        <p:txBody>
          <a:bodyPr wrap="square" lIns="0" tIns="0" rIns="0" bIns="0" rtlCol="0">
            <a:noAutofit/>
          </a:bodyPr>
          <a:lstStyle/>
          <a:p>
            <a:endParaRPr/>
          </a:p>
        </p:txBody>
      </p:sp>
      <p:sp>
        <p:nvSpPr>
          <p:cNvPr id="1996" name="object 1996"/>
          <p:cNvSpPr/>
          <p:nvPr/>
        </p:nvSpPr>
        <p:spPr>
          <a:xfrm>
            <a:off x="7757955" y="1631023"/>
            <a:ext cx="34721" cy="57745"/>
          </a:xfrm>
          <a:custGeom>
            <a:avLst/>
            <a:gdLst/>
            <a:ahLst/>
            <a:cxnLst/>
            <a:rect l="l" t="t" r="r" b="b"/>
            <a:pathLst>
              <a:path w="34721" h="57745">
                <a:moveTo>
                  <a:pt x="17360" y="0"/>
                </a:moveTo>
                <a:lnTo>
                  <a:pt x="13888" y="493"/>
                </a:lnTo>
                <a:lnTo>
                  <a:pt x="10664" y="2220"/>
                </a:lnTo>
                <a:lnTo>
                  <a:pt x="7688" y="4935"/>
                </a:lnTo>
                <a:lnTo>
                  <a:pt x="5208" y="8390"/>
                </a:lnTo>
                <a:lnTo>
                  <a:pt x="2976" y="12832"/>
                </a:lnTo>
                <a:lnTo>
                  <a:pt x="1488" y="17767"/>
                </a:lnTo>
                <a:lnTo>
                  <a:pt x="248" y="23196"/>
                </a:lnTo>
                <a:lnTo>
                  <a:pt x="0" y="28872"/>
                </a:lnTo>
                <a:lnTo>
                  <a:pt x="248" y="34548"/>
                </a:lnTo>
                <a:lnTo>
                  <a:pt x="1488" y="39977"/>
                </a:lnTo>
                <a:lnTo>
                  <a:pt x="2976" y="44913"/>
                </a:lnTo>
                <a:lnTo>
                  <a:pt x="5208" y="49108"/>
                </a:lnTo>
                <a:lnTo>
                  <a:pt x="7688" y="52809"/>
                </a:lnTo>
                <a:lnTo>
                  <a:pt x="10664" y="55524"/>
                </a:lnTo>
                <a:lnTo>
                  <a:pt x="13888" y="57251"/>
                </a:lnTo>
                <a:lnTo>
                  <a:pt x="17360" y="57745"/>
                </a:lnTo>
                <a:lnTo>
                  <a:pt x="20832" y="57251"/>
                </a:lnTo>
                <a:lnTo>
                  <a:pt x="24057" y="55524"/>
                </a:lnTo>
                <a:lnTo>
                  <a:pt x="27033" y="52809"/>
                </a:lnTo>
                <a:lnTo>
                  <a:pt x="29761" y="49108"/>
                </a:lnTo>
                <a:lnTo>
                  <a:pt x="31745" y="44913"/>
                </a:lnTo>
                <a:lnTo>
                  <a:pt x="33481" y="39977"/>
                </a:lnTo>
                <a:lnTo>
                  <a:pt x="34473" y="34548"/>
                </a:lnTo>
                <a:lnTo>
                  <a:pt x="34721" y="28872"/>
                </a:lnTo>
                <a:lnTo>
                  <a:pt x="34473" y="23196"/>
                </a:lnTo>
                <a:lnTo>
                  <a:pt x="33481" y="17767"/>
                </a:lnTo>
                <a:lnTo>
                  <a:pt x="31745" y="12832"/>
                </a:lnTo>
                <a:lnTo>
                  <a:pt x="29761" y="8390"/>
                </a:lnTo>
                <a:lnTo>
                  <a:pt x="27033" y="4935"/>
                </a:lnTo>
                <a:lnTo>
                  <a:pt x="24057" y="2220"/>
                </a:lnTo>
                <a:lnTo>
                  <a:pt x="20832" y="493"/>
                </a:lnTo>
                <a:lnTo>
                  <a:pt x="17360" y="0"/>
                </a:lnTo>
                <a:close/>
              </a:path>
            </a:pathLst>
          </a:custGeom>
          <a:solidFill>
            <a:srgbClr val="000000"/>
          </a:solidFill>
        </p:spPr>
        <p:txBody>
          <a:bodyPr wrap="square" lIns="0" tIns="0" rIns="0" bIns="0" rtlCol="0">
            <a:noAutofit/>
          </a:bodyPr>
          <a:lstStyle/>
          <a:p>
            <a:endParaRPr/>
          </a:p>
        </p:txBody>
      </p:sp>
      <p:sp>
        <p:nvSpPr>
          <p:cNvPr id="1997" name="object 1997"/>
          <p:cNvSpPr/>
          <p:nvPr/>
        </p:nvSpPr>
        <p:spPr>
          <a:xfrm>
            <a:off x="7775315" y="1629789"/>
            <a:ext cx="18600" cy="30106"/>
          </a:xfrm>
          <a:custGeom>
            <a:avLst/>
            <a:gdLst/>
            <a:ahLst/>
            <a:cxnLst/>
            <a:rect l="l" t="t" r="r" b="b"/>
            <a:pathLst>
              <a:path w="18600" h="30106">
                <a:moveTo>
                  <a:pt x="0" y="0"/>
                </a:moveTo>
                <a:lnTo>
                  <a:pt x="0" y="2467"/>
                </a:lnTo>
                <a:lnTo>
                  <a:pt x="2976" y="2961"/>
                </a:lnTo>
                <a:lnTo>
                  <a:pt x="5952" y="4441"/>
                </a:lnTo>
                <a:lnTo>
                  <a:pt x="8680" y="6909"/>
                </a:lnTo>
                <a:lnTo>
                  <a:pt x="11408" y="10364"/>
                </a:lnTo>
                <a:lnTo>
                  <a:pt x="13144" y="14559"/>
                </a:lnTo>
                <a:lnTo>
                  <a:pt x="14880" y="19248"/>
                </a:lnTo>
                <a:lnTo>
                  <a:pt x="15872" y="24677"/>
                </a:lnTo>
                <a:lnTo>
                  <a:pt x="16120" y="30106"/>
                </a:lnTo>
                <a:lnTo>
                  <a:pt x="18600" y="30106"/>
                </a:lnTo>
                <a:lnTo>
                  <a:pt x="18352" y="24184"/>
                </a:lnTo>
                <a:lnTo>
                  <a:pt x="17360" y="18754"/>
                </a:lnTo>
                <a:lnTo>
                  <a:pt x="15624" y="13572"/>
                </a:lnTo>
                <a:lnTo>
                  <a:pt x="13392" y="8883"/>
                </a:lnTo>
                <a:lnTo>
                  <a:pt x="10664" y="5429"/>
                </a:lnTo>
                <a:lnTo>
                  <a:pt x="7440" y="2467"/>
                </a:lnTo>
                <a:lnTo>
                  <a:pt x="3968" y="493"/>
                </a:lnTo>
                <a:lnTo>
                  <a:pt x="0" y="0"/>
                </a:lnTo>
                <a:close/>
              </a:path>
            </a:pathLst>
          </a:custGeom>
          <a:solidFill>
            <a:srgbClr val="000000"/>
          </a:solidFill>
        </p:spPr>
        <p:txBody>
          <a:bodyPr wrap="square" lIns="0" tIns="0" rIns="0" bIns="0" rtlCol="0">
            <a:noAutofit/>
          </a:bodyPr>
          <a:lstStyle/>
          <a:p>
            <a:endParaRPr/>
          </a:p>
        </p:txBody>
      </p:sp>
      <p:sp>
        <p:nvSpPr>
          <p:cNvPr id="1998" name="object 1998"/>
          <p:cNvSpPr/>
          <p:nvPr/>
        </p:nvSpPr>
        <p:spPr>
          <a:xfrm>
            <a:off x="7775315" y="1659895"/>
            <a:ext cx="18600" cy="30106"/>
          </a:xfrm>
          <a:custGeom>
            <a:avLst/>
            <a:gdLst/>
            <a:ahLst/>
            <a:cxnLst/>
            <a:rect l="l" t="t" r="r" b="b"/>
            <a:pathLst>
              <a:path w="18600" h="30106">
                <a:moveTo>
                  <a:pt x="2976" y="27145"/>
                </a:moveTo>
                <a:lnTo>
                  <a:pt x="0" y="27638"/>
                </a:lnTo>
                <a:lnTo>
                  <a:pt x="0" y="30106"/>
                </a:lnTo>
                <a:lnTo>
                  <a:pt x="3968" y="29613"/>
                </a:lnTo>
                <a:lnTo>
                  <a:pt x="7440" y="27638"/>
                </a:lnTo>
                <a:lnTo>
                  <a:pt x="10664" y="24677"/>
                </a:lnTo>
                <a:lnTo>
                  <a:pt x="13392" y="20975"/>
                </a:lnTo>
                <a:lnTo>
                  <a:pt x="15624" y="16533"/>
                </a:lnTo>
                <a:lnTo>
                  <a:pt x="17360" y="11351"/>
                </a:lnTo>
                <a:lnTo>
                  <a:pt x="18352" y="5922"/>
                </a:lnTo>
                <a:lnTo>
                  <a:pt x="18600" y="0"/>
                </a:lnTo>
                <a:lnTo>
                  <a:pt x="16120" y="0"/>
                </a:lnTo>
                <a:lnTo>
                  <a:pt x="15872" y="5429"/>
                </a:lnTo>
                <a:lnTo>
                  <a:pt x="14880" y="10858"/>
                </a:lnTo>
                <a:lnTo>
                  <a:pt x="13144" y="15546"/>
                </a:lnTo>
                <a:lnTo>
                  <a:pt x="11408" y="19495"/>
                </a:lnTo>
                <a:lnTo>
                  <a:pt x="8680" y="23196"/>
                </a:lnTo>
                <a:lnTo>
                  <a:pt x="5952" y="25664"/>
                </a:lnTo>
                <a:lnTo>
                  <a:pt x="2976" y="27145"/>
                </a:lnTo>
                <a:close/>
              </a:path>
            </a:pathLst>
          </a:custGeom>
          <a:solidFill>
            <a:srgbClr val="000000"/>
          </a:solidFill>
        </p:spPr>
        <p:txBody>
          <a:bodyPr wrap="square" lIns="0" tIns="0" rIns="0" bIns="0" rtlCol="0">
            <a:noAutofit/>
          </a:bodyPr>
          <a:lstStyle/>
          <a:p>
            <a:endParaRPr/>
          </a:p>
        </p:txBody>
      </p:sp>
      <p:sp>
        <p:nvSpPr>
          <p:cNvPr id="1999" name="object 1999"/>
          <p:cNvSpPr/>
          <p:nvPr/>
        </p:nvSpPr>
        <p:spPr>
          <a:xfrm>
            <a:off x="7756714" y="1659895"/>
            <a:ext cx="18600" cy="30106"/>
          </a:xfrm>
          <a:custGeom>
            <a:avLst/>
            <a:gdLst/>
            <a:ahLst/>
            <a:cxnLst/>
            <a:rect l="l" t="t" r="r" b="b"/>
            <a:pathLst>
              <a:path w="18600" h="30106">
                <a:moveTo>
                  <a:pt x="2480" y="0"/>
                </a:moveTo>
                <a:lnTo>
                  <a:pt x="0" y="0"/>
                </a:lnTo>
                <a:lnTo>
                  <a:pt x="248" y="5922"/>
                </a:lnTo>
                <a:lnTo>
                  <a:pt x="1488" y="11351"/>
                </a:lnTo>
                <a:lnTo>
                  <a:pt x="2976" y="16533"/>
                </a:lnTo>
                <a:lnTo>
                  <a:pt x="5456" y="20975"/>
                </a:lnTo>
                <a:lnTo>
                  <a:pt x="7936" y="24677"/>
                </a:lnTo>
                <a:lnTo>
                  <a:pt x="11160" y="27638"/>
                </a:lnTo>
                <a:lnTo>
                  <a:pt x="14632" y="29613"/>
                </a:lnTo>
                <a:lnTo>
                  <a:pt x="18600" y="30106"/>
                </a:lnTo>
                <a:lnTo>
                  <a:pt x="18600" y="27638"/>
                </a:lnTo>
                <a:lnTo>
                  <a:pt x="15624" y="27145"/>
                </a:lnTo>
                <a:lnTo>
                  <a:pt x="12648" y="25664"/>
                </a:lnTo>
                <a:lnTo>
                  <a:pt x="9920" y="23196"/>
                </a:lnTo>
                <a:lnTo>
                  <a:pt x="7440" y="19495"/>
                </a:lnTo>
                <a:lnTo>
                  <a:pt x="5456" y="15546"/>
                </a:lnTo>
                <a:lnTo>
                  <a:pt x="3968" y="10858"/>
                </a:lnTo>
                <a:lnTo>
                  <a:pt x="2728" y="5429"/>
                </a:lnTo>
                <a:lnTo>
                  <a:pt x="2480" y="0"/>
                </a:lnTo>
                <a:close/>
              </a:path>
            </a:pathLst>
          </a:custGeom>
          <a:solidFill>
            <a:srgbClr val="000000"/>
          </a:solidFill>
        </p:spPr>
        <p:txBody>
          <a:bodyPr wrap="square" lIns="0" tIns="0" rIns="0" bIns="0" rtlCol="0">
            <a:noAutofit/>
          </a:bodyPr>
          <a:lstStyle/>
          <a:p>
            <a:endParaRPr/>
          </a:p>
        </p:txBody>
      </p:sp>
      <p:sp>
        <p:nvSpPr>
          <p:cNvPr id="2000" name="object 2000"/>
          <p:cNvSpPr/>
          <p:nvPr/>
        </p:nvSpPr>
        <p:spPr>
          <a:xfrm>
            <a:off x="7756714" y="1629789"/>
            <a:ext cx="18600" cy="30106"/>
          </a:xfrm>
          <a:custGeom>
            <a:avLst/>
            <a:gdLst/>
            <a:ahLst/>
            <a:cxnLst/>
            <a:rect l="l" t="t" r="r" b="b"/>
            <a:pathLst>
              <a:path w="18600" h="30106">
                <a:moveTo>
                  <a:pt x="248" y="24184"/>
                </a:moveTo>
                <a:lnTo>
                  <a:pt x="0" y="30106"/>
                </a:lnTo>
                <a:lnTo>
                  <a:pt x="2480" y="30106"/>
                </a:lnTo>
                <a:lnTo>
                  <a:pt x="2728" y="24677"/>
                </a:lnTo>
                <a:lnTo>
                  <a:pt x="3968" y="19248"/>
                </a:lnTo>
                <a:lnTo>
                  <a:pt x="5456" y="14559"/>
                </a:lnTo>
                <a:lnTo>
                  <a:pt x="7440" y="10364"/>
                </a:lnTo>
                <a:lnTo>
                  <a:pt x="9920" y="6909"/>
                </a:lnTo>
                <a:lnTo>
                  <a:pt x="12648" y="4441"/>
                </a:lnTo>
                <a:lnTo>
                  <a:pt x="15624" y="2961"/>
                </a:lnTo>
                <a:lnTo>
                  <a:pt x="18600" y="2467"/>
                </a:lnTo>
                <a:lnTo>
                  <a:pt x="18600" y="0"/>
                </a:lnTo>
                <a:lnTo>
                  <a:pt x="14632" y="493"/>
                </a:lnTo>
                <a:lnTo>
                  <a:pt x="11160" y="2467"/>
                </a:lnTo>
                <a:lnTo>
                  <a:pt x="7936" y="5429"/>
                </a:lnTo>
                <a:lnTo>
                  <a:pt x="5456" y="8883"/>
                </a:lnTo>
                <a:lnTo>
                  <a:pt x="2976" y="13572"/>
                </a:lnTo>
                <a:lnTo>
                  <a:pt x="1488" y="18754"/>
                </a:lnTo>
                <a:lnTo>
                  <a:pt x="248" y="24184"/>
                </a:lnTo>
                <a:close/>
              </a:path>
            </a:pathLst>
          </a:custGeom>
          <a:solidFill>
            <a:srgbClr val="000000"/>
          </a:solidFill>
        </p:spPr>
        <p:txBody>
          <a:bodyPr wrap="square" lIns="0" tIns="0" rIns="0" bIns="0" rtlCol="0">
            <a:noAutofit/>
          </a:bodyPr>
          <a:lstStyle/>
          <a:p>
            <a:endParaRPr/>
          </a:p>
        </p:txBody>
      </p:sp>
      <p:sp>
        <p:nvSpPr>
          <p:cNvPr id="2001" name="object 2001"/>
          <p:cNvSpPr/>
          <p:nvPr/>
        </p:nvSpPr>
        <p:spPr>
          <a:xfrm>
            <a:off x="7727450" y="1631764"/>
            <a:ext cx="33481" cy="55277"/>
          </a:xfrm>
          <a:custGeom>
            <a:avLst/>
            <a:gdLst/>
            <a:ahLst/>
            <a:cxnLst/>
            <a:rect l="l" t="t" r="r" b="b"/>
            <a:pathLst>
              <a:path w="33481" h="55277">
                <a:moveTo>
                  <a:pt x="16616" y="0"/>
                </a:moveTo>
                <a:lnTo>
                  <a:pt x="13144" y="493"/>
                </a:lnTo>
                <a:lnTo>
                  <a:pt x="10168" y="2220"/>
                </a:lnTo>
                <a:lnTo>
                  <a:pt x="7440" y="4688"/>
                </a:lnTo>
                <a:lnTo>
                  <a:pt x="4960" y="8143"/>
                </a:lnTo>
                <a:lnTo>
                  <a:pt x="2728" y="12092"/>
                </a:lnTo>
                <a:lnTo>
                  <a:pt x="1240" y="16780"/>
                </a:lnTo>
                <a:lnTo>
                  <a:pt x="248" y="21963"/>
                </a:lnTo>
                <a:lnTo>
                  <a:pt x="0" y="27638"/>
                </a:lnTo>
                <a:lnTo>
                  <a:pt x="248" y="33314"/>
                </a:lnTo>
                <a:lnTo>
                  <a:pt x="1240" y="38496"/>
                </a:lnTo>
                <a:lnTo>
                  <a:pt x="2728" y="43185"/>
                </a:lnTo>
                <a:lnTo>
                  <a:pt x="4960" y="47134"/>
                </a:lnTo>
                <a:lnTo>
                  <a:pt x="7440" y="50589"/>
                </a:lnTo>
                <a:lnTo>
                  <a:pt x="10168" y="53056"/>
                </a:lnTo>
                <a:lnTo>
                  <a:pt x="13144" y="54784"/>
                </a:lnTo>
                <a:lnTo>
                  <a:pt x="16616" y="55277"/>
                </a:lnTo>
                <a:lnTo>
                  <a:pt x="20088" y="54784"/>
                </a:lnTo>
                <a:lnTo>
                  <a:pt x="23065" y="53056"/>
                </a:lnTo>
                <a:lnTo>
                  <a:pt x="26041" y="50589"/>
                </a:lnTo>
                <a:lnTo>
                  <a:pt x="28521" y="47134"/>
                </a:lnTo>
                <a:lnTo>
                  <a:pt x="30505" y="43185"/>
                </a:lnTo>
                <a:lnTo>
                  <a:pt x="32241" y="38496"/>
                </a:lnTo>
                <a:lnTo>
                  <a:pt x="33233" y="33314"/>
                </a:lnTo>
                <a:lnTo>
                  <a:pt x="33481" y="27638"/>
                </a:lnTo>
                <a:lnTo>
                  <a:pt x="33233" y="21963"/>
                </a:lnTo>
                <a:lnTo>
                  <a:pt x="32241" y="16780"/>
                </a:lnTo>
                <a:lnTo>
                  <a:pt x="30505" y="12092"/>
                </a:lnTo>
                <a:lnTo>
                  <a:pt x="28521" y="8143"/>
                </a:lnTo>
                <a:lnTo>
                  <a:pt x="26041" y="4688"/>
                </a:lnTo>
                <a:lnTo>
                  <a:pt x="23065" y="2220"/>
                </a:lnTo>
                <a:lnTo>
                  <a:pt x="20088" y="493"/>
                </a:lnTo>
                <a:lnTo>
                  <a:pt x="16616" y="0"/>
                </a:lnTo>
                <a:close/>
              </a:path>
            </a:pathLst>
          </a:custGeom>
          <a:solidFill>
            <a:srgbClr val="000000"/>
          </a:solidFill>
        </p:spPr>
        <p:txBody>
          <a:bodyPr wrap="square" lIns="0" tIns="0" rIns="0" bIns="0" rtlCol="0">
            <a:noAutofit/>
          </a:bodyPr>
          <a:lstStyle/>
          <a:p>
            <a:endParaRPr/>
          </a:p>
        </p:txBody>
      </p:sp>
      <p:sp>
        <p:nvSpPr>
          <p:cNvPr id="2002" name="object 2002"/>
          <p:cNvSpPr/>
          <p:nvPr/>
        </p:nvSpPr>
        <p:spPr>
          <a:xfrm>
            <a:off x="7744066" y="1630529"/>
            <a:ext cx="18104" cy="28872"/>
          </a:xfrm>
          <a:custGeom>
            <a:avLst/>
            <a:gdLst/>
            <a:ahLst/>
            <a:cxnLst/>
            <a:rect l="l" t="t" r="r" b="b"/>
            <a:pathLst>
              <a:path w="18104" h="28872">
                <a:moveTo>
                  <a:pt x="0" y="0"/>
                </a:moveTo>
                <a:lnTo>
                  <a:pt x="0" y="2467"/>
                </a:lnTo>
                <a:lnTo>
                  <a:pt x="2976" y="2961"/>
                </a:lnTo>
                <a:lnTo>
                  <a:pt x="5704" y="4441"/>
                </a:lnTo>
                <a:lnTo>
                  <a:pt x="8432" y="6662"/>
                </a:lnTo>
                <a:lnTo>
                  <a:pt x="10912" y="10117"/>
                </a:lnTo>
                <a:lnTo>
                  <a:pt x="12648" y="13819"/>
                </a:lnTo>
                <a:lnTo>
                  <a:pt x="14384" y="18261"/>
                </a:lnTo>
                <a:lnTo>
                  <a:pt x="15376" y="23443"/>
                </a:lnTo>
                <a:lnTo>
                  <a:pt x="15624" y="28872"/>
                </a:lnTo>
                <a:lnTo>
                  <a:pt x="18104" y="28872"/>
                </a:lnTo>
                <a:lnTo>
                  <a:pt x="17856" y="22950"/>
                </a:lnTo>
                <a:lnTo>
                  <a:pt x="16864" y="17767"/>
                </a:lnTo>
                <a:lnTo>
                  <a:pt x="15128" y="12832"/>
                </a:lnTo>
                <a:lnTo>
                  <a:pt x="12896" y="8637"/>
                </a:lnTo>
                <a:lnTo>
                  <a:pt x="10416" y="5182"/>
                </a:lnTo>
                <a:lnTo>
                  <a:pt x="7192" y="2467"/>
                </a:lnTo>
                <a:lnTo>
                  <a:pt x="3968" y="493"/>
                </a:lnTo>
                <a:lnTo>
                  <a:pt x="0" y="0"/>
                </a:lnTo>
                <a:close/>
              </a:path>
            </a:pathLst>
          </a:custGeom>
          <a:solidFill>
            <a:srgbClr val="000000"/>
          </a:solidFill>
        </p:spPr>
        <p:txBody>
          <a:bodyPr wrap="square" lIns="0" tIns="0" rIns="0" bIns="0" rtlCol="0">
            <a:noAutofit/>
          </a:bodyPr>
          <a:lstStyle/>
          <a:p>
            <a:endParaRPr/>
          </a:p>
        </p:txBody>
      </p:sp>
      <p:sp>
        <p:nvSpPr>
          <p:cNvPr id="2003" name="object 2003"/>
          <p:cNvSpPr/>
          <p:nvPr/>
        </p:nvSpPr>
        <p:spPr>
          <a:xfrm>
            <a:off x="7744066" y="1659402"/>
            <a:ext cx="18104" cy="28872"/>
          </a:xfrm>
          <a:custGeom>
            <a:avLst/>
            <a:gdLst/>
            <a:ahLst/>
            <a:cxnLst/>
            <a:rect l="l" t="t" r="r" b="b"/>
            <a:pathLst>
              <a:path w="18104" h="28872">
                <a:moveTo>
                  <a:pt x="2976" y="25911"/>
                </a:moveTo>
                <a:lnTo>
                  <a:pt x="0" y="26404"/>
                </a:lnTo>
                <a:lnTo>
                  <a:pt x="0" y="28872"/>
                </a:lnTo>
                <a:lnTo>
                  <a:pt x="3968" y="28379"/>
                </a:lnTo>
                <a:lnTo>
                  <a:pt x="7192" y="26404"/>
                </a:lnTo>
                <a:lnTo>
                  <a:pt x="10416" y="23690"/>
                </a:lnTo>
                <a:lnTo>
                  <a:pt x="12896" y="20235"/>
                </a:lnTo>
                <a:lnTo>
                  <a:pt x="15128" y="16040"/>
                </a:lnTo>
                <a:lnTo>
                  <a:pt x="16864" y="11104"/>
                </a:lnTo>
                <a:lnTo>
                  <a:pt x="17856" y="5922"/>
                </a:lnTo>
                <a:lnTo>
                  <a:pt x="18104" y="0"/>
                </a:lnTo>
                <a:lnTo>
                  <a:pt x="15624" y="0"/>
                </a:lnTo>
                <a:lnTo>
                  <a:pt x="15376" y="5429"/>
                </a:lnTo>
                <a:lnTo>
                  <a:pt x="14384" y="10611"/>
                </a:lnTo>
                <a:lnTo>
                  <a:pt x="12648" y="15053"/>
                </a:lnTo>
                <a:lnTo>
                  <a:pt x="10912" y="18754"/>
                </a:lnTo>
                <a:lnTo>
                  <a:pt x="8432" y="22209"/>
                </a:lnTo>
                <a:lnTo>
                  <a:pt x="5704" y="24430"/>
                </a:lnTo>
                <a:lnTo>
                  <a:pt x="2976" y="25911"/>
                </a:lnTo>
                <a:close/>
              </a:path>
            </a:pathLst>
          </a:custGeom>
          <a:solidFill>
            <a:srgbClr val="000000"/>
          </a:solidFill>
        </p:spPr>
        <p:txBody>
          <a:bodyPr wrap="square" lIns="0" tIns="0" rIns="0" bIns="0" rtlCol="0">
            <a:noAutofit/>
          </a:bodyPr>
          <a:lstStyle/>
          <a:p>
            <a:endParaRPr/>
          </a:p>
        </p:txBody>
      </p:sp>
      <p:sp>
        <p:nvSpPr>
          <p:cNvPr id="2004" name="object 2004"/>
          <p:cNvSpPr/>
          <p:nvPr/>
        </p:nvSpPr>
        <p:spPr>
          <a:xfrm>
            <a:off x="7726209" y="1659402"/>
            <a:ext cx="17856" cy="28872"/>
          </a:xfrm>
          <a:custGeom>
            <a:avLst/>
            <a:gdLst/>
            <a:ahLst/>
            <a:cxnLst/>
            <a:rect l="l" t="t" r="r" b="b"/>
            <a:pathLst>
              <a:path w="17856" h="28872">
                <a:moveTo>
                  <a:pt x="248" y="5922"/>
                </a:moveTo>
                <a:lnTo>
                  <a:pt x="1240" y="11104"/>
                </a:lnTo>
                <a:lnTo>
                  <a:pt x="2728" y="16040"/>
                </a:lnTo>
                <a:lnTo>
                  <a:pt x="5208" y="20235"/>
                </a:lnTo>
                <a:lnTo>
                  <a:pt x="7688" y="23690"/>
                </a:lnTo>
                <a:lnTo>
                  <a:pt x="10664" y="26404"/>
                </a:lnTo>
                <a:lnTo>
                  <a:pt x="13888" y="28379"/>
                </a:lnTo>
                <a:lnTo>
                  <a:pt x="17856" y="28872"/>
                </a:lnTo>
                <a:lnTo>
                  <a:pt x="17856" y="26404"/>
                </a:lnTo>
                <a:lnTo>
                  <a:pt x="14880" y="25911"/>
                </a:lnTo>
                <a:lnTo>
                  <a:pt x="12152" y="24430"/>
                </a:lnTo>
                <a:lnTo>
                  <a:pt x="9672" y="22209"/>
                </a:lnTo>
                <a:lnTo>
                  <a:pt x="7192" y="18754"/>
                </a:lnTo>
                <a:lnTo>
                  <a:pt x="5208" y="15053"/>
                </a:lnTo>
                <a:lnTo>
                  <a:pt x="3720" y="10611"/>
                </a:lnTo>
                <a:lnTo>
                  <a:pt x="2728" y="5429"/>
                </a:lnTo>
                <a:lnTo>
                  <a:pt x="2480" y="0"/>
                </a:lnTo>
                <a:lnTo>
                  <a:pt x="0" y="0"/>
                </a:lnTo>
                <a:lnTo>
                  <a:pt x="248" y="5922"/>
                </a:lnTo>
                <a:close/>
              </a:path>
            </a:pathLst>
          </a:custGeom>
          <a:solidFill>
            <a:srgbClr val="000000"/>
          </a:solidFill>
        </p:spPr>
        <p:txBody>
          <a:bodyPr wrap="square" lIns="0" tIns="0" rIns="0" bIns="0" rtlCol="0">
            <a:noAutofit/>
          </a:bodyPr>
          <a:lstStyle/>
          <a:p>
            <a:endParaRPr/>
          </a:p>
        </p:txBody>
      </p:sp>
      <p:sp>
        <p:nvSpPr>
          <p:cNvPr id="2005" name="object 2005"/>
          <p:cNvSpPr/>
          <p:nvPr/>
        </p:nvSpPr>
        <p:spPr>
          <a:xfrm>
            <a:off x="7726209" y="1630529"/>
            <a:ext cx="17856" cy="28872"/>
          </a:xfrm>
          <a:custGeom>
            <a:avLst/>
            <a:gdLst/>
            <a:ahLst/>
            <a:cxnLst/>
            <a:rect l="l" t="t" r="r" b="b"/>
            <a:pathLst>
              <a:path w="17856" h="28872">
                <a:moveTo>
                  <a:pt x="248" y="22950"/>
                </a:moveTo>
                <a:lnTo>
                  <a:pt x="0" y="28872"/>
                </a:lnTo>
                <a:lnTo>
                  <a:pt x="2480" y="28872"/>
                </a:lnTo>
                <a:lnTo>
                  <a:pt x="2728" y="23443"/>
                </a:lnTo>
                <a:lnTo>
                  <a:pt x="3720" y="18261"/>
                </a:lnTo>
                <a:lnTo>
                  <a:pt x="5208" y="13819"/>
                </a:lnTo>
                <a:lnTo>
                  <a:pt x="7192" y="10117"/>
                </a:lnTo>
                <a:lnTo>
                  <a:pt x="9672" y="6662"/>
                </a:lnTo>
                <a:lnTo>
                  <a:pt x="12152" y="4441"/>
                </a:lnTo>
                <a:lnTo>
                  <a:pt x="14880" y="2961"/>
                </a:lnTo>
                <a:lnTo>
                  <a:pt x="17856" y="2467"/>
                </a:lnTo>
                <a:lnTo>
                  <a:pt x="17856" y="0"/>
                </a:lnTo>
                <a:lnTo>
                  <a:pt x="13888" y="493"/>
                </a:lnTo>
                <a:lnTo>
                  <a:pt x="10664" y="2467"/>
                </a:lnTo>
                <a:lnTo>
                  <a:pt x="7688" y="5182"/>
                </a:lnTo>
                <a:lnTo>
                  <a:pt x="5208" y="8637"/>
                </a:lnTo>
                <a:lnTo>
                  <a:pt x="2728" y="12832"/>
                </a:lnTo>
                <a:lnTo>
                  <a:pt x="1240" y="17767"/>
                </a:lnTo>
                <a:lnTo>
                  <a:pt x="248" y="22950"/>
                </a:lnTo>
                <a:close/>
              </a:path>
            </a:pathLst>
          </a:custGeom>
          <a:solidFill>
            <a:srgbClr val="000000"/>
          </a:solidFill>
        </p:spPr>
        <p:txBody>
          <a:bodyPr wrap="square" lIns="0" tIns="0" rIns="0" bIns="0" rtlCol="0">
            <a:noAutofit/>
          </a:bodyPr>
          <a:lstStyle/>
          <a:p>
            <a:endParaRPr/>
          </a:p>
        </p:txBody>
      </p:sp>
      <p:sp>
        <p:nvSpPr>
          <p:cNvPr id="2006" name="object 2006"/>
          <p:cNvSpPr/>
          <p:nvPr/>
        </p:nvSpPr>
        <p:spPr>
          <a:xfrm>
            <a:off x="7757459" y="1633984"/>
            <a:ext cx="31001" cy="51576"/>
          </a:xfrm>
          <a:custGeom>
            <a:avLst/>
            <a:gdLst/>
            <a:ahLst/>
            <a:cxnLst/>
            <a:rect l="l" t="t" r="r" b="b"/>
            <a:pathLst>
              <a:path w="31001" h="51576">
                <a:moveTo>
                  <a:pt x="0" y="25911"/>
                </a:moveTo>
                <a:lnTo>
                  <a:pt x="248" y="31093"/>
                </a:lnTo>
                <a:lnTo>
                  <a:pt x="1240" y="35782"/>
                </a:lnTo>
                <a:lnTo>
                  <a:pt x="2728" y="40224"/>
                </a:lnTo>
                <a:lnTo>
                  <a:pt x="4464" y="43926"/>
                </a:lnTo>
                <a:lnTo>
                  <a:pt x="6696" y="47134"/>
                </a:lnTo>
                <a:lnTo>
                  <a:pt x="9424" y="49601"/>
                </a:lnTo>
                <a:lnTo>
                  <a:pt x="12400" y="51082"/>
                </a:lnTo>
                <a:lnTo>
                  <a:pt x="15376" y="51576"/>
                </a:lnTo>
                <a:lnTo>
                  <a:pt x="18352" y="51082"/>
                </a:lnTo>
                <a:lnTo>
                  <a:pt x="21328" y="49601"/>
                </a:lnTo>
                <a:lnTo>
                  <a:pt x="24057" y="47134"/>
                </a:lnTo>
                <a:lnTo>
                  <a:pt x="26289" y="43926"/>
                </a:lnTo>
                <a:lnTo>
                  <a:pt x="28273" y="40224"/>
                </a:lnTo>
                <a:lnTo>
                  <a:pt x="29761" y="35782"/>
                </a:lnTo>
                <a:lnTo>
                  <a:pt x="30753" y="31093"/>
                </a:lnTo>
                <a:lnTo>
                  <a:pt x="31001" y="25911"/>
                </a:lnTo>
                <a:lnTo>
                  <a:pt x="30753" y="20729"/>
                </a:lnTo>
                <a:lnTo>
                  <a:pt x="29761" y="15793"/>
                </a:lnTo>
                <a:lnTo>
                  <a:pt x="28273" y="11351"/>
                </a:lnTo>
                <a:lnTo>
                  <a:pt x="26289" y="7650"/>
                </a:lnTo>
                <a:lnTo>
                  <a:pt x="24057" y="4441"/>
                </a:lnTo>
                <a:lnTo>
                  <a:pt x="21328" y="1974"/>
                </a:lnTo>
                <a:lnTo>
                  <a:pt x="18352" y="493"/>
                </a:lnTo>
                <a:lnTo>
                  <a:pt x="15376" y="0"/>
                </a:lnTo>
                <a:lnTo>
                  <a:pt x="12400" y="493"/>
                </a:lnTo>
                <a:lnTo>
                  <a:pt x="9424" y="1974"/>
                </a:lnTo>
                <a:lnTo>
                  <a:pt x="6696" y="4441"/>
                </a:lnTo>
                <a:lnTo>
                  <a:pt x="4464" y="7650"/>
                </a:lnTo>
                <a:lnTo>
                  <a:pt x="2728" y="11351"/>
                </a:lnTo>
                <a:lnTo>
                  <a:pt x="1240" y="15793"/>
                </a:lnTo>
                <a:lnTo>
                  <a:pt x="248" y="20729"/>
                </a:lnTo>
                <a:lnTo>
                  <a:pt x="0" y="25911"/>
                </a:lnTo>
                <a:close/>
              </a:path>
            </a:pathLst>
          </a:custGeom>
          <a:solidFill>
            <a:srgbClr val="E4FFE4"/>
          </a:solidFill>
        </p:spPr>
        <p:txBody>
          <a:bodyPr wrap="square" lIns="0" tIns="0" rIns="0" bIns="0" rtlCol="0">
            <a:noAutofit/>
          </a:bodyPr>
          <a:lstStyle/>
          <a:p>
            <a:endParaRPr/>
          </a:p>
        </p:txBody>
      </p:sp>
      <p:sp>
        <p:nvSpPr>
          <p:cNvPr id="2007" name="object 2007"/>
          <p:cNvSpPr/>
          <p:nvPr/>
        </p:nvSpPr>
        <p:spPr>
          <a:xfrm>
            <a:off x="7727202" y="1634725"/>
            <a:ext cx="29513" cy="49355"/>
          </a:xfrm>
          <a:custGeom>
            <a:avLst/>
            <a:gdLst/>
            <a:ahLst/>
            <a:cxnLst/>
            <a:rect l="l" t="t" r="r" b="b"/>
            <a:pathLst>
              <a:path w="29513" h="49355">
                <a:moveTo>
                  <a:pt x="0" y="24677"/>
                </a:moveTo>
                <a:lnTo>
                  <a:pt x="248" y="29613"/>
                </a:lnTo>
                <a:lnTo>
                  <a:pt x="1240" y="34301"/>
                </a:lnTo>
                <a:lnTo>
                  <a:pt x="2480" y="38496"/>
                </a:lnTo>
                <a:lnTo>
                  <a:pt x="4464" y="42198"/>
                </a:lnTo>
                <a:lnTo>
                  <a:pt x="6696" y="45159"/>
                </a:lnTo>
                <a:lnTo>
                  <a:pt x="9176" y="47380"/>
                </a:lnTo>
                <a:lnTo>
                  <a:pt x="11904" y="48861"/>
                </a:lnTo>
                <a:lnTo>
                  <a:pt x="14880" y="49355"/>
                </a:lnTo>
                <a:lnTo>
                  <a:pt x="17856" y="48861"/>
                </a:lnTo>
                <a:lnTo>
                  <a:pt x="20584" y="47380"/>
                </a:lnTo>
                <a:lnTo>
                  <a:pt x="23065" y="45159"/>
                </a:lnTo>
                <a:lnTo>
                  <a:pt x="25297" y="42198"/>
                </a:lnTo>
                <a:lnTo>
                  <a:pt x="27033" y="38496"/>
                </a:lnTo>
                <a:lnTo>
                  <a:pt x="28273" y="34301"/>
                </a:lnTo>
                <a:lnTo>
                  <a:pt x="29265" y="29613"/>
                </a:lnTo>
                <a:lnTo>
                  <a:pt x="29513" y="24677"/>
                </a:lnTo>
                <a:lnTo>
                  <a:pt x="29265" y="19742"/>
                </a:lnTo>
                <a:lnTo>
                  <a:pt x="28273" y="15053"/>
                </a:lnTo>
                <a:lnTo>
                  <a:pt x="27033" y="10858"/>
                </a:lnTo>
                <a:lnTo>
                  <a:pt x="25297" y="7156"/>
                </a:lnTo>
                <a:lnTo>
                  <a:pt x="23065" y="4195"/>
                </a:lnTo>
                <a:lnTo>
                  <a:pt x="20584" y="1974"/>
                </a:lnTo>
                <a:lnTo>
                  <a:pt x="17856" y="493"/>
                </a:lnTo>
                <a:lnTo>
                  <a:pt x="14880" y="0"/>
                </a:lnTo>
                <a:lnTo>
                  <a:pt x="11904" y="493"/>
                </a:lnTo>
                <a:lnTo>
                  <a:pt x="9176" y="1974"/>
                </a:lnTo>
                <a:lnTo>
                  <a:pt x="6696" y="4195"/>
                </a:lnTo>
                <a:lnTo>
                  <a:pt x="4464" y="7156"/>
                </a:lnTo>
                <a:lnTo>
                  <a:pt x="2480" y="10858"/>
                </a:lnTo>
                <a:lnTo>
                  <a:pt x="1240" y="15053"/>
                </a:lnTo>
                <a:lnTo>
                  <a:pt x="248" y="19742"/>
                </a:lnTo>
                <a:lnTo>
                  <a:pt x="0" y="24677"/>
                </a:lnTo>
                <a:close/>
              </a:path>
            </a:pathLst>
          </a:custGeom>
          <a:solidFill>
            <a:srgbClr val="E4FFE4"/>
          </a:solidFill>
        </p:spPr>
        <p:txBody>
          <a:bodyPr wrap="square" lIns="0" tIns="0" rIns="0" bIns="0" rtlCol="0">
            <a:noAutofit/>
          </a:bodyPr>
          <a:lstStyle/>
          <a:p>
            <a:endParaRPr/>
          </a:p>
        </p:txBody>
      </p:sp>
      <p:sp>
        <p:nvSpPr>
          <p:cNvPr id="2008" name="object 2008"/>
          <p:cNvSpPr/>
          <p:nvPr/>
        </p:nvSpPr>
        <p:spPr>
          <a:xfrm>
            <a:off x="7772835" y="1632751"/>
            <a:ext cx="16864" cy="27145"/>
          </a:xfrm>
          <a:custGeom>
            <a:avLst/>
            <a:gdLst/>
            <a:ahLst/>
            <a:cxnLst/>
            <a:rect l="l" t="t" r="r" b="b"/>
            <a:pathLst>
              <a:path w="16864" h="27145">
                <a:moveTo>
                  <a:pt x="9920" y="9624"/>
                </a:moveTo>
                <a:lnTo>
                  <a:pt x="11656" y="13079"/>
                </a:lnTo>
                <a:lnTo>
                  <a:pt x="13144" y="17274"/>
                </a:lnTo>
                <a:lnTo>
                  <a:pt x="14136" y="22209"/>
                </a:lnTo>
                <a:lnTo>
                  <a:pt x="14384" y="27145"/>
                </a:lnTo>
                <a:lnTo>
                  <a:pt x="16864" y="27145"/>
                </a:lnTo>
                <a:lnTo>
                  <a:pt x="16616" y="21716"/>
                </a:lnTo>
                <a:lnTo>
                  <a:pt x="15624" y="16780"/>
                </a:lnTo>
                <a:lnTo>
                  <a:pt x="14136" y="12092"/>
                </a:lnTo>
                <a:lnTo>
                  <a:pt x="11904" y="8143"/>
                </a:lnTo>
                <a:lnTo>
                  <a:pt x="9672" y="4935"/>
                </a:lnTo>
                <a:lnTo>
                  <a:pt x="6696" y="2220"/>
                </a:lnTo>
                <a:lnTo>
                  <a:pt x="3472" y="493"/>
                </a:lnTo>
                <a:lnTo>
                  <a:pt x="0" y="0"/>
                </a:lnTo>
                <a:lnTo>
                  <a:pt x="0" y="2467"/>
                </a:lnTo>
                <a:lnTo>
                  <a:pt x="2480" y="2961"/>
                </a:lnTo>
                <a:lnTo>
                  <a:pt x="5208" y="4195"/>
                </a:lnTo>
                <a:lnTo>
                  <a:pt x="7688" y="6416"/>
                </a:lnTo>
                <a:lnTo>
                  <a:pt x="9920" y="9624"/>
                </a:lnTo>
                <a:close/>
              </a:path>
            </a:pathLst>
          </a:custGeom>
          <a:solidFill>
            <a:srgbClr val="000000"/>
          </a:solidFill>
        </p:spPr>
        <p:txBody>
          <a:bodyPr wrap="square" lIns="0" tIns="0" rIns="0" bIns="0" rtlCol="0">
            <a:noAutofit/>
          </a:bodyPr>
          <a:lstStyle/>
          <a:p>
            <a:endParaRPr/>
          </a:p>
        </p:txBody>
      </p:sp>
      <p:sp>
        <p:nvSpPr>
          <p:cNvPr id="2009" name="object 2009"/>
          <p:cNvSpPr/>
          <p:nvPr/>
        </p:nvSpPr>
        <p:spPr>
          <a:xfrm>
            <a:off x="7772835" y="1659895"/>
            <a:ext cx="16864" cy="26898"/>
          </a:xfrm>
          <a:custGeom>
            <a:avLst/>
            <a:gdLst/>
            <a:ahLst/>
            <a:cxnLst/>
            <a:rect l="l" t="t" r="r" b="b"/>
            <a:pathLst>
              <a:path w="16864" h="26898">
                <a:moveTo>
                  <a:pt x="2480" y="23937"/>
                </a:moveTo>
                <a:lnTo>
                  <a:pt x="0" y="24430"/>
                </a:lnTo>
                <a:lnTo>
                  <a:pt x="0" y="26898"/>
                </a:lnTo>
                <a:lnTo>
                  <a:pt x="3472" y="26404"/>
                </a:lnTo>
                <a:lnTo>
                  <a:pt x="6696" y="24677"/>
                </a:lnTo>
                <a:lnTo>
                  <a:pt x="9672" y="21963"/>
                </a:lnTo>
                <a:lnTo>
                  <a:pt x="11904" y="18754"/>
                </a:lnTo>
                <a:lnTo>
                  <a:pt x="14136" y="14806"/>
                </a:lnTo>
                <a:lnTo>
                  <a:pt x="15624" y="10117"/>
                </a:lnTo>
                <a:lnTo>
                  <a:pt x="16616" y="5429"/>
                </a:lnTo>
                <a:lnTo>
                  <a:pt x="16864" y="0"/>
                </a:lnTo>
                <a:lnTo>
                  <a:pt x="14384" y="0"/>
                </a:lnTo>
                <a:lnTo>
                  <a:pt x="14136" y="4935"/>
                </a:lnTo>
                <a:lnTo>
                  <a:pt x="13144" y="9624"/>
                </a:lnTo>
                <a:lnTo>
                  <a:pt x="11656" y="13819"/>
                </a:lnTo>
                <a:lnTo>
                  <a:pt x="9920" y="17274"/>
                </a:lnTo>
                <a:lnTo>
                  <a:pt x="7688" y="20482"/>
                </a:lnTo>
                <a:lnTo>
                  <a:pt x="5208" y="22703"/>
                </a:lnTo>
                <a:lnTo>
                  <a:pt x="2480" y="23937"/>
                </a:lnTo>
                <a:close/>
              </a:path>
            </a:pathLst>
          </a:custGeom>
          <a:solidFill>
            <a:srgbClr val="000000"/>
          </a:solidFill>
        </p:spPr>
        <p:txBody>
          <a:bodyPr wrap="square" lIns="0" tIns="0" rIns="0" bIns="0" rtlCol="0">
            <a:noAutofit/>
          </a:bodyPr>
          <a:lstStyle/>
          <a:p>
            <a:endParaRPr/>
          </a:p>
        </p:txBody>
      </p:sp>
      <p:sp>
        <p:nvSpPr>
          <p:cNvPr id="2010" name="object 2010"/>
          <p:cNvSpPr/>
          <p:nvPr/>
        </p:nvSpPr>
        <p:spPr>
          <a:xfrm>
            <a:off x="7756218" y="1659895"/>
            <a:ext cx="16616" cy="26898"/>
          </a:xfrm>
          <a:custGeom>
            <a:avLst/>
            <a:gdLst/>
            <a:ahLst/>
            <a:cxnLst/>
            <a:rect l="l" t="t" r="r" b="b"/>
            <a:pathLst>
              <a:path w="16616" h="26898">
                <a:moveTo>
                  <a:pt x="248" y="5429"/>
                </a:moveTo>
                <a:lnTo>
                  <a:pt x="1240" y="10117"/>
                </a:lnTo>
                <a:lnTo>
                  <a:pt x="2728" y="14806"/>
                </a:lnTo>
                <a:lnTo>
                  <a:pt x="4712" y="18508"/>
                </a:lnTo>
                <a:lnTo>
                  <a:pt x="6944" y="21963"/>
                </a:lnTo>
                <a:lnTo>
                  <a:pt x="9920" y="24677"/>
                </a:lnTo>
                <a:lnTo>
                  <a:pt x="13144" y="26404"/>
                </a:lnTo>
                <a:lnTo>
                  <a:pt x="16616" y="26898"/>
                </a:lnTo>
                <a:lnTo>
                  <a:pt x="16616" y="24430"/>
                </a:lnTo>
                <a:lnTo>
                  <a:pt x="14136" y="23937"/>
                </a:lnTo>
                <a:lnTo>
                  <a:pt x="11408" y="22703"/>
                </a:lnTo>
                <a:lnTo>
                  <a:pt x="8928" y="20482"/>
                </a:lnTo>
                <a:lnTo>
                  <a:pt x="6696" y="17521"/>
                </a:lnTo>
                <a:lnTo>
                  <a:pt x="5208" y="13819"/>
                </a:lnTo>
                <a:lnTo>
                  <a:pt x="3720" y="9624"/>
                </a:lnTo>
                <a:lnTo>
                  <a:pt x="2728" y="4935"/>
                </a:lnTo>
                <a:lnTo>
                  <a:pt x="2480" y="0"/>
                </a:lnTo>
                <a:lnTo>
                  <a:pt x="0" y="0"/>
                </a:lnTo>
                <a:lnTo>
                  <a:pt x="248" y="5429"/>
                </a:lnTo>
                <a:close/>
              </a:path>
            </a:pathLst>
          </a:custGeom>
          <a:solidFill>
            <a:srgbClr val="000000"/>
          </a:solidFill>
        </p:spPr>
        <p:txBody>
          <a:bodyPr wrap="square" lIns="0" tIns="0" rIns="0" bIns="0" rtlCol="0">
            <a:noAutofit/>
          </a:bodyPr>
          <a:lstStyle/>
          <a:p>
            <a:endParaRPr/>
          </a:p>
        </p:txBody>
      </p:sp>
      <p:sp>
        <p:nvSpPr>
          <p:cNvPr id="2011" name="object 2011"/>
          <p:cNvSpPr/>
          <p:nvPr/>
        </p:nvSpPr>
        <p:spPr>
          <a:xfrm>
            <a:off x="7756218" y="1632751"/>
            <a:ext cx="16616" cy="27145"/>
          </a:xfrm>
          <a:custGeom>
            <a:avLst/>
            <a:gdLst/>
            <a:ahLst/>
            <a:cxnLst/>
            <a:rect l="l" t="t" r="r" b="b"/>
            <a:pathLst>
              <a:path w="16616" h="27145">
                <a:moveTo>
                  <a:pt x="2480" y="27145"/>
                </a:moveTo>
                <a:lnTo>
                  <a:pt x="2728" y="22209"/>
                </a:lnTo>
                <a:lnTo>
                  <a:pt x="3720" y="17274"/>
                </a:lnTo>
                <a:lnTo>
                  <a:pt x="5208" y="13079"/>
                </a:lnTo>
                <a:lnTo>
                  <a:pt x="6696" y="9377"/>
                </a:lnTo>
                <a:lnTo>
                  <a:pt x="8928" y="6416"/>
                </a:lnTo>
                <a:lnTo>
                  <a:pt x="11408" y="4195"/>
                </a:lnTo>
                <a:lnTo>
                  <a:pt x="14136" y="2961"/>
                </a:lnTo>
                <a:lnTo>
                  <a:pt x="16616" y="2467"/>
                </a:lnTo>
                <a:lnTo>
                  <a:pt x="16616" y="0"/>
                </a:lnTo>
                <a:lnTo>
                  <a:pt x="13144" y="493"/>
                </a:lnTo>
                <a:lnTo>
                  <a:pt x="9920" y="2220"/>
                </a:lnTo>
                <a:lnTo>
                  <a:pt x="6944" y="4935"/>
                </a:lnTo>
                <a:lnTo>
                  <a:pt x="4712" y="8390"/>
                </a:lnTo>
                <a:lnTo>
                  <a:pt x="2728" y="12092"/>
                </a:lnTo>
                <a:lnTo>
                  <a:pt x="1240" y="16780"/>
                </a:lnTo>
                <a:lnTo>
                  <a:pt x="248" y="21716"/>
                </a:lnTo>
                <a:lnTo>
                  <a:pt x="0" y="27145"/>
                </a:lnTo>
                <a:lnTo>
                  <a:pt x="2480" y="27145"/>
                </a:lnTo>
                <a:close/>
              </a:path>
            </a:pathLst>
          </a:custGeom>
          <a:solidFill>
            <a:srgbClr val="000000"/>
          </a:solidFill>
        </p:spPr>
        <p:txBody>
          <a:bodyPr wrap="square" lIns="0" tIns="0" rIns="0" bIns="0" rtlCol="0">
            <a:noAutofit/>
          </a:bodyPr>
          <a:lstStyle/>
          <a:p>
            <a:endParaRPr/>
          </a:p>
        </p:txBody>
      </p:sp>
      <p:sp>
        <p:nvSpPr>
          <p:cNvPr id="2012" name="object 2012"/>
          <p:cNvSpPr/>
          <p:nvPr/>
        </p:nvSpPr>
        <p:spPr>
          <a:xfrm>
            <a:off x="7742082" y="1633491"/>
            <a:ext cx="15872" cy="25911"/>
          </a:xfrm>
          <a:custGeom>
            <a:avLst/>
            <a:gdLst/>
            <a:ahLst/>
            <a:cxnLst/>
            <a:rect l="l" t="t" r="r" b="b"/>
            <a:pathLst>
              <a:path w="15872" h="25911">
                <a:moveTo>
                  <a:pt x="0" y="0"/>
                </a:moveTo>
                <a:lnTo>
                  <a:pt x="0" y="2467"/>
                </a:lnTo>
                <a:lnTo>
                  <a:pt x="2480" y="2961"/>
                </a:lnTo>
                <a:lnTo>
                  <a:pt x="4960" y="4195"/>
                </a:lnTo>
                <a:lnTo>
                  <a:pt x="7192" y="6169"/>
                </a:lnTo>
                <a:lnTo>
                  <a:pt x="9424" y="9130"/>
                </a:lnTo>
                <a:lnTo>
                  <a:pt x="10912" y="12585"/>
                </a:lnTo>
                <a:lnTo>
                  <a:pt x="12152" y="16533"/>
                </a:lnTo>
                <a:lnTo>
                  <a:pt x="13144" y="21222"/>
                </a:lnTo>
                <a:lnTo>
                  <a:pt x="13392" y="25911"/>
                </a:lnTo>
                <a:lnTo>
                  <a:pt x="15872" y="25911"/>
                </a:lnTo>
                <a:lnTo>
                  <a:pt x="15624" y="20729"/>
                </a:lnTo>
                <a:lnTo>
                  <a:pt x="14632" y="16040"/>
                </a:lnTo>
                <a:lnTo>
                  <a:pt x="13392" y="11598"/>
                </a:lnTo>
                <a:lnTo>
                  <a:pt x="11408" y="7650"/>
                </a:lnTo>
                <a:lnTo>
                  <a:pt x="9176" y="4688"/>
                </a:lnTo>
                <a:lnTo>
                  <a:pt x="6448" y="2220"/>
                </a:lnTo>
                <a:lnTo>
                  <a:pt x="3472" y="493"/>
                </a:lnTo>
                <a:lnTo>
                  <a:pt x="0" y="0"/>
                </a:lnTo>
                <a:close/>
              </a:path>
            </a:pathLst>
          </a:custGeom>
          <a:solidFill>
            <a:srgbClr val="000000"/>
          </a:solidFill>
        </p:spPr>
        <p:txBody>
          <a:bodyPr wrap="square" lIns="0" tIns="0" rIns="0" bIns="0" rtlCol="0">
            <a:noAutofit/>
          </a:bodyPr>
          <a:lstStyle/>
          <a:p>
            <a:endParaRPr/>
          </a:p>
        </p:txBody>
      </p:sp>
      <p:sp>
        <p:nvSpPr>
          <p:cNvPr id="2013" name="object 2013"/>
          <p:cNvSpPr/>
          <p:nvPr/>
        </p:nvSpPr>
        <p:spPr>
          <a:xfrm>
            <a:off x="7742082" y="1659403"/>
            <a:ext cx="15872" cy="25911"/>
          </a:xfrm>
          <a:custGeom>
            <a:avLst/>
            <a:gdLst/>
            <a:ahLst/>
            <a:cxnLst/>
            <a:rect l="l" t="t" r="r" b="b"/>
            <a:pathLst>
              <a:path w="15872" h="25911">
                <a:moveTo>
                  <a:pt x="2480" y="22950"/>
                </a:moveTo>
                <a:lnTo>
                  <a:pt x="0" y="23443"/>
                </a:lnTo>
                <a:lnTo>
                  <a:pt x="0" y="25911"/>
                </a:lnTo>
                <a:lnTo>
                  <a:pt x="3472" y="25417"/>
                </a:lnTo>
                <a:lnTo>
                  <a:pt x="6448" y="23690"/>
                </a:lnTo>
                <a:lnTo>
                  <a:pt x="9176" y="21222"/>
                </a:lnTo>
                <a:lnTo>
                  <a:pt x="11408" y="18261"/>
                </a:lnTo>
                <a:lnTo>
                  <a:pt x="13392" y="14312"/>
                </a:lnTo>
                <a:lnTo>
                  <a:pt x="14632" y="9871"/>
                </a:lnTo>
                <a:lnTo>
                  <a:pt x="15624" y="5182"/>
                </a:lnTo>
                <a:lnTo>
                  <a:pt x="15872" y="0"/>
                </a:lnTo>
                <a:lnTo>
                  <a:pt x="13392" y="0"/>
                </a:lnTo>
                <a:lnTo>
                  <a:pt x="13144" y="4688"/>
                </a:lnTo>
                <a:lnTo>
                  <a:pt x="12152" y="9377"/>
                </a:lnTo>
                <a:lnTo>
                  <a:pt x="10912" y="13325"/>
                </a:lnTo>
                <a:lnTo>
                  <a:pt x="9424" y="16780"/>
                </a:lnTo>
                <a:lnTo>
                  <a:pt x="7192" y="19742"/>
                </a:lnTo>
                <a:lnTo>
                  <a:pt x="4960" y="21716"/>
                </a:lnTo>
                <a:lnTo>
                  <a:pt x="2480" y="22950"/>
                </a:lnTo>
                <a:close/>
              </a:path>
            </a:pathLst>
          </a:custGeom>
          <a:solidFill>
            <a:srgbClr val="000000"/>
          </a:solidFill>
        </p:spPr>
        <p:txBody>
          <a:bodyPr wrap="square" lIns="0" tIns="0" rIns="0" bIns="0" rtlCol="0">
            <a:noAutofit/>
          </a:bodyPr>
          <a:lstStyle/>
          <a:p>
            <a:endParaRPr/>
          </a:p>
        </p:txBody>
      </p:sp>
      <p:sp>
        <p:nvSpPr>
          <p:cNvPr id="2014" name="object 2014"/>
          <p:cNvSpPr/>
          <p:nvPr/>
        </p:nvSpPr>
        <p:spPr>
          <a:xfrm>
            <a:off x="7725961" y="1659403"/>
            <a:ext cx="16120" cy="25911"/>
          </a:xfrm>
          <a:custGeom>
            <a:avLst/>
            <a:gdLst/>
            <a:ahLst/>
            <a:cxnLst/>
            <a:rect l="l" t="t" r="r" b="b"/>
            <a:pathLst>
              <a:path w="16120" h="25911">
                <a:moveTo>
                  <a:pt x="248" y="5182"/>
                </a:moveTo>
                <a:lnTo>
                  <a:pt x="1240" y="9871"/>
                </a:lnTo>
                <a:lnTo>
                  <a:pt x="2480" y="14312"/>
                </a:lnTo>
                <a:lnTo>
                  <a:pt x="4712" y="18261"/>
                </a:lnTo>
                <a:lnTo>
                  <a:pt x="6944" y="21222"/>
                </a:lnTo>
                <a:lnTo>
                  <a:pt x="9672" y="23690"/>
                </a:lnTo>
                <a:lnTo>
                  <a:pt x="12648" y="25417"/>
                </a:lnTo>
                <a:lnTo>
                  <a:pt x="16120" y="25911"/>
                </a:lnTo>
                <a:lnTo>
                  <a:pt x="16120" y="23443"/>
                </a:lnTo>
                <a:lnTo>
                  <a:pt x="13640" y="22950"/>
                </a:lnTo>
                <a:lnTo>
                  <a:pt x="11160" y="21716"/>
                </a:lnTo>
                <a:lnTo>
                  <a:pt x="8928" y="19742"/>
                </a:lnTo>
                <a:lnTo>
                  <a:pt x="6696" y="16780"/>
                </a:lnTo>
                <a:lnTo>
                  <a:pt x="4960" y="13325"/>
                </a:lnTo>
                <a:lnTo>
                  <a:pt x="3720" y="9377"/>
                </a:lnTo>
                <a:lnTo>
                  <a:pt x="2728" y="4688"/>
                </a:lnTo>
                <a:lnTo>
                  <a:pt x="2480" y="0"/>
                </a:lnTo>
                <a:lnTo>
                  <a:pt x="0" y="0"/>
                </a:lnTo>
                <a:lnTo>
                  <a:pt x="248" y="5182"/>
                </a:lnTo>
                <a:close/>
              </a:path>
            </a:pathLst>
          </a:custGeom>
          <a:solidFill>
            <a:srgbClr val="000000"/>
          </a:solidFill>
        </p:spPr>
        <p:txBody>
          <a:bodyPr wrap="square" lIns="0" tIns="0" rIns="0" bIns="0" rtlCol="0">
            <a:noAutofit/>
          </a:bodyPr>
          <a:lstStyle/>
          <a:p>
            <a:endParaRPr/>
          </a:p>
        </p:txBody>
      </p:sp>
      <p:sp>
        <p:nvSpPr>
          <p:cNvPr id="2015" name="object 2015"/>
          <p:cNvSpPr/>
          <p:nvPr/>
        </p:nvSpPr>
        <p:spPr>
          <a:xfrm>
            <a:off x="7725961" y="1633491"/>
            <a:ext cx="16120" cy="25911"/>
          </a:xfrm>
          <a:custGeom>
            <a:avLst/>
            <a:gdLst/>
            <a:ahLst/>
            <a:cxnLst/>
            <a:rect l="l" t="t" r="r" b="b"/>
            <a:pathLst>
              <a:path w="16120" h="25911">
                <a:moveTo>
                  <a:pt x="2480" y="25911"/>
                </a:moveTo>
                <a:lnTo>
                  <a:pt x="2728" y="21222"/>
                </a:lnTo>
                <a:lnTo>
                  <a:pt x="3720" y="16533"/>
                </a:lnTo>
                <a:lnTo>
                  <a:pt x="4960" y="12585"/>
                </a:lnTo>
                <a:lnTo>
                  <a:pt x="6696" y="9130"/>
                </a:lnTo>
                <a:lnTo>
                  <a:pt x="8928" y="6169"/>
                </a:lnTo>
                <a:lnTo>
                  <a:pt x="11160" y="4195"/>
                </a:lnTo>
                <a:lnTo>
                  <a:pt x="13640" y="2961"/>
                </a:lnTo>
                <a:lnTo>
                  <a:pt x="16120" y="2467"/>
                </a:lnTo>
                <a:lnTo>
                  <a:pt x="16120" y="0"/>
                </a:lnTo>
                <a:lnTo>
                  <a:pt x="12648" y="493"/>
                </a:lnTo>
                <a:lnTo>
                  <a:pt x="9672" y="2220"/>
                </a:lnTo>
                <a:lnTo>
                  <a:pt x="6944" y="4688"/>
                </a:lnTo>
                <a:lnTo>
                  <a:pt x="4712" y="7650"/>
                </a:lnTo>
                <a:lnTo>
                  <a:pt x="2480" y="11598"/>
                </a:lnTo>
                <a:lnTo>
                  <a:pt x="1240" y="16040"/>
                </a:lnTo>
                <a:lnTo>
                  <a:pt x="248" y="20729"/>
                </a:lnTo>
                <a:lnTo>
                  <a:pt x="0" y="25911"/>
                </a:lnTo>
                <a:lnTo>
                  <a:pt x="2480" y="25911"/>
                </a:lnTo>
                <a:close/>
              </a:path>
            </a:pathLst>
          </a:custGeom>
          <a:solidFill>
            <a:srgbClr val="000000"/>
          </a:solidFill>
        </p:spPr>
        <p:txBody>
          <a:bodyPr wrap="square" lIns="0" tIns="0" rIns="0" bIns="0" rtlCol="0">
            <a:noAutofit/>
          </a:bodyPr>
          <a:lstStyle/>
          <a:p>
            <a:endParaRPr/>
          </a:p>
        </p:txBody>
      </p:sp>
      <p:sp>
        <p:nvSpPr>
          <p:cNvPr id="2016" name="object 2016"/>
          <p:cNvSpPr/>
          <p:nvPr/>
        </p:nvSpPr>
        <p:spPr>
          <a:xfrm>
            <a:off x="7727202" y="1646570"/>
            <a:ext cx="29513" cy="26651"/>
          </a:xfrm>
          <a:custGeom>
            <a:avLst/>
            <a:gdLst/>
            <a:ahLst/>
            <a:cxnLst/>
            <a:rect l="l" t="t" r="r" b="b"/>
            <a:pathLst>
              <a:path w="29513" h="26651">
                <a:moveTo>
                  <a:pt x="496" y="19495"/>
                </a:moveTo>
                <a:lnTo>
                  <a:pt x="992" y="22456"/>
                </a:lnTo>
                <a:lnTo>
                  <a:pt x="1984" y="25171"/>
                </a:lnTo>
                <a:lnTo>
                  <a:pt x="4216" y="26651"/>
                </a:lnTo>
                <a:lnTo>
                  <a:pt x="7192" y="25664"/>
                </a:lnTo>
                <a:lnTo>
                  <a:pt x="10912" y="23443"/>
                </a:lnTo>
                <a:lnTo>
                  <a:pt x="14880" y="20729"/>
                </a:lnTo>
                <a:lnTo>
                  <a:pt x="18848" y="18754"/>
                </a:lnTo>
                <a:lnTo>
                  <a:pt x="22569" y="18014"/>
                </a:lnTo>
                <a:lnTo>
                  <a:pt x="25545" y="19988"/>
                </a:lnTo>
                <a:lnTo>
                  <a:pt x="27529" y="25171"/>
                </a:lnTo>
                <a:lnTo>
                  <a:pt x="28521" y="22209"/>
                </a:lnTo>
                <a:lnTo>
                  <a:pt x="29017" y="19495"/>
                </a:lnTo>
                <a:lnTo>
                  <a:pt x="29513" y="16287"/>
                </a:lnTo>
                <a:lnTo>
                  <a:pt x="29513" y="10364"/>
                </a:lnTo>
                <a:lnTo>
                  <a:pt x="29265" y="7403"/>
                </a:lnTo>
                <a:lnTo>
                  <a:pt x="28769" y="4441"/>
                </a:lnTo>
                <a:lnTo>
                  <a:pt x="28025" y="1727"/>
                </a:lnTo>
                <a:lnTo>
                  <a:pt x="24553" y="5922"/>
                </a:lnTo>
                <a:lnTo>
                  <a:pt x="20832" y="7156"/>
                </a:lnTo>
                <a:lnTo>
                  <a:pt x="16864" y="6662"/>
                </a:lnTo>
                <a:lnTo>
                  <a:pt x="12896" y="4688"/>
                </a:lnTo>
                <a:lnTo>
                  <a:pt x="9176" y="2467"/>
                </a:lnTo>
                <a:lnTo>
                  <a:pt x="5952" y="493"/>
                </a:lnTo>
                <a:lnTo>
                  <a:pt x="3472" y="0"/>
                </a:lnTo>
                <a:lnTo>
                  <a:pt x="1488" y="1727"/>
                </a:lnTo>
                <a:lnTo>
                  <a:pt x="744" y="4441"/>
                </a:lnTo>
                <a:lnTo>
                  <a:pt x="248" y="7403"/>
                </a:lnTo>
                <a:lnTo>
                  <a:pt x="0" y="10364"/>
                </a:lnTo>
                <a:lnTo>
                  <a:pt x="0" y="16533"/>
                </a:lnTo>
                <a:lnTo>
                  <a:pt x="496" y="19495"/>
                </a:lnTo>
                <a:close/>
              </a:path>
            </a:pathLst>
          </a:custGeom>
          <a:solidFill>
            <a:srgbClr val="000000"/>
          </a:solidFill>
        </p:spPr>
        <p:txBody>
          <a:bodyPr wrap="square" lIns="0" tIns="0" rIns="0" bIns="0" rtlCol="0">
            <a:noAutofit/>
          </a:bodyPr>
          <a:lstStyle/>
          <a:p>
            <a:endParaRPr/>
          </a:p>
        </p:txBody>
      </p:sp>
      <p:sp>
        <p:nvSpPr>
          <p:cNvPr id="2017" name="object 2017"/>
          <p:cNvSpPr/>
          <p:nvPr/>
        </p:nvSpPr>
        <p:spPr>
          <a:xfrm>
            <a:off x="7757459" y="1646569"/>
            <a:ext cx="31001" cy="27638"/>
          </a:xfrm>
          <a:custGeom>
            <a:avLst/>
            <a:gdLst/>
            <a:ahLst/>
            <a:cxnLst/>
            <a:rect l="l" t="t" r="r" b="b"/>
            <a:pathLst>
              <a:path w="31001" h="27638">
                <a:moveTo>
                  <a:pt x="0" y="10858"/>
                </a:moveTo>
                <a:lnTo>
                  <a:pt x="0" y="17027"/>
                </a:lnTo>
                <a:lnTo>
                  <a:pt x="496" y="20235"/>
                </a:lnTo>
                <a:lnTo>
                  <a:pt x="992" y="23196"/>
                </a:lnTo>
                <a:lnTo>
                  <a:pt x="1984" y="26158"/>
                </a:lnTo>
                <a:lnTo>
                  <a:pt x="4216" y="27638"/>
                </a:lnTo>
                <a:lnTo>
                  <a:pt x="7688" y="26651"/>
                </a:lnTo>
                <a:lnTo>
                  <a:pt x="11408" y="24430"/>
                </a:lnTo>
                <a:lnTo>
                  <a:pt x="15624" y="21716"/>
                </a:lnTo>
                <a:lnTo>
                  <a:pt x="19592" y="19495"/>
                </a:lnTo>
                <a:lnTo>
                  <a:pt x="23561" y="18754"/>
                </a:lnTo>
                <a:lnTo>
                  <a:pt x="26537" y="20729"/>
                </a:lnTo>
                <a:lnTo>
                  <a:pt x="28769" y="26158"/>
                </a:lnTo>
                <a:lnTo>
                  <a:pt x="29761" y="23196"/>
                </a:lnTo>
                <a:lnTo>
                  <a:pt x="30505" y="19988"/>
                </a:lnTo>
                <a:lnTo>
                  <a:pt x="30753" y="17027"/>
                </a:lnTo>
                <a:lnTo>
                  <a:pt x="31001" y="13819"/>
                </a:lnTo>
                <a:lnTo>
                  <a:pt x="30753" y="10611"/>
                </a:lnTo>
                <a:lnTo>
                  <a:pt x="30505" y="7650"/>
                </a:lnTo>
                <a:lnTo>
                  <a:pt x="30009" y="4688"/>
                </a:lnTo>
                <a:lnTo>
                  <a:pt x="29265" y="1727"/>
                </a:lnTo>
                <a:lnTo>
                  <a:pt x="25793" y="6169"/>
                </a:lnTo>
                <a:lnTo>
                  <a:pt x="21824" y="7403"/>
                </a:lnTo>
                <a:lnTo>
                  <a:pt x="17856" y="6662"/>
                </a:lnTo>
                <a:lnTo>
                  <a:pt x="13640" y="4688"/>
                </a:lnTo>
                <a:lnTo>
                  <a:pt x="9920" y="2467"/>
                </a:lnTo>
                <a:lnTo>
                  <a:pt x="6448" y="493"/>
                </a:lnTo>
                <a:lnTo>
                  <a:pt x="3720" y="0"/>
                </a:lnTo>
                <a:lnTo>
                  <a:pt x="1736" y="1727"/>
                </a:lnTo>
                <a:lnTo>
                  <a:pt x="992" y="4688"/>
                </a:lnTo>
                <a:lnTo>
                  <a:pt x="496" y="7650"/>
                </a:lnTo>
                <a:lnTo>
                  <a:pt x="0" y="10858"/>
                </a:lnTo>
                <a:close/>
              </a:path>
            </a:pathLst>
          </a:custGeom>
          <a:solidFill>
            <a:srgbClr val="000000"/>
          </a:solidFill>
        </p:spPr>
        <p:txBody>
          <a:bodyPr wrap="square" lIns="0" tIns="0" rIns="0" bIns="0" rtlCol="0">
            <a:noAutofit/>
          </a:bodyPr>
          <a:lstStyle/>
          <a:p>
            <a:endParaRPr/>
          </a:p>
        </p:txBody>
      </p:sp>
      <p:sp>
        <p:nvSpPr>
          <p:cNvPr id="2018" name="object 2018"/>
          <p:cNvSpPr/>
          <p:nvPr/>
        </p:nvSpPr>
        <p:spPr>
          <a:xfrm>
            <a:off x="7758203" y="1645336"/>
            <a:ext cx="29513" cy="9871"/>
          </a:xfrm>
          <a:custGeom>
            <a:avLst/>
            <a:gdLst/>
            <a:ahLst/>
            <a:cxnLst/>
            <a:rect l="l" t="t" r="r" b="b"/>
            <a:pathLst>
              <a:path w="29513" h="9871">
                <a:moveTo>
                  <a:pt x="2728" y="0"/>
                </a:moveTo>
                <a:lnTo>
                  <a:pt x="0" y="2467"/>
                </a:lnTo>
                <a:lnTo>
                  <a:pt x="1984" y="3454"/>
                </a:lnTo>
                <a:lnTo>
                  <a:pt x="3224" y="2467"/>
                </a:lnTo>
                <a:lnTo>
                  <a:pt x="5208" y="2961"/>
                </a:lnTo>
                <a:lnTo>
                  <a:pt x="8432" y="4688"/>
                </a:lnTo>
                <a:lnTo>
                  <a:pt x="12400" y="6909"/>
                </a:lnTo>
                <a:lnTo>
                  <a:pt x="16616" y="9130"/>
                </a:lnTo>
                <a:lnTo>
                  <a:pt x="21080" y="9871"/>
                </a:lnTo>
                <a:lnTo>
                  <a:pt x="25793" y="8390"/>
                </a:lnTo>
                <a:lnTo>
                  <a:pt x="29513" y="3454"/>
                </a:lnTo>
                <a:lnTo>
                  <a:pt x="29513" y="2714"/>
                </a:lnTo>
                <a:lnTo>
                  <a:pt x="29017" y="1974"/>
                </a:lnTo>
                <a:lnTo>
                  <a:pt x="28025" y="1974"/>
                </a:lnTo>
                <a:lnTo>
                  <a:pt x="27529" y="2467"/>
                </a:lnTo>
                <a:lnTo>
                  <a:pt x="27281" y="3208"/>
                </a:lnTo>
                <a:lnTo>
                  <a:pt x="24305" y="6416"/>
                </a:lnTo>
                <a:lnTo>
                  <a:pt x="21080" y="7403"/>
                </a:lnTo>
                <a:lnTo>
                  <a:pt x="17608" y="6662"/>
                </a:lnTo>
                <a:lnTo>
                  <a:pt x="13392" y="4935"/>
                </a:lnTo>
                <a:lnTo>
                  <a:pt x="9920" y="2714"/>
                </a:lnTo>
                <a:lnTo>
                  <a:pt x="6200" y="493"/>
                </a:lnTo>
                <a:lnTo>
                  <a:pt x="2728" y="0"/>
                </a:lnTo>
                <a:close/>
              </a:path>
            </a:pathLst>
          </a:custGeom>
          <a:solidFill>
            <a:srgbClr val="000000"/>
          </a:solidFill>
        </p:spPr>
        <p:txBody>
          <a:bodyPr wrap="square" lIns="0" tIns="0" rIns="0" bIns="0" rtlCol="0">
            <a:noAutofit/>
          </a:bodyPr>
          <a:lstStyle/>
          <a:p>
            <a:endParaRPr/>
          </a:p>
        </p:txBody>
      </p:sp>
      <p:sp>
        <p:nvSpPr>
          <p:cNvPr id="2019" name="object 2019"/>
          <p:cNvSpPr/>
          <p:nvPr/>
        </p:nvSpPr>
        <p:spPr>
          <a:xfrm>
            <a:off x="7782507" y="1647803"/>
            <a:ext cx="3224" cy="3948"/>
          </a:xfrm>
          <a:custGeom>
            <a:avLst/>
            <a:gdLst/>
            <a:ahLst/>
            <a:cxnLst/>
            <a:rect l="l" t="t" r="r" b="b"/>
            <a:pathLst>
              <a:path w="3224" h="3948">
                <a:moveTo>
                  <a:pt x="0" y="3948"/>
                </a:moveTo>
                <a:lnTo>
                  <a:pt x="2976" y="740"/>
                </a:lnTo>
                <a:lnTo>
                  <a:pt x="3224" y="0"/>
                </a:lnTo>
                <a:lnTo>
                  <a:pt x="0" y="3948"/>
                </a:lnTo>
                <a:close/>
              </a:path>
            </a:pathLst>
          </a:custGeom>
          <a:solidFill>
            <a:srgbClr val="000000"/>
          </a:solidFill>
        </p:spPr>
        <p:txBody>
          <a:bodyPr wrap="square" lIns="0" tIns="0" rIns="0" bIns="0" rtlCol="0">
            <a:noAutofit/>
          </a:bodyPr>
          <a:lstStyle/>
          <a:p>
            <a:endParaRPr/>
          </a:p>
        </p:txBody>
      </p:sp>
      <p:sp>
        <p:nvSpPr>
          <p:cNvPr id="2020" name="object 2020"/>
          <p:cNvSpPr/>
          <p:nvPr/>
        </p:nvSpPr>
        <p:spPr>
          <a:xfrm>
            <a:off x="7784987" y="1648051"/>
            <a:ext cx="4712" cy="25911"/>
          </a:xfrm>
          <a:custGeom>
            <a:avLst/>
            <a:gdLst/>
            <a:ahLst/>
            <a:cxnLst/>
            <a:rect l="l" t="t" r="r" b="b"/>
            <a:pathLst>
              <a:path w="4712" h="25911">
                <a:moveTo>
                  <a:pt x="2976" y="0"/>
                </a:moveTo>
                <a:lnTo>
                  <a:pt x="496" y="493"/>
                </a:lnTo>
                <a:lnTo>
                  <a:pt x="1240" y="3454"/>
                </a:lnTo>
                <a:lnTo>
                  <a:pt x="1736" y="6416"/>
                </a:lnTo>
                <a:lnTo>
                  <a:pt x="1984" y="9130"/>
                </a:lnTo>
                <a:lnTo>
                  <a:pt x="2232" y="12338"/>
                </a:lnTo>
                <a:lnTo>
                  <a:pt x="1984" y="15546"/>
                </a:lnTo>
                <a:lnTo>
                  <a:pt x="2480" y="24430"/>
                </a:lnTo>
                <a:lnTo>
                  <a:pt x="0" y="24184"/>
                </a:lnTo>
                <a:lnTo>
                  <a:pt x="0" y="25171"/>
                </a:lnTo>
                <a:lnTo>
                  <a:pt x="992" y="25664"/>
                </a:lnTo>
                <a:lnTo>
                  <a:pt x="1736" y="25911"/>
                </a:lnTo>
                <a:lnTo>
                  <a:pt x="2480" y="25171"/>
                </a:lnTo>
                <a:lnTo>
                  <a:pt x="3472" y="21963"/>
                </a:lnTo>
                <a:lnTo>
                  <a:pt x="4216" y="18754"/>
                </a:lnTo>
                <a:lnTo>
                  <a:pt x="4464" y="15546"/>
                </a:lnTo>
                <a:lnTo>
                  <a:pt x="4712" y="12338"/>
                </a:lnTo>
                <a:lnTo>
                  <a:pt x="4464" y="9130"/>
                </a:lnTo>
                <a:lnTo>
                  <a:pt x="4216" y="5922"/>
                </a:lnTo>
                <a:lnTo>
                  <a:pt x="3720" y="2961"/>
                </a:lnTo>
                <a:lnTo>
                  <a:pt x="2976" y="0"/>
                </a:lnTo>
                <a:close/>
              </a:path>
            </a:pathLst>
          </a:custGeom>
          <a:solidFill>
            <a:srgbClr val="000000"/>
          </a:solidFill>
        </p:spPr>
        <p:txBody>
          <a:bodyPr wrap="square" lIns="0" tIns="0" rIns="0" bIns="0" rtlCol="0">
            <a:noAutofit/>
          </a:bodyPr>
          <a:lstStyle/>
          <a:p>
            <a:endParaRPr/>
          </a:p>
        </p:txBody>
      </p:sp>
      <p:sp>
        <p:nvSpPr>
          <p:cNvPr id="2021" name="object 2021"/>
          <p:cNvSpPr/>
          <p:nvPr/>
        </p:nvSpPr>
        <p:spPr>
          <a:xfrm>
            <a:off x="7784987" y="1663598"/>
            <a:ext cx="2480" cy="8883"/>
          </a:xfrm>
          <a:custGeom>
            <a:avLst/>
            <a:gdLst/>
            <a:ahLst/>
            <a:cxnLst/>
            <a:rect l="l" t="t" r="r" b="b"/>
            <a:pathLst>
              <a:path w="2480" h="8883">
                <a:moveTo>
                  <a:pt x="2480" y="8883"/>
                </a:moveTo>
                <a:lnTo>
                  <a:pt x="1984" y="0"/>
                </a:lnTo>
                <a:lnTo>
                  <a:pt x="1736" y="2714"/>
                </a:lnTo>
                <a:lnTo>
                  <a:pt x="992" y="5922"/>
                </a:lnTo>
                <a:lnTo>
                  <a:pt x="0" y="8637"/>
                </a:lnTo>
                <a:lnTo>
                  <a:pt x="2480" y="8883"/>
                </a:lnTo>
                <a:close/>
              </a:path>
            </a:pathLst>
          </a:custGeom>
          <a:solidFill>
            <a:srgbClr val="000000"/>
          </a:solidFill>
        </p:spPr>
        <p:txBody>
          <a:bodyPr wrap="square" lIns="0" tIns="0" rIns="0" bIns="0" rtlCol="0">
            <a:noAutofit/>
          </a:bodyPr>
          <a:lstStyle/>
          <a:p>
            <a:endParaRPr/>
          </a:p>
        </p:txBody>
      </p:sp>
      <p:sp>
        <p:nvSpPr>
          <p:cNvPr id="2022" name="object 2022"/>
          <p:cNvSpPr/>
          <p:nvPr/>
        </p:nvSpPr>
        <p:spPr>
          <a:xfrm>
            <a:off x="7758451" y="1664091"/>
            <a:ext cx="29017" cy="11351"/>
          </a:xfrm>
          <a:custGeom>
            <a:avLst/>
            <a:gdLst/>
            <a:ahLst/>
            <a:cxnLst/>
            <a:rect l="l" t="t" r="r" b="b"/>
            <a:pathLst>
              <a:path w="29017" h="11351">
                <a:moveTo>
                  <a:pt x="3224" y="8883"/>
                </a:moveTo>
                <a:lnTo>
                  <a:pt x="1984" y="8143"/>
                </a:lnTo>
                <a:lnTo>
                  <a:pt x="1488" y="7650"/>
                </a:lnTo>
                <a:lnTo>
                  <a:pt x="744" y="7650"/>
                </a:lnTo>
                <a:lnTo>
                  <a:pt x="0" y="8390"/>
                </a:lnTo>
                <a:lnTo>
                  <a:pt x="0" y="9130"/>
                </a:lnTo>
                <a:lnTo>
                  <a:pt x="3224" y="11351"/>
                </a:lnTo>
                <a:lnTo>
                  <a:pt x="7192" y="10364"/>
                </a:lnTo>
                <a:lnTo>
                  <a:pt x="11160" y="7896"/>
                </a:lnTo>
                <a:lnTo>
                  <a:pt x="15376" y="5182"/>
                </a:lnTo>
                <a:lnTo>
                  <a:pt x="19096" y="3208"/>
                </a:lnTo>
                <a:lnTo>
                  <a:pt x="22321" y="2467"/>
                </a:lnTo>
                <a:lnTo>
                  <a:pt x="24553" y="3948"/>
                </a:lnTo>
                <a:lnTo>
                  <a:pt x="26537" y="8883"/>
                </a:lnTo>
                <a:lnTo>
                  <a:pt x="29017" y="8390"/>
                </a:lnTo>
                <a:lnTo>
                  <a:pt x="26537" y="2467"/>
                </a:lnTo>
                <a:lnTo>
                  <a:pt x="22817" y="0"/>
                </a:lnTo>
                <a:lnTo>
                  <a:pt x="18104" y="740"/>
                </a:lnTo>
                <a:lnTo>
                  <a:pt x="13888" y="3208"/>
                </a:lnTo>
                <a:lnTo>
                  <a:pt x="9672" y="5922"/>
                </a:lnTo>
                <a:lnTo>
                  <a:pt x="6200" y="7896"/>
                </a:lnTo>
                <a:lnTo>
                  <a:pt x="3224" y="8883"/>
                </a:lnTo>
                <a:close/>
              </a:path>
            </a:pathLst>
          </a:custGeom>
          <a:solidFill>
            <a:srgbClr val="000000"/>
          </a:solidFill>
        </p:spPr>
        <p:txBody>
          <a:bodyPr wrap="square" lIns="0" tIns="0" rIns="0" bIns="0" rtlCol="0">
            <a:noAutofit/>
          </a:bodyPr>
          <a:lstStyle/>
          <a:p>
            <a:endParaRPr/>
          </a:p>
        </p:txBody>
      </p:sp>
      <p:sp>
        <p:nvSpPr>
          <p:cNvPr id="2023" name="object 2023"/>
          <p:cNvSpPr/>
          <p:nvPr/>
        </p:nvSpPr>
        <p:spPr>
          <a:xfrm>
            <a:off x="7758202" y="1647804"/>
            <a:ext cx="2480" cy="25417"/>
          </a:xfrm>
          <a:custGeom>
            <a:avLst/>
            <a:gdLst/>
            <a:ahLst/>
            <a:cxnLst/>
            <a:rect l="l" t="t" r="r" b="b"/>
            <a:pathLst>
              <a:path w="2480" h="25417">
                <a:moveTo>
                  <a:pt x="496" y="15793"/>
                </a:moveTo>
                <a:lnTo>
                  <a:pt x="0" y="0"/>
                </a:lnTo>
                <a:lnTo>
                  <a:pt x="0" y="25417"/>
                </a:lnTo>
                <a:lnTo>
                  <a:pt x="2480" y="24430"/>
                </a:lnTo>
                <a:lnTo>
                  <a:pt x="1488" y="21716"/>
                </a:lnTo>
                <a:lnTo>
                  <a:pt x="992" y="18754"/>
                </a:lnTo>
                <a:lnTo>
                  <a:pt x="496" y="15793"/>
                </a:lnTo>
                <a:close/>
              </a:path>
            </a:pathLst>
          </a:custGeom>
          <a:solidFill>
            <a:srgbClr val="000000"/>
          </a:solidFill>
        </p:spPr>
        <p:txBody>
          <a:bodyPr wrap="square" lIns="0" tIns="0" rIns="0" bIns="0" rtlCol="0">
            <a:noAutofit/>
          </a:bodyPr>
          <a:lstStyle/>
          <a:p>
            <a:endParaRPr/>
          </a:p>
        </p:txBody>
      </p:sp>
      <p:sp>
        <p:nvSpPr>
          <p:cNvPr id="2024" name="object 2024"/>
          <p:cNvSpPr/>
          <p:nvPr/>
        </p:nvSpPr>
        <p:spPr>
          <a:xfrm>
            <a:off x="7756218" y="1647063"/>
            <a:ext cx="4216" cy="26158"/>
          </a:xfrm>
          <a:custGeom>
            <a:avLst/>
            <a:gdLst/>
            <a:ahLst/>
            <a:cxnLst/>
            <a:rect l="l" t="t" r="r" b="b"/>
            <a:pathLst>
              <a:path w="4216" h="26158">
                <a:moveTo>
                  <a:pt x="2480" y="13325"/>
                </a:moveTo>
                <a:lnTo>
                  <a:pt x="2480" y="10364"/>
                </a:lnTo>
                <a:lnTo>
                  <a:pt x="2976" y="7403"/>
                </a:lnTo>
                <a:lnTo>
                  <a:pt x="3472" y="4441"/>
                </a:lnTo>
                <a:lnTo>
                  <a:pt x="3968" y="1727"/>
                </a:lnTo>
                <a:lnTo>
                  <a:pt x="3472" y="4441"/>
                </a:lnTo>
                <a:lnTo>
                  <a:pt x="4216" y="1480"/>
                </a:lnTo>
                <a:lnTo>
                  <a:pt x="3968" y="493"/>
                </a:lnTo>
                <a:lnTo>
                  <a:pt x="3224" y="0"/>
                </a:lnTo>
                <a:lnTo>
                  <a:pt x="2232" y="246"/>
                </a:lnTo>
                <a:lnTo>
                  <a:pt x="1736" y="987"/>
                </a:lnTo>
                <a:lnTo>
                  <a:pt x="992" y="3948"/>
                </a:lnTo>
                <a:lnTo>
                  <a:pt x="496" y="6909"/>
                </a:lnTo>
                <a:lnTo>
                  <a:pt x="0" y="10364"/>
                </a:lnTo>
                <a:lnTo>
                  <a:pt x="0" y="16533"/>
                </a:lnTo>
                <a:lnTo>
                  <a:pt x="496" y="19988"/>
                </a:lnTo>
                <a:lnTo>
                  <a:pt x="992" y="22950"/>
                </a:lnTo>
                <a:lnTo>
                  <a:pt x="1984" y="26158"/>
                </a:lnTo>
                <a:lnTo>
                  <a:pt x="1984" y="740"/>
                </a:lnTo>
                <a:lnTo>
                  <a:pt x="2480" y="16533"/>
                </a:lnTo>
                <a:lnTo>
                  <a:pt x="2480" y="13325"/>
                </a:lnTo>
                <a:close/>
              </a:path>
            </a:pathLst>
          </a:custGeom>
          <a:solidFill>
            <a:srgbClr val="000000"/>
          </a:solidFill>
        </p:spPr>
        <p:txBody>
          <a:bodyPr wrap="square" lIns="0" tIns="0" rIns="0" bIns="0" rtlCol="0">
            <a:noAutofit/>
          </a:bodyPr>
          <a:lstStyle/>
          <a:p>
            <a:endParaRPr/>
          </a:p>
        </p:txBody>
      </p:sp>
      <p:sp>
        <p:nvSpPr>
          <p:cNvPr id="2025" name="object 2025"/>
          <p:cNvSpPr/>
          <p:nvPr/>
        </p:nvSpPr>
        <p:spPr>
          <a:xfrm>
            <a:off x="7727450" y="1645335"/>
            <a:ext cx="28769" cy="9624"/>
          </a:xfrm>
          <a:custGeom>
            <a:avLst/>
            <a:gdLst/>
            <a:ahLst/>
            <a:cxnLst/>
            <a:rect l="l" t="t" r="r" b="b"/>
            <a:pathLst>
              <a:path w="28769" h="9624">
                <a:moveTo>
                  <a:pt x="2976" y="0"/>
                </a:moveTo>
                <a:lnTo>
                  <a:pt x="0" y="2467"/>
                </a:lnTo>
                <a:lnTo>
                  <a:pt x="2480" y="3454"/>
                </a:lnTo>
                <a:lnTo>
                  <a:pt x="3472" y="2467"/>
                </a:lnTo>
                <a:lnTo>
                  <a:pt x="5208" y="2961"/>
                </a:lnTo>
                <a:lnTo>
                  <a:pt x="8184" y="4688"/>
                </a:lnTo>
                <a:lnTo>
                  <a:pt x="12152" y="6909"/>
                </a:lnTo>
                <a:lnTo>
                  <a:pt x="16368" y="9130"/>
                </a:lnTo>
                <a:lnTo>
                  <a:pt x="20584" y="9624"/>
                </a:lnTo>
                <a:lnTo>
                  <a:pt x="25049" y="8143"/>
                </a:lnTo>
                <a:lnTo>
                  <a:pt x="28769" y="3454"/>
                </a:lnTo>
                <a:lnTo>
                  <a:pt x="28769" y="2714"/>
                </a:lnTo>
                <a:lnTo>
                  <a:pt x="28273" y="1974"/>
                </a:lnTo>
                <a:lnTo>
                  <a:pt x="27281" y="1974"/>
                </a:lnTo>
                <a:lnTo>
                  <a:pt x="26785" y="2467"/>
                </a:lnTo>
                <a:lnTo>
                  <a:pt x="26537" y="3208"/>
                </a:lnTo>
                <a:lnTo>
                  <a:pt x="23561" y="6169"/>
                </a:lnTo>
                <a:lnTo>
                  <a:pt x="20584" y="7156"/>
                </a:lnTo>
                <a:lnTo>
                  <a:pt x="16864" y="6662"/>
                </a:lnTo>
                <a:lnTo>
                  <a:pt x="13144" y="4935"/>
                </a:lnTo>
                <a:lnTo>
                  <a:pt x="9672" y="2714"/>
                </a:lnTo>
                <a:lnTo>
                  <a:pt x="6200" y="493"/>
                </a:lnTo>
                <a:lnTo>
                  <a:pt x="2976" y="0"/>
                </a:lnTo>
                <a:close/>
              </a:path>
            </a:pathLst>
          </a:custGeom>
          <a:solidFill>
            <a:srgbClr val="000000"/>
          </a:solidFill>
        </p:spPr>
        <p:txBody>
          <a:bodyPr wrap="square" lIns="0" tIns="0" rIns="0" bIns="0" rtlCol="0">
            <a:noAutofit/>
          </a:bodyPr>
          <a:lstStyle/>
          <a:p>
            <a:endParaRPr/>
          </a:p>
        </p:txBody>
      </p:sp>
      <p:sp>
        <p:nvSpPr>
          <p:cNvPr id="2026" name="object 2026"/>
          <p:cNvSpPr/>
          <p:nvPr/>
        </p:nvSpPr>
        <p:spPr>
          <a:xfrm>
            <a:off x="7751010" y="1647804"/>
            <a:ext cx="3224" cy="3701"/>
          </a:xfrm>
          <a:custGeom>
            <a:avLst/>
            <a:gdLst/>
            <a:ahLst/>
            <a:cxnLst/>
            <a:rect l="l" t="t" r="r" b="b"/>
            <a:pathLst>
              <a:path w="3224" h="3701">
                <a:moveTo>
                  <a:pt x="0" y="3701"/>
                </a:moveTo>
                <a:lnTo>
                  <a:pt x="2976" y="740"/>
                </a:lnTo>
                <a:lnTo>
                  <a:pt x="3224" y="0"/>
                </a:lnTo>
                <a:lnTo>
                  <a:pt x="0" y="3701"/>
                </a:lnTo>
                <a:close/>
              </a:path>
            </a:pathLst>
          </a:custGeom>
          <a:solidFill>
            <a:srgbClr val="000000"/>
          </a:solidFill>
        </p:spPr>
        <p:txBody>
          <a:bodyPr wrap="square" lIns="0" tIns="0" rIns="0" bIns="0" rtlCol="0">
            <a:noAutofit/>
          </a:bodyPr>
          <a:lstStyle/>
          <a:p>
            <a:endParaRPr/>
          </a:p>
        </p:txBody>
      </p:sp>
      <p:sp>
        <p:nvSpPr>
          <p:cNvPr id="2027" name="object 2027"/>
          <p:cNvSpPr/>
          <p:nvPr/>
        </p:nvSpPr>
        <p:spPr>
          <a:xfrm>
            <a:off x="7753490" y="1648050"/>
            <a:ext cx="4464" cy="24924"/>
          </a:xfrm>
          <a:custGeom>
            <a:avLst/>
            <a:gdLst/>
            <a:ahLst/>
            <a:cxnLst/>
            <a:rect l="l" t="t" r="r" b="b"/>
            <a:pathLst>
              <a:path w="4464" h="24924">
                <a:moveTo>
                  <a:pt x="2976" y="0"/>
                </a:moveTo>
                <a:lnTo>
                  <a:pt x="496" y="493"/>
                </a:lnTo>
                <a:lnTo>
                  <a:pt x="1240" y="3208"/>
                </a:lnTo>
                <a:lnTo>
                  <a:pt x="1736" y="6169"/>
                </a:lnTo>
                <a:lnTo>
                  <a:pt x="1984" y="8883"/>
                </a:lnTo>
                <a:lnTo>
                  <a:pt x="1984" y="11845"/>
                </a:lnTo>
                <a:lnTo>
                  <a:pt x="2480" y="23443"/>
                </a:lnTo>
                <a:lnTo>
                  <a:pt x="0" y="23196"/>
                </a:lnTo>
                <a:lnTo>
                  <a:pt x="0" y="24184"/>
                </a:lnTo>
                <a:lnTo>
                  <a:pt x="992" y="24677"/>
                </a:lnTo>
                <a:lnTo>
                  <a:pt x="1736" y="24924"/>
                </a:lnTo>
                <a:lnTo>
                  <a:pt x="2480" y="24184"/>
                </a:lnTo>
                <a:lnTo>
                  <a:pt x="3472" y="20975"/>
                </a:lnTo>
                <a:lnTo>
                  <a:pt x="3968" y="18261"/>
                </a:lnTo>
                <a:lnTo>
                  <a:pt x="4464" y="14806"/>
                </a:lnTo>
                <a:lnTo>
                  <a:pt x="4464" y="8883"/>
                </a:lnTo>
                <a:lnTo>
                  <a:pt x="4216" y="5675"/>
                </a:lnTo>
                <a:lnTo>
                  <a:pt x="3720" y="2714"/>
                </a:lnTo>
                <a:lnTo>
                  <a:pt x="2976" y="0"/>
                </a:lnTo>
                <a:close/>
              </a:path>
            </a:pathLst>
          </a:custGeom>
          <a:solidFill>
            <a:srgbClr val="000000"/>
          </a:solidFill>
        </p:spPr>
        <p:txBody>
          <a:bodyPr wrap="square" lIns="0" tIns="0" rIns="0" bIns="0" rtlCol="0">
            <a:noAutofit/>
          </a:bodyPr>
          <a:lstStyle/>
          <a:p>
            <a:endParaRPr/>
          </a:p>
        </p:txBody>
      </p:sp>
      <p:sp>
        <p:nvSpPr>
          <p:cNvPr id="2028" name="object 2028"/>
          <p:cNvSpPr/>
          <p:nvPr/>
        </p:nvSpPr>
        <p:spPr>
          <a:xfrm>
            <a:off x="7753490" y="1659895"/>
            <a:ext cx="2480" cy="11598"/>
          </a:xfrm>
          <a:custGeom>
            <a:avLst/>
            <a:gdLst/>
            <a:ahLst/>
            <a:cxnLst/>
            <a:rect l="l" t="t" r="r" b="b"/>
            <a:pathLst>
              <a:path w="2480" h="11598">
                <a:moveTo>
                  <a:pt x="2480" y="11598"/>
                </a:moveTo>
                <a:lnTo>
                  <a:pt x="1984" y="0"/>
                </a:lnTo>
                <a:lnTo>
                  <a:pt x="1984" y="2961"/>
                </a:lnTo>
                <a:lnTo>
                  <a:pt x="1488" y="5922"/>
                </a:lnTo>
                <a:lnTo>
                  <a:pt x="992" y="8637"/>
                </a:lnTo>
                <a:lnTo>
                  <a:pt x="0" y="11351"/>
                </a:lnTo>
                <a:lnTo>
                  <a:pt x="2480" y="11598"/>
                </a:lnTo>
                <a:close/>
              </a:path>
            </a:pathLst>
          </a:custGeom>
          <a:solidFill>
            <a:srgbClr val="000000"/>
          </a:solidFill>
        </p:spPr>
        <p:txBody>
          <a:bodyPr wrap="square" lIns="0" tIns="0" rIns="0" bIns="0" rtlCol="0">
            <a:noAutofit/>
          </a:bodyPr>
          <a:lstStyle/>
          <a:p>
            <a:endParaRPr/>
          </a:p>
        </p:txBody>
      </p:sp>
      <p:sp>
        <p:nvSpPr>
          <p:cNvPr id="2029" name="object 2029"/>
          <p:cNvSpPr/>
          <p:nvPr/>
        </p:nvSpPr>
        <p:spPr>
          <a:xfrm>
            <a:off x="7728194" y="1663350"/>
            <a:ext cx="27777" cy="11104"/>
          </a:xfrm>
          <a:custGeom>
            <a:avLst/>
            <a:gdLst/>
            <a:ahLst/>
            <a:cxnLst/>
            <a:rect l="l" t="t" r="r" b="b"/>
            <a:pathLst>
              <a:path w="27777" h="11104">
                <a:moveTo>
                  <a:pt x="3224" y="8637"/>
                </a:moveTo>
                <a:lnTo>
                  <a:pt x="1984" y="7896"/>
                </a:lnTo>
                <a:lnTo>
                  <a:pt x="1488" y="7403"/>
                </a:lnTo>
                <a:lnTo>
                  <a:pt x="744" y="7403"/>
                </a:lnTo>
                <a:lnTo>
                  <a:pt x="0" y="8143"/>
                </a:lnTo>
                <a:lnTo>
                  <a:pt x="0" y="8883"/>
                </a:lnTo>
                <a:lnTo>
                  <a:pt x="3224" y="11104"/>
                </a:lnTo>
                <a:lnTo>
                  <a:pt x="6696" y="9871"/>
                </a:lnTo>
                <a:lnTo>
                  <a:pt x="10664" y="7650"/>
                </a:lnTo>
                <a:lnTo>
                  <a:pt x="14632" y="4935"/>
                </a:lnTo>
                <a:lnTo>
                  <a:pt x="18352" y="3208"/>
                </a:lnTo>
                <a:lnTo>
                  <a:pt x="21328" y="2467"/>
                </a:lnTo>
                <a:lnTo>
                  <a:pt x="23561" y="3948"/>
                </a:lnTo>
                <a:lnTo>
                  <a:pt x="25297" y="8637"/>
                </a:lnTo>
                <a:lnTo>
                  <a:pt x="27777" y="8143"/>
                </a:lnTo>
                <a:lnTo>
                  <a:pt x="25545" y="2467"/>
                </a:lnTo>
                <a:lnTo>
                  <a:pt x="21824" y="0"/>
                </a:lnTo>
                <a:lnTo>
                  <a:pt x="17360" y="740"/>
                </a:lnTo>
                <a:lnTo>
                  <a:pt x="13144" y="2961"/>
                </a:lnTo>
                <a:lnTo>
                  <a:pt x="9176" y="5675"/>
                </a:lnTo>
                <a:lnTo>
                  <a:pt x="5704" y="7896"/>
                </a:lnTo>
                <a:lnTo>
                  <a:pt x="3224" y="8637"/>
                </a:lnTo>
                <a:close/>
              </a:path>
            </a:pathLst>
          </a:custGeom>
          <a:solidFill>
            <a:srgbClr val="000000"/>
          </a:solidFill>
        </p:spPr>
        <p:txBody>
          <a:bodyPr wrap="square" lIns="0" tIns="0" rIns="0" bIns="0" rtlCol="0">
            <a:noAutofit/>
          </a:bodyPr>
          <a:lstStyle/>
          <a:p>
            <a:endParaRPr/>
          </a:p>
        </p:txBody>
      </p:sp>
      <p:sp>
        <p:nvSpPr>
          <p:cNvPr id="2030" name="object 2030"/>
          <p:cNvSpPr/>
          <p:nvPr/>
        </p:nvSpPr>
        <p:spPr>
          <a:xfrm>
            <a:off x="7725961" y="1647064"/>
            <a:ext cx="4464" cy="25171"/>
          </a:xfrm>
          <a:custGeom>
            <a:avLst/>
            <a:gdLst/>
            <a:ahLst/>
            <a:cxnLst/>
            <a:rect l="l" t="t" r="r" b="b"/>
            <a:pathLst>
              <a:path w="4464" h="25171">
                <a:moveTo>
                  <a:pt x="2480" y="12832"/>
                </a:moveTo>
                <a:lnTo>
                  <a:pt x="2480" y="9871"/>
                </a:lnTo>
                <a:lnTo>
                  <a:pt x="2728" y="7156"/>
                </a:lnTo>
                <a:lnTo>
                  <a:pt x="3224" y="4195"/>
                </a:lnTo>
                <a:lnTo>
                  <a:pt x="3968" y="1480"/>
                </a:lnTo>
                <a:lnTo>
                  <a:pt x="3720" y="493"/>
                </a:lnTo>
                <a:lnTo>
                  <a:pt x="2976" y="0"/>
                </a:lnTo>
                <a:lnTo>
                  <a:pt x="1984" y="246"/>
                </a:lnTo>
                <a:lnTo>
                  <a:pt x="1488" y="987"/>
                </a:lnTo>
                <a:lnTo>
                  <a:pt x="744" y="3701"/>
                </a:lnTo>
                <a:lnTo>
                  <a:pt x="248" y="6662"/>
                </a:lnTo>
                <a:lnTo>
                  <a:pt x="0" y="9871"/>
                </a:lnTo>
                <a:lnTo>
                  <a:pt x="0" y="16040"/>
                </a:lnTo>
                <a:lnTo>
                  <a:pt x="496" y="19248"/>
                </a:lnTo>
                <a:lnTo>
                  <a:pt x="992" y="22209"/>
                </a:lnTo>
                <a:lnTo>
                  <a:pt x="1984" y="25171"/>
                </a:lnTo>
                <a:lnTo>
                  <a:pt x="4464" y="24184"/>
                </a:lnTo>
                <a:lnTo>
                  <a:pt x="3472" y="21716"/>
                </a:lnTo>
                <a:lnTo>
                  <a:pt x="2976" y="18754"/>
                </a:lnTo>
                <a:lnTo>
                  <a:pt x="2480" y="16040"/>
                </a:lnTo>
                <a:lnTo>
                  <a:pt x="2480" y="12832"/>
                </a:lnTo>
                <a:close/>
              </a:path>
            </a:pathLst>
          </a:custGeom>
          <a:solidFill>
            <a:srgbClr val="000000"/>
          </a:solidFill>
        </p:spPr>
        <p:txBody>
          <a:bodyPr wrap="square" lIns="0" tIns="0" rIns="0" bIns="0" rtlCol="0">
            <a:noAutofit/>
          </a:bodyPr>
          <a:lstStyle/>
          <a:p>
            <a:endParaRPr/>
          </a:p>
        </p:txBody>
      </p:sp>
      <p:sp>
        <p:nvSpPr>
          <p:cNvPr id="2031" name="object 2031"/>
          <p:cNvSpPr/>
          <p:nvPr/>
        </p:nvSpPr>
        <p:spPr>
          <a:xfrm>
            <a:off x="7777795" y="1651258"/>
            <a:ext cx="7440" cy="19742"/>
          </a:xfrm>
          <a:custGeom>
            <a:avLst/>
            <a:gdLst/>
            <a:ahLst/>
            <a:cxnLst/>
            <a:rect l="l" t="t" r="r" b="b"/>
            <a:pathLst>
              <a:path w="7440" h="19742">
                <a:moveTo>
                  <a:pt x="7440" y="9871"/>
                </a:moveTo>
                <a:lnTo>
                  <a:pt x="7440" y="7896"/>
                </a:lnTo>
                <a:lnTo>
                  <a:pt x="7192" y="5922"/>
                </a:lnTo>
                <a:lnTo>
                  <a:pt x="6696" y="4441"/>
                </a:lnTo>
                <a:lnTo>
                  <a:pt x="6448" y="2961"/>
                </a:lnTo>
                <a:lnTo>
                  <a:pt x="5704" y="1727"/>
                </a:lnTo>
                <a:lnTo>
                  <a:pt x="5208" y="740"/>
                </a:lnTo>
                <a:lnTo>
                  <a:pt x="4464" y="246"/>
                </a:lnTo>
                <a:lnTo>
                  <a:pt x="3720" y="0"/>
                </a:lnTo>
                <a:lnTo>
                  <a:pt x="2976" y="246"/>
                </a:lnTo>
                <a:lnTo>
                  <a:pt x="2232" y="740"/>
                </a:lnTo>
                <a:lnTo>
                  <a:pt x="1736" y="1727"/>
                </a:lnTo>
                <a:lnTo>
                  <a:pt x="1240" y="2961"/>
                </a:lnTo>
                <a:lnTo>
                  <a:pt x="744" y="4441"/>
                </a:lnTo>
                <a:lnTo>
                  <a:pt x="248" y="5922"/>
                </a:lnTo>
                <a:lnTo>
                  <a:pt x="0" y="7896"/>
                </a:lnTo>
                <a:lnTo>
                  <a:pt x="0" y="11845"/>
                </a:lnTo>
                <a:lnTo>
                  <a:pt x="248" y="13819"/>
                </a:lnTo>
                <a:lnTo>
                  <a:pt x="744" y="15546"/>
                </a:lnTo>
                <a:lnTo>
                  <a:pt x="1240" y="17027"/>
                </a:lnTo>
                <a:lnTo>
                  <a:pt x="1736" y="18014"/>
                </a:lnTo>
                <a:lnTo>
                  <a:pt x="2232" y="19001"/>
                </a:lnTo>
                <a:lnTo>
                  <a:pt x="2976" y="19495"/>
                </a:lnTo>
                <a:lnTo>
                  <a:pt x="3720" y="19742"/>
                </a:lnTo>
                <a:lnTo>
                  <a:pt x="4464" y="19495"/>
                </a:lnTo>
                <a:lnTo>
                  <a:pt x="5208" y="19001"/>
                </a:lnTo>
                <a:lnTo>
                  <a:pt x="5704" y="18014"/>
                </a:lnTo>
                <a:lnTo>
                  <a:pt x="6448" y="17027"/>
                </a:lnTo>
                <a:lnTo>
                  <a:pt x="6696" y="15546"/>
                </a:lnTo>
                <a:lnTo>
                  <a:pt x="7192" y="13819"/>
                </a:lnTo>
                <a:lnTo>
                  <a:pt x="7440" y="11845"/>
                </a:lnTo>
                <a:lnTo>
                  <a:pt x="7440" y="9871"/>
                </a:lnTo>
                <a:close/>
              </a:path>
            </a:pathLst>
          </a:custGeom>
          <a:solidFill>
            <a:srgbClr val="BEBEBE"/>
          </a:solidFill>
        </p:spPr>
        <p:txBody>
          <a:bodyPr wrap="square" lIns="0" tIns="0" rIns="0" bIns="0" rtlCol="0">
            <a:noAutofit/>
          </a:bodyPr>
          <a:lstStyle/>
          <a:p>
            <a:endParaRPr/>
          </a:p>
        </p:txBody>
      </p:sp>
      <p:sp>
        <p:nvSpPr>
          <p:cNvPr id="2032" name="object 2032"/>
          <p:cNvSpPr/>
          <p:nvPr/>
        </p:nvSpPr>
        <p:spPr>
          <a:xfrm>
            <a:off x="7746546" y="1651258"/>
            <a:ext cx="7192" cy="18754"/>
          </a:xfrm>
          <a:custGeom>
            <a:avLst/>
            <a:gdLst/>
            <a:ahLst/>
            <a:cxnLst/>
            <a:rect l="l" t="t" r="r" b="b"/>
            <a:pathLst>
              <a:path w="7192" h="18754">
                <a:moveTo>
                  <a:pt x="7192" y="9377"/>
                </a:moveTo>
                <a:lnTo>
                  <a:pt x="7192" y="7403"/>
                </a:lnTo>
                <a:lnTo>
                  <a:pt x="6944" y="5675"/>
                </a:lnTo>
                <a:lnTo>
                  <a:pt x="6448" y="4195"/>
                </a:lnTo>
                <a:lnTo>
                  <a:pt x="6200" y="2714"/>
                </a:lnTo>
                <a:lnTo>
                  <a:pt x="5456" y="1480"/>
                </a:lnTo>
                <a:lnTo>
                  <a:pt x="4960" y="740"/>
                </a:lnTo>
                <a:lnTo>
                  <a:pt x="4216" y="246"/>
                </a:lnTo>
                <a:lnTo>
                  <a:pt x="3472" y="0"/>
                </a:lnTo>
                <a:lnTo>
                  <a:pt x="2728" y="246"/>
                </a:lnTo>
                <a:lnTo>
                  <a:pt x="2232" y="740"/>
                </a:lnTo>
                <a:lnTo>
                  <a:pt x="1488" y="1480"/>
                </a:lnTo>
                <a:lnTo>
                  <a:pt x="992" y="2714"/>
                </a:lnTo>
                <a:lnTo>
                  <a:pt x="744" y="4195"/>
                </a:lnTo>
                <a:lnTo>
                  <a:pt x="248" y="5675"/>
                </a:lnTo>
                <a:lnTo>
                  <a:pt x="0" y="7403"/>
                </a:lnTo>
                <a:lnTo>
                  <a:pt x="0" y="11351"/>
                </a:lnTo>
                <a:lnTo>
                  <a:pt x="248" y="13079"/>
                </a:lnTo>
                <a:lnTo>
                  <a:pt x="744" y="14806"/>
                </a:lnTo>
                <a:lnTo>
                  <a:pt x="992" y="16040"/>
                </a:lnTo>
                <a:lnTo>
                  <a:pt x="1488" y="17274"/>
                </a:lnTo>
                <a:lnTo>
                  <a:pt x="2232" y="18014"/>
                </a:lnTo>
                <a:lnTo>
                  <a:pt x="2728" y="18508"/>
                </a:lnTo>
                <a:lnTo>
                  <a:pt x="3472" y="18754"/>
                </a:lnTo>
                <a:lnTo>
                  <a:pt x="4216" y="18508"/>
                </a:lnTo>
                <a:lnTo>
                  <a:pt x="4960" y="18014"/>
                </a:lnTo>
                <a:lnTo>
                  <a:pt x="5456" y="17274"/>
                </a:lnTo>
                <a:lnTo>
                  <a:pt x="6200" y="16040"/>
                </a:lnTo>
                <a:lnTo>
                  <a:pt x="6448" y="14806"/>
                </a:lnTo>
                <a:lnTo>
                  <a:pt x="6944" y="13079"/>
                </a:lnTo>
                <a:lnTo>
                  <a:pt x="7192" y="11351"/>
                </a:lnTo>
                <a:lnTo>
                  <a:pt x="7192" y="9377"/>
                </a:lnTo>
                <a:close/>
              </a:path>
            </a:pathLst>
          </a:custGeom>
          <a:solidFill>
            <a:srgbClr val="BEBEBE"/>
          </a:solidFill>
        </p:spPr>
        <p:txBody>
          <a:bodyPr wrap="square" lIns="0" tIns="0" rIns="0" bIns="0" rtlCol="0">
            <a:noAutofit/>
          </a:bodyPr>
          <a:lstStyle/>
          <a:p>
            <a:endParaRPr/>
          </a:p>
        </p:txBody>
      </p:sp>
      <p:sp>
        <p:nvSpPr>
          <p:cNvPr id="2033" name="object 2033"/>
          <p:cNvSpPr/>
          <p:nvPr/>
        </p:nvSpPr>
        <p:spPr>
          <a:xfrm>
            <a:off x="7775315" y="1657922"/>
            <a:ext cx="11408" cy="6169"/>
          </a:xfrm>
          <a:custGeom>
            <a:avLst/>
            <a:gdLst/>
            <a:ahLst/>
            <a:cxnLst/>
            <a:rect l="l" t="t" r="r" b="b"/>
            <a:pathLst>
              <a:path w="11408" h="6169">
                <a:moveTo>
                  <a:pt x="0" y="3208"/>
                </a:moveTo>
                <a:lnTo>
                  <a:pt x="496" y="4441"/>
                </a:lnTo>
                <a:lnTo>
                  <a:pt x="1736" y="5429"/>
                </a:lnTo>
                <a:lnTo>
                  <a:pt x="3472" y="5922"/>
                </a:lnTo>
                <a:lnTo>
                  <a:pt x="5704" y="6169"/>
                </a:lnTo>
                <a:lnTo>
                  <a:pt x="7936" y="5922"/>
                </a:lnTo>
                <a:lnTo>
                  <a:pt x="9672" y="5429"/>
                </a:lnTo>
                <a:lnTo>
                  <a:pt x="10912" y="4441"/>
                </a:lnTo>
                <a:lnTo>
                  <a:pt x="11408" y="3208"/>
                </a:lnTo>
                <a:lnTo>
                  <a:pt x="10912" y="1974"/>
                </a:lnTo>
                <a:lnTo>
                  <a:pt x="9672" y="740"/>
                </a:lnTo>
                <a:lnTo>
                  <a:pt x="7936" y="246"/>
                </a:lnTo>
                <a:lnTo>
                  <a:pt x="5704" y="0"/>
                </a:lnTo>
                <a:lnTo>
                  <a:pt x="3472" y="246"/>
                </a:lnTo>
                <a:lnTo>
                  <a:pt x="1736" y="740"/>
                </a:lnTo>
                <a:lnTo>
                  <a:pt x="496" y="1974"/>
                </a:lnTo>
                <a:lnTo>
                  <a:pt x="0" y="3208"/>
                </a:lnTo>
                <a:close/>
              </a:path>
            </a:pathLst>
          </a:custGeom>
          <a:solidFill>
            <a:srgbClr val="FFFFFF"/>
          </a:solidFill>
        </p:spPr>
        <p:txBody>
          <a:bodyPr wrap="square" lIns="0" tIns="0" rIns="0" bIns="0" rtlCol="0">
            <a:noAutofit/>
          </a:bodyPr>
          <a:lstStyle/>
          <a:p>
            <a:endParaRPr/>
          </a:p>
        </p:txBody>
      </p:sp>
      <p:sp>
        <p:nvSpPr>
          <p:cNvPr id="2034" name="object 2034"/>
          <p:cNvSpPr/>
          <p:nvPr/>
        </p:nvSpPr>
        <p:spPr>
          <a:xfrm>
            <a:off x="7744314" y="1657674"/>
            <a:ext cx="10912" cy="5922"/>
          </a:xfrm>
          <a:custGeom>
            <a:avLst/>
            <a:gdLst/>
            <a:ahLst/>
            <a:cxnLst/>
            <a:rect l="l" t="t" r="r" b="b"/>
            <a:pathLst>
              <a:path w="10912" h="5922">
                <a:moveTo>
                  <a:pt x="0" y="2961"/>
                </a:moveTo>
                <a:lnTo>
                  <a:pt x="496" y="3948"/>
                </a:lnTo>
                <a:lnTo>
                  <a:pt x="1736" y="4935"/>
                </a:lnTo>
                <a:lnTo>
                  <a:pt x="3472" y="5675"/>
                </a:lnTo>
                <a:lnTo>
                  <a:pt x="5456" y="5922"/>
                </a:lnTo>
                <a:lnTo>
                  <a:pt x="7688" y="5675"/>
                </a:lnTo>
                <a:lnTo>
                  <a:pt x="9424" y="4935"/>
                </a:lnTo>
                <a:lnTo>
                  <a:pt x="10416" y="3948"/>
                </a:lnTo>
                <a:lnTo>
                  <a:pt x="10912" y="2961"/>
                </a:lnTo>
                <a:lnTo>
                  <a:pt x="10416" y="1727"/>
                </a:lnTo>
                <a:lnTo>
                  <a:pt x="9424" y="740"/>
                </a:lnTo>
                <a:lnTo>
                  <a:pt x="7688" y="246"/>
                </a:lnTo>
                <a:lnTo>
                  <a:pt x="5456" y="0"/>
                </a:lnTo>
                <a:lnTo>
                  <a:pt x="3472" y="246"/>
                </a:lnTo>
                <a:lnTo>
                  <a:pt x="1736" y="740"/>
                </a:lnTo>
                <a:lnTo>
                  <a:pt x="496" y="1727"/>
                </a:lnTo>
                <a:lnTo>
                  <a:pt x="0" y="2961"/>
                </a:lnTo>
                <a:close/>
              </a:path>
            </a:pathLst>
          </a:custGeom>
          <a:solidFill>
            <a:srgbClr val="FFFFFF"/>
          </a:solidFill>
        </p:spPr>
        <p:txBody>
          <a:bodyPr wrap="square" lIns="0" tIns="0" rIns="0" bIns="0" rtlCol="0">
            <a:noAutofit/>
          </a:bodyPr>
          <a:lstStyle/>
          <a:p>
            <a:endParaRPr/>
          </a:p>
        </p:txBody>
      </p:sp>
      <p:sp>
        <p:nvSpPr>
          <p:cNvPr id="2035" name="object 2035"/>
          <p:cNvSpPr/>
          <p:nvPr/>
        </p:nvSpPr>
        <p:spPr>
          <a:xfrm>
            <a:off x="7780027" y="1643362"/>
            <a:ext cx="2480" cy="1727"/>
          </a:xfrm>
          <a:custGeom>
            <a:avLst/>
            <a:gdLst/>
            <a:ahLst/>
            <a:cxnLst/>
            <a:rect l="l" t="t" r="r" b="b"/>
            <a:pathLst>
              <a:path w="2480" h="1727">
                <a:moveTo>
                  <a:pt x="2480" y="1727"/>
                </a:moveTo>
                <a:lnTo>
                  <a:pt x="2480" y="740"/>
                </a:lnTo>
                <a:lnTo>
                  <a:pt x="1736" y="0"/>
                </a:lnTo>
                <a:lnTo>
                  <a:pt x="744" y="0"/>
                </a:lnTo>
                <a:lnTo>
                  <a:pt x="0" y="740"/>
                </a:lnTo>
                <a:lnTo>
                  <a:pt x="2480" y="1727"/>
                </a:lnTo>
                <a:close/>
              </a:path>
            </a:pathLst>
          </a:custGeom>
          <a:solidFill>
            <a:srgbClr val="BEBEBE"/>
          </a:solidFill>
        </p:spPr>
        <p:txBody>
          <a:bodyPr wrap="square" lIns="0" tIns="0" rIns="0" bIns="0" rtlCol="0">
            <a:noAutofit/>
          </a:bodyPr>
          <a:lstStyle/>
          <a:p>
            <a:endParaRPr/>
          </a:p>
        </p:txBody>
      </p:sp>
      <p:sp>
        <p:nvSpPr>
          <p:cNvPr id="2036" name="object 2036"/>
          <p:cNvSpPr/>
          <p:nvPr/>
        </p:nvSpPr>
        <p:spPr>
          <a:xfrm>
            <a:off x="7777051" y="1644102"/>
            <a:ext cx="5456" cy="31834"/>
          </a:xfrm>
          <a:custGeom>
            <a:avLst/>
            <a:gdLst/>
            <a:ahLst/>
            <a:cxnLst/>
            <a:rect l="l" t="t" r="r" b="b"/>
            <a:pathLst>
              <a:path w="5456" h="31834">
                <a:moveTo>
                  <a:pt x="992" y="23937"/>
                </a:moveTo>
                <a:lnTo>
                  <a:pt x="1736" y="27885"/>
                </a:lnTo>
                <a:lnTo>
                  <a:pt x="2976" y="31834"/>
                </a:lnTo>
                <a:lnTo>
                  <a:pt x="5456" y="30846"/>
                </a:lnTo>
                <a:lnTo>
                  <a:pt x="4216" y="27392"/>
                </a:lnTo>
                <a:lnTo>
                  <a:pt x="3472" y="23443"/>
                </a:lnTo>
                <a:lnTo>
                  <a:pt x="2728" y="19495"/>
                </a:lnTo>
                <a:lnTo>
                  <a:pt x="2480" y="15546"/>
                </a:lnTo>
                <a:lnTo>
                  <a:pt x="2728" y="11598"/>
                </a:lnTo>
                <a:lnTo>
                  <a:pt x="3224" y="7896"/>
                </a:lnTo>
                <a:lnTo>
                  <a:pt x="4216" y="4195"/>
                </a:lnTo>
                <a:lnTo>
                  <a:pt x="5456" y="987"/>
                </a:lnTo>
                <a:lnTo>
                  <a:pt x="2976" y="0"/>
                </a:lnTo>
                <a:lnTo>
                  <a:pt x="1736" y="3701"/>
                </a:lnTo>
                <a:lnTo>
                  <a:pt x="744" y="7403"/>
                </a:lnTo>
                <a:lnTo>
                  <a:pt x="248" y="11598"/>
                </a:lnTo>
                <a:lnTo>
                  <a:pt x="0" y="15546"/>
                </a:lnTo>
                <a:lnTo>
                  <a:pt x="248" y="19988"/>
                </a:lnTo>
                <a:lnTo>
                  <a:pt x="992" y="23937"/>
                </a:lnTo>
                <a:close/>
              </a:path>
            </a:pathLst>
          </a:custGeom>
          <a:solidFill>
            <a:srgbClr val="BEBEBE"/>
          </a:solidFill>
        </p:spPr>
        <p:txBody>
          <a:bodyPr wrap="square" lIns="0" tIns="0" rIns="0" bIns="0" rtlCol="0">
            <a:noAutofit/>
          </a:bodyPr>
          <a:lstStyle/>
          <a:p>
            <a:endParaRPr/>
          </a:p>
        </p:txBody>
      </p:sp>
      <p:sp>
        <p:nvSpPr>
          <p:cNvPr id="2037" name="object 2037"/>
          <p:cNvSpPr/>
          <p:nvPr/>
        </p:nvSpPr>
        <p:spPr>
          <a:xfrm>
            <a:off x="7780027" y="1674949"/>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2038" name="object 2038"/>
          <p:cNvSpPr/>
          <p:nvPr/>
        </p:nvSpPr>
        <p:spPr>
          <a:xfrm>
            <a:off x="7774075" y="1638180"/>
            <a:ext cx="2480" cy="1727"/>
          </a:xfrm>
          <a:custGeom>
            <a:avLst/>
            <a:gdLst/>
            <a:ahLst/>
            <a:cxnLst/>
            <a:rect l="l" t="t" r="r" b="b"/>
            <a:pathLst>
              <a:path w="2480" h="1727">
                <a:moveTo>
                  <a:pt x="2480" y="1727"/>
                </a:moveTo>
                <a:lnTo>
                  <a:pt x="2480" y="740"/>
                </a:lnTo>
                <a:lnTo>
                  <a:pt x="1736" y="0"/>
                </a:lnTo>
                <a:lnTo>
                  <a:pt x="744" y="0"/>
                </a:lnTo>
                <a:lnTo>
                  <a:pt x="0" y="740"/>
                </a:lnTo>
                <a:lnTo>
                  <a:pt x="2480" y="1727"/>
                </a:lnTo>
                <a:close/>
              </a:path>
            </a:pathLst>
          </a:custGeom>
          <a:solidFill>
            <a:srgbClr val="BEBEBE"/>
          </a:solidFill>
        </p:spPr>
        <p:txBody>
          <a:bodyPr wrap="square" lIns="0" tIns="0" rIns="0" bIns="0" rtlCol="0">
            <a:noAutofit/>
          </a:bodyPr>
          <a:lstStyle/>
          <a:p>
            <a:endParaRPr/>
          </a:p>
        </p:txBody>
      </p:sp>
      <p:sp>
        <p:nvSpPr>
          <p:cNvPr id="2039" name="object 2039"/>
          <p:cNvSpPr/>
          <p:nvPr/>
        </p:nvSpPr>
        <p:spPr>
          <a:xfrm>
            <a:off x="7770355" y="1638920"/>
            <a:ext cx="6200" cy="41705"/>
          </a:xfrm>
          <a:custGeom>
            <a:avLst/>
            <a:gdLst/>
            <a:ahLst/>
            <a:cxnLst/>
            <a:rect l="l" t="t" r="r" b="b"/>
            <a:pathLst>
              <a:path w="6200" h="41705">
                <a:moveTo>
                  <a:pt x="3968" y="33561"/>
                </a:moveTo>
                <a:lnTo>
                  <a:pt x="3472" y="30846"/>
                </a:lnTo>
                <a:lnTo>
                  <a:pt x="3224" y="28379"/>
                </a:lnTo>
                <a:lnTo>
                  <a:pt x="2728" y="25664"/>
                </a:lnTo>
                <a:lnTo>
                  <a:pt x="2480" y="23196"/>
                </a:lnTo>
                <a:lnTo>
                  <a:pt x="2480" y="18014"/>
                </a:lnTo>
                <a:lnTo>
                  <a:pt x="2728" y="15300"/>
                </a:lnTo>
                <a:lnTo>
                  <a:pt x="2976" y="12585"/>
                </a:lnTo>
                <a:lnTo>
                  <a:pt x="3224" y="10364"/>
                </a:lnTo>
                <a:lnTo>
                  <a:pt x="3720" y="7896"/>
                </a:lnTo>
                <a:lnTo>
                  <a:pt x="4464" y="5429"/>
                </a:lnTo>
                <a:lnTo>
                  <a:pt x="5208" y="3208"/>
                </a:lnTo>
                <a:lnTo>
                  <a:pt x="6200" y="987"/>
                </a:lnTo>
                <a:lnTo>
                  <a:pt x="3720" y="0"/>
                </a:lnTo>
                <a:lnTo>
                  <a:pt x="2728" y="2220"/>
                </a:lnTo>
                <a:lnTo>
                  <a:pt x="1984" y="4935"/>
                </a:lnTo>
                <a:lnTo>
                  <a:pt x="1240" y="7403"/>
                </a:lnTo>
                <a:lnTo>
                  <a:pt x="744" y="9871"/>
                </a:lnTo>
                <a:lnTo>
                  <a:pt x="496" y="12585"/>
                </a:lnTo>
                <a:lnTo>
                  <a:pt x="248" y="15300"/>
                </a:lnTo>
                <a:lnTo>
                  <a:pt x="0" y="18014"/>
                </a:lnTo>
                <a:lnTo>
                  <a:pt x="0" y="23196"/>
                </a:lnTo>
                <a:lnTo>
                  <a:pt x="248" y="26158"/>
                </a:lnTo>
                <a:lnTo>
                  <a:pt x="744" y="28872"/>
                </a:lnTo>
                <a:lnTo>
                  <a:pt x="992" y="31340"/>
                </a:lnTo>
                <a:lnTo>
                  <a:pt x="1488" y="34055"/>
                </a:lnTo>
                <a:lnTo>
                  <a:pt x="2232" y="36522"/>
                </a:lnTo>
                <a:lnTo>
                  <a:pt x="2976" y="38990"/>
                </a:lnTo>
                <a:lnTo>
                  <a:pt x="3720" y="41705"/>
                </a:lnTo>
                <a:lnTo>
                  <a:pt x="6200" y="40717"/>
                </a:lnTo>
                <a:lnTo>
                  <a:pt x="5456" y="38496"/>
                </a:lnTo>
                <a:lnTo>
                  <a:pt x="4712" y="36029"/>
                </a:lnTo>
                <a:lnTo>
                  <a:pt x="3968" y="33561"/>
                </a:lnTo>
                <a:close/>
              </a:path>
            </a:pathLst>
          </a:custGeom>
          <a:solidFill>
            <a:srgbClr val="BEBEBE"/>
          </a:solidFill>
        </p:spPr>
        <p:txBody>
          <a:bodyPr wrap="square" lIns="0" tIns="0" rIns="0" bIns="0" rtlCol="0">
            <a:noAutofit/>
          </a:bodyPr>
          <a:lstStyle/>
          <a:p>
            <a:endParaRPr/>
          </a:p>
        </p:txBody>
      </p:sp>
      <p:sp>
        <p:nvSpPr>
          <p:cNvPr id="2040" name="object 2040"/>
          <p:cNvSpPr/>
          <p:nvPr/>
        </p:nvSpPr>
        <p:spPr>
          <a:xfrm>
            <a:off x="7774075" y="1679638"/>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2041" name="object 2041"/>
          <p:cNvSpPr/>
          <p:nvPr/>
        </p:nvSpPr>
        <p:spPr>
          <a:xfrm>
            <a:off x="7770603" y="1633737"/>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2042" name="object 2042"/>
          <p:cNvSpPr/>
          <p:nvPr/>
        </p:nvSpPr>
        <p:spPr>
          <a:xfrm>
            <a:off x="7763411" y="1634230"/>
            <a:ext cx="9176" cy="51082"/>
          </a:xfrm>
          <a:custGeom>
            <a:avLst/>
            <a:gdLst/>
            <a:ahLst/>
            <a:cxnLst/>
            <a:rect l="l" t="t" r="r" b="b"/>
            <a:pathLst>
              <a:path w="9176" h="51082">
                <a:moveTo>
                  <a:pt x="496" y="32080"/>
                </a:moveTo>
                <a:lnTo>
                  <a:pt x="992" y="35288"/>
                </a:lnTo>
                <a:lnTo>
                  <a:pt x="1984" y="38496"/>
                </a:lnTo>
                <a:lnTo>
                  <a:pt x="2976" y="41951"/>
                </a:lnTo>
                <a:lnTo>
                  <a:pt x="4216" y="45159"/>
                </a:lnTo>
                <a:lnTo>
                  <a:pt x="5456" y="48121"/>
                </a:lnTo>
                <a:lnTo>
                  <a:pt x="7192" y="51082"/>
                </a:lnTo>
                <a:lnTo>
                  <a:pt x="9176" y="50095"/>
                </a:lnTo>
                <a:lnTo>
                  <a:pt x="7936" y="47134"/>
                </a:lnTo>
                <a:lnTo>
                  <a:pt x="6696" y="44172"/>
                </a:lnTo>
                <a:lnTo>
                  <a:pt x="5456" y="40964"/>
                </a:lnTo>
                <a:lnTo>
                  <a:pt x="4464" y="38003"/>
                </a:lnTo>
                <a:lnTo>
                  <a:pt x="3472" y="34795"/>
                </a:lnTo>
                <a:lnTo>
                  <a:pt x="2976" y="31587"/>
                </a:lnTo>
                <a:lnTo>
                  <a:pt x="2480" y="28625"/>
                </a:lnTo>
                <a:lnTo>
                  <a:pt x="2480" y="21963"/>
                </a:lnTo>
                <a:lnTo>
                  <a:pt x="2728" y="19001"/>
                </a:lnTo>
                <a:lnTo>
                  <a:pt x="3224" y="15793"/>
                </a:lnTo>
                <a:lnTo>
                  <a:pt x="3968" y="12832"/>
                </a:lnTo>
                <a:lnTo>
                  <a:pt x="4712" y="9871"/>
                </a:lnTo>
                <a:lnTo>
                  <a:pt x="5952" y="6909"/>
                </a:lnTo>
                <a:lnTo>
                  <a:pt x="7440" y="3948"/>
                </a:lnTo>
                <a:lnTo>
                  <a:pt x="9176" y="1480"/>
                </a:lnTo>
                <a:lnTo>
                  <a:pt x="7192" y="0"/>
                </a:lnTo>
                <a:lnTo>
                  <a:pt x="5456" y="2961"/>
                </a:lnTo>
                <a:lnTo>
                  <a:pt x="3968" y="5922"/>
                </a:lnTo>
                <a:lnTo>
                  <a:pt x="2232" y="8883"/>
                </a:lnTo>
                <a:lnTo>
                  <a:pt x="1488" y="12338"/>
                </a:lnTo>
                <a:lnTo>
                  <a:pt x="744" y="15300"/>
                </a:lnTo>
                <a:lnTo>
                  <a:pt x="248" y="18508"/>
                </a:lnTo>
                <a:lnTo>
                  <a:pt x="0" y="21963"/>
                </a:lnTo>
                <a:lnTo>
                  <a:pt x="0" y="28625"/>
                </a:lnTo>
                <a:lnTo>
                  <a:pt x="496" y="32080"/>
                </a:lnTo>
                <a:close/>
              </a:path>
            </a:pathLst>
          </a:custGeom>
          <a:solidFill>
            <a:srgbClr val="BEBEBE"/>
          </a:solidFill>
        </p:spPr>
        <p:txBody>
          <a:bodyPr wrap="square" lIns="0" tIns="0" rIns="0" bIns="0" rtlCol="0">
            <a:noAutofit/>
          </a:bodyPr>
          <a:lstStyle/>
          <a:p>
            <a:endParaRPr/>
          </a:p>
        </p:txBody>
      </p:sp>
      <p:sp>
        <p:nvSpPr>
          <p:cNvPr id="2043" name="object 2043"/>
          <p:cNvSpPr/>
          <p:nvPr/>
        </p:nvSpPr>
        <p:spPr>
          <a:xfrm>
            <a:off x="7770603" y="1684326"/>
            <a:ext cx="1984" cy="1480"/>
          </a:xfrm>
          <a:custGeom>
            <a:avLst/>
            <a:gdLst/>
            <a:ahLst/>
            <a:cxnLst/>
            <a:rect l="l" t="t" r="r" b="b"/>
            <a:pathLst>
              <a:path w="1984" h="1480">
                <a:moveTo>
                  <a:pt x="0" y="987"/>
                </a:moveTo>
                <a:lnTo>
                  <a:pt x="496" y="1480"/>
                </a:lnTo>
                <a:lnTo>
                  <a:pt x="1488" y="1480"/>
                </a:lnTo>
                <a:lnTo>
                  <a:pt x="1984" y="740"/>
                </a:lnTo>
                <a:lnTo>
                  <a:pt x="1984" y="0"/>
                </a:lnTo>
                <a:lnTo>
                  <a:pt x="0" y="987"/>
                </a:lnTo>
                <a:close/>
              </a:path>
            </a:pathLst>
          </a:custGeom>
          <a:solidFill>
            <a:srgbClr val="BEBEBE"/>
          </a:solidFill>
        </p:spPr>
        <p:txBody>
          <a:bodyPr wrap="square" lIns="0" tIns="0" rIns="0" bIns="0" rtlCol="0">
            <a:noAutofit/>
          </a:bodyPr>
          <a:lstStyle/>
          <a:p>
            <a:endParaRPr/>
          </a:p>
        </p:txBody>
      </p:sp>
      <p:sp>
        <p:nvSpPr>
          <p:cNvPr id="2044" name="object 2044"/>
          <p:cNvSpPr/>
          <p:nvPr/>
        </p:nvSpPr>
        <p:spPr>
          <a:xfrm>
            <a:off x="7761922" y="1643609"/>
            <a:ext cx="2480" cy="1727"/>
          </a:xfrm>
          <a:custGeom>
            <a:avLst/>
            <a:gdLst/>
            <a:ahLst/>
            <a:cxnLst/>
            <a:rect l="l" t="t" r="r" b="b"/>
            <a:pathLst>
              <a:path w="2480" h="1727">
                <a:moveTo>
                  <a:pt x="2480" y="1727"/>
                </a:moveTo>
                <a:lnTo>
                  <a:pt x="2480" y="740"/>
                </a:lnTo>
                <a:lnTo>
                  <a:pt x="1736" y="0"/>
                </a:lnTo>
                <a:lnTo>
                  <a:pt x="744" y="0"/>
                </a:lnTo>
                <a:lnTo>
                  <a:pt x="0" y="740"/>
                </a:lnTo>
                <a:lnTo>
                  <a:pt x="2480" y="1727"/>
                </a:lnTo>
                <a:close/>
              </a:path>
            </a:pathLst>
          </a:custGeom>
          <a:solidFill>
            <a:srgbClr val="BEBEBE"/>
          </a:solidFill>
        </p:spPr>
        <p:txBody>
          <a:bodyPr wrap="square" lIns="0" tIns="0" rIns="0" bIns="0" rtlCol="0">
            <a:noAutofit/>
          </a:bodyPr>
          <a:lstStyle/>
          <a:p>
            <a:endParaRPr/>
          </a:p>
        </p:txBody>
      </p:sp>
      <p:sp>
        <p:nvSpPr>
          <p:cNvPr id="2045" name="object 2045"/>
          <p:cNvSpPr/>
          <p:nvPr/>
        </p:nvSpPr>
        <p:spPr>
          <a:xfrm>
            <a:off x="7759194" y="1644349"/>
            <a:ext cx="5208" cy="31587"/>
          </a:xfrm>
          <a:custGeom>
            <a:avLst/>
            <a:gdLst/>
            <a:ahLst/>
            <a:cxnLst/>
            <a:rect l="l" t="t" r="r" b="b"/>
            <a:pathLst>
              <a:path w="5208" h="31587">
                <a:moveTo>
                  <a:pt x="248" y="19742"/>
                </a:moveTo>
                <a:lnTo>
                  <a:pt x="744" y="23937"/>
                </a:lnTo>
                <a:lnTo>
                  <a:pt x="1488" y="27638"/>
                </a:lnTo>
                <a:lnTo>
                  <a:pt x="2728" y="31587"/>
                </a:lnTo>
                <a:lnTo>
                  <a:pt x="5208" y="30600"/>
                </a:lnTo>
                <a:lnTo>
                  <a:pt x="3968" y="27145"/>
                </a:lnTo>
                <a:lnTo>
                  <a:pt x="3224" y="23443"/>
                </a:lnTo>
                <a:lnTo>
                  <a:pt x="2728" y="19742"/>
                </a:lnTo>
                <a:lnTo>
                  <a:pt x="2480" y="15546"/>
                </a:lnTo>
                <a:lnTo>
                  <a:pt x="2480" y="11598"/>
                </a:lnTo>
                <a:lnTo>
                  <a:pt x="2976" y="7896"/>
                </a:lnTo>
                <a:lnTo>
                  <a:pt x="3968" y="4195"/>
                </a:lnTo>
                <a:lnTo>
                  <a:pt x="5208" y="987"/>
                </a:lnTo>
                <a:lnTo>
                  <a:pt x="2728" y="0"/>
                </a:lnTo>
                <a:lnTo>
                  <a:pt x="1488" y="3701"/>
                </a:lnTo>
                <a:lnTo>
                  <a:pt x="496" y="7403"/>
                </a:lnTo>
                <a:lnTo>
                  <a:pt x="0" y="11598"/>
                </a:lnTo>
                <a:lnTo>
                  <a:pt x="0" y="15546"/>
                </a:lnTo>
                <a:lnTo>
                  <a:pt x="248" y="19742"/>
                </a:lnTo>
                <a:close/>
              </a:path>
            </a:pathLst>
          </a:custGeom>
          <a:solidFill>
            <a:srgbClr val="BEBEBE"/>
          </a:solidFill>
        </p:spPr>
        <p:txBody>
          <a:bodyPr wrap="square" lIns="0" tIns="0" rIns="0" bIns="0" rtlCol="0">
            <a:noAutofit/>
          </a:bodyPr>
          <a:lstStyle/>
          <a:p>
            <a:endParaRPr/>
          </a:p>
        </p:txBody>
      </p:sp>
      <p:sp>
        <p:nvSpPr>
          <p:cNvPr id="2046" name="object 2046"/>
          <p:cNvSpPr/>
          <p:nvPr/>
        </p:nvSpPr>
        <p:spPr>
          <a:xfrm>
            <a:off x="7761922" y="1674949"/>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2047" name="object 2047"/>
          <p:cNvSpPr/>
          <p:nvPr/>
        </p:nvSpPr>
        <p:spPr>
          <a:xfrm>
            <a:off x="7748778" y="1643609"/>
            <a:ext cx="2480" cy="1727"/>
          </a:xfrm>
          <a:custGeom>
            <a:avLst/>
            <a:gdLst/>
            <a:ahLst/>
            <a:cxnLst/>
            <a:rect l="l" t="t" r="r" b="b"/>
            <a:pathLst>
              <a:path w="2480" h="1727">
                <a:moveTo>
                  <a:pt x="2480" y="1727"/>
                </a:moveTo>
                <a:lnTo>
                  <a:pt x="2480" y="740"/>
                </a:lnTo>
                <a:lnTo>
                  <a:pt x="1736" y="0"/>
                </a:lnTo>
                <a:lnTo>
                  <a:pt x="744" y="0"/>
                </a:lnTo>
                <a:lnTo>
                  <a:pt x="0" y="740"/>
                </a:lnTo>
                <a:lnTo>
                  <a:pt x="2480" y="1727"/>
                </a:lnTo>
                <a:close/>
              </a:path>
            </a:pathLst>
          </a:custGeom>
          <a:solidFill>
            <a:srgbClr val="BEBEBE"/>
          </a:solidFill>
        </p:spPr>
        <p:txBody>
          <a:bodyPr wrap="square" lIns="0" tIns="0" rIns="0" bIns="0" rtlCol="0">
            <a:noAutofit/>
          </a:bodyPr>
          <a:lstStyle/>
          <a:p>
            <a:endParaRPr/>
          </a:p>
        </p:txBody>
      </p:sp>
      <p:sp>
        <p:nvSpPr>
          <p:cNvPr id="2048" name="object 2048"/>
          <p:cNvSpPr/>
          <p:nvPr/>
        </p:nvSpPr>
        <p:spPr>
          <a:xfrm>
            <a:off x="7746050" y="1644349"/>
            <a:ext cx="5208" cy="30353"/>
          </a:xfrm>
          <a:custGeom>
            <a:avLst/>
            <a:gdLst/>
            <a:ahLst/>
            <a:cxnLst/>
            <a:rect l="l" t="t" r="r" b="b"/>
            <a:pathLst>
              <a:path w="5208" h="30353">
                <a:moveTo>
                  <a:pt x="248" y="19001"/>
                </a:moveTo>
                <a:lnTo>
                  <a:pt x="744" y="22950"/>
                </a:lnTo>
                <a:lnTo>
                  <a:pt x="1736" y="26651"/>
                </a:lnTo>
                <a:lnTo>
                  <a:pt x="2728" y="30353"/>
                </a:lnTo>
                <a:lnTo>
                  <a:pt x="5208" y="29366"/>
                </a:lnTo>
                <a:lnTo>
                  <a:pt x="4216" y="26158"/>
                </a:lnTo>
                <a:lnTo>
                  <a:pt x="3224" y="22456"/>
                </a:lnTo>
                <a:lnTo>
                  <a:pt x="2728" y="19001"/>
                </a:lnTo>
                <a:lnTo>
                  <a:pt x="2480" y="15053"/>
                </a:lnTo>
                <a:lnTo>
                  <a:pt x="2728" y="11351"/>
                </a:lnTo>
                <a:lnTo>
                  <a:pt x="2976" y="7650"/>
                </a:lnTo>
                <a:lnTo>
                  <a:pt x="3968" y="4441"/>
                </a:lnTo>
                <a:lnTo>
                  <a:pt x="5208" y="987"/>
                </a:lnTo>
                <a:lnTo>
                  <a:pt x="2728" y="0"/>
                </a:lnTo>
                <a:lnTo>
                  <a:pt x="1488" y="3454"/>
                </a:lnTo>
                <a:lnTo>
                  <a:pt x="496" y="7156"/>
                </a:lnTo>
                <a:lnTo>
                  <a:pt x="248" y="11351"/>
                </a:lnTo>
                <a:lnTo>
                  <a:pt x="0" y="15053"/>
                </a:lnTo>
                <a:lnTo>
                  <a:pt x="248" y="19001"/>
                </a:lnTo>
                <a:close/>
              </a:path>
            </a:pathLst>
          </a:custGeom>
          <a:solidFill>
            <a:srgbClr val="BEBEBE"/>
          </a:solidFill>
        </p:spPr>
        <p:txBody>
          <a:bodyPr wrap="square" lIns="0" tIns="0" rIns="0" bIns="0" rtlCol="0">
            <a:noAutofit/>
          </a:bodyPr>
          <a:lstStyle/>
          <a:p>
            <a:endParaRPr/>
          </a:p>
        </p:txBody>
      </p:sp>
      <p:sp>
        <p:nvSpPr>
          <p:cNvPr id="2049" name="object 2049"/>
          <p:cNvSpPr/>
          <p:nvPr/>
        </p:nvSpPr>
        <p:spPr>
          <a:xfrm>
            <a:off x="7748778" y="1673716"/>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2050" name="object 2050"/>
          <p:cNvSpPr/>
          <p:nvPr/>
        </p:nvSpPr>
        <p:spPr>
          <a:xfrm>
            <a:off x="7743074" y="1638673"/>
            <a:ext cx="2480" cy="1727"/>
          </a:xfrm>
          <a:custGeom>
            <a:avLst/>
            <a:gdLst/>
            <a:ahLst/>
            <a:cxnLst/>
            <a:rect l="l" t="t" r="r" b="b"/>
            <a:pathLst>
              <a:path w="2480" h="1727">
                <a:moveTo>
                  <a:pt x="2480" y="1727"/>
                </a:moveTo>
                <a:lnTo>
                  <a:pt x="2480" y="740"/>
                </a:lnTo>
                <a:lnTo>
                  <a:pt x="1736" y="0"/>
                </a:lnTo>
                <a:lnTo>
                  <a:pt x="744" y="0"/>
                </a:lnTo>
                <a:lnTo>
                  <a:pt x="0" y="740"/>
                </a:lnTo>
                <a:lnTo>
                  <a:pt x="2480" y="1727"/>
                </a:lnTo>
                <a:close/>
              </a:path>
            </a:pathLst>
          </a:custGeom>
          <a:solidFill>
            <a:srgbClr val="BEBEBE"/>
          </a:solidFill>
        </p:spPr>
        <p:txBody>
          <a:bodyPr wrap="square" lIns="0" tIns="0" rIns="0" bIns="0" rtlCol="0">
            <a:noAutofit/>
          </a:bodyPr>
          <a:lstStyle/>
          <a:p>
            <a:endParaRPr/>
          </a:p>
        </p:txBody>
      </p:sp>
      <p:sp>
        <p:nvSpPr>
          <p:cNvPr id="2051" name="object 2051"/>
          <p:cNvSpPr/>
          <p:nvPr/>
        </p:nvSpPr>
        <p:spPr>
          <a:xfrm>
            <a:off x="7739353" y="1639413"/>
            <a:ext cx="6200" cy="40224"/>
          </a:xfrm>
          <a:custGeom>
            <a:avLst/>
            <a:gdLst/>
            <a:ahLst/>
            <a:cxnLst/>
            <a:rect l="l" t="t" r="r" b="b"/>
            <a:pathLst>
              <a:path w="6200" h="40224">
                <a:moveTo>
                  <a:pt x="3720" y="40224"/>
                </a:moveTo>
                <a:lnTo>
                  <a:pt x="6200" y="39237"/>
                </a:lnTo>
                <a:lnTo>
                  <a:pt x="4712" y="34795"/>
                </a:lnTo>
                <a:lnTo>
                  <a:pt x="3472" y="29859"/>
                </a:lnTo>
                <a:lnTo>
                  <a:pt x="2976" y="24924"/>
                </a:lnTo>
                <a:lnTo>
                  <a:pt x="2480" y="19742"/>
                </a:lnTo>
                <a:lnTo>
                  <a:pt x="2728" y="14559"/>
                </a:lnTo>
                <a:lnTo>
                  <a:pt x="3472" y="9871"/>
                </a:lnTo>
                <a:lnTo>
                  <a:pt x="4464" y="5182"/>
                </a:lnTo>
                <a:lnTo>
                  <a:pt x="6200" y="987"/>
                </a:lnTo>
                <a:lnTo>
                  <a:pt x="3720" y="0"/>
                </a:lnTo>
                <a:lnTo>
                  <a:pt x="1984" y="4688"/>
                </a:lnTo>
                <a:lnTo>
                  <a:pt x="992" y="9377"/>
                </a:lnTo>
                <a:lnTo>
                  <a:pt x="248" y="14559"/>
                </a:lnTo>
                <a:lnTo>
                  <a:pt x="0" y="19742"/>
                </a:lnTo>
                <a:lnTo>
                  <a:pt x="496" y="24924"/>
                </a:lnTo>
                <a:lnTo>
                  <a:pt x="992" y="30353"/>
                </a:lnTo>
                <a:lnTo>
                  <a:pt x="2232" y="35288"/>
                </a:lnTo>
                <a:lnTo>
                  <a:pt x="3720" y="40224"/>
                </a:lnTo>
                <a:close/>
              </a:path>
            </a:pathLst>
          </a:custGeom>
          <a:solidFill>
            <a:srgbClr val="BEBEBE"/>
          </a:solidFill>
        </p:spPr>
        <p:txBody>
          <a:bodyPr wrap="square" lIns="0" tIns="0" rIns="0" bIns="0" rtlCol="0">
            <a:noAutofit/>
          </a:bodyPr>
          <a:lstStyle/>
          <a:p>
            <a:endParaRPr/>
          </a:p>
        </p:txBody>
      </p:sp>
      <p:sp>
        <p:nvSpPr>
          <p:cNvPr id="2052" name="object 2052"/>
          <p:cNvSpPr/>
          <p:nvPr/>
        </p:nvSpPr>
        <p:spPr>
          <a:xfrm>
            <a:off x="7743074" y="1678651"/>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2053" name="object 2053"/>
          <p:cNvSpPr/>
          <p:nvPr/>
        </p:nvSpPr>
        <p:spPr>
          <a:xfrm>
            <a:off x="7739601" y="1634230"/>
            <a:ext cx="2232" cy="1974"/>
          </a:xfrm>
          <a:custGeom>
            <a:avLst/>
            <a:gdLst/>
            <a:ahLst/>
            <a:cxnLst/>
            <a:rect l="l" t="t" r="r" b="b"/>
            <a:pathLst>
              <a:path w="2232" h="1974">
                <a:moveTo>
                  <a:pt x="1984" y="1974"/>
                </a:moveTo>
                <a:lnTo>
                  <a:pt x="2232" y="987"/>
                </a:lnTo>
                <a:lnTo>
                  <a:pt x="1736" y="246"/>
                </a:lnTo>
                <a:lnTo>
                  <a:pt x="992" y="0"/>
                </a:lnTo>
                <a:lnTo>
                  <a:pt x="0" y="493"/>
                </a:lnTo>
                <a:lnTo>
                  <a:pt x="1984" y="1974"/>
                </a:lnTo>
                <a:close/>
              </a:path>
            </a:pathLst>
          </a:custGeom>
          <a:solidFill>
            <a:srgbClr val="BEBEBE"/>
          </a:solidFill>
        </p:spPr>
        <p:txBody>
          <a:bodyPr wrap="square" lIns="0" tIns="0" rIns="0" bIns="0" rtlCol="0">
            <a:noAutofit/>
          </a:bodyPr>
          <a:lstStyle/>
          <a:p>
            <a:endParaRPr/>
          </a:p>
        </p:txBody>
      </p:sp>
      <p:sp>
        <p:nvSpPr>
          <p:cNvPr id="2054" name="object 2054"/>
          <p:cNvSpPr/>
          <p:nvPr/>
        </p:nvSpPr>
        <p:spPr>
          <a:xfrm>
            <a:off x="7732657" y="1634724"/>
            <a:ext cx="8928" cy="49108"/>
          </a:xfrm>
          <a:custGeom>
            <a:avLst/>
            <a:gdLst/>
            <a:ahLst/>
            <a:cxnLst/>
            <a:rect l="l" t="t" r="r" b="b"/>
            <a:pathLst>
              <a:path w="8928" h="49108">
                <a:moveTo>
                  <a:pt x="2480" y="21222"/>
                </a:moveTo>
                <a:lnTo>
                  <a:pt x="2728" y="18508"/>
                </a:lnTo>
                <a:lnTo>
                  <a:pt x="3224" y="15300"/>
                </a:lnTo>
                <a:lnTo>
                  <a:pt x="3720" y="12338"/>
                </a:lnTo>
                <a:lnTo>
                  <a:pt x="4712" y="9624"/>
                </a:lnTo>
                <a:lnTo>
                  <a:pt x="5704" y="6662"/>
                </a:lnTo>
                <a:lnTo>
                  <a:pt x="7192" y="4195"/>
                </a:lnTo>
                <a:lnTo>
                  <a:pt x="8928" y="1480"/>
                </a:lnTo>
                <a:lnTo>
                  <a:pt x="6944" y="0"/>
                </a:lnTo>
                <a:lnTo>
                  <a:pt x="5208" y="2714"/>
                </a:lnTo>
                <a:lnTo>
                  <a:pt x="3720" y="5675"/>
                </a:lnTo>
                <a:lnTo>
                  <a:pt x="2232" y="8637"/>
                </a:lnTo>
                <a:lnTo>
                  <a:pt x="1240" y="11845"/>
                </a:lnTo>
                <a:lnTo>
                  <a:pt x="744" y="14806"/>
                </a:lnTo>
                <a:lnTo>
                  <a:pt x="248" y="18014"/>
                </a:lnTo>
                <a:lnTo>
                  <a:pt x="0" y="21222"/>
                </a:lnTo>
                <a:lnTo>
                  <a:pt x="0" y="27638"/>
                </a:lnTo>
                <a:lnTo>
                  <a:pt x="496" y="30846"/>
                </a:lnTo>
                <a:lnTo>
                  <a:pt x="992" y="34055"/>
                </a:lnTo>
                <a:lnTo>
                  <a:pt x="1736" y="37016"/>
                </a:lnTo>
                <a:lnTo>
                  <a:pt x="2728" y="40471"/>
                </a:lnTo>
                <a:lnTo>
                  <a:pt x="3968" y="43432"/>
                </a:lnTo>
                <a:lnTo>
                  <a:pt x="5456" y="46393"/>
                </a:lnTo>
                <a:lnTo>
                  <a:pt x="6944" y="49108"/>
                </a:lnTo>
                <a:lnTo>
                  <a:pt x="8928" y="48121"/>
                </a:lnTo>
                <a:lnTo>
                  <a:pt x="7440" y="45406"/>
                </a:lnTo>
                <a:lnTo>
                  <a:pt x="6448" y="42445"/>
                </a:lnTo>
                <a:lnTo>
                  <a:pt x="5208" y="39484"/>
                </a:lnTo>
                <a:lnTo>
                  <a:pt x="4216" y="36522"/>
                </a:lnTo>
                <a:lnTo>
                  <a:pt x="3472" y="33561"/>
                </a:lnTo>
                <a:lnTo>
                  <a:pt x="2976" y="30353"/>
                </a:lnTo>
                <a:lnTo>
                  <a:pt x="2480" y="27638"/>
                </a:lnTo>
                <a:lnTo>
                  <a:pt x="2480" y="21222"/>
                </a:lnTo>
                <a:close/>
              </a:path>
            </a:pathLst>
          </a:custGeom>
          <a:solidFill>
            <a:srgbClr val="BEBEBE"/>
          </a:solidFill>
        </p:spPr>
        <p:txBody>
          <a:bodyPr wrap="square" lIns="0" tIns="0" rIns="0" bIns="0" rtlCol="0">
            <a:noAutofit/>
          </a:bodyPr>
          <a:lstStyle/>
          <a:p>
            <a:endParaRPr/>
          </a:p>
        </p:txBody>
      </p:sp>
      <p:sp>
        <p:nvSpPr>
          <p:cNvPr id="2055" name="object 2055"/>
          <p:cNvSpPr/>
          <p:nvPr/>
        </p:nvSpPr>
        <p:spPr>
          <a:xfrm>
            <a:off x="7739601" y="1682845"/>
            <a:ext cx="1984" cy="1480"/>
          </a:xfrm>
          <a:custGeom>
            <a:avLst/>
            <a:gdLst/>
            <a:ahLst/>
            <a:cxnLst/>
            <a:rect l="l" t="t" r="r" b="b"/>
            <a:pathLst>
              <a:path w="1984" h="1480">
                <a:moveTo>
                  <a:pt x="0" y="987"/>
                </a:moveTo>
                <a:lnTo>
                  <a:pt x="496" y="1480"/>
                </a:lnTo>
                <a:lnTo>
                  <a:pt x="1488" y="1480"/>
                </a:lnTo>
                <a:lnTo>
                  <a:pt x="1984" y="740"/>
                </a:lnTo>
                <a:lnTo>
                  <a:pt x="1984" y="0"/>
                </a:lnTo>
                <a:lnTo>
                  <a:pt x="0" y="987"/>
                </a:lnTo>
                <a:close/>
              </a:path>
            </a:pathLst>
          </a:custGeom>
          <a:solidFill>
            <a:srgbClr val="BEBEBE"/>
          </a:solidFill>
        </p:spPr>
        <p:txBody>
          <a:bodyPr wrap="square" lIns="0" tIns="0" rIns="0" bIns="0" rtlCol="0">
            <a:noAutofit/>
          </a:bodyPr>
          <a:lstStyle/>
          <a:p>
            <a:endParaRPr/>
          </a:p>
        </p:txBody>
      </p:sp>
      <p:sp>
        <p:nvSpPr>
          <p:cNvPr id="2056" name="object 2056"/>
          <p:cNvSpPr/>
          <p:nvPr/>
        </p:nvSpPr>
        <p:spPr>
          <a:xfrm>
            <a:off x="7731417" y="1643609"/>
            <a:ext cx="2480" cy="1727"/>
          </a:xfrm>
          <a:custGeom>
            <a:avLst/>
            <a:gdLst/>
            <a:ahLst/>
            <a:cxnLst/>
            <a:rect l="l" t="t" r="r" b="b"/>
            <a:pathLst>
              <a:path w="2480" h="1727">
                <a:moveTo>
                  <a:pt x="2480" y="1727"/>
                </a:moveTo>
                <a:lnTo>
                  <a:pt x="2480" y="740"/>
                </a:lnTo>
                <a:lnTo>
                  <a:pt x="1736" y="0"/>
                </a:lnTo>
                <a:lnTo>
                  <a:pt x="744" y="0"/>
                </a:lnTo>
                <a:lnTo>
                  <a:pt x="0" y="740"/>
                </a:lnTo>
                <a:lnTo>
                  <a:pt x="2480" y="1727"/>
                </a:lnTo>
                <a:close/>
              </a:path>
            </a:pathLst>
          </a:custGeom>
          <a:solidFill>
            <a:srgbClr val="BEBEBE"/>
          </a:solidFill>
        </p:spPr>
        <p:txBody>
          <a:bodyPr wrap="square" lIns="0" tIns="0" rIns="0" bIns="0" rtlCol="0">
            <a:noAutofit/>
          </a:bodyPr>
          <a:lstStyle/>
          <a:p>
            <a:endParaRPr/>
          </a:p>
        </p:txBody>
      </p:sp>
      <p:sp>
        <p:nvSpPr>
          <p:cNvPr id="2057" name="object 2057"/>
          <p:cNvSpPr/>
          <p:nvPr/>
        </p:nvSpPr>
        <p:spPr>
          <a:xfrm>
            <a:off x="7728689" y="1644348"/>
            <a:ext cx="5208" cy="30600"/>
          </a:xfrm>
          <a:custGeom>
            <a:avLst/>
            <a:gdLst/>
            <a:ahLst/>
            <a:cxnLst/>
            <a:rect l="l" t="t" r="r" b="b"/>
            <a:pathLst>
              <a:path w="5208" h="30600">
                <a:moveTo>
                  <a:pt x="248" y="19001"/>
                </a:moveTo>
                <a:lnTo>
                  <a:pt x="744" y="23196"/>
                </a:lnTo>
                <a:lnTo>
                  <a:pt x="1488" y="26898"/>
                </a:lnTo>
                <a:lnTo>
                  <a:pt x="2728" y="30600"/>
                </a:lnTo>
                <a:lnTo>
                  <a:pt x="5208" y="29613"/>
                </a:lnTo>
                <a:lnTo>
                  <a:pt x="3968" y="26404"/>
                </a:lnTo>
                <a:lnTo>
                  <a:pt x="3224" y="22703"/>
                </a:lnTo>
                <a:lnTo>
                  <a:pt x="2728" y="19001"/>
                </a:lnTo>
                <a:lnTo>
                  <a:pt x="2480" y="15053"/>
                </a:lnTo>
                <a:lnTo>
                  <a:pt x="2480" y="11351"/>
                </a:lnTo>
                <a:lnTo>
                  <a:pt x="2976" y="7650"/>
                </a:lnTo>
                <a:lnTo>
                  <a:pt x="3968" y="4441"/>
                </a:lnTo>
                <a:lnTo>
                  <a:pt x="5208" y="987"/>
                </a:lnTo>
                <a:lnTo>
                  <a:pt x="2728" y="0"/>
                </a:lnTo>
                <a:lnTo>
                  <a:pt x="1488" y="3454"/>
                </a:lnTo>
                <a:lnTo>
                  <a:pt x="496" y="7156"/>
                </a:lnTo>
                <a:lnTo>
                  <a:pt x="0" y="11351"/>
                </a:lnTo>
                <a:lnTo>
                  <a:pt x="0" y="15053"/>
                </a:lnTo>
                <a:lnTo>
                  <a:pt x="248" y="19001"/>
                </a:lnTo>
                <a:close/>
              </a:path>
            </a:pathLst>
          </a:custGeom>
          <a:solidFill>
            <a:srgbClr val="BEBEBE"/>
          </a:solidFill>
        </p:spPr>
        <p:txBody>
          <a:bodyPr wrap="square" lIns="0" tIns="0" rIns="0" bIns="0" rtlCol="0">
            <a:noAutofit/>
          </a:bodyPr>
          <a:lstStyle/>
          <a:p>
            <a:endParaRPr/>
          </a:p>
        </p:txBody>
      </p:sp>
      <p:sp>
        <p:nvSpPr>
          <p:cNvPr id="2058" name="object 2058"/>
          <p:cNvSpPr/>
          <p:nvPr/>
        </p:nvSpPr>
        <p:spPr>
          <a:xfrm>
            <a:off x="7731417" y="1673962"/>
            <a:ext cx="2480" cy="1727"/>
          </a:xfrm>
          <a:custGeom>
            <a:avLst/>
            <a:gdLst/>
            <a:ahLst/>
            <a:cxnLst/>
            <a:rect l="l" t="t" r="r" b="b"/>
            <a:pathLst>
              <a:path w="2480" h="1727">
                <a:moveTo>
                  <a:pt x="0" y="987"/>
                </a:moveTo>
                <a:lnTo>
                  <a:pt x="744" y="1727"/>
                </a:lnTo>
                <a:lnTo>
                  <a:pt x="1736" y="1480"/>
                </a:lnTo>
                <a:lnTo>
                  <a:pt x="2480" y="987"/>
                </a:lnTo>
                <a:lnTo>
                  <a:pt x="2480" y="0"/>
                </a:lnTo>
                <a:lnTo>
                  <a:pt x="0" y="987"/>
                </a:lnTo>
                <a:close/>
              </a:path>
            </a:pathLst>
          </a:custGeom>
          <a:solidFill>
            <a:srgbClr val="BEBEBE"/>
          </a:solidFill>
        </p:spPr>
        <p:txBody>
          <a:bodyPr wrap="square" lIns="0" tIns="0" rIns="0" bIns="0" rtlCol="0">
            <a:noAutofit/>
          </a:bodyPr>
          <a:lstStyle/>
          <a:p>
            <a:endParaRPr/>
          </a:p>
        </p:txBody>
      </p:sp>
      <p:sp>
        <p:nvSpPr>
          <p:cNvPr id="2059" name="object 2059"/>
          <p:cNvSpPr/>
          <p:nvPr/>
        </p:nvSpPr>
        <p:spPr>
          <a:xfrm>
            <a:off x="8268114" y="1194724"/>
            <a:ext cx="25297" cy="153741"/>
          </a:xfrm>
          <a:custGeom>
            <a:avLst/>
            <a:gdLst/>
            <a:ahLst/>
            <a:cxnLst/>
            <a:rect l="l" t="t" r="r" b="b"/>
            <a:pathLst>
              <a:path w="25297" h="153741">
                <a:moveTo>
                  <a:pt x="248" y="0"/>
                </a:moveTo>
                <a:lnTo>
                  <a:pt x="0" y="152013"/>
                </a:lnTo>
                <a:lnTo>
                  <a:pt x="25297" y="153741"/>
                </a:lnTo>
                <a:lnTo>
                  <a:pt x="25297" y="1974"/>
                </a:lnTo>
                <a:lnTo>
                  <a:pt x="248" y="0"/>
                </a:lnTo>
                <a:close/>
              </a:path>
            </a:pathLst>
          </a:custGeom>
          <a:solidFill>
            <a:srgbClr val="B1B1B1"/>
          </a:solidFill>
        </p:spPr>
        <p:txBody>
          <a:bodyPr wrap="square" lIns="0" tIns="0" rIns="0" bIns="0" rtlCol="0">
            <a:noAutofit/>
          </a:bodyPr>
          <a:lstStyle/>
          <a:p>
            <a:endParaRPr/>
          </a:p>
        </p:txBody>
      </p:sp>
      <p:sp>
        <p:nvSpPr>
          <p:cNvPr id="2060" name="object 2060"/>
          <p:cNvSpPr/>
          <p:nvPr/>
        </p:nvSpPr>
        <p:spPr>
          <a:xfrm>
            <a:off x="8266873" y="1194723"/>
            <a:ext cx="2728" cy="153000"/>
          </a:xfrm>
          <a:custGeom>
            <a:avLst/>
            <a:gdLst/>
            <a:ahLst/>
            <a:cxnLst/>
            <a:rect l="l" t="t" r="r" b="b"/>
            <a:pathLst>
              <a:path w="2728" h="153000">
                <a:moveTo>
                  <a:pt x="868" y="152877"/>
                </a:moveTo>
                <a:lnTo>
                  <a:pt x="1240" y="153000"/>
                </a:lnTo>
                <a:lnTo>
                  <a:pt x="1240" y="150779"/>
                </a:lnTo>
                <a:lnTo>
                  <a:pt x="2728" y="0"/>
                </a:lnTo>
                <a:lnTo>
                  <a:pt x="248" y="0"/>
                </a:lnTo>
                <a:lnTo>
                  <a:pt x="0" y="152013"/>
                </a:lnTo>
                <a:lnTo>
                  <a:pt x="496" y="152754"/>
                </a:lnTo>
                <a:lnTo>
                  <a:pt x="868" y="152877"/>
                </a:lnTo>
                <a:close/>
              </a:path>
            </a:pathLst>
          </a:custGeom>
          <a:solidFill>
            <a:srgbClr val="000000"/>
          </a:solidFill>
        </p:spPr>
        <p:txBody>
          <a:bodyPr wrap="square" lIns="0" tIns="0" rIns="0" bIns="0" rtlCol="0">
            <a:noAutofit/>
          </a:bodyPr>
          <a:lstStyle/>
          <a:p>
            <a:endParaRPr/>
          </a:p>
        </p:txBody>
      </p:sp>
      <p:sp>
        <p:nvSpPr>
          <p:cNvPr id="2061" name="object 2061"/>
          <p:cNvSpPr/>
          <p:nvPr/>
        </p:nvSpPr>
        <p:spPr>
          <a:xfrm>
            <a:off x="8268113" y="1194723"/>
            <a:ext cx="1488" cy="153000"/>
          </a:xfrm>
          <a:custGeom>
            <a:avLst/>
            <a:gdLst/>
            <a:ahLst/>
            <a:cxnLst/>
            <a:rect l="l" t="t" r="r" b="b"/>
            <a:pathLst>
              <a:path w="1488" h="153000">
                <a:moveTo>
                  <a:pt x="0" y="150779"/>
                </a:moveTo>
                <a:lnTo>
                  <a:pt x="0" y="153000"/>
                </a:lnTo>
                <a:lnTo>
                  <a:pt x="744" y="152754"/>
                </a:lnTo>
                <a:lnTo>
                  <a:pt x="1240" y="152013"/>
                </a:lnTo>
                <a:lnTo>
                  <a:pt x="1488" y="0"/>
                </a:lnTo>
                <a:lnTo>
                  <a:pt x="0" y="150779"/>
                </a:lnTo>
                <a:close/>
              </a:path>
            </a:pathLst>
          </a:custGeom>
          <a:solidFill>
            <a:srgbClr val="000000"/>
          </a:solidFill>
        </p:spPr>
        <p:txBody>
          <a:bodyPr wrap="square" lIns="0" tIns="0" rIns="0" bIns="0" rtlCol="0">
            <a:noAutofit/>
          </a:bodyPr>
          <a:lstStyle/>
          <a:p>
            <a:endParaRPr/>
          </a:p>
        </p:txBody>
      </p:sp>
      <p:sp>
        <p:nvSpPr>
          <p:cNvPr id="2062" name="object 2062"/>
          <p:cNvSpPr/>
          <p:nvPr/>
        </p:nvSpPr>
        <p:spPr>
          <a:xfrm>
            <a:off x="8268114" y="1345504"/>
            <a:ext cx="26537" cy="4195"/>
          </a:xfrm>
          <a:custGeom>
            <a:avLst/>
            <a:gdLst/>
            <a:ahLst/>
            <a:cxnLst/>
            <a:rect l="l" t="t" r="r" b="b"/>
            <a:pathLst>
              <a:path w="26537" h="4195">
                <a:moveTo>
                  <a:pt x="26041" y="3701"/>
                </a:moveTo>
                <a:lnTo>
                  <a:pt x="26537" y="2961"/>
                </a:lnTo>
                <a:lnTo>
                  <a:pt x="26041" y="2220"/>
                </a:lnTo>
                <a:lnTo>
                  <a:pt x="25297" y="1727"/>
                </a:lnTo>
                <a:lnTo>
                  <a:pt x="0" y="0"/>
                </a:lnTo>
                <a:lnTo>
                  <a:pt x="0" y="2467"/>
                </a:lnTo>
                <a:lnTo>
                  <a:pt x="25297" y="4195"/>
                </a:lnTo>
                <a:lnTo>
                  <a:pt x="24057" y="2961"/>
                </a:lnTo>
                <a:lnTo>
                  <a:pt x="25297" y="4195"/>
                </a:lnTo>
                <a:lnTo>
                  <a:pt x="26041" y="3701"/>
                </a:lnTo>
                <a:close/>
              </a:path>
            </a:pathLst>
          </a:custGeom>
          <a:solidFill>
            <a:srgbClr val="000000"/>
          </a:solidFill>
        </p:spPr>
        <p:txBody>
          <a:bodyPr wrap="square" lIns="0" tIns="0" rIns="0" bIns="0" rtlCol="0">
            <a:noAutofit/>
          </a:bodyPr>
          <a:lstStyle/>
          <a:p>
            <a:endParaRPr/>
          </a:p>
        </p:txBody>
      </p:sp>
      <p:sp>
        <p:nvSpPr>
          <p:cNvPr id="2063" name="object 2063"/>
          <p:cNvSpPr/>
          <p:nvPr/>
        </p:nvSpPr>
        <p:spPr>
          <a:xfrm>
            <a:off x="8292666" y="1195464"/>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2064" name="object 2064"/>
          <p:cNvSpPr/>
          <p:nvPr/>
        </p:nvSpPr>
        <p:spPr>
          <a:xfrm>
            <a:off x="8292170" y="1195463"/>
            <a:ext cx="2480" cy="153000"/>
          </a:xfrm>
          <a:custGeom>
            <a:avLst/>
            <a:gdLst/>
            <a:ahLst/>
            <a:cxnLst/>
            <a:rect l="l" t="t" r="r" b="b"/>
            <a:pathLst>
              <a:path w="2480" h="153000">
                <a:moveTo>
                  <a:pt x="496" y="493"/>
                </a:moveTo>
                <a:lnTo>
                  <a:pt x="0" y="1233"/>
                </a:lnTo>
                <a:lnTo>
                  <a:pt x="0" y="153000"/>
                </a:lnTo>
                <a:lnTo>
                  <a:pt x="2480" y="153000"/>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2065" name="object 2065"/>
          <p:cNvSpPr/>
          <p:nvPr/>
        </p:nvSpPr>
        <p:spPr>
          <a:xfrm>
            <a:off x="8267370" y="1193490"/>
            <a:ext cx="26041" cy="4441"/>
          </a:xfrm>
          <a:custGeom>
            <a:avLst/>
            <a:gdLst/>
            <a:ahLst/>
            <a:cxnLst/>
            <a:rect l="l" t="t" r="r" b="b"/>
            <a:pathLst>
              <a:path w="26041" h="4441">
                <a:moveTo>
                  <a:pt x="124" y="863"/>
                </a:moveTo>
                <a:lnTo>
                  <a:pt x="0" y="1233"/>
                </a:lnTo>
                <a:lnTo>
                  <a:pt x="248" y="1974"/>
                </a:lnTo>
                <a:lnTo>
                  <a:pt x="992" y="2467"/>
                </a:lnTo>
                <a:lnTo>
                  <a:pt x="26041" y="4441"/>
                </a:lnTo>
                <a:lnTo>
                  <a:pt x="26041" y="1974"/>
                </a:lnTo>
                <a:lnTo>
                  <a:pt x="2232" y="1233"/>
                </a:lnTo>
                <a:lnTo>
                  <a:pt x="992" y="0"/>
                </a:lnTo>
                <a:lnTo>
                  <a:pt x="248" y="493"/>
                </a:lnTo>
                <a:lnTo>
                  <a:pt x="124" y="863"/>
                </a:lnTo>
                <a:close/>
              </a:path>
            </a:pathLst>
          </a:custGeom>
          <a:solidFill>
            <a:srgbClr val="000000"/>
          </a:solidFill>
        </p:spPr>
        <p:txBody>
          <a:bodyPr wrap="square" lIns="0" tIns="0" rIns="0" bIns="0" rtlCol="0">
            <a:noAutofit/>
          </a:bodyPr>
          <a:lstStyle/>
          <a:p>
            <a:endParaRPr/>
          </a:p>
        </p:txBody>
      </p:sp>
      <p:sp>
        <p:nvSpPr>
          <p:cNvPr id="2066" name="object 2066"/>
          <p:cNvSpPr/>
          <p:nvPr/>
        </p:nvSpPr>
        <p:spPr>
          <a:xfrm>
            <a:off x="8268362" y="1193489"/>
            <a:ext cx="25049" cy="1974"/>
          </a:xfrm>
          <a:custGeom>
            <a:avLst/>
            <a:gdLst/>
            <a:ahLst/>
            <a:cxnLst/>
            <a:rect l="l" t="t" r="r" b="b"/>
            <a:pathLst>
              <a:path w="25049" h="1974">
                <a:moveTo>
                  <a:pt x="0" y="0"/>
                </a:moveTo>
                <a:lnTo>
                  <a:pt x="1240" y="1233"/>
                </a:lnTo>
                <a:lnTo>
                  <a:pt x="25049" y="1974"/>
                </a:lnTo>
                <a:lnTo>
                  <a:pt x="0" y="0"/>
                </a:lnTo>
                <a:close/>
              </a:path>
            </a:pathLst>
          </a:custGeom>
          <a:solidFill>
            <a:srgbClr val="000000"/>
          </a:solidFill>
        </p:spPr>
        <p:txBody>
          <a:bodyPr wrap="square" lIns="0" tIns="0" rIns="0" bIns="0" rtlCol="0">
            <a:noAutofit/>
          </a:bodyPr>
          <a:lstStyle/>
          <a:p>
            <a:endParaRPr/>
          </a:p>
        </p:txBody>
      </p:sp>
      <p:sp>
        <p:nvSpPr>
          <p:cNvPr id="2067" name="object 2067"/>
          <p:cNvSpPr/>
          <p:nvPr/>
        </p:nvSpPr>
        <p:spPr>
          <a:xfrm>
            <a:off x="8293658" y="1196698"/>
            <a:ext cx="16120" cy="151767"/>
          </a:xfrm>
          <a:custGeom>
            <a:avLst/>
            <a:gdLst/>
            <a:ahLst/>
            <a:cxnLst/>
            <a:rect l="l" t="t" r="r" b="b"/>
            <a:pathLst>
              <a:path w="16120" h="151767">
                <a:moveTo>
                  <a:pt x="0" y="0"/>
                </a:moveTo>
                <a:lnTo>
                  <a:pt x="0" y="151767"/>
                </a:lnTo>
                <a:lnTo>
                  <a:pt x="16120" y="151767"/>
                </a:lnTo>
                <a:lnTo>
                  <a:pt x="15872" y="2714"/>
                </a:lnTo>
                <a:lnTo>
                  <a:pt x="0" y="0"/>
                </a:lnTo>
                <a:close/>
              </a:path>
            </a:pathLst>
          </a:custGeom>
          <a:solidFill>
            <a:srgbClr val="7E7E7E"/>
          </a:solidFill>
        </p:spPr>
        <p:txBody>
          <a:bodyPr wrap="square" lIns="0" tIns="0" rIns="0" bIns="0" rtlCol="0">
            <a:noAutofit/>
          </a:bodyPr>
          <a:lstStyle/>
          <a:p>
            <a:endParaRPr/>
          </a:p>
        </p:txBody>
      </p:sp>
      <p:sp>
        <p:nvSpPr>
          <p:cNvPr id="2068" name="object 2068"/>
          <p:cNvSpPr/>
          <p:nvPr/>
        </p:nvSpPr>
        <p:spPr>
          <a:xfrm>
            <a:off x="8250752" y="1194971"/>
            <a:ext cx="17360" cy="151767"/>
          </a:xfrm>
          <a:custGeom>
            <a:avLst/>
            <a:gdLst/>
            <a:ahLst/>
            <a:cxnLst/>
            <a:rect l="l" t="t" r="r" b="b"/>
            <a:pathLst>
              <a:path w="17360" h="151767">
                <a:moveTo>
                  <a:pt x="0" y="1233"/>
                </a:moveTo>
                <a:lnTo>
                  <a:pt x="0" y="150039"/>
                </a:lnTo>
                <a:lnTo>
                  <a:pt x="17360" y="151767"/>
                </a:lnTo>
                <a:lnTo>
                  <a:pt x="17360" y="0"/>
                </a:lnTo>
                <a:lnTo>
                  <a:pt x="0" y="1233"/>
                </a:lnTo>
                <a:close/>
              </a:path>
            </a:pathLst>
          </a:custGeom>
          <a:solidFill>
            <a:srgbClr val="7E7E7E"/>
          </a:solidFill>
        </p:spPr>
        <p:txBody>
          <a:bodyPr wrap="square" lIns="0" tIns="0" rIns="0" bIns="0" rtlCol="0">
            <a:noAutofit/>
          </a:bodyPr>
          <a:lstStyle/>
          <a:p>
            <a:endParaRPr/>
          </a:p>
        </p:txBody>
      </p:sp>
      <p:sp>
        <p:nvSpPr>
          <p:cNvPr id="2069" name="object 2069"/>
          <p:cNvSpPr/>
          <p:nvPr/>
        </p:nvSpPr>
        <p:spPr>
          <a:xfrm>
            <a:off x="8292418" y="1195464"/>
            <a:ext cx="2480" cy="2467"/>
          </a:xfrm>
          <a:custGeom>
            <a:avLst/>
            <a:gdLst/>
            <a:ahLst/>
            <a:cxnLst/>
            <a:rect l="l" t="t" r="r" b="b"/>
            <a:pathLst>
              <a:path w="2480" h="2467">
                <a:moveTo>
                  <a:pt x="1377" y="91"/>
                </a:moveTo>
                <a:lnTo>
                  <a:pt x="1240" y="0"/>
                </a:lnTo>
                <a:lnTo>
                  <a:pt x="496" y="493"/>
                </a:lnTo>
                <a:lnTo>
                  <a:pt x="0" y="1233"/>
                </a:lnTo>
                <a:lnTo>
                  <a:pt x="992" y="2467"/>
                </a:lnTo>
                <a:lnTo>
                  <a:pt x="2480" y="1233"/>
                </a:lnTo>
                <a:lnTo>
                  <a:pt x="1984" y="493"/>
                </a:lnTo>
                <a:lnTo>
                  <a:pt x="1377" y="91"/>
                </a:lnTo>
                <a:close/>
              </a:path>
            </a:pathLst>
          </a:custGeom>
          <a:solidFill>
            <a:srgbClr val="000000"/>
          </a:solidFill>
        </p:spPr>
        <p:txBody>
          <a:bodyPr wrap="square" lIns="0" tIns="0" rIns="0" bIns="0" rtlCol="0">
            <a:noAutofit/>
          </a:bodyPr>
          <a:lstStyle/>
          <a:p>
            <a:endParaRPr/>
          </a:p>
        </p:txBody>
      </p:sp>
      <p:sp>
        <p:nvSpPr>
          <p:cNvPr id="2070" name="object 2070"/>
          <p:cNvSpPr/>
          <p:nvPr/>
        </p:nvSpPr>
        <p:spPr>
          <a:xfrm>
            <a:off x="8292418" y="1196698"/>
            <a:ext cx="2480" cy="151767"/>
          </a:xfrm>
          <a:custGeom>
            <a:avLst/>
            <a:gdLst/>
            <a:ahLst/>
            <a:cxnLst/>
            <a:rect l="l" t="t" r="r" b="b"/>
            <a:pathLst>
              <a:path w="2480" h="151767">
                <a:moveTo>
                  <a:pt x="2480" y="151767"/>
                </a:moveTo>
                <a:lnTo>
                  <a:pt x="2480" y="0"/>
                </a:lnTo>
                <a:lnTo>
                  <a:pt x="992" y="1233"/>
                </a:lnTo>
                <a:lnTo>
                  <a:pt x="0" y="0"/>
                </a:lnTo>
                <a:lnTo>
                  <a:pt x="0" y="151767"/>
                </a:lnTo>
                <a:lnTo>
                  <a:pt x="2480" y="151767"/>
                </a:lnTo>
                <a:close/>
              </a:path>
            </a:pathLst>
          </a:custGeom>
          <a:solidFill>
            <a:srgbClr val="000000"/>
          </a:solidFill>
        </p:spPr>
        <p:txBody>
          <a:bodyPr wrap="square" lIns="0" tIns="0" rIns="0" bIns="0" rtlCol="0">
            <a:noAutofit/>
          </a:bodyPr>
          <a:lstStyle/>
          <a:p>
            <a:endParaRPr/>
          </a:p>
        </p:txBody>
      </p:sp>
      <p:sp>
        <p:nvSpPr>
          <p:cNvPr id="2071" name="object 2071"/>
          <p:cNvSpPr/>
          <p:nvPr/>
        </p:nvSpPr>
        <p:spPr>
          <a:xfrm>
            <a:off x="8293410" y="1195463"/>
            <a:ext cx="17360" cy="5182"/>
          </a:xfrm>
          <a:custGeom>
            <a:avLst/>
            <a:gdLst/>
            <a:ahLst/>
            <a:cxnLst/>
            <a:rect l="l" t="t" r="r" b="b"/>
            <a:pathLst>
              <a:path w="17360" h="5182">
                <a:moveTo>
                  <a:pt x="16368" y="2714"/>
                </a:moveTo>
                <a:lnTo>
                  <a:pt x="496" y="0"/>
                </a:lnTo>
                <a:lnTo>
                  <a:pt x="0" y="2467"/>
                </a:lnTo>
                <a:lnTo>
                  <a:pt x="15872" y="5182"/>
                </a:lnTo>
                <a:lnTo>
                  <a:pt x="16864" y="4935"/>
                </a:lnTo>
                <a:lnTo>
                  <a:pt x="17360" y="4195"/>
                </a:lnTo>
                <a:lnTo>
                  <a:pt x="17270" y="3836"/>
                </a:lnTo>
                <a:lnTo>
                  <a:pt x="17112" y="3208"/>
                </a:lnTo>
                <a:lnTo>
                  <a:pt x="16368" y="2714"/>
                </a:lnTo>
                <a:lnTo>
                  <a:pt x="14880" y="3948"/>
                </a:lnTo>
                <a:lnTo>
                  <a:pt x="16368" y="2714"/>
                </a:lnTo>
                <a:close/>
              </a:path>
            </a:pathLst>
          </a:custGeom>
          <a:solidFill>
            <a:srgbClr val="000000"/>
          </a:solidFill>
        </p:spPr>
        <p:txBody>
          <a:bodyPr wrap="square" lIns="0" tIns="0" rIns="0" bIns="0" rtlCol="0">
            <a:noAutofit/>
          </a:bodyPr>
          <a:lstStyle/>
          <a:p>
            <a:endParaRPr/>
          </a:p>
        </p:txBody>
      </p:sp>
      <p:sp>
        <p:nvSpPr>
          <p:cNvPr id="2072" name="object 2072"/>
          <p:cNvSpPr/>
          <p:nvPr/>
        </p:nvSpPr>
        <p:spPr>
          <a:xfrm>
            <a:off x="8309035" y="1347230"/>
            <a:ext cx="1116" cy="2220"/>
          </a:xfrm>
          <a:custGeom>
            <a:avLst/>
            <a:gdLst/>
            <a:ahLst/>
            <a:cxnLst/>
            <a:rect l="l" t="t" r="r" b="b"/>
            <a:pathLst>
              <a:path w="1116" h="2220">
                <a:moveTo>
                  <a:pt x="744" y="0"/>
                </a:moveTo>
                <a:lnTo>
                  <a:pt x="0" y="1974"/>
                </a:lnTo>
                <a:lnTo>
                  <a:pt x="744" y="2220"/>
                </a:lnTo>
                <a:lnTo>
                  <a:pt x="1116" y="2097"/>
                </a:lnTo>
                <a:lnTo>
                  <a:pt x="744" y="0"/>
                </a:lnTo>
                <a:close/>
              </a:path>
            </a:pathLst>
          </a:custGeom>
          <a:solidFill>
            <a:srgbClr val="000000"/>
          </a:solidFill>
        </p:spPr>
        <p:txBody>
          <a:bodyPr wrap="square" lIns="0" tIns="0" rIns="0" bIns="0" rtlCol="0">
            <a:noAutofit/>
          </a:bodyPr>
          <a:lstStyle/>
          <a:p>
            <a:endParaRPr/>
          </a:p>
        </p:txBody>
      </p:sp>
      <p:sp>
        <p:nvSpPr>
          <p:cNvPr id="2073" name="object 2073"/>
          <p:cNvSpPr/>
          <p:nvPr/>
        </p:nvSpPr>
        <p:spPr>
          <a:xfrm>
            <a:off x="8308291" y="1199412"/>
            <a:ext cx="2728" cy="149916"/>
          </a:xfrm>
          <a:custGeom>
            <a:avLst/>
            <a:gdLst/>
            <a:ahLst/>
            <a:cxnLst/>
            <a:rect l="l" t="t" r="r" b="b"/>
            <a:pathLst>
              <a:path w="2728" h="149916">
                <a:moveTo>
                  <a:pt x="2232" y="149792"/>
                </a:moveTo>
                <a:lnTo>
                  <a:pt x="2728" y="149052"/>
                </a:lnTo>
                <a:lnTo>
                  <a:pt x="2480" y="0"/>
                </a:lnTo>
                <a:lnTo>
                  <a:pt x="0" y="0"/>
                </a:lnTo>
                <a:lnTo>
                  <a:pt x="248" y="149052"/>
                </a:lnTo>
                <a:lnTo>
                  <a:pt x="744" y="149792"/>
                </a:lnTo>
                <a:lnTo>
                  <a:pt x="1488" y="147818"/>
                </a:lnTo>
                <a:lnTo>
                  <a:pt x="1860" y="149916"/>
                </a:lnTo>
                <a:lnTo>
                  <a:pt x="2232" y="149792"/>
                </a:lnTo>
                <a:close/>
              </a:path>
            </a:pathLst>
          </a:custGeom>
          <a:solidFill>
            <a:srgbClr val="000000"/>
          </a:solidFill>
        </p:spPr>
        <p:txBody>
          <a:bodyPr wrap="square" lIns="0" tIns="0" rIns="0" bIns="0" rtlCol="0">
            <a:noAutofit/>
          </a:bodyPr>
          <a:lstStyle/>
          <a:p>
            <a:endParaRPr/>
          </a:p>
        </p:txBody>
      </p:sp>
      <p:sp>
        <p:nvSpPr>
          <p:cNvPr id="2074" name="object 2074"/>
          <p:cNvSpPr/>
          <p:nvPr/>
        </p:nvSpPr>
        <p:spPr>
          <a:xfrm>
            <a:off x="8293658" y="1348465"/>
            <a:ext cx="16120" cy="1233"/>
          </a:xfrm>
          <a:custGeom>
            <a:avLst/>
            <a:gdLst/>
            <a:ahLst/>
            <a:cxnLst/>
            <a:rect l="l" t="t" r="r" b="b"/>
            <a:pathLst>
              <a:path w="16120" h="1233">
                <a:moveTo>
                  <a:pt x="1240" y="0"/>
                </a:moveTo>
                <a:lnTo>
                  <a:pt x="0" y="1233"/>
                </a:lnTo>
                <a:lnTo>
                  <a:pt x="16120" y="1233"/>
                </a:lnTo>
                <a:lnTo>
                  <a:pt x="1240" y="0"/>
                </a:lnTo>
                <a:close/>
              </a:path>
            </a:pathLst>
          </a:custGeom>
          <a:solidFill>
            <a:srgbClr val="000000"/>
          </a:solidFill>
        </p:spPr>
        <p:txBody>
          <a:bodyPr wrap="square" lIns="0" tIns="0" rIns="0" bIns="0" rtlCol="0">
            <a:noAutofit/>
          </a:bodyPr>
          <a:lstStyle/>
          <a:p>
            <a:endParaRPr/>
          </a:p>
        </p:txBody>
      </p:sp>
      <p:sp>
        <p:nvSpPr>
          <p:cNvPr id="2075" name="object 2075"/>
          <p:cNvSpPr/>
          <p:nvPr/>
        </p:nvSpPr>
        <p:spPr>
          <a:xfrm>
            <a:off x="8292666" y="1347231"/>
            <a:ext cx="17112" cy="2467"/>
          </a:xfrm>
          <a:custGeom>
            <a:avLst/>
            <a:gdLst/>
            <a:ahLst/>
            <a:cxnLst/>
            <a:rect l="l" t="t" r="r" b="b"/>
            <a:pathLst>
              <a:path w="17112" h="2467">
                <a:moveTo>
                  <a:pt x="0" y="1233"/>
                </a:moveTo>
                <a:lnTo>
                  <a:pt x="124" y="1604"/>
                </a:lnTo>
                <a:lnTo>
                  <a:pt x="248" y="1974"/>
                </a:lnTo>
                <a:lnTo>
                  <a:pt x="992" y="2467"/>
                </a:lnTo>
                <a:lnTo>
                  <a:pt x="2232" y="1233"/>
                </a:lnTo>
                <a:lnTo>
                  <a:pt x="17112" y="2467"/>
                </a:lnTo>
                <a:lnTo>
                  <a:pt x="17112" y="0"/>
                </a:lnTo>
                <a:lnTo>
                  <a:pt x="992" y="0"/>
                </a:lnTo>
                <a:lnTo>
                  <a:pt x="248" y="493"/>
                </a:lnTo>
                <a:lnTo>
                  <a:pt x="0" y="1233"/>
                </a:lnTo>
                <a:close/>
              </a:path>
            </a:pathLst>
          </a:custGeom>
          <a:solidFill>
            <a:srgbClr val="000000"/>
          </a:solidFill>
        </p:spPr>
        <p:txBody>
          <a:bodyPr wrap="square" lIns="0" tIns="0" rIns="0" bIns="0" rtlCol="0">
            <a:noAutofit/>
          </a:bodyPr>
          <a:lstStyle/>
          <a:p>
            <a:endParaRPr/>
          </a:p>
        </p:txBody>
      </p:sp>
      <p:sp>
        <p:nvSpPr>
          <p:cNvPr id="2076" name="object 2076"/>
          <p:cNvSpPr/>
          <p:nvPr/>
        </p:nvSpPr>
        <p:spPr>
          <a:xfrm>
            <a:off x="8249512" y="1196204"/>
            <a:ext cx="2480" cy="149792"/>
          </a:xfrm>
          <a:custGeom>
            <a:avLst/>
            <a:gdLst/>
            <a:ahLst/>
            <a:cxnLst/>
            <a:rect l="l" t="t" r="r" b="b"/>
            <a:pathLst>
              <a:path w="2480" h="149792">
                <a:moveTo>
                  <a:pt x="868" y="149669"/>
                </a:moveTo>
                <a:lnTo>
                  <a:pt x="1240" y="149792"/>
                </a:lnTo>
                <a:lnTo>
                  <a:pt x="1240" y="147571"/>
                </a:lnTo>
                <a:lnTo>
                  <a:pt x="2480" y="0"/>
                </a:lnTo>
                <a:lnTo>
                  <a:pt x="0" y="0"/>
                </a:lnTo>
                <a:lnTo>
                  <a:pt x="0" y="148805"/>
                </a:lnTo>
                <a:lnTo>
                  <a:pt x="496" y="149546"/>
                </a:lnTo>
                <a:lnTo>
                  <a:pt x="868" y="149669"/>
                </a:lnTo>
                <a:close/>
              </a:path>
            </a:pathLst>
          </a:custGeom>
          <a:solidFill>
            <a:srgbClr val="000000"/>
          </a:solidFill>
        </p:spPr>
        <p:txBody>
          <a:bodyPr wrap="square" lIns="0" tIns="0" rIns="0" bIns="0" rtlCol="0">
            <a:noAutofit/>
          </a:bodyPr>
          <a:lstStyle/>
          <a:p>
            <a:endParaRPr/>
          </a:p>
        </p:txBody>
      </p:sp>
      <p:sp>
        <p:nvSpPr>
          <p:cNvPr id="2077" name="object 2077"/>
          <p:cNvSpPr/>
          <p:nvPr/>
        </p:nvSpPr>
        <p:spPr>
          <a:xfrm>
            <a:off x="8250752" y="1196204"/>
            <a:ext cx="1240" cy="149792"/>
          </a:xfrm>
          <a:custGeom>
            <a:avLst/>
            <a:gdLst/>
            <a:ahLst/>
            <a:cxnLst/>
            <a:rect l="l" t="t" r="r" b="b"/>
            <a:pathLst>
              <a:path w="1240" h="149792">
                <a:moveTo>
                  <a:pt x="0" y="147571"/>
                </a:moveTo>
                <a:lnTo>
                  <a:pt x="0" y="149792"/>
                </a:lnTo>
                <a:lnTo>
                  <a:pt x="744" y="149546"/>
                </a:lnTo>
                <a:lnTo>
                  <a:pt x="1240" y="148805"/>
                </a:lnTo>
                <a:lnTo>
                  <a:pt x="1240" y="0"/>
                </a:lnTo>
                <a:lnTo>
                  <a:pt x="0" y="147571"/>
                </a:lnTo>
                <a:close/>
              </a:path>
            </a:pathLst>
          </a:custGeom>
          <a:solidFill>
            <a:srgbClr val="000000"/>
          </a:solidFill>
        </p:spPr>
        <p:txBody>
          <a:bodyPr wrap="square" lIns="0" tIns="0" rIns="0" bIns="0" rtlCol="0">
            <a:noAutofit/>
          </a:bodyPr>
          <a:lstStyle/>
          <a:p>
            <a:endParaRPr/>
          </a:p>
        </p:txBody>
      </p:sp>
      <p:sp>
        <p:nvSpPr>
          <p:cNvPr id="2078" name="object 2078"/>
          <p:cNvSpPr/>
          <p:nvPr/>
        </p:nvSpPr>
        <p:spPr>
          <a:xfrm>
            <a:off x="8250752" y="1343777"/>
            <a:ext cx="18600" cy="4195"/>
          </a:xfrm>
          <a:custGeom>
            <a:avLst/>
            <a:gdLst/>
            <a:ahLst/>
            <a:cxnLst/>
            <a:rect l="l" t="t" r="r" b="b"/>
            <a:pathLst>
              <a:path w="18600" h="4195">
                <a:moveTo>
                  <a:pt x="18104" y="3701"/>
                </a:moveTo>
                <a:lnTo>
                  <a:pt x="18600" y="2961"/>
                </a:lnTo>
                <a:lnTo>
                  <a:pt x="18104" y="2220"/>
                </a:lnTo>
                <a:lnTo>
                  <a:pt x="17360" y="1727"/>
                </a:lnTo>
                <a:lnTo>
                  <a:pt x="0" y="0"/>
                </a:lnTo>
                <a:lnTo>
                  <a:pt x="0" y="2467"/>
                </a:lnTo>
                <a:lnTo>
                  <a:pt x="17360" y="4195"/>
                </a:lnTo>
                <a:lnTo>
                  <a:pt x="16120" y="2961"/>
                </a:lnTo>
                <a:lnTo>
                  <a:pt x="17360" y="4195"/>
                </a:lnTo>
                <a:lnTo>
                  <a:pt x="18104" y="3701"/>
                </a:lnTo>
                <a:close/>
              </a:path>
            </a:pathLst>
          </a:custGeom>
          <a:solidFill>
            <a:srgbClr val="000000"/>
          </a:solidFill>
        </p:spPr>
        <p:txBody>
          <a:bodyPr wrap="square" lIns="0" tIns="0" rIns="0" bIns="0" rtlCol="0">
            <a:noAutofit/>
          </a:bodyPr>
          <a:lstStyle/>
          <a:p>
            <a:endParaRPr/>
          </a:p>
        </p:txBody>
      </p:sp>
      <p:sp>
        <p:nvSpPr>
          <p:cNvPr id="2079" name="object 2079"/>
          <p:cNvSpPr/>
          <p:nvPr/>
        </p:nvSpPr>
        <p:spPr>
          <a:xfrm>
            <a:off x="8267369" y="1193737"/>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2080" name="object 2080"/>
          <p:cNvSpPr/>
          <p:nvPr/>
        </p:nvSpPr>
        <p:spPr>
          <a:xfrm>
            <a:off x="8266873" y="1193736"/>
            <a:ext cx="2480" cy="153000"/>
          </a:xfrm>
          <a:custGeom>
            <a:avLst/>
            <a:gdLst/>
            <a:ahLst/>
            <a:cxnLst/>
            <a:rect l="l" t="t" r="r" b="b"/>
            <a:pathLst>
              <a:path w="2480" h="153000">
                <a:moveTo>
                  <a:pt x="496" y="493"/>
                </a:moveTo>
                <a:lnTo>
                  <a:pt x="0" y="1233"/>
                </a:lnTo>
                <a:lnTo>
                  <a:pt x="0" y="153000"/>
                </a:lnTo>
                <a:lnTo>
                  <a:pt x="2480" y="153000"/>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2081" name="object 2081"/>
          <p:cNvSpPr/>
          <p:nvPr/>
        </p:nvSpPr>
        <p:spPr>
          <a:xfrm>
            <a:off x="8249760" y="1193737"/>
            <a:ext cx="18352" cy="3701"/>
          </a:xfrm>
          <a:custGeom>
            <a:avLst/>
            <a:gdLst/>
            <a:ahLst/>
            <a:cxnLst/>
            <a:rect l="l" t="t" r="r" b="b"/>
            <a:pathLst>
              <a:path w="18352" h="3701">
                <a:moveTo>
                  <a:pt x="124" y="2097"/>
                </a:moveTo>
                <a:lnTo>
                  <a:pt x="0" y="2467"/>
                </a:lnTo>
                <a:lnTo>
                  <a:pt x="248" y="3208"/>
                </a:lnTo>
                <a:lnTo>
                  <a:pt x="992" y="3701"/>
                </a:lnTo>
                <a:lnTo>
                  <a:pt x="18352" y="2467"/>
                </a:lnTo>
                <a:lnTo>
                  <a:pt x="18352" y="0"/>
                </a:lnTo>
                <a:lnTo>
                  <a:pt x="2232" y="2467"/>
                </a:lnTo>
                <a:lnTo>
                  <a:pt x="992" y="1233"/>
                </a:lnTo>
                <a:lnTo>
                  <a:pt x="248" y="1727"/>
                </a:lnTo>
                <a:lnTo>
                  <a:pt x="124" y="2097"/>
                </a:lnTo>
                <a:close/>
              </a:path>
            </a:pathLst>
          </a:custGeom>
          <a:solidFill>
            <a:srgbClr val="000000"/>
          </a:solidFill>
        </p:spPr>
        <p:txBody>
          <a:bodyPr wrap="square" lIns="0" tIns="0" rIns="0" bIns="0" rtlCol="0">
            <a:noAutofit/>
          </a:bodyPr>
          <a:lstStyle/>
          <a:p>
            <a:endParaRPr/>
          </a:p>
        </p:txBody>
      </p:sp>
      <p:sp>
        <p:nvSpPr>
          <p:cNvPr id="2082" name="object 2082"/>
          <p:cNvSpPr/>
          <p:nvPr/>
        </p:nvSpPr>
        <p:spPr>
          <a:xfrm>
            <a:off x="8250752" y="1193737"/>
            <a:ext cx="17360" cy="2467"/>
          </a:xfrm>
          <a:custGeom>
            <a:avLst/>
            <a:gdLst/>
            <a:ahLst/>
            <a:cxnLst/>
            <a:rect l="l" t="t" r="r" b="b"/>
            <a:pathLst>
              <a:path w="17360" h="2467">
                <a:moveTo>
                  <a:pt x="0" y="1233"/>
                </a:moveTo>
                <a:lnTo>
                  <a:pt x="1240" y="2467"/>
                </a:lnTo>
                <a:lnTo>
                  <a:pt x="17360" y="0"/>
                </a:lnTo>
                <a:lnTo>
                  <a:pt x="0" y="1233"/>
                </a:lnTo>
                <a:close/>
              </a:path>
            </a:pathLst>
          </a:custGeom>
          <a:solidFill>
            <a:srgbClr val="000000"/>
          </a:solidFill>
        </p:spPr>
        <p:txBody>
          <a:bodyPr wrap="square" lIns="0" tIns="0" rIns="0" bIns="0" rtlCol="0">
            <a:noAutofit/>
          </a:bodyPr>
          <a:lstStyle/>
          <a:p>
            <a:endParaRPr/>
          </a:p>
        </p:txBody>
      </p:sp>
      <p:sp>
        <p:nvSpPr>
          <p:cNvPr id="2083" name="object 2083"/>
          <p:cNvSpPr/>
          <p:nvPr/>
        </p:nvSpPr>
        <p:spPr>
          <a:xfrm>
            <a:off x="8249760" y="1172513"/>
            <a:ext cx="7440" cy="14806"/>
          </a:xfrm>
          <a:custGeom>
            <a:avLst/>
            <a:gdLst/>
            <a:ahLst/>
            <a:cxnLst/>
            <a:rect l="l" t="t" r="r" b="b"/>
            <a:pathLst>
              <a:path w="7440" h="14806">
                <a:moveTo>
                  <a:pt x="7440" y="0"/>
                </a:moveTo>
                <a:lnTo>
                  <a:pt x="4216" y="740"/>
                </a:lnTo>
                <a:lnTo>
                  <a:pt x="1984" y="2220"/>
                </a:lnTo>
                <a:lnTo>
                  <a:pt x="496" y="4688"/>
                </a:lnTo>
                <a:lnTo>
                  <a:pt x="0" y="7403"/>
                </a:lnTo>
                <a:lnTo>
                  <a:pt x="496" y="10117"/>
                </a:lnTo>
                <a:lnTo>
                  <a:pt x="1984" y="12585"/>
                </a:lnTo>
                <a:lnTo>
                  <a:pt x="4216" y="14066"/>
                </a:lnTo>
                <a:lnTo>
                  <a:pt x="7440" y="14806"/>
                </a:lnTo>
                <a:lnTo>
                  <a:pt x="7440" y="0"/>
                </a:lnTo>
                <a:close/>
              </a:path>
            </a:pathLst>
          </a:custGeom>
          <a:solidFill>
            <a:srgbClr val="000000"/>
          </a:solidFill>
        </p:spPr>
        <p:txBody>
          <a:bodyPr wrap="square" lIns="0" tIns="0" rIns="0" bIns="0" rtlCol="0">
            <a:noAutofit/>
          </a:bodyPr>
          <a:lstStyle/>
          <a:p>
            <a:endParaRPr/>
          </a:p>
        </p:txBody>
      </p:sp>
      <p:sp>
        <p:nvSpPr>
          <p:cNvPr id="2084" name="object 2084"/>
          <p:cNvSpPr/>
          <p:nvPr/>
        </p:nvSpPr>
        <p:spPr>
          <a:xfrm>
            <a:off x="8257202" y="1172513"/>
            <a:ext cx="24801" cy="14806"/>
          </a:xfrm>
          <a:custGeom>
            <a:avLst/>
            <a:gdLst/>
            <a:ahLst/>
            <a:cxnLst/>
            <a:rect l="l" t="t" r="r" b="b"/>
            <a:pathLst>
              <a:path w="24801" h="14806">
                <a:moveTo>
                  <a:pt x="17360" y="0"/>
                </a:moveTo>
                <a:lnTo>
                  <a:pt x="0" y="0"/>
                </a:lnTo>
                <a:lnTo>
                  <a:pt x="0" y="14806"/>
                </a:lnTo>
                <a:lnTo>
                  <a:pt x="17360" y="14806"/>
                </a:lnTo>
                <a:lnTo>
                  <a:pt x="20584" y="14066"/>
                </a:lnTo>
                <a:lnTo>
                  <a:pt x="23065" y="12585"/>
                </a:lnTo>
                <a:lnTo>
                  <a:pt x="24305" y="10117"/>
                </a:lnTo>
                <a:lnTo>
                  <a:pt x="24801" y="7403"/>
                </a:lnTo>
                <a:lnTo>
                  <a:pt x="24305" y="4688"/>
                </a:lnTo>
                <a:lnTo>
                  <a:pt x="23065" y="2220"/>
                </a:lnTo>
                <a:lnTo>
                  <a:pt x="20584" y="740"/>
                </a:lnTo>
                <a:lnTo>
                  <a:pt x="17360" y="0"/>
                </a:lnTo>
                <a:close/>
              </a:path>
            </a:pathLst>
          </a:custGeom>
          <a:solidFill>
            <a:srgbClr val="000000"/>
          </a:solidFill>
        </p:spPr>
        <p:txBody>
          <a:bodyPr wrap="square" lIns="0" tIns="0" rIns="0" bIns="0" rtlCol="0">
            <a:noAutofit/>
          </a:bodyPr>
          <a:lstStyle/>
          <a:p>
            <a:endParaRPr/>
          </a:p>
        </p:txBody>
      </p:sp>
      <p:sp>
        <p:nvSpPr>
          <p:cNvPr id="2085" name="object 2085"/>
          <p:cNvSpPr/>
          <p:nvPr/>
        </p:nvSpPr>
        <p:spPr>
          <a:xfrm>
            <a:off x="8274314" y="1187321"/>
            <a:ext cx="1488" cy="8143"/>
          </a:xfrm>
          <a:custGeom>
            <a:avLst/>
            <a:gdLst/>
            <a:ahLst/>
            <a:cxnLst/>
            <a:rect l="l" t="t" r="r" b="b"/>
            <a:pathLst>
              <a:path w="1488" h="8143">
                <a:moveTo>
                  <a:pt x="1488" y="8143"/>
                </a:moveTo>
                <a:lnTo>
                  <a:pt x="248" y="0"/>
                </a:lnTo>
                <a:lnTo>
                  <a:pt x="0" y="5922"/>
                </a:lnTo>
                <a:lnTo>
                  <a:pt x="1488" y="8143"/>
                </a:lnTo>
                <a:close/>
              </a:path>
            </a:pathLst>
          </a:custGeom>
          <a:solidFill>
            <a:srgbClr val="000000"/>
          </a:solidFill>
        </p:spPr>
        <p:txBody>
          <a:bodyPr wrap="square" lIns="0" tIns="0" rIns="0" bIns="0" rtlCol="0">
            <a:noAutofit/>
          </a:bodyPr>
          <a:lstStyle/>
          <a:p>
            <a:endParaRPr/>
          </a:p>
        </p:txBody>
      </p:sp>
      <p:sp>
        <p:nvSpPr>
          <p:cNvPr id="2086" name="object 2086"/>
          <p:cNvSpPr/>
          <p:nvPr/>
        </p:nvSpPr>
        <p:spPr>
          <a:xfrm>
            <a:off x="8273073" y="1186087"/>
            <a:ext cx="82" cy="329"/>
          </a:xfrm>
          <a:custGeom>
            <a:avLst/>
            <a:gdLst/>
            <a:ahLst/>
            <a:cxnLst/>
            <a:rect l="l" t="t" r="r" b="b"/>
            <a:pathLst>
              <a:path w="82" h="329">
                <a:moveTo>
                  <a:pt x="82" y="329"/>
                </a:moveTo>
                <a:lnTo>
                  <a:pt x="0" y="0"/>
                </a:lnTo>
                <a:lnTo>
                  <a:pt x="0" y="246"/>
                </a:lnTo>
                <a:close/>
              </a:path>
            </a:pathLst>
          </a:custGeom>
          <a:solidFill>
            <a:srgbClr val="000000"/>
          </a:solidFill>
        </p:spPr>
        <p:txBody>
          <a:bodyPr wrap="square" lIns="0" tIns="0" rIns="0" bIns="0" rtlCol="0">
            <a:noAutofit/>
          </a:bodyPr>
          <a:lstStyle/>
          <a:p>
            <a:endParaRPr/>
          </a:p>
        </p:txBody>
      </p:sp>
      <p:sp>
        <p:nvSpPr>
          <p:cNvPr id="2087" name="object 2087"/>
          <p:cNvSpPr/>
          <p:nvPr/>
        </p:nvSpPr>
        <p:spPr>
          <a:xfrm>
            <a:off x="8273156" y="1172761"/>
            <a:ext cx="15294" cy="24677"/>
          </a:xfrm>
          <a:custGeom>
            <a:avLst/>
            <a:gdLst/>
            <a:ahLst/>
            <a:cxnLst/>
            <a:rect l="l" t="t" r="r" b="b"/>
            <a:pathLst>
              <a:path w="15294" h="24677">
                <a:moveTo>
                  <a:pt x="413" y="14066"/>
                </a:moveTo>
                <a:lnTo>
                  <a:pt x="0" y="13654"/>
                </a:lnTo>
                <a:lnTo>
                  <a:pt x="165" y="14312"/>
                </a:lnTo>
                <a:lnTo>
                  <a:pt x="413" y="15300"/>
                </a:lnTo>
                <a:lnTo>
                  <a:pt x="413" y="17274"/>
                </a:lnTo>
                <a:lnTo>
                  <a:pt x="1157" y="20482"/>
                </a:lnTo>
                <a:lnTo>
                  <a:pt x="1405" y="14559"/>
                </a:lnTo>
                <a:lnTo>
                  <a:pt x="2645" y="22703"/>
                </a:lnTo>
                <a:lnTo>
                  <a:pt x="5125" y="24184"/>
                </a:lnTo>
                <a:lnTo>
                  <a:pt x="7853" y="24677"/>
                </a:lnTo>
                <a:lnTo>
                  <a:pt x="10581" y="24184"/>
                </a:lnTo>
                <a:lnTo>
                  <a:pt x="13061" y="22703"/>
                </a:lnTo>
                <a:lnTo>
                  <a:pt x="14549" y="20482"/>
                </a:lnTo>
                <a:lnTo>
                  <a:pt x="15294" y="17274"/>
                </a:lnTo>
                <a:lnTo>
                  <a:pt x="15294" y="13819"/>
                </a:lnTo>
                <a:lnTo>
                  <a:pt x="14549" y="10858"/>
                </a:lnTo>
                <a:lnTo>
                  <a:pt x="13805" y="7896"/>
                </a:lnTo>
                <a:lnTo>
                  <a:pt x="12317" y="5182"/>
                </a:lnTo>
                <a:lnTo>
                  <a:pt x="10333" y="2714"/>
                </a:lnTo>
                <a:lnTo>
                  <a:pt x="7357" y="987"/>
                </a:lnTo>
                <a:lnTo>
                  <a:pt x="4133" y="0"/>
                </a:lnTo>
                <a:lnTo>
                  <a:pt x="1653" y="14312"/>
                </a:lnTo>
                <a:lnTo>
                  <a:pt x="909" y="14312"/>
                </a:lnTo>
                <a:lnTo>
                  <a:pt x="413" y="14066"/>
                </a:lnTo>
                <a:close/>
              </a:path>
            </a:pathLst>
          </a:custGeom>
          <a:solidFill>
            <a:srgbClr val="000000"/>
          </a:solidFill>
        </p:spPr>
        <p:txBody>
          <a:bodyPr wrap="square" lIns="0" tIns="0" rIns="0" bIns="0" rtlCol="0">
            <a:noAutofit/>
          </a:bodyPr>
          <a:lstStyle/>
          <a:p>
            <a:endParaRPr/>
          </a:p>
        </p:txBody>
      </p:sp>
      <p:sp>
        <p:nvSpPr>
          <p:cNvPr id="2088" name="object 2088"/>
          <p:cNvSpPr/>
          <p:nvPr/>
        </p:nvSpPr>
        <p:spPr>
          <a:xfrm>
            <a:off x="8274562" y="1172514"/>
            <a:ext cx="2728" cy="14559"/>
          </a:xfrm>
          <a:custGeom>
            <a:avLst/>
            <a:gdLst/>
            <a:ahLst/>
            <a:cxnLst/>
            <a:rect l="l" t="t" r="r" b="b"/>
            <a:pathLst>
              <a:path w="2728" h="14559">
                <a:moveTo>
                  <a:pt x="0" y="0"/>
                </a:moveTo>
                <a:lnTo>
                  <a:pt x="0" y="14559"/>
                </a:lnTo>
                <a:lnTo>
                  <a:pt x="248" y="14559"/>
                </a:lnTo>
                <a:lnTo>
                  <a:pt x="2728" y="246"/>
                </a:lnTo>
                <a:lnTo>
                  <a:pt x="0" y="0"/>
                </a:lnTo>
                <a:close/>
              </a:path>
            </a:pathLst>
          </a:custGeom>
          <a:solidFill>
            <a:srgbClr val="000000"/>
          </a:solidFill>
        </p:spPr>
        <p:txBody>
          <a:bodyPr wrap="square" lIns="0" tIns="0" rIns="0" bIns="0" rtlCol="0">
            <a:noAutofit/>
          </a:bodyPr>
          <a:lstStyle/>
          <a:p>
            <a:endParaRPr/>
          </a:p>
        </p:txBody>
      </p:sp>
      <p:sp>
        <p:nvSpPr>
          <p:cNvPr id="2089" name="object 2089"/>
          <p:cNvSpPr/>
          <p:nvPr/>
        </p:nvSpPr>
        <p:spPr>
          <a:xfrm>
            <a:off x="8273569" y="1190035"/>
            <a:ext cx="14880" cy="170521"/>
          </a:xfrm>
          <a:custGeom>
            <a:avLst/>
            <a:gdLst/>
            <a:ahLst/>
            <a:cxnLst/>
            <a:rect l="l" t="t" r="r" b="b"/>
            <a:pathLst>
              <a:path w="14880" h="170521">
                <a:moveTo>
                  <a:pt x="14880" y="163118"/>
                </a:moveTo>
                <a:lnTo>
                  <a:pt x="14880" y="0"/>
                </a:lnTo>
                <a:lnTo>
                  <a:pt x="0" y="0"/>
                </a:lnTo>
                <a:lnTo>
                  <a:pt x="0" y="163118"/>
                </a:lnTo>
                <a:lnTo>
                  <a:pt x="744" y="166326"/>
                </a:lnTo>
                <a:lnTo>
                  <a:pt x="2232" y="168547"/>
                </a:lnTo>
                <a:lnTo>
                  <a:pt x="4712" y="170028"/>
                </a:lnTo>
                <a:lnTo>
                  <a:pt x="7440" y="170521"/>
                </a:lnTo>
                <a:lnTo>
                  <a:pt x="10168" y="170028"/>
                </a:lnTo>
                <a:lnTo>
                  <a:pt x="12648" y="168547"/>
                </a:lnTo>
                <a:lnTo>
                  <a:pt x="14136" y="166326"/>
                </a:lnTo>
                <a:lnTo>
                  <a:pt x="14880" y="163118"/>
                </a:lnTo>
                <a:close/>
              </a:path>
            </a:pathLst>
          </a:custGeom>
          <a:solidFill>
            <a:srgbClr val="000000"/>
          </a:solidFill>
        </p:spPr>
        <p:txBody>
          <a:bodyPr wrap="square" lIns="0" tIns="0" rIns="0" bIns="0" rtlCol="0">
            <a:noAutofit/>
          </a:bodyPr>
          <a:lstStyle/>
          <a:p>
            <a:endParaRPr/>
          </a:p>
        </p:txBody>
      </p:sp>
      <p:sp>
        <p:nvSpPr>
          <p:cNvPr id="2090" name="object 2090"/>
          <p:cNvSpPr/>
          <p:nvPr/>
        </p:nvSpPr>
        <p:spPr>
          <a:xfrm>
            <a:off x="8260178" y="1352413"/>
            <a:ext cx="28273" cy="18014"/>
          </a:xfrm>
          <a:custGeom>
            <a:avLst/>
            <a:gdLst/>
            <a:ahLst/>
            <a:cxnLst/>
            <a:rect l="l" t="t" r="r" b="b"/>
            <a:pathLst>
              <a:path w="28273" h="18014">
                <a:moveTo>
                  <a:pt x="2976" y="16780"/>
                </a:moveTo>
                <a:lnTo>
                  <a:pt x="5456" y="18014"/>
                </a:lnTo>
                <a:lnTo>
                  <a:pt x="8680" y="18014"/>
                </a:lnTo>
                <a:lnTo>
                  <a:pt x="11656" y="17521"/>
                </a:lnTo>
                <a:lnTo>
                  <a:pt x="14632" y="16533"/>
                </a:lnTo>
                <a:lnTo>
                  <a:pt x="17360" y="15300"/>
                </a:lnTo>
                <a:lnTo>
                  <a:pt x="20584" y="13572"/>
                </a:lnTo>
                <a:lnTo>
                  <a:pt x="23065" y="11351"/>
                </a:lnTo>
                <a:lnTo>
                  <a:pt x="25545" y="8883"/>
                </a:lnTo>
                <a:lnTo>
                  <a:pt x="27529" y="4935"/>
                </a:lnTo>
                <a:lnTo>
                  <a:pt x="28273" y="740"/>
                </a:lnTo>
                <a:lnTo>
                  <a:pt x="13392" y="740"/>
                </a:lnTo>
                <a:lnTo>
                  <a:pt x="13640" y="493"/>
                </a:lnTo>
                <a:lnTo>
                  <a:pt x="13640" y="0"/>
                </a:lnTo>
                <a:lnTo>
                  <a:pt x="13144" y="493"/>
                </a:lnTo>
                <a:lnTo>
                  <a:pt x="12152" y="1233"/>
                </a:lnTo>
                <a:lnTo>
                  <a:pt x="10912" y="1974"/>
                </a:lnTo>
                <a:lnTo>
                  <a:pt x="9176" y="2714"/>
                </a:lnTo>
                <a:lnTo>
                  <a:pt x="7688" y="3208"/>
                </a:lnTo>
                <a:lnTo>
                  <a:pt x="5704" y="3701"/>
                </a:lnTo>
                <a:lnTo>
                  <a:pt x="2728" y="4935"/>
                </a:lnTo>
                <a:lnTo>
                  <a:pt x="992" y="7156"/>
                </a:lnTo>
                <a:lnTo>
                  <a:pt x="0" y="9624"/>
                </a:lnTo>
                <a:lnTo>
                  <a:pt x="248" y="12338"/>
                </a:lnTo>
                <a:lnTo>
                  <a:pt x="992" y="14806"/>
                </a:lnTo>
                <a:lnTo>
                  <a:pt x="2976" y="16780"/>
                </a:lnTo>
                <a:close/>
              </a:path>
            </a:pathLst>
          </a:custGeom>
          <a:solidFill>
            <a:srgbClr val="000000"/>
          </a:solidFill>
        </p:spPr>
        <p:txBody>
          <a:bodyPr wrap="square" lIns="0" tIns="0" rIns="0" bIns="0" rtlCol="0">
            <a:noAutofit/>
          </a:bodyPr>
          <a:lstStyle/>
          <a:p>
            <a:endParaRPr/>
          </a:p>
        </p:txBody>
      </p:sp>
      <p:sp>
        <p:nvSpPr>
          <p:cNvPr id="2091" name="object 2091"/>
          <p:cNvSpPr/>
          <p:nvPr/>
        </p:nvSpPr>
        <p:spPr>
          <a:xfrm>
            <a:off x="8243065" y="1355868"/>
            <a:ext cx="25545" cy="18508"/>
          </a:xfrm>
          <a:custGeom>
            <a:avLst/>
            <a:gdLst/>
            <a:ahLst/>
            <a:cxnLst/>
            <a:rect l="l" t="t" r="r" b="b"/>
            <a:pathLst>
              <a:path w="25545" h="18508">
                <a:moveTo>
                  <a:pt x="1240" y="11104"/>
                </a:moveTo>
                <a:lnTo>
                  <a:pt x="2480" y="18508"/>
                </a:lnTo>
                <a:lnTo>
                  <a:pt x="25545" y="14806"/>
                </a:lnTo>
                <a:lnTo>
                  <a:pt x="23065" y="0"/>
                </a:lnTo>
                <a:lnTo>
                  <a:pt x="0" y="3701"/>
                </a:lnTo>
                <a:lnTo>
                  <a:pt x="1240" y="11104"/>
                </a:lnTo>
                <a:close/>
              </a:path>
            </a:pathLst>
          </a:custGeom>
          <a:solidFill>
            <a:srgbClr val="000000"/>
          </a:solidFill>
        </p:spPr>
        <p:txBody>
          <a:bodyPr wrap="square" lIns="0" tIns="0" rIns="0" bIns="0" rtlCol="0">
            <a:noAutofit/>
          </a:bodyPr>
          <a:lstStyle/>
          <a:p>
            <a:endParaRPr/>
          </a:p>
        </p:txBody>
      </p:sp>
      <p:sp>
        <p:nvSpPr>
          <p:cNvPr id="2092" name="object 2092"/>
          <p:cNvSpPr/>
          <p:nvPr/>
        </p:nvSpPr>
        <p:spPr>
          <a:xfrm>
            <a:off x="8236864" y="1359569"/>
            <a:ext cx="8680" cy="14806"/>
          </a:xfrm>
          <a:custGeom>
            <a:avLst/>
            <a:gdLst/>
            <a:ahLst/>
            <a:cxnLst/>
            <a:rect l="l" t="t" r="r" b="b"/>
            <a:pathLst>
              <a:path w="8680" h="14806">
                <a:moveTo>
                  <a:pt x="6200" y="0"/>
                </a:moveTo>
                <a:lnTo>
                  <a:pt x="2976" y="1233"/>
                </a:lnTo>
                <a:lnTo>
                  <a:pt x="992" y="3208"/>
                </a:lnTo>
                <a:lnTo>
                  <a:pt x="0" y="5675"/>
                </a:lnTo>
                <a:lnTo>
                  <a:pt x="0" y="8390"/>
                </a:lnTo>
                <a:lnTo>
                  <a:pt x="992" y="11104"/>
                </a:lnTo>
                <a:lnTo>
                  <a:pt x="2728" y="13325"/>
                </a:lnTo>
                <a:lnTo>
                  <a:pt x="5208" y="14559"/>
                </a:lnTo>
                <a:lnTo>
                  <a:pt x="8680" y="14806"/>
                </a:lnTo>
                <a:lnTo>
                  <a:pt x="6200" y="0"/>
                </a:lnTo>
                <a:close/>
              </a:path>
            </a:pathLst>
          </a:custGeom>
          <a:solidFill>
            <a:srgbClr val="000000"/>
          </a:solidFill>
        </p:spPr>
        <p:txBody>
          <a:bodyPr wrap="square" lIns="0" tIns="0" rIns="0" bIns="0" rtlCol="0">
            <a:noAutofit/>
          </a:bodyPr>
          <a:lstStyle/>
          <a:p>
            <a:endParaRPr/>
          </a:p>
        </p:txBody>
      </p:sp>
      <p:sp>
        <p:nvSpPr>
          <p:cNvPr id="2093" name="object 2093"/>
          <p:cNvSpPr/>
          <p:nvPr/>
        </p:nvSpPr>
        <p:spPr>
          <a:xfrm>
            <a:off x="8252489" y="1174982"/>
            <a:ext cx="4712" cy="9871"/>
          </a:xfrm>
          <a:custGeom>
            <a:avLst/>
            <a:gdLst/>
            <a:ahLst/>
            <a:cxnLst/>
            <a:rect l="l" t="t" r="r" b="b"/>
            <a:pathLst>
              <a:path w="4712" h="9871">
                <a:moveTo>
                  <a:pt x="4712" y="0"/>
                </a:moveTo>
                <a:lnTo>
                  <a:pt x="2480" y="493"/>
                </a:lnTo>
                <a:lnTo>
                  <a:pt x="992" y="1480"/>
                </a:lnTo>
                <a:lnTo>
                  <a:pt x="248" y="3208"/>
                </a:lnTo>
                <a:lnTo>
                  <a:pt x="0" y="4935"/>
                </a:lnTo>
                <a:lnTo>
                  <a:pt x="248" y="6662"/>
                </a:lnTo>
                <a:lnTo>
                  <a:pt x="992" y="8390"/>
                </a:lnTo>
                <a:lnTo>
                  <a:pt x="2480" y="9377"/>
                </a:lnTo>
                <a:lnTo>
                  <a:pt x="4712" y="9871"/>
                </a:lnTo>
                <a:lnTo>
                  <a:pt x="4712" y="0"/>
                </a:lnTo>
                <a:close/>
              </a:path>
            </a:pathLst>
          </a:custGeom>
          <a:solidFill>
            <a:srgbClr val="BEBEBE"/>
          </a:solidFill>
        </p:spPr>
        <p:txBody>
          <a:bodyPr wrap="square" lIns="0" tIns="0" rIns="0" bIns="0" rtlCol="0">
            <a:noAutofit/>
          </a:bodyPr>
          <a:lstStyle/>
          <a:p>
            <a:endParaRPr/>
          </a:p>
        </p:txBody>
      </p:sp>
      <p:sp>
        <p:nvSpPr>
          <p:cNvPr id="2094" name="object 2094"/>
          <p:cNvSpPr/>
          <p:nvPr/>
        </p:nvSpPr>
        <p:spPr>
          <a:xfrm>
            <a:off x="8257202" y="1174982"/>
            <a:ext cx="22321" cy="9871"/>
          </a:xfrm>
          <a:custGeom>
            <a:avLst/>
            <a:gdLst/>
            <a:ahLst/>
            <a:cxnLst/>
            <a:rect l="l" t="t" r="r" b="b"/>
            <a:pathLst>
              <a:path w="22321" h="9871">
                <a:moveTo>
                  <a:pt x="17360" y="0"/>
                </a:moveTo>
                <a:lnTo>
                  <a:pt x="0" y="0"/>
                </a:lnTo>
                <a:lnTo>
                  <a:pt x="0" y="9871"/>
                </a:lnTo>
                <a:lnTo>
                  <a:pt x="17360" y="9871"/>
                </a:lnTo>
                <a:lnTo>
                  <a:pt x="19592" y="9377"/>
                </a:lnTo>
                <a:lnTo>
                  <a:pt x="21080" y="8390"/>
                </a:lnTo>
                <a:lnTo>
                  <a:pt x="21824" y="6662"/>
                </a:lnTo>
                <a:lnTo>
                  <a:pt x="22321" y="4935"/>
                </a:lnTo>
                <a:lnTo>
                  <a:pt x="21824" y="3208"/>
                </a:lnTo>
                <a:lnTo>
                  <a:pt x="21080" y="1480"/>
                </a:lnTo>
                <a:lnTo>
                  <a:pt x="19592" y="493"/>
                </a:lnTo>
                <a:lnTo>
                  <a:pt x="17360" y="0"/>
                </a:lnTo>
                <a:close/>
              </a:path>
            </a:pathLst>
          </a:custGeom>
          <a:solidFill>
            <a:srgbClr val="BEBEBE"/>
          </a:solidFill>
        </p:spPr>
        <p:txBody>
          <a:bodyPr wrap="square" lIns="0" tIns="0" rIns="0" bIns="0" rtlCol="0">
            <a:noAutofit/>
          </a:bodyPr>
          <a:lstStyle/>
          <a:p>
            <a:endParaRPr/>
          </a:p>
        </p:txBody>
      </p:sp>
      <p:sp>
        <p:nvSpPr>
          <p:cNvPr id="2095" name="object 2095"/>
          <p:cNvSpPr/>
          <p:nvPr/>
        </p:nvSpPr>
        <p:spPr>
          <a:xfrm>
            <a:off x="8275058" y="1184853"/>
            <a:ext cx="744" cy="1727"/>
          </a:xfrm>
          <a:custGeom>
            <a:avLst/>
            <a:gdLst/>
            <a:ahLst/>
            <a:cxnLst/>
            <a:rect l="l" t="t" r="r" b="b"/>
            <a:pathLst>
              <a:path w="744" h="1727">
                <a:moveTo>
                  <a:pt x="248" y="0"/>
                </a:moveTo>
                <a:lnTo>
                  <a:pt x="0" y="0"/>
                </a:lnTo>
                <a:lnTo>
                  <a:pt x="248" y="246"/>
                </a:lnTo>
                <a:lnTo>
                  <a:pt x="744" y="1727"/>
                </a:lnTo>
                <a:lnTo>
                  <a:pt x="248" y="0"/>
                </a:lnTo>
                <a:close/>
              </a:path>
            </a:pathLst>
          </a:custGeom>
          <a:solidFill>
            <a:srgbClr val="BEBEBE"/>
          </a:solidFill>
        </p:spPr>
        <p:txBody>
          <a:bodyPr wrap="square" lIns="0" tIns="0" rIns="0" bIns="0" rtlCol="0">
            <a:noAutofit/>
          </a:bodyPr>
          <a:lstStyle/>
          <a:p>
            <a:endParaRPr/>
          </a:p>
        </p:txBody>
      </p:sp>
      <p:sp>
        <p:nvSpPr>
          <p:cNvPr id="2096" name="object 2096"/>
          <p:cNvSpPr/>
          <p:nvPr/>
        </p:nvSpPr>
        <p:spPr>
          <a:xfrm>
            <a:off x="8274562" y="1174981"/>
            <a:ext cx="11408" cy="19742"/>
          </a:xfrm>
          <a:custGeom>
            <a:avLst/>
            <a:gdLst/>
            <a:ahLst/>
            <a:cxnLst/>
            <a:rect l="l" t="t" r="r" b="b"/>
            <a:pathLst>
              <a:path w="11408" h="19742">
                <a:moveTo>
                  <a:pt x="2480" y="0"/>
                </a:moveTo>
                <a:lnTo>
                  <a:pt x="0" y="0"/>
                </a:lnTo>
                <a:lnTo>
                  <a:pt x="0" y="9871"/>
                </a:lnTo>
                <a:lnTo>
                  <a:pt x="744" y="9871"/>
                </a:lnTo>
                <a:lnTo>
                  <a:pt x="1240" y="11598"/>
                </a:lnTo>
                <a:lnTo>
                  <a:pt x="1488" y="12832"/>
                </a:lnTo>
                <a:lnTo>
                  <a:pt x="1488" y="15053"/>
                </a:lnTo>
                <a:lnTo>
                  <a:pt x="1984" y="17274"/>
                </a:lnTo>
                <a:lnTo>
                  <a:pt x="2976" y="18754"/>
                </a:lnTo>
                <a:lnTo>
                  <a:pt x="4712" y="19495"/>
                </a:lnTo>
                <a:lnTo>
                  <a:pt x="6448" y="19742"/>
                </a:lnTo>
                <a:lnTo>
                  <a:pt x="8184" y="19495"/>
                </a:lnTo>
                <a:lnTo>
                  <a:pt x="9920" y="18754"/>
                </a:lnTo>
                <a:lnTo>
                  <a:pt x="10912" y="17274"/>
                </a:lnTo>
                <a:lnTo>
                  <a:pt x="11408" y="15053"/>
                </a:lnTo>
                <a:lnTo>
                  <a:pt x="11408" y="11845"/>
                </a:lnTo>
                <a:lnTo>
                  <a:pt x="10664" y="9130"/>
                </a:lnTo>
                <a:lnTo>
                  <a:pt x="10168" y="6662"/>
                </a:lnTo>
                <a:lnTo>
                  <a:pt x="8928" y="4441"/>
                </a:lnTo>
                <a:lnTo>
                  <a:pt x="7192" y="2467"/>
                </a:lnTo>
                <a:lnTo>
                  <a:pt x="4960" y="987"/>
                </a:lnTo>
                <a:lnTo>
                  <a:pt x="2480" y="0"/>
                </a:lnTo>
                <a:close/>
              </a:path>
            </a:pathLst>
          </a:custGeom>
          <a:solidFill>
            <a:srgbClr val="BEBEBE"/>
          </a:solidFill>
        </p:spPr>
        <p:txBody>
          <a:bodyPr wrap="square" lIns="0" tIns="0" rIns="0" bIns="0" rtlCol="0">
            <a:noAutofit/>
          </a:bodyPr>
          <a:lstStyle/>
          <a:p>
            <a:endParaRPr/>
          </a:p>
        </p:txBody>
      </p:sp>
      <p:sp>
        <p:nvSpPr>
          <p:cNvPr id="2097" name="object 2097"/>
          <p:cNvSpPr/>
          <p:nvPr/>
        </p:nvSpPr>
        <p:spPr>
          <a:xfrm>
            <a:off x="8276050" y="1190035"/>
            <a:ext cx="9920" cy="167807"/>
          </a:xfrm>
          <a:custGeom>
            <a:avLst/>
            <a:gdLst/>
            <a:ahLst/>
            <a:cxnLst/>
            <a:rect l="l" t="t" r="r" b="b"/>
            <a:pathLst>
              <a:path w="9920" h="167807">
                <a:moveTo>
                  <a:pt x="9920" y="163118"/>
                </a:moveTo>
                <a:lnTo>
                  <a:pt x="9920" y="0"/>
                </a:lnTo>
                <a:lnTo>
                  <a:pt x="0" y="0"/>
                </a:lnTo>
                <a:lnTo>
                  <a:pt x="0" y="163118"/>
                </a:lnTo>
                <a:lnTo>
                  <a:pt x="496" y="165339"/>
                </a:lnTo>
                <a:lnTo>
                  <a:pt x="1488" y="166820"/>
                </a:lnTo>
                <a:lnTo>
                  <a:pt x="3224" y="167560"/>
                </a:lnTo>
                <a:lnTo>
                  <a:pt x="4960" y="167807"/>
                </a:lnTo>
                <a:lnTo>
                  <a:pt x="6696" y="167560"/>
                </a:lnTo>
                <a:lnTo>
                  <a:pt x="8432" y="166820"/>
                </a:lnTo>
                <a:lnTo>
                  <a:pt x="9424" y="165339"/>
                </a:lnTo>
                <a:lnTo>
                  <a:pt x="9920" y="163118"/>
                </a:lnTo>
                <a:close/>
              </a:path>
            </a:pathLst>
          </a:custGeom>
          <a:solidFill>
            <a:srgbClr val="BEBEBE"/>
          </a:solidFill>
        </p:spPr>
        <p:txBody>
          <a:bodyPr wrap="square" lIns="0" tIns="0" rIns="0" bIns="0" rtlCol="0">
            <a:noAutofit/>
          </a:bodyPr>
          <a:lstStyle/>
          <a:p>
            <a:endParaRPr/>
          </a:p>
        </p:txBody>
      </p:sp>
      <p:sp>
        <p:nvSpPr>
          <p:cNvPr id="2098" name="object 2098"/>
          <p:cNvSpPr/>
          <p:nvPr/>
        </p:nvSpPr>
        <p:spPr>
          <a:xfrm>
            <a:off x="8262409" y="1358336"/>
            <a:ext cx="5704" cy="9871"/>
          </a:xfrm>
          <a:custGeom>
            <a:avLst/>
            <a:gdLst/>
            <a:ahLst/>
            <a:cxnLst/>
            <a:rect l="l" t="t" r="r" b="b"/>
            <a:pathLst>
              <a:path w="5704" h="9871">
                <a:moveTo>
                  <a:pt x="248" y="5922"/>
                </a:moveTo>
                <a:lnTo>
                  <a:pt x="744" y="7650"/>
                </a:lnTo>
                <a:lnTo>
                  <a:pt x="1984" y="9130"/>
                </a:lnTo>
                <a:lnTo>
                  <a:pt x="3720" y="9871"/>
                </a:lnTo>
                <a:lnTo>
                  <a:pt x="5704" y="9871"/>
                </a:lnTo>
                <a:lnTo>
                  <a:pt x="4216" y="0"/>
                </a:lnTo>
                <a:lnTo>
                  <a:pt x="3968" y="0"/>
                </a:lnTo>
                <a:lnTo>
                  <a:pt x="1984" y="740"/>
                </a:lnTo>
                <a:lnTo>
                  <a:pt x="744" y="2220"/>
                </a:lnTo>
                <a:lnTo>
                  <a:pt x="0" y="3948"/>
                </a:lnTo>
                <a:lnTo>
                  <a:pt x="248" y="5922"/>
                </a:lnTo>
                <a:close/>
              </a:path>
            </a:pathLst>
          </a:custGeom>
          <a:solidFill>
            <a:srgbClr val="BEBEBE"/>
          </a:solidFill>
        </p:spPr>
        <p:txBody>
          <a:bodyPr wrap="square" lIns="0" tIns="0" rIns="0" bIns="0" rtlCol="0">
            <a:noAutofit/>
          </a:bodyPr>
          <a:lstStyle/>
          <a:p>
            <a:endParaRPr/>
          </a:p>
        </p:txBody>
      </p:sp>
      <p:sp>
        <p:nvSpPr>
          <p:cNvPr id="2099" name="object 2099"/>
          <p:cNvSpPr/>
          <p:nvPr/>
        </p:nvSpPr>
        <p:spPr>
          <a:xfrm>
            <a:off x="8266377" y="1353154"/>
            <a:ext cx="19592" cy="15053"/>
          </a:xfrm>
          <a:custGeom>
            <a:avLst/>
            <a:gdLst/>
            <a:ahLst/>
            <a:cxnLst/>
            <a:rect l="l" t="t" r="r" b="b"/>
            <a:pathLst>
              <a:path w="19592" h="15053">
                <a:moveTo>
                  <a:pt x="5704" y="3454"/>
                </a:moveTo>
                <a:lnTo>
                  <a:pt x="3968" y="4195"/>
                </a:lnTo>
                <a:lnTo>
                  <a:pt x="2232" y="4935"/>
                </a:lnTo>
                <a:lnTo>
                  <a:pt x="0" y="5182"/>
                </a:lnTo>
                <a:lnTo>
                  <a:pt x="248" y="5182"/>
                </a:lnTo>
                <a:lnTo>
                  <a:pt x="1736" y="15053"/>
                </a:lnTo>
                <a:lnTo>
                  <a:pt x="1984" y="15053"/>
                </a:lnTo>
                <a:lnTo>
                  <a:pt x="4712" y="14312"/>
                </a:lnTo>
                <a:lnTo>
                  <a:pt x="7440" y="13572"/>
                </a:lnTo>
                <a:lnTo>
                  <a:pt x="10168" y="12338"/>
                </a:lnTo>
                <a:lnTo>
                  <a:pt x="12896" y="10611"/>
                </a:lnTo>
                <a:lnTo>
                  <a:pt x="15376" y="8883"/>
                </a:lnTo>
                <a:lnTo>
                  <a:pt x="17360" y="6662"/>
                </a:lnTo>
                <a:lnTo>
                  <a:pt x="19096" y="3454"/>
                </a:lnTo>
                <a:lnTo>
                  <a:pt x="19592" y="0"/>
                </a:lnTo>
                <a:lnTo>
                  <a:pt x="9672" y="0"/>
                </a:lnTo>
                <a:lnTo>
                  <a:pt x="9672" y="493"/>
                </a:lnTo>
                <a:lnTo>
                  <a:pt x="9424" y="740"/>
                </a:lnTo>
                <a:lnTo>
                  <a:pt x="8432" y="1480"/>
                </a:lnTo>
                <a:lnTo>
                  <a:pt x="7440" y="2714"/>
                </a:lnTo>
                <a:lnTo>
                  <a:pt x="5704" y="3454"/>
                </a:lnTo>
                <a:close/>
              </a:path>
            </a:pathLst>
          </a:custGeom>
          <a:solidFill>
            <a:srgbClr val="BEBEBE"/>
          </a:solidFill>
        </p:spPr>
        <p:txBody>
          <a:bodyPr wrap="square" lIns="0" tIns="0" rIns="0" bIns="0" rtlCol="0">
            <a:noAutofit/>
          </a:bodyPr>
          <a:lstStyle/>
          <a:p>
            <a:endParaRPr/>
          </a:p>
        </p:txBody>
      </p:sp>
      <p:sp>
        <p:nvSpPr>
          <p:cNvPr id="2100" name="object 2100"/>
          <p:cNvSpPr/>
          <p:nvPr/>
        </p:nvSpPr>
        <p:spPr>
          <a:xfrm>
            <a:off x="8243561" y="1358335"/>
            <a:ext cx="24553" cy="13572"/>
          </a:xfrm>
          <a:custGeom>
            <a:avLst/>
            <a:gdLst/>
            <a:ahLst/>
            <a:cxnLst/>
            <a:rect l="l" t="t" r="r" b="b"/>
            <a:pathLst>
              <a:path w="24553" h="13572">
                <a:moveTo>
                  <a:pt x="744" y="8637"/>
                </a:moveTo>
                <a:lnTo>
                  <a:pt x="1488" y="13572"/>
                </a:lnTo>
                <a:lnTo>
                  <a:pt x="24553" y="9871"/>
                </a:lnTo>
                <a:lnTo>
                  <a:pt x="23065" y="0"/>
                </a:lnTo>
                <a:lnTo>
                  <a:pt x="0" y="3701"/>
                </a:lnTo>
                <a:lnTo>
                  <a:pt x="744" y="8637"/>
                </a:lnTo>
                <a:close/>
              </a:path>
            </a:pathLst>
          </a:custGeom>
          <a:solidFill>
            <a:srgbClr val="BEBEBE"/>
          </a:solidFill>
        </p:spPr>
        <p:txBody>
          <a:bodyPr wrap="square" lIns="0" tIns="0" rIns="0" bIns="0" rtlCol="0">
            <a:noAutofit/>
          </a:bodyPr>
          <a:lstStyle/>
          <a:p>
            <a:endParaRPr/>
          </a:p>
        </p:txBody>
      </p:sp>
      <p:sp>
        <p:nvSpPr>
          <p:cNvPr id="2101" name="object 2101"/>
          <p:cNvSpPr/>
          <p:nvPr/>
        </p:nvSpPr>
        <p:spPr>
          <a:xfrm>
            <a:off x="8239592" y="1362038"/>
            <a:ext cx="5456" cy="9871"/>
          </a:xfrm>
          <a:custGeom>
            <a:avLst/>
            <a:gdLst/>
            <a:ahLst/>
            <a:cxnLst/>
            <a:rect l="l" t="t" r="r" b="b"/>
            <a:pathLst>
              <a:path w="5456" h="9871">
                <a:moveTo>
                  <a:pt x="3968" y="0"/>
                </a:moveTo>
                <a:lnTo>
                  <a:pt x="1984" y="740"/>
                </a:lnTo>
                <a:lnTo>
                  <a:pt x="496" y="1974"/>
                </a:lnTo>
                <a:lnTo>
                  <a:pt x="0" y="3701"/>
                </a:lnTo>
                <a:lnTo>
                  <a:pt x="0" y="5675"/>
                </a:lnTo>
                <a:lnTo>
                  <a:pt x="496" y="7403"/>
                </a:lnTo>
                <a:lnTo>
                  <a:pt x="1488" y="8883"/>
                </a:lnTo>
                <a:lnTo>
                  <a:pt x="3224" y="9871"/>
                </a:lnTo>
                <a:lnTo>
                  <a:pt x="5456" y="9871"/>
                </a:lnTo>
                <a:lnTo>
                  <a:pt x="3968" y="0"/>
                </a:lnTo>
                <a:close/>
              </a:path>
            </a:pathLst>
          </a:custGeom>
          <a:solidFill>
            <a:srgbClr val="BEBEBE"/>
          </a:solidFill>
        </p:spPr>
        <p:txBody>
          <a:bodyPr wrap="square" lIns="0" tIns="0" rIns="0" bIns="0" rtlCol="0">
            <a:noAutofit/>
          </a:bodyPr>
          <a:lstStyle/>
          <a:p>
            <a:endParaRPr/>
          </a:p>
        </p:txBody>
      </p:sp>
      <p:sp>
        <p:nvSpPr>
          <p:cNvPr id="2102" name="object 2102"/>
          <p:cNvSpPr/>
          <p:nvPr/>
        </p:nvSpPr>
        <p:spPr>
          <a:xfrm>
            <a:off x="8254721" y="1177450"/>
            <a:ext cx="2480" cy="4935"/>
          </a:xfrm>
          <a:custGeom>
            <a:avLst/>
            <a:gdLst/>
            <a:ahLst/>
            <a:cxnLst/>
            <a:rect l="l" t="t" r="r" b="b"/>
            <a:pathLst>
              <a:path w="2480" h="4935">
                <a:moveTo>
                  <a:pt x="2480" y="0"/>
                </a:moveTo>
                <a:lnTo>
                  <a:pt x="744" y="740"/>
                </a:lnTo>
                <a:lnTo>
                  <a:pt x="0" y="2467"/>
                </a:lnTo>
                <a:lnTo>
                  <a:pt x="744" y="4195"/>
                </a:lnTo>
                <a:lnTo>
                  <a:pt x="2480" y="4935"/>
                </a:lnTo>
                <a:lnTo>
                  <a:pt x="2480" y="0"/>
                </a:lnTo>
                <a:close/>
              </a:path>
            </a:pathLst>
          </a:custGeom>
          <a:solidFill>
            <a:srgbClr val="FFFFFF"/>
          </a:solidFill>
        </p:spPr>
        <p:txBody>
          <a:bodyPr wrap="square" lIns="0" tIns="0" rIns="0" bIns="0" rtlCol="0">
            <a:noAutofit/>
          </a:bodyPr>
          <a:lstStyle/>
          <a:p>
            <a:endParaRPr/>
          </a:p>
        </p:txBody>
      </p:sp>
      <p:sp>
        <p:nvSpPr>
          <p:cNvPr id="2103" name="object 2103"/>
          <p:cNvSpPr/>
          <p:nvPr/>
        </p:nvSpPr>
        <p:spPr>
          <a:xfrm>
            <a:off x="8257201" y="1177450"/>
            <a:ext cx="19840" cy="4935"/>
          </a:xfrm>
          <a:custGeom>
            <a:avLst/>
            <a:gdLst/>
            <a:ahLst/>
            <a:cxnLst/>
            <a:rect l="l" t="t" r="r" b="b"/>
            <a:pathLst>
              <a:path w="19840" h="4935">
                <a:moveTo>
                  <a:pt x="17360" y="0"/>
                </a:moveTo>
                <a:lnTo>
                  <a:pt x="0" y="0"/>
                </a:lnTo>
                <a:lnTo>
                  <a:pt x="0" y="4935"/>
                </a:lnTo>
                <a:lnTo>
                  <a:pt x="17360" y="4935"/>
                </a:lnTo>
                <a:lnTo>
                  <a:pt x="19096" y="4195"/>
                </a:lnTo>
                <a:lnTo>
                  <a:pt x="19840" y="2467"/>
                </a:lnTo>
                <a:lnTo>
                  <a:pt x="19096" y="740"/>
                </a:lnTo>
                <a:lnTo>
                  <a:pt x="17360" y="0"/>
                </a:lnTo>
                <a:close/>
              </a:path>
            </a:pathLst>
          </a:custGeom>
          <a:solidFill>
            <a:srgbClr val="FFFFFF"/>
          </a:solidFill>
        </p:spPr>
        <p:txBody>
          <a:bodyPr wrap="square" lIns="0" tIns="0" rIns="0" bIns="0" rtlCol="0">
            <a:noAutofit/>
          </a:bodyPr>
          <a:lstStyle/>
          <a:p>
            <a:endParaRPr/>
          </a:p>
        </p:txBody>
      </p:sp>
      <p:sp>
        <p:nvSpPr>
          <p:cNvPr id="2104" name="object 2104"/>
          <p:cNvSpPr/>
          <p:nvPr/>
        </p:nvSpPr>
        <p:spPr>
          <a:xfrm>
            <a:off x="8274562" y="1177450"/>
            <a:ext cx="8928" cy="15053"/>
          </a:xfrm>
          <a:custGeom>
            <a:avLst/>
            <a:gdLst/>
            <a:ahLst/>
            <a:cxnLst/>
            <a:rect l="l" t="t" r="r" b="b"/>
            <a:pathLst>
              <a:path w="8928" h="15053">
                <a:moveTo>
                  <a:pt x="992" y="4935"/>
                </a:moveTo>
                <a:lnTo>
                  <a:pt x="1736" y="5182"/>
                </a:lnTo>
                <a:lnTo>
                  <a:pt x="2232" y="5675"/>
                </a:lnTo>
                <a:lnTo>
                  <a:pt x="2728" y="6169"/>
                </a:lnTo>
                <a:lnTo>
                  <a:pt x="3224" y="6909"/>
                </a:lnTo>
                <a:lnTo>
                  <a:pt x="3472" y="8390"/>
                </a:lnTo>
                <a:lnTo>
                  <a:pt x="3968" y="10117"/>
                </a:lnTo>
                <a:lnTo>
                  <a:pt x="3968" y="12585"/>
                </a:lnTo>
                <a:lnTo>
                  <a:pt x="4712" y="14312"/>
                </a:lnTo>
                <a:lnTo>
                  <a:pt x="6448" y="15053"/>
                </a:lnTo>
                <a:lnTo>
                  <a:pt x="8184" y="14312"/>
                </a:lnTo>
                <a:lnTo>
                  <a:pt x="8928" y="12585"/>
                </a:lnTo>
                <a:lnTo>
                  <a:pt x="8928" y="9624"/>
                </a:lnTo>
                <a:lnTo>
                  <a:pt x="8432" y="7403"/>
                </a:lnTo>
                <a:lnTo>
                  <a:pt x="7688" y="4935"/>
                </a:lnTo>
                <a:lnTo>
                  <a:pt x="6696" y="3208"/>
                </a:lnTo>
                <a:lnTo>
                  <a:pt x="5704" y="1727"/>
                </a:lnTo>
                <a:lnTo>
                  <a:pt x="3720" y="740"/>
                </a:lnTo>
                <a:lnTo>
                  <a:pt x="1984" y="0"/>
                </a:lnTo>
                <a:lnTo>
                  <a:pt x="0" y="0"/>
                </a:lnTo>
                <a:lnTo>
                  <a:pt x="0" y="4935"/>
                </a:lnTo>
                <a:lnTo>
                  <a:pt x="992" y="4935"/>
                </a:lnTo>
                <a:close/>
              </a:path>
            </a:pathLst>
          </a:custGeom>
          <a:solidFill>
            <a:srgbClr val="FFFFFF"/>
          </a:solidFill>
        </p:spPr>
        <p:txBody>
          <a:bodyPr wrap="square" lIns="0" tIns="0" rIns="0" bIns="0" rtlCol="0">
            <a:noAutofit/>
          </a:bodyPr>
          <a:lstStyle/>
          <a:p>
            <a:endParaRPr/>
          </a:p>
        </p:txBody>
      </p:sp>
      <p:sp>
        <p:nvSpPr>
          <p:cNvPr id="2105" name="object 2105"/>
          <p:cNvSpPr/>
          <p:nvPr/>
        </p:nvSpPr>
        <p:spPr>
          <a:xfrm>
            <a:off x="8278530" y="1190034"/>
            <a:ext cx="4960" cy="165586"/>
          </a:xfrm>
          <a:custGeom>
            <a:avLst/>
            <a:gdLst/>
            <a:ahLst/>
            <a:cxnLst/>
            <a:rect l="l" t="t" r="r" b="b"/>
            <a:pathLst>
              <a:path w="4960" h="165586">
                <a:moveTo>
                  <a:pt x="4960" y="163118"/>
                </a:moveTo>
                <a:lnTo>
                  <a:pt x="4960" y="0"/>
                </a:lnTo>
                <a:lnTo>
                  <a:pt x="0" y="0"/>
                </a:lnTo>
                <a:lnTo>
                  <a:pt x="0" y="163118"/>
                </a:lnTo>
                <a:lnTo>
                  <a:pt x="744" y="164846"/>
                </a:lnTo>
                <a:lnTo>
                  <a:pt x="2480" y="165586"/>
                </a:lnTo>
                <a:lnTo>
                  <a:pt x="4216" y="164846"/>
                </a:lnTo>
                <a:lnTo>
                  <a:pt x="4960" y="163118"/>
                </a:lnTo>
                <a:close/>
              </a:path>
            </a:pathLst>
          </a:custGeom>
          <a:solidFill>
            <a:srgbClr val="FFFFFF"/>
          </a:solidFill>
        </p:spPr>
        <p:txBody>
          <a:bodyPr wrap="square" lIns="0" tIns="0" rIns="0" bIns="0" rtlCol="0">
            <a:noAutofit/>
          </a:bodyPr>
          <a:lstStyle/>
          <a:p>
            <a:endParaRPr/>
          </a:p>
        </p:txBody>
      </p:sp>
      <p:sp>
        <p:nvSpPr>
          <p:cNvPr id="2106" name="object 2106"/>
          <p:cNvSpPr/>
          <p:nvPr/>
        </p:nvSpPr>
        <p:spPr>
          <a:xfrm>
            <a:off x="8264889" y="1353154"/>
            <a:ext cx="18600" cy="12585"/>
          </a:xfrm>
          <a:custGeom>
            <a:avLst/>
            <a:gdLst/>
            <a:ahLst/>
            <a:cxnLst/>
            <a:rect l="l" t="t" r="r" b="b"/>
            <a:pathLst>
              <a:path w="18600" h="12585">
                <a:moveTo>
                  <a:pt x="992" y="12092"/>
                </a:moveTo>
                <a:lnTo>
                  <a:pt x="2976" y="12585"/>
                </a:lnTo>
                <a:lnTo>
                  <a:pt x="5704" y="12092"/>
                </a:lnTo>
                <a:lnTo>
                  <a:pt x="8184" y="11104"/>
                </a:lnTo>
                <a:lnTo>
                  <a:pt x="10416" y="10117"/>
                </a:lnTo>
                <a:lnTo>
                  <a:pt x="13144" y="8637"/>
                </a:lnTo>
                <a:lnTo>
                  <a:pt x="15128" y="6909"/>
                </a:lnTo>
                <a:lnTo>
                  <a:pt x="16864" y="5182"/>
                </a:lnTo>
                <a:lnTo>
                  <a:pt x="18104" y="2714"/>
                </a:lnTo>
                <a:lnTo>
                  <a:pt x="18600" y="0"/>
                </a:lnTo>
                <a:lnTo>
                  <a:pt x="13640" y="0"/>
                </a:lnTo>
                <a:lnTo>
                  <a:pt x="13640" y="1233"/>
                </a:lnTo>
                <a:lnTo>
                  <a:pt x="12896" y="2220"/>
                </a:lnTo>
                <a:lnTo>
                  <a:pt x="11656" y="3454"/>
                </a:lnTo>
                <a:lnTo>
                  <a:pt x="10168" y="4688"/>
                </a:lnTo>
                <a:lnTo>
                  <a:pt x="8432" y="5675"/>
                </a:lnTo>
                <a:lnTo>
                  <a:pt x="6200" y="6662"/>
                </a:lnTo>
                <a:lnTo>
                  <a:pt x="4216" y="7156"/>
                </a:lnTo>
                <a:lnTo>
                  <a:pt x="1984" y="7650"/>
                </a:lnTo>
                <a:lnTo>
                  <a:pt x="248" y="8637"/>
                </a:lnTo>
                <a:lnTo>
                  <a:pt x="0" y="10364"/>
                </a:lnTo>
                <a:lnTo>
                  <a:pt x="992" y="12092"/>
                </a:lnTo>
                <a:close/>
              </a:path>
            </a:pathLst>
          </a:custGeom>
          <a:solidFill>
            <a:srgbClr val="FFFFFF"/>
          </a:solidFill>
        </p:spPr>
        <p:txBody>
          <a:bodyPr wrap="square" lIns="0" tIns="0" rIns="0" bIns="0" rtlCol="0">
            <a:noAutofit/>
          </a:bodyPr>
          <a:lstStyle/>
          <a:p>
            <a:endParaRPr/>
          </a:p>
        </p:txBody>
      </p:sp>
      <p:sp>
        <p:nvSpPr>
          <p:cNvPr id="2107" name="object 2107"/>
          <p:cNvSpPr/>
          <p:nvPr/>
        </p:nvSpPr>
        <p:spPr>
          <a:xfrm>
            <a:off x="8243809" y="1360804"/>
            <a:ext cx="24057" cy="8637"/>
          </a:xfrm>
          <a:custGeom>
            <a:avLst/>
            <a:gdLst/>
            <a:ahLst/>
            <a:cxnLst/>
            <a:rect l="l" t="t" r="r" b="b"/>
            <a:pathLst>
              <a:path w="24057" h="8637">
                <a:moveTo>
                  <a:pt x="496" y="6169"/>
                </a:moveTo>
                <a:lnTo>
                  <a:pt x="992" y="8637"/>
                </a:lnTo>
                <a:lnTo>
                  <a:pt x="24057" y="4935"/>
                </a:lnTo>
                <a:lnTo>
                  <a:pt x="23065" y="0"/>
                </a:lnTo>
                <a:lnTo>
                  <a:pt x="0" y="3701"/>
                </a:lnTo>
                <a:lnTo>
                  <a:pt x="496" y="6169"/>
                </a:lnTo>
                <a:close/>
              </a:path>
            </a:pathLst>
          </a:custGeom>
          <a:solidFill>
            <a:srgbClr val="FFFFFF"/>
          </a:solidFill>
        </p:spPr>
        <p:txBody>
          <a:bodyPr wrap="square" lIns="0" tIns="0" rIns="0" bIns="0" rtlCol="0">
            <a:noAutofit/>
          </a:bodyPr>
          <a:lstStyle/>
          <a:p>
            <a:endParaRPr/>
          </a:p>
        </p:txBody>
      </p:sp>
      <p:sp>
        <p:nvSpPr>
          <p:cNvPr id="2108" name="object 2108"/>
          <p:cNvSpPr/>
          <p:nvPr/>
        </p:nvSpPr>
        <p:spPr>
          <a:xfrm>
            <a:off x="8241824" y="1364506"/>
            <a:ext cx="2976" cy="4935"/>
          </a:xfrm>
          <a:custGeom>
            <a:avLst/>
            <a:gdLst/>
            <a:ahLst/>
            <a:cxnLst/>
            <a:rect l="l" t="t" r="r" b="b"/>
            <a:pathLst>
              <a:path w="2976" h="4935">
                <a:moveTo>
                  <a:pt x="1984" y="0"/>
                </a:moveTo>
                <a:lnTo>
                  <a:pt x="248" y="987"/>
                </a:lnTo>
                <a:lnTo>
                  <a:pt x="0" y="2714"/>
                </a:lnTo>
                <a:lnTo>
                  <a:pt x="992" y="4441"/>
                </a:lnTo>
                <a:lnTo>
                  <a:pt x="2976" y="4935"/>
                </a:lnTo>
                <a:lnTo>
                  <a:pt x="1984" y="0"/>
                </a:lnTo>
                <a:close/>
              </a:path>
            </a:pathLst>
          </a:custGeom>
          <a:solidFill>
            <a:srgbClr val="FFFFFF"/>
          </a:solidFill>
        </p:spPr>
        <p:txBody>
          <a:bodyPr wrap="square" lIns="0" tIns="0" rIns="0" bIns="0" rtlCol="0">
            <a:noAutofit/>
          </a:bodyPr>
          <a:lstStyle/>
          <a:p>
            <a:endParaRPr/>
          </a:p>
        </p:txBody>
      </p:sp>
      <p:sp>
        <p:nvSpPr>
          <p:cNvPr id="2109" name="object 2109"/>
          <p:cNvSpPr/>
          <p:nvPr/>
        </p:nvSpPr>
        <p:spPr>
          <a:xfrm>
            <a:off x="8200406" y="1612514"/>
            <a:ext cx="44642" cy="26404"/>
          </a:xfrm>
          <a:custGeom>
            <a:avLst/>
            <a:gdLst/>
            <a:ahLst/>
            <a:cxnLst/>
            <a:rect l="l" t="t" r="r" b="b"/>
            <a:pathLst>
              <a:path w="44642" h="26404">
                <a:moveTo>
                  <a:pt x="6944" y="0"/>
                </a:moveTo>
                <a:lnTo>
                  <a:pt x="4216" y="493"/>
                </a:lnTo>
                <a:lnTo>
                  <a:pt x="1984" y="1974"/>
                </a:lnTo>
                <a:lnTo>
                  <a:pt x="496" y="4195"/>
                </a:lnTo>
                <a:lnTo>
                  <a:pt x="0" y="6909"/>
                </a:lnTo>
                <a:lnTo>
                  <a:pt x="0" y="19495"/>
                </a:lnTo>
                <a:lnTo>
                  <a:pt x="496" y="22209"/>
                </a:lnTo>
                <a:lnTo>
                  <a:pt x="1984" y="24430"/>
                </a:lnTo>
                <a:lnTo>
                  <a:pt x="4216" y="25911"/>
                </a:lnTo>
                <a:lnTo>
                  <a:pt x="6944" y="26404"/>
                </a:lnTo>
                <a:lnTo>
                  <a:pt x="37945" y="26404"/>
                </a:lnTo>
                <a:lnTo>
                  <a:pt x="40673" y="25911"/>
                </a:lnTo>
                <a:lnTo>
                  <a:pt x="42905" y="24430"/>
                </a:lnTo>
                <a:lnTo>
                  <a:pt x="44145" y="22209"/>
                </a:lnTo>
                <a:lnTo>
                  <a:pt x="44642" y="19495"/>
                </a:lnTo>
                <a:lnTo>
                  <a:pt x="44642" y="6909"/>
                </a:lnTo>
                <a:lnTo>
                  <a:pt x="44145" y="4195"/>
                </a:lnTo>
                <a:lnTo>
                  <a:pt x="42905" y="1974"/>
                </a:lnTo>
                <a:lnTo>
                  <a:pt x="40673" y="493"/>
                </a:lnTo>
                <a:lnTo>
                  <a:pt x="37945" y="0"/>
                </a:lnTo>
                <a:lnTo>
                  <a:pt x="6944" y="0"/>
                </a:lnTo>
                <a:close/>
              </a:path>
            </a:pathLst>
          </a:custGeom>
          <a:solidFill>
            <a:srgbClr val="000000"/>
          </a:solidFill>
        </p:spPr>
        <p:txBody>
          <a:bodyPr wrap="square" lIns="0" tIns="0" rIns="0" bIns="0" rtlCol="0">
            <a:noAutofit/>
          </a:bodyPr>
          <a:lstStyle/>
          <a:p>
            <a:endParaRPr/>
          </a:p>
        </p:txBody>
      </p:sp>
      <p:sp>
        <p:nvSpPr>
          <p:cNvPr id="2110" name="object 2110"/>
          <p:cNvSpPr/>
          <p:nvPr/>
        </p:nvSpPr>
        <p:spPr>
          <a:xfrm>
            <a:off x="8207351" y="1612514"/>
            <a:ext cx="31001" cy="0"/>
          </a:xfrm>
          <a:custGeom>
            <a:avLst/>
            <a:gdLst/>
            <a:ahLst/>
            <a:cxnLst/>
            <a:rect l="l" t="t" r="r" b="b"/>
            <a:pathLst>
              <a:path w="31001">
                <a:moveTo>
                  <a:pt x="0" y="0"/>
                </a:moveTo>
                <a:lnTo>
                  <a:pt x="31001" y="0"/>
                </a:lnTo>
              </a:path>
            </a:pathLst>
          </a:custGeom>
          <a:ln w="3737">
            <a:solidFill>
              <a:srgbClr val="000000"/>
            </a:solidFill>
          </a:ln>
        </p:spPr>
        <p:txBody>
          <a:bodyPr wrap="square" lIns="0" tIns="0" rIns="0" bIns="0" rtlCol="0">
            <a:noAutofit/>
          </a:bodyPr>
          <a:lstStyle/>
          <a:p>
            <a:endParaRPr/>
          </a:p>
        </p:txBody>
      </p:sp>
      <p:sp>
        <p:nvSpPr>
          <p:cNvPr id="2111" name="object 2111"/>
          <p:cNvSpPr/>
          <p:nvPr/>
        </p:nvSpPr>
        <p:spPr>
          <a:xfrm>
            <a:off x="8238352" y="1611281"/>
            <a:ext cx="7936" cy="8143"/>
          </a:xfrm>
          <a:custGeom>
            <a:avLst/>
            <a:gdLst/>
            <a:ahLst/>
            <a:cxnLst/>
            <a:rect l="l" t="t" r="r" b="b"/>
            <a:pathLst>
              <a:path w="7936" h="8143">
                <a:moveTo>
                  <a:pt x="5952" y="2467"/>
                </a:moveTo>
                <a:lnTo>
                  <a:pt x="3224" y="493"/>
                </a:lnTo>
                <a:lnTo>
                  <a:pt x="0" y="0"/>
                </a:lnTo>
                <a:lnTo>
                  <a:pt x="0" y="2467"/>
                </a:lnTo>
                <a:lnTo>
                  <a:pt x="2232" y="2961"/>
                </a:lnTo>
                <a:lnTo>
                  <a:pt x="3968" y="3948"/>
                </a:lnTo>
                <a:lnTo>
                  <a:pt x="4960" y="5922"/>
                </a:lnTo>
                <a:lnTo>
                  <a:pt x="5456" y="8143"/>
                </a:lnTo>
                <a:lnTo>
                  <a:pt x="7936" y="8143"/>
                </a:lnTo>
                <a:lnTo>
                  <a:pt x="7440" y="4935"/>
                </a:lnTo>
                <a:lnTo>
                  <a:pt x="5952" y="2467"/>
                </a:lnTo>
                <a:close/>
              </a:path>
            </a:pathLst>
          </a:custGeom>
          <a:solidFill>
            <a:srgbClr val="000000"/>
          </a:solidFill>
        </p:spPr>
        <p:txBody>
          <a:bodyPr wrap="square" lIns="0" tIns="0" rIns="0" bIns="0" rtlCol="0">
            <a:noAutofit/>
          </a:bodyPr>
          <a:lstStyle/>
          <a:p>
            <a:endParaRPr/>
          </a:p>
        </p:txBody>
      </p:sp>
      <p:sp>
        <p:nvSpPr>
          <p:cNvPr id="2112" name="object 2112"/>
          <p:cNvSpPr/>
          <p:nvPr/>
        </p:nvSpPr>
        <p:spPr>
          <a:xfrm>
            <a:off x="8243808" y="1625717"/>
            <a:ext cx="2480" cy="0"/>
          </a:xfrm>
          <a:custGeom>
            <a:avLst/>
            <a:gdLst/>
            <a:ahLst/>
            <a:cxnLst/>
            <a:rect l="l" t="t" r="r" b="b"/>
            <a:pathLst>
              <a:path w="2480">
                <a:moveTo>
                  <a:pt x="0" y="0"/>
                </a:moveTo>
                <a:lnTo>
                  <a:pt x="2480" y="0"/>
                </a:lnTo>
              </a:path>
            </a:pathLst>
          </a:custGeom>
          <a:ln w="13855">
            <a:solidFill>
              <a:srgbClr val="000000"/>
            </a:solidFill>
          </a:ln>
        </p:spPr>
        <p:txBody>
          <a:bodyPr wrap="square" lIns="0" tIns="0" rIns="0" bIns="0" rtlCol="0">
            <a:noAutofit/>
          </a:bodyPr>
          <a:lstStyle/>
          <a:p>
            <a:endParaRPr/>
          </a:p>
        </p:txBody>
      </p:sp>
      <p:sp>
        <p:nvSpPr>
          <p:cNvPr id="2113" name="object 2113"/>
          <p:cNvSpPr/>
          <p:nvPr/>
        </p:nvSpPr>
        <p:spPr>
          <a:xfrm>
            <a:off x="8238352" y="1632011"/>
            <a:ext cx="7936" cy="8143"/>
          </a:xfrm>
          <a:custGeom>
            <a:avLst/>
            <a:gdLst/>
            <a:ahLst/>
            <a:cxnLst/>
            <a:rect l="l" t="t" r="r" b="b"/>
            <a:pathLst>
              <a:path w="7936" h="8143">
                <a:moveTo>
                  <a:pt x="5952" y="5675"/>
                </a:moveTo>
                <a:lnTo>
                  <a:pt x="7440" y="3208"/>
                </a:lnTo>
                <a:lnTo>
                  <a:pt x="7936" y="0"/>
                </a:lnTo>
                <a:lnTo>
                  <a:pt x="5456" y="0"/>
                </a:lnTo>
                <a:lnTo>
                  <a:pt x="4960" y="2220"/>
                </a:lnTo>
                <a:lnTo>
                  <a:pt x="3968" y="4195"/>
                </a:lnTo>
                <a:lnTo>
                  <a:pt x="2232" y="5182"/>
                </a:lnTo>
                <a:lnTo>
                  <a:pt x="0" y="5675"/>
                </a:lnTo>
                <a:lnTo>
                  <a:pt x="0" y="8143"/>
                </a:lnTo>
                <a:lnTo>
                  <a:pt x="3224" y="7650"/>
                </a:lnTo>
                <a:lnTo>
                  <a:pt x="5952" y="5675"/>
                </a:lnTo>
                <a:close/>
              </a:path>
            </a:pathLst>
          </a:custGeom>
          <a:solidFill>
            <a:srgbClr val="000000"/>
          </a:solidFill>
        </p:spPr>
        <p:txBody>
          <a:bodyPr wrap="square" lIns="0" tIns="0" rIns="0" bIns="0" rtlCol="0">
            <a:noAutofit/>
          </a:bodyPr>
          <a:lstStyle/>
          <a:p>
            <a:endParaRPr/>
          </a:p>
        </p:txBody>
      </p:sp>
      <p:sp>
        <p:nvSpPr>
          <p:cNvPr id="2114" name="object 2114"/>
          <p:cNvSpPr/>
          <p:nvPr/>
        </p:nvSpPr>
        <p:spPr>
          <a:xfrm>
            <a:off x="8207351" y="1638919"/>
            <a:ext cx="31001" cy="0"/>
          </a:xfrm>
          <a:custGeom>
            <a:avLst/>
            <a:gdLst/>
            <a:ahLst/>
            <a:cxnLst/>
            <a:rect l="l" t="t" r="r" b="b"/>
            <a:pathLst>
              <a:path w="31001">
                <a:moveTo>
                  <a:pt x="0" y="0"/>
                </a:moveTo>
                <a:lnTo>
                  <a:pt x="31001" y="0"/>
                </a:lnTo>
              </a:path>
            </a:pathLst>
          </a:custGeom>
          <a:ln w="3737">
            <a:solidFill>
              <a:srgbClr val="000000"/>
            </a:solidFill>
          </a:ln>
        </p:spPr>
        <p:txBody>
          <a:bodyPr wrap="square" lIns="0" tIns="0" rIns="0" bIns="0" rtlCol="0">
            <a:noAutofit/>
          </a:bodyPr>
          <a:lstStyle/>
          <a:p>
            <a:endParaRPr/>
          </a:p>
        </p:txBody>
      </p:sp>
      <p:sp>
        <p:nvSpPr>
          <p:cNvPr id="2115" name="object 2115"/>
          <p:cNvSpPr/>
          <p:nvPr/>
        </p:nvSpPr>
        <p:spPr>
          <a:xfrm>
            <a:off x="8199166" y="1632011"/>
            <a:ext cx="8184" cy="8143"/>
          </a:xfrm>
          <a:custGeom>
            <a:avLst/>
            <a:gdLst/>
            <a:ahLst/>
            <a:cxnLst/>
            <a:rect l="l" t="t" r="r" b="b"/>
            <a:pathLst>
              <a:path w="8184" h="8143">
                <a:moveTo>
                  <a:pt x="5952" y="5182"/>
                </a:moveTo>
                <a:lnTo>
                  <a:pt x="4216" y="3948"/>
                </a:lnTo>
                <a:lnTo>
                  <a:pt x="2976" y="2220"/>
                </a:lnTo>
                <a:lnTo>
                  <a:pt x="2480" y="0"/>
                </a:lnTo>
                <a:lnTo>
                  <a:pt x="0" y="0"/>
                </a:lnTo>
                <a:lnTo>
                  <a:pt x="496" y="3208"/>
                </a:lnTo>
                <a:lnTo>
                  <a:pt x="2232" y="5922"/>
                </a:lnTo>
                <a:lnTo>
                  <a:pt x="4960" y="7650"/>
                </a:lnTo>
                <a:lnTo>
                  <a:pt x="8184" y="8143"/>
                </a:lnTo>
                <a:lnTo>
                  <a:pt x="8184" y="5675"/>
                </a:lnTo>
                <a:lnTo>
                  <a:pt x="5952" y="5182"/>
                </a:lnTo>
                <a:close/>
              </a:path>
            </a:pathLst>
          </a:custGeom>
          <a:solidFill>
            <a:srgbClr val="000000"/>
          </a:solidFill>
        </p:spPr>
        <p:txBody>
          <a:bodyPr wrap="square" lIns="0" tIns="0" rIns="0" bIns="0" rtlCol="0">
            <a:noAutofit/>
          </a:bodyPr>
          <a:lstStyle/>
          <a:p>
            <a:endParaRPr/>
          </a:p>
        </p:txBody>
      </p:sp>
      <p:sp>
        <p:nvSpPr>
          <p:cNvPr id="2116" name="object 2116"/>
          <p:cNvSpPr/>
          <p:nvPr/>
        </p:nvSpPr>
        <p:spPr>
          <a:xfrm>
            <a:off x="8199166" y="1625717"/>
            <a:ext cx="2480" cy="0"/>
          </a:xfrm>
          <a:custGeom>
            <a:avLst/>
            <a:gdLst/>
            <a:ahLst/>
            <a:cxnLst/>
            <a:rect l="l" t="t" r="r" b="b"/>
            <a:pathLst>
              <a:path w="2480">
                <a:moveTo>
                  <a:pt x="0" y="0"/>
                </a:moveTo>
                <a:lnTo>
                  <a:pt x="2480" y="0"/>
                </a:lnTo>
              </a:path>
            </a:pathLst>
          </a:custGeom>
          <a:ln w="13855">
            <a:solidFill>
              <a:srgbClr val="000000"/>
            </a:solidFill>
          </a:ln>
        </p:spPr>
        <p:txBody>
          <a:bodyPr wrap="square" lIns="0" tIns="0" rIns="0" bIns="0" rtlCol="0">
            <a:noAutofit/>
          </a:bodyPr>
          <a:lstStyle/>
          <a:p>
            <a:endParaRPr/>
          </a:p>
        </p:txBody>
      </p:sp>
      <p:sp>
        <p:nvSpPr>
          <p:cNvPr id="2117" name="object 2117"/>
          <p:cNvSpPr/>
          <p:nvPr/>
        </p:nvSpPr>
        <p:spPr>
          <a:xfrm>
            <a:off x="8199166" y="1611281"/>
            <a:ext cx="8184" cy="8143"/>
          </a:xfrm>
          <a:custGeom>
            <a:avLst/>
            <a:gdLst/>
            <a:ahLst/>
            <a:cxnLst/>
            <a:rect l="l" t="t" r="r" b="b"/>
            <a:pathLst>
              <a:path w="8184" h="8143">
                <a:moveTo>
                  <a:pt x="2480" y="8143"/>
                </a:moveTo>
                <a:lnTo>
                  <a:pt x="2976" y="5922"/>
                </a:lnTo>
                <a:lnTo>
                  <a:pt x="4216" y="4195"/>
                </a:lnTo>
                <a:lnTo>
                  <a:pt x="5952" y="2961"/>
                </a:lnTo>
                <a:lnTo>
                  <a:pt x="8184" y="2467"/>
                </a:lnTo>
                <a:lnTo>
                  <a:pt x="8184" y="0"/>
                </a:lnTo>
                <a:lnTo>
                  <a:pt x="4960" y="493"/>
                </a:lnTo>
                <a:lnTo>
                  <a:pt x="2232" y="2220"/>
                </a:lnTo>
                <a:lnTo>
                  <a:pt x="496" y="4935"/>
                </a:lnTo>
                <a:lnTo>
                  <a:pt x="0" y="8143"/>
                </a:lnTo>
                <a:lnTo>
                  <a:pt x="2480" y="8143"/>
                </a:lnTo>
                <a:close/>
              </a:path>
            </a:pathLst>
          </a:custGeom>
          <a:solidFill>
            <a:srgbClr val="000000"/>
          </a:solidFill>
        </p:spPr>
        <p:txBody>
          <a:bodyPr wrap="square" lIns="0" tIns="0" rIns="0" bIns="0" rtlCol="0">
            <a:noAutofit/>
          </a:bodyPr>
          <a:lstStyle/>
          <a:p>
            <a:endParaRPr/>
          </a:p>
        </p:txBody>
      </p:sp>
      <p:sp>
        <p:nvSpPr>
          <p:cNvPr id="2118" name="object 2118"/>
          <p:cNvSpPr/>
          <p:nvPr/>
        </p:nvSpPr>
        <p:spPr>
          <a:xfrm>
            <a:off x="8205367" y="1614983"/>
            <a:ext cx="35465" cy="20975"/>
          </a:xfrm>
          <a:custGeom>
            <a:avLst/>
            <a:gdLst/>
            <a:ahLst/>
            <a:cxnLst/>
            <a:rect l="l" t="t" r="r" b="b"/>
            <a:pathLst>
              <a:path w="35465" h="20975">
                <a:moveTo>
                  <a:pt x="5456" y="0"/>
                </a:moveTo>
                <a:lnTo>
                  <a:pt x="3224" y="493"/>
                </a:lnTo>
                <a:lnTo>
                  <a:pt x="1488" y="1480"/>
                </a:lnTo>
                <a:lnTo>
                  <a:pt x="496" y="3208"/>
                </a:lnTo>
                <a:lnTo>
                  <a:pt x="0" y="5429"/>
                </a:lnTo>
                <a:lnTo>
                  <a:pt x="0" y="15546"/>
                </a:lnTo>
                <a:lnTo>
                  <a:pt x="496" y="17521"/>
                </a:lnTo>
                <a:lnTo>
                  <a:pt x="1488" y="19248"/>
                </a:lnTo>
                <a:lnTo>
                  <a:pt x="3224" y="20482"/>
                </a:lnTo>
                <a:lnTo>
                  <a:pt x="5456" y="20975"/>
                </a:lnTo>
                <a:lnTo>
                  <a:pt x="30009" y="20975"/>
                </a:lnTo>
                <a:lnTo>
                  <a:pt x="32241" y="20482"/>
                </a:lnTo>
                <a:lnTo>
                  <a:pt x="33977" y="19248"/>
                </a:lnTo>
                <a:lnTo>
                  <a:pt x="34969" y="17521"/>
                </a:lnTo>
                <a:lnTo>
                  <a:pt x="35465" y="15546"/>
                </a:lnTo>
                <a:lnTo>
                  <a:pt x="35465" y="5429"/>
                </a:lnTo>
                <a:lnTo>
                  <a:pt x="34969" y="3208"/>
                </a:lnTo>
                <a:lnTo>
                  <a:pt x="33977" y="1480"/>
                </a:lnTo>
                <a:lnTo>
                  <a:pt x="32241" y="493"/>
                </a:lnTo>
                <a:lnTo>
                  <a:pt x="30009" y="0"/>
                </a:lnTo>
                <a:lnTo>
                  <a:pt x="5456" y="0"/>
                </a:lnTo>
                <a:close/>
              </a:path>
            </a:pathLst>
          </a:custGeom>
          <a:solidFill>
            <a:srgbClr val="FF7E00"/>
          </a:solidFill>
        </p:spPr>
        <p:txBody>
          <a:bodyPr wrap="square" lIns="0" tIns="0" rIns="0" bIns="0" rtlCol="0">
            <a:noAutofit/>
          </a:bodyPr>
          <a:lstStyle/>
          <a:p>
            <a:endParaRPr/>
          </a:p>
        </p:txBody>
      </p:sp>
      <p:sp>
        <p:nvSpPr>
          <p:cNvPr id="2119" name="object 2119"/>
          <p:cNvSpPr/>
          <p:nvPr/>
        </p:nvSpPr>
        <p:spPr>
          <a:xfrm>
            <a:off x="8210824" y="1614982"/>
            <a:ext cx="24553" cy="0"/>
          </a:xfrm>
          <a:custGeom>
            <a:avLst/>
            <a:gdLst/>
            <a:ahLst/>
            <a:cxnLst/>
            <a:rect l="l" t="t" r="r" b="b"/>
            <a:pathLst>
              <a:path w="24553">
                <a:moveTo>
                  <a:pt x="0" y="0"/>
                </a:moveTo>
                <a:lnTo>
                  <a:pt x="24553" y="0"/>
                </a:lnTo>
              </a:path>
            </a:pathLst>
          </a:custGeom>
          <a:ln w="3737">
            <a:solidFill>
              <a:srgbClr val="000000"/>
            </a:solidFill>
          </a:ln>
        </p:spPr>
        <p:txBody>
          <a:bodyPr wrap="square" lIns="0" tIns="0" rIns="0" bIns="0" rtlCol="0">
            <a:noAutofit/>
          </a:bodyPr>
          <a:lstStyle/>
          <a:p>
            <a:endParaRPr/>
          </a:p>
        </p:txBody>
      </p:sp>
      <p:sp>
        <p:nvSpPr>
          <p:cNvPr id="2120" name="object 2120"/>
          <p:cNvSpPr/>
          <p:nvPr/>
        </p:nvSpPr>
        <p:spPr>
          <a:xfrm>
            <a:off x="8235376" y="1613748"/>
            <a:ext cx="6696" cy="6662"/>
          </a:xfrm>
          <a:custGeom>
            <a:avLst/>
            <a:gdLst/>
            <a:ahLst/>
            <a:cxnLst/>
            <a:rect l="l" t="t" r="r" b="b"/>
            <a:pathLst>
              <a:path w="6696" h="6662">
                <a:moveTo>
                  <a:pt x="4960" y="1727"/>
                </a:moveTo>
                <a:lnTo>
                  <a:pt x="2728" y="493"/>
                </a:lnTo>
                <a:lnTo>
                  <a:pt x="0" y="0"/>
                </a:lnTo>
                <a:lnTo>
                  <a:pt x="0" y="2467"/>
                </a:lnTo>
                <a:lnTo>
                  <a:pt x="1736" y="2961"/>
                </a:lnTo>
                <a:lnTo>
                  <a:pt x="2976" y="3701"/>
                </a:lnTo>
                <a:lnTo>
                  <a:pt x="3720" y="4935"/>
                </a:lnTo>
                <a:lnTo>
                  <a:pt x="4216" y="6662"/>
                </a:lnTo>
                <a:lnTo>
                  <a:pt x="6696" y="6662"/>
                </a:lnTo>
                <a:lnTo>
                  <a:pt x="6200" y="3948"/>
                </a:lnTo>
                <a:lnTo>
                  <a:pt x="4960" y="1727"/>
                </a:lnTo>
                <a:close/>
              </a:path>
            </a:pathLst>
          </a:custGeom>
          <a:solidFill>
            <a:srgbClr val="000000"/>
          </a:solidFill>
        </p:spPr>
        <p:txBody>
          <a:bodyPr wrap="square" lIns="0" tIns="0" rIns="0" bIns="0" rtlCol="0">
            <a:noAutofit/>
          </a:bodyPr>
          <a:lstStyle/>
          <a:p>
            <a:endParaRPr/>
          </a:p>
        </p:txBody>
      </p:sp>
      <p:sp>
        <p:nvSpPr>
          <p:cNvPr id="2121" name="object 2121"/>
          <p:cNvSpPr/>
          <p:nvPr/>
        </p:nvSpPr>
        <p:spPr>
          <a:xfrm>
            <a:off x="8239592" y="1625470"/>
            <a:ext cx="2480" cy="0"/>
          </a:xfrm>
          <a:custGeom>
            <a:avLst/>
            <a:gdLst/>
            <a:ahLst/>
            <a:cxnLst/>
            <a:rect l="l" t="t" r="r" b="b"/>
            <a:pathLst>
              <a:path w="2480">
                <a:moveTo>
                  <a:pt x="0" y="0"/>
                </a:moveTo>
                <a:lnTo>
                  <a:pt x="2480" y="0"/>
                </a:lnTo>
              </a:path>
            </a:pathLst>
          </a:custGeom>
          <a:ln w="11387">
            <a:solidFill>
              <a:srgbClr val="000000"/>
            </a:solidFill>
          </a:ln>
        </p:spPr>
        <p:txBody>
          <a:bodyPr wrap="square" lIns="0" tIns="0" rIns="0" bIns="0" rtlCol="0">
            <a:noAutofit/>
          </a:bodyPr>
          <a:lstStyle/>
          <a:p>
            <a:endParaRPr/>
          </a:p>
        </p:txBody>
      </p:sp>
      <p:sp>
        <p:nvSpPr>
          <p:cNvPr id="2122" name="object 2122"/>
          <p:cNvSpPr/>
          <p:nvPr/>
        </p:nvSpPr>
        <p:spPr>
          <a:xfrm>
            <a:off x="8235376" y="1630529"/>
            <a:ext cx="6696" cy="6662"/>
          </a:xfrm>
          <a:custGeom>
            <a:avLst/>
            <a:gdLst/>
            <a:ahLst/>
            <a:cxnLst/>
            <a:rect l="l" t="t" r="r" b="b"/>
            <a:pathLst>
              <a:path w="6696" h="6662">
                <a:moveTo>
                  <a:pt x="4960" y="4441"/>
                </a:moveTo>
                <a:lnTo>
                  <a:pt x="6200" y="2467"/>
                </a:lnTo>
                <a:lnTo>
                  <a:pt x="6696" y="0"/>
                </a:lnTo>
                <a:lnTo>
                  <a:pt x="4216" y="0"/>
                </a:lnTo>
                <a:lnTo>
                  <a:pt x="3720" y="1480"/>
                </a:lnTo>
                <a:lnTo>
                  <a:pt x="2976" y="2961"/>
                </a:lnTo>
                <a:lnTo>
                  <a:pt x="1736" y="3701"/>
                </a:lnTo>
                <a:lnTo>
                  <a:pt x="0" y="4195"/>
                </a:lnTo>
                <a:lnTo>
                  <a:pt x="0" y="6662"/>
                </a:lnTo>
                <a:lnTo>
                  <a:pt x="2728" y="6169"/>
                </a:lnTo>
                <a:lnTo>
                  <a:pt x="4960" y="4441"/>
                </a:lnTo>
                <a:close/>
              </a:path>
            </a:pathLst>
          </a:custGeom>
          <a:solidFill>
            <a:srgbClr val="000000"/>
          </a:solidFill>
        </p:spPr>
        <p:txBody>
          <a:bodyPr wrap="square" lIns="0" tIns="0" rIns="0" bIns="0" rtlCol="0">
            <a:noAutofit/>
          </a:bodyPr>
          <a:lstStyle/>
          <a:p>
            <a:endParaRPr/>
          </a:p>
        </p:txBody>
      </p:sp>
      <p:sp>
        <p:nvSpPr>
          <p:cNvPr id="2123" name="object 2123"/>
          <p:cNvSpPr/>
          <p:nvPr/>
        </p:nvSpPr>
        <p:spPr>
          <a:xfrm>
            <a:off x="8210824" y="1635958"/>
            <a:ext cx="24553" cy="0"/>
          </a:xfrm>
          <a:custGeom>
            <a:avLst/>
            <a:gdLst/>
            <a:ahLst/>
            <a:cxnLst/>
            <a:rect l="l" t="t" r="r" b="b"/>
            <a:pathLst>
              <a:path w="24553">
                <a:moveTo>
                  <a:pt x="0" y="0"/>
                </a:moveTo>
                <a:lnTo>
                  <a:pt x="24553" y="0"/>
                </a:lnTo>
              </a:path>
            </a:pathLst>
          </a:custGeom>
          <a:ln w="3737">
            <a:solidFill>
              <a:srgbClr val="000000"/>
            </a:solidFill>
          </a:ln>
        </p:spPr>
        <p:txBody>
          <a:bodyPr wrap="square" lIns="0" tIns="0" rIns="0" bIns="0" rtlCol="0">
            <a:noAutofit/>
          </a:bodyPr>
          <a:lstStyle/>
          <a:p>
            <a:endParaRPr/>
          </a:p>
        </p:txBody>
      </p:sp>
      <p:sp>
        <p:nvSpPr>
          <p:cNvPr id="2124" name="object 2124"/>
          <p:cNvSpPr/>
          <p:nvPr/>
        </p:nvSpPr>
        <p:spPr>
          <a:xfrm>
            <a:off x="8204126" y="1630529"/>
            <a:ext cx="6696" cy="6662"/>
          </a:xfrm>
          <a:custGeom>
            <a:avLst/>
            <a:gdLst/>
            <a:ahLst/>
            <a:cxnLst/>
            <a:rect l="l" t="t" r="r" b="b"/>
            <a:pathLst>
              <a:path w="6696" h="6662">
                <a:moveTo>
                  <a:pt x="496" y="2467"/>
                </a:moveTo>
                <a:lnTo>
                  <a:pt x="1736" y="4441"/>
                </a:lnTo>
                <a:lnTo>
                  <a:pt x="3968" y="6169"/>
                </a:lnTo>
                <a:lnTo>
                  <a:pt x="6696" y="6662"/>
                </a:lnTo>
                <a:lnTo>
                  <a:pt x="6696" y="4195"/>
                </a:lnTo>
                <a:lnTo>
                  <a:pt x="4960" y="3701"/>
                </a:lnTo>
                <a:lnTo>
                  <a:pt x="3720" y="2961"/>
                </a:lnTo>
                <a:lnTo>
                  <a:pt x="2976" y="1480"/>
                </a:lnTo>
                <a:lnTo>
                  <a:pt x="2480" y="0"/>
                </a:lnTo>
                <a:lnTo>
                  <a:pt x="0" y="0"/>
                </a:lnTo>
                <a:lnTo>
                  <a:pt x="496" y="2467"/>
                </a:lnTo>
                <a:close/>
              </a:path>
            </a:pathLst>
          </a:custGeom>
          <a:solidFill>
            <a:srgbClr val="000000"/>
          </a:solidFill>
        </p:spPr>
        <p:txBody>
          <a:bodyPr wrap="square" lIns="0" tIns="0" rIns="0" bIns="0" rtlCol="0">
            <a:noAutofit/>
          </a:bodyPr>
          <a:lstStyle/>
          <a:p>
            <a:endParaRPr/>
          </a:p>
        </p:txBody>
      </p:sp>
      <p:sp>
        <p:nvSpPr>
          <p:cNvPr id="2125" name="object 2125"/>
          <p:cNvSpPr/>
          <p:nvPr/>
        </p:nvSpPr>
        <p:spPr>
          <a:xfrm>
            <a:off x="8204126" y="1625470"/>
            <a:ext cx="2480" cy="0"/>
          </a:xfrm>
          <a:custGeom>
            <a:avLst/>
            <a:gdLst/>
            <a:ahLst/>
            <a:cxnLst/>
            <a:rect l="l" t="t" r="r" b="b"/>
            <a:pathLst>
              <a:path w="2480">
                <a:moveTo>
                  <a:pt x="0" y="0"/>
                </a:moveTo>
                <a:lnTo>
                  <a:pt x="2480" y="0"/>
                </a:lnTo>
              </a:path>
            </a:pathLst>
          </a:custGeom>
          <a:ln w="11387">
            <a:solidFill>
              <a:srgbClr val="000000"/>
            </a:solidFill>
          </a:ln>
        </p:spPr>
        <p:txBody>
          <a:bodyPr wrap="square" lIns="0" tIns="0" rIns="0" bIns="0" rtlCol="0">
            <a:noAutofit/>
          </a:bodyPr>
          <a:lstStyle/>
          <a:p>
            <a:endParaRPr/>
          </a:p>
        </p:txBody>
      </p:sp>
      <p:sp>
        <p:nvSpPr>
          <p:cNvPr id="2126" name="object 2126"/>
          <p:cNvSpPr/>
          <p:nvPr/>
        </p:nvSpPr>
        <p:spPr>
          <a:xfrm>
            <a:off x="8204126" y="1613748"/>
            <a:ext cx="6696" cy="6662"/>
          </a:xfrm>
          <a:custGeom>
            <a:avLst/>
            <a:gdLst/>
            <a:ahLst/>
            <a:cxnLst/>
            <a:rect l="l" t="t" r="r" b="b"/>
            <a:pathLst>
              <a:path w="6696" h="6662">
                <a:moveTo>
                  <a:pt x="2976" y="4935"/>
                </a:moveTo>
                <a:lnTo>
                  <a:pt x="3720" y="3701"/>
                </a:lnTo>
                <a:lnTo>
                  <a:pt x="4960" y="2961"/>
                </a:lnTo>
                <a:lnTo>
                  <a:pt x="6696" y="2467"/>
                </a:lnTo>
                <a:lnTo>
                  <a:pt x="6696" y="0"/>
                </a:lnTo>
                <a:lnTo>
                  <a:pt x="3968" y="493"/>
                </a:lnTo>
                <a:lnTo>
                  <a:pt x="1736" y="1727"/>
                </a:lnTo>
                <a:lnTo>
                  <a:pt x="496" y="3948"/>
                </a:lnTo>
                <a:lnTo>
                  <a:pt x="0" y="6662"/>
                </a:lnTo>
                <a:lnTo>
                  <a:pt x="2480" y="6662"/>
                </a:lnTo>
                <a:lnTo>
                  <a:pt x="2976" y="4935"/>
                </a:lnTo>
                <a:close/>
              </a:path>
            </a:pathLst>
          </a:custGeom>
          <a:solidFill>
            <a:srgbClr val="000000"/>
          </a:solidFill>
        </p:spPr>
        <p:txBody>
          <a:bodyPr wrap="square" lIns="0" tIns="0" rIns="0" bIns="0" rtlCol="0">
            <a:noAutofit/>
          </a:bodyPr>
          <a:lstStyle/>
          <a:p>
            <a:endParaRPr/>
          </a:p>
        </p:txBody>
      </p:sp>
      <p:sp>
        <p:nvSpPr>
          <p:cNvPr id="2127" name="object 2127"/>
          <p:cNvSpPr/>
          <p:nvPr/>
        </p:nvSpPr>
        <p:spPr>
          <a:xfrm>
            <a:off x="8213304" y="1614983"/>
            <a:ext cx="35465" cy="20975"/>
          </a:xfrm>
          <a:custGeom>
            <a:avLst/>
            <a:gdLst/>
            <a:ahLst/>
            <a:cxnLst/>
            <a:rect l="l" t="t" r="r" b="b"/>
            <a:pathLst>
              <a:path w="35465" h="20975">
                <a:moveTo>
                  <a:pt x="5456" y="0"/>
                </a:moveTo>
                <a:lnTo>
                  <a:pt x="3224" y="493"/>
                </a:lnTo>
                <a:lnTo>
                  <a:pt x="1488" y="1480"/>
                </a:lnTo>
                <a:lnTo>
                  <a:pt x="496" y="3208"/>
                </a:lnTo>
                <a:lnTo>
                  <a:pt x="0" y="5429"/>
                </a:lnTo>
                <a:lnTo>
                  <a:pt x="0" y="15546"/>
                </a:lnTo>
                <a:lnTo>
                  <a:pt x="496" y="17521"/>
                </a:lnTo>
                <a:lnTo>
                  <a:pt x="1488" y="19248"/>
                </a:lnTo>
                <a:lnTo>
                  <a:pt x="3224" y="20482"/>
                </a:lnTo>
                <a:lnTo>
                  <a:pt x="5456" y="20975"/>
                </a:lnTo>
                <a:lnTo>
                  <a:pt x="30009" y="20975"/>
                </a:lnTo>
                <a:lnTo>
                  <a:pt x="32241" y="20482"/>
                </a:lnTo>
                <a:lnTo>
                  <a:pt x="33977" y="19248"/>
                </a:lnTo>
                <a:lnTo>
                  <a:pt x="34969" y="17521"/>
                </a:lnTo>
                <a:lnTo>
                  <a:pt x="35465" y="15546"/>
                </a:lnTo>
                <a:lnTo>
                  <a:pt x="35465" y="5429"/>
                </a:lnTo>
                <a:lnTo>
                  <a:pt x="34969" y="3208"/>
                </a:lnTo>
                <a:lnTo>
                  <a:pt x="33977" y="1480"/>
                </a:lnTo>
                <a:lnTo>
                  <a:pt x="32241" y="493"/>
                </a:lnTo>
                <a:lnTo>
                  <a:pt x="30009" y="0"/>
                </a:lnTo>
                <a:lnTo>
                  <a:pt x="5456" y="0"/>
                </a:lnTo>
                <a:close/>
              </a:path>
            </a:pathLst>
          </a:custGeom>
          <a:solidFill>
            <a:srgbClr val="FFDF00"/>
          </a:solidFill>
        </p:spPr>
        <p:txBody>
          <a:bodyPr wrap="square" lIns="0" tIns="0" rIns="0" bIns="0" rtlCol="0">
            <a:noAutofit/>
          </a:bodyPr>
          <a:lstStyle/>
          <a:p>
            <a:endParaRPr/>
          </a:p>
        </p:txBody>
      </p:sp>
      <p:sp>
        <p:nvSpPr>
          <p:cNvPr id="2128" name="object 2128"/>
          <p:cNvSpPr/>
          <p:nvPr/>
        </p:nvSpPr>
        <p:spPr>
          <a:xfrm>
            <a:off x="8218760" y="1614982"/>
            <a:ext cx="24553" cy="0"/>
          </a:xfrm>
          <a:custGeom>
            <a:avLst/>
            <a:gdLst/>
            <a:ahLst/>
            <a:cxnLst/>
            <a:rect l="l" t="t" r="r" b="b"/>
            <a:pathLst>
              <a:path w="24553">
                <a:moveTo>
                  <a:pt x="0" y="0"/>
                </a:moveTo>
                <a:lnTo>
                  <a:pt x="24553" y="0"/>
                </a:lnTo>
              </a:path>
            </a:pathLst>
          </a:custGeom>
          <a:ln w="3737">
            <a:solidFill>
              <a:srgbClr val="000000"/>
            </a:solidFill>
          </a:ln>
        </p:spPr>
        <p:txBody>
          <a:bodyPr wrap="square" lIns="0" tIns="0" rIns="0" bIns="0" rtlCol="0">
            <a:noAutofit/>
          </a:bodyPr>
          <a:lstStyle/>
          <a:p>
            <a:endParaRPr/>
          </a:p>
        </p:txBody>
      </p:sp>
      <p:sp>
        <p:nvSpPr>
          <p:cNvPr id="2129" name="object 2129"/>
          <p:cNvSpPr/>
          <p:nvPr/>
        </p:nvSpPr>
        <p:spPr>
          <a:xfrm>
            <a:off x="8243312" y="1613748"/>
            <a:ext cx="6696" cy="6662"/>
          </a:xfrm>
          <a:custGeom>
            <a:avLst/>
            <a:gdLst/>
            <a:ahLst/>
            <a:cxnLst/>
            <a:rect l="l" t="t" r="r" b="b"/>
            <a:pathLst>
              <a:path w="6696" h="6662">
                <a:moveTo>
                  <a:pt x="4960" y="1727"/>
                </a:moveTo>
                <a:lnTo>
                  <a:pt x="2728" y="493"/>
                </a:lnTo>
                <a:lnTo>
                  <a:pt x="0" y="0"/>
                </a:lnTo>
                <a:lnTo>
                  <a:pt x="0" y="2467"/>
                </a:lnTo>
                <a:lnTo>
                  <a:pt x="1736" y="2961"/>
                </a:lnTo>
                <a:lnTo>
                  <a:pt x="2976" y="3701"/>
                </a:lnTo>
                <a:lnTo>
                  <a:pt x="3720" y="4935"/>
                </a:lnTo>
                <a:lnTo>
                  <a:pt x="4216" y="6662"/>
                </a:lnTo>
                <a:lnTo>
                  <a:pt x="6696" y="6662"/>
                </a:lnTo>
                <a:lnTo>
                  <a:pt x="6200" y="3948"/>
                </a:lnTo>
                <a:lnTo>
                  <a:pt x="4960" y="1727"/>
                </a:lnTo>
                <a:close/>
              </a:path>
            </a:pathLst>
          </a:custGeom>
          <a:solidFill>
            <a:srgbClr val="000000"/>
          </a:solidFill>
        </p:spPr>
        <p:txBody>
          <a:bodyPr wrap="square" lIns="0" tIns="0" rIns="0" bIns="0" rtlCol="0">
            <a:noAutofit/>
          </a:bodyPr>
          <a:lstStyle/>
          <a:p>
            <a:endParaRPr/>
          </a:p>
        </p:txBody>
      </p:sp>
      <p:sp>
        <p:nvSpPr>
          <p:cNvPr id="2130" name="object 2130"/>
          <p:cNvSpPr/>
          <p:nvPr/>
        </p:nvSpPr>
        <p:spPr>
          <a:xfrm>
            <a:off x="8247528" y="1625470"/>
            <a:ext cx="2480" cy="0"/>
          </a:xfrm>
          <a:custGeom>
            <a:avLst/>
            <a:gdLst/>
            <a:ahLst/>
            <a:cxnLst/>
            <a:rect l="l" t="t" r="r" b="b"/>
            <a:pathLst>
              <a:path w="2480">
                <a:moveTo>
                  <a:pt x="0" y="0"/>
                </a:moveTo>
                <a:lnTo>
                  <a:pt x="2480" y="0"/>
                </a:lnTo>
              </a:path>
            </a:pathLst>
          </a:custGeom>
          <a:ln w="11387">
            <a:solidFill>
              <a:srgbClr val="000000"/>
            </a:solidFill>
          </a:ln>
        </p:spPr>
        <p:txBody>
          <a:bodyPr wrap="square" lIns="0" tIns="0" rIns="0" bIns="0" rtlCol="0">
            <a:noAutofit/>
          </a:bodyPr>
          <a:lstStyle/>
          <a:p>
            <a:endParaRPr/>
          </a:p>
        </p:txBody>
      </p:sp>
      <p:sp>
        <p:nvSpPr>
          <p:cNvPr id="2131" name="object 2131"/>
          <p:cNvSpPr/>
          <p:nvPr/>
        </p:nvSpPr>
        <p:spPr>
          <a:xfrm>
            <a:off x="8243312" y="1630529"/>
            <a:ext cx="6696" cy="6662"/>
          </a:xfrm>
          <a:custGeom>
            <a:avLst/>
            <a:gdLst/>
            <a:ahLst/>
            <a:cxnLst/>
            <a:rect l="l" t="t" r="r" b="b"/>
            <a:pathLst>
              <a:path w="6696" h="6662">
                <a:moveTo>
                  <a:pt x="4960" y="4441"/>
                </a:moveTo>
                <a:lnTo>
                  <a:pt x="6200" y="2467"/>
                </a:lnTo>
                <a:lnTo>
                  <a:pt x="6696" y="0"/>
                </a:lnTo>
                <a:lnTo>
                  <a:pt x="4216" y="0"/>
                </a:lnTo>
                <a:lnTo>
                  <a:pt x="3720" y="1480"/>
                </a:lnTo>
                <a:lnTo>
                  <a:pt x="2976" y="2961"/>
                </a:lnTo>
                <a:lnTo>
                  <a:pt x="1736" y="3701"/>
                </a:lnTo>
                <a:lnTo>
                  <a:pt x="0" y="4195"/>
                </a:lnTo>
                <a:lnTo>
                  <a:pt x="0" y="6662"/>
                </a:lnTo>
                <a:lnTo>
                  <a:pt x="2728" y="6169"/>
                </a:lnTo>
                <a:lnTo>
                  <a:pt x="4960" y="4441"/>
                </a:lnTo>
                <a:close/>
              </a:path>
            </a:pathLst>
          </a:custGeom>
          <a:solidFill>
            <a:srgbClr val="000000"/>
          </a:solidFill>
        </p:spPr>
        <p:txBody>
          <a:bodyPr wrap="square" lIns="0" tIns="0" rIns="0" bIns="0" rtlCol="0">
            <a:noAutofit/>
          </a:bodyPr>
          <a:lstStyle/>
          <a:p>
            <a:endParaRPr/>
          </a:p>
        </p:txBody>
      </p:sp>
      <p:sp>
        <p:nvSpPr>
          <p:cNvPr id="2132" name="object 2132"/>
          <p:cNvSpPr/>
          <p:nvPr/>
        </p:nvSpPr>
        <p:spPr>
          <a:xfrm>
            <a:off x="8218760" y="1635958"/>
            <a:ext cx="24553" cy="0"/>
          </a:xfrm>
          <a:custGeom>
            <a:avLst/>
            <a:gdLst/>
            <a:ahLst/>
            <a:cxnLst/>
            <a:rect l="l" t="t" r="r" b="b"/>
            <a:pathLst>
              <a:path w="24553">
                <a:moveTo>
                  <a:pt x="0" y="0"/>
                </a:moveTo>
                <a:lnTo>
                  <a:pt x="24553" y="0"/>
                </a:lnTo>
              </a:path>
            </a:pathLst>
          </a:custGeom>
          <a:ln w="3737">
            <a:solidFill>
              <a:srgbClr val="000000"/>
            </a:solidFill>
          </a:ln>
        </p:spPr>
        <p:txBody>
          <a:bodyPr wrap="square" lIns="0" tIns="0" rIns="0" bIns="0" rtlCol="0">
            <a:noAutofit/>
          </a:bodyPr>
          <a:lstStyle/>
          <a:p>
            <a:endParaRPr/>
          </a:p>
        </p:txBody>
      </p:sp>
      <p:sp>
        <p:nvSpPr>
          <p:cNvPr id="2133" name="object 2133"/>
          <p:cNvSpPr/>
          <p:nvPr/>
        </p:nvSpPr>
        <p:spPr>
          <a:xfrm>
            <a:off x="8212063" y="1630529"/>
            <a:ext cx="6696" cy="6662"/>
          </a:xfrm>
          <a:custGeom>
            <a:avLst/>
            <a:gdLst/>
            <a:ahLst/>
            <a:cxnLst/>
            <a:rect l="l" t="t" r="r" b="b"/>
            <a:pathLst>
              <a:path w="6696" h="6662">
                <a:moveTo>
                  <a:pt x="496" y="2467"/>
                </a:moveTo>
                <a:lnTo>
                  <a:pt x="1736" y="4441"/>
                </a:lnTo>
                <a:lnTo>
                  <a:pt x="3968" y="6169"/>
                </a:lnTo>
                <a:lnTo>
                  <a:pt x="6696" y="6662"/>
                </a:lnTo>
                <a:lnTo>
                  <a:pt x="6696" y="4195"/>
                </a:lnTo>
                <a:lnTo>
                  <a:pt x="4960" y="3701"/>
                </a:lnTo>
                <a:lnTo>
                  <a:pt x="3720" y="2961"/>
                </a:lnTo>
                <a:lnTo>
                  <a:pt x="2976" y="1480"/>
                </a:lnTo>
                <a:lnTo>
                  <a:pt x="2480" y="0"/>
                </a:lnTo>
                <a:lnTo>
                  <a:pt x="0" y="0"/>
                </a:lnTo>
                <a:lnTo>
                  <a:pt x="496" y="2467"/>
                </a:lnTo>
                <a:close/>
              </a:path>
            </a:pathLst>
          </a:custGeom>
          <a:solidFill>
            <a:srgbClr val="000000"/>
          </a:solidFill>
        </p:spPr>
        <p:txBody>
          <a:bodyPr wrap="square" lIns="0" tIns="0" rIns="0" bIns="0" rtlCol="0">
            <a:noAutofit/>
          </a:bodyPr>
          <a:lstStyle/>
          <a:p>
            <a:endParaRPr/>
          </a:p>
        </p:txBody>
      </p:sp>
      <p:sp>
        <p:nvSpPr>
          <p:cNvPr id="2134" name="object 2134"/>
          <p:cNvSpPr/>
          <p:nvPr/>
        </p:nvSpPr>
        <p:spPr>
          <a:xfrm>
            <a:off x="8212063" y="1625470"/>
            <a:ext cx="2480" cy="0"/>
          </a:xfrm>
          <a:custGeom>
            <a:avLst/>
            <a:gdLst/>
            <a:ahLst/>
            <a:cxnLst/>
            <a:rect l="l" t="t" r="r" b="b"/>
            <a:pathLst>
              <a:path w="2480">
                <a:moveTo>
                  <a:pt x="0" y="0"/>
                </a:moveTo>
                <a:lnTo>
                  <a:pt x="2480" y="0"/>
                </a:lnTo>
              </a:path>
            </a:pathLst>
          </a:custGeom>
          <a:ln w="11387">
            <a:solidFill>
              <a:srgbClr val="000000"/>
            </a:solidFill>
          </a:ln>
        </p:spPr>
        <p:txBody>
          <a:bodyPr wrap="square" lIns="0" tIns="0" rIns="0" bIns="0" rtlCol="0">
            <a:noAutofit/>
          </a:bodyPr>
          <a:lstStyle/>
          <a:p>
            <a:endParaRPr/>
          </a:p>
        </p:txBody>
      </p:sp>
      <p:sp>
        <p:nvSpPr>
          <p:cNvPr id="2135" name="object 2135"/>
          <p:cNvSpPr/>
          <p:nvPr/>
        </p:nvSpPr>
        <p:spPr>
          <a:xfrm>
            <a:off x="8212063" y="1613748"/>
            <a:ext cx="6696" cy="6662"/>
          </a:xfrm>
          <a:custGeom>
            <a:avLst/>
            <a:gdLst/>
            <a:ahLst/>
            <a:cxnLst/>
            <a:rect l="l" t="t" r="r" b="b"/>
            <a:pathLst>
              <a:path w="6696" h="6662">
                <a:moveTo>
                  <a:pt x="2976" y="4935"/>
                </a:moveTo>
                <a:lnTo>
                  <a:pt x="3720" y="3701"/>
                </a:lnTo>
                <a:lnTo>
                  <a:pt x="4960" y="2961"/>
                </a:lnTo>
                <a:lnTo>
                  <a:pt x="6696" y="2467"/>
                </a:lnTo>
                <a:lnTo>
                  <a:pt x="6696" y="0"/>
                </a:lnTo>
                <a:lnTo>
                  <a:pt x="3968" y="493"/>
                </a:lnTo>
                <a:lnTo>
                  <a:pt x="1736" y="1727"/>
                </a:lnTo>
                <a:lnTo>
                  <a:pt x="496" y="3948"/>
                </a:lnTo>
                <a:lnTo>
                  <a:pt x="0" y="6662"/>
                </a:lnTo>
                <a:lnTo>
                  <a:pt x="2480" y="6662"/>
                </a:lnTo>
                <a:lnTo>
                  <a:pt x="2976" y="4935"/>
                </a:lnTo>
                <a:close/>
              </a:path>
            </a:pathLst>
          </a:custGeom>
          <a:solidFill>
            <a:srgbClr val="000000"/>
          </a:solidFill>
        </p:spPr>
        <p:txBody>
          <a:bodyPr wrap="square" lIns="0" tIns="0" rIns="0" bIns="0" rtlCol="0">
            <a:noAutofit/>
          </a:bodyPr>
          <a:lstStyle/>
          <a:p>
            <a:endParaRPr/>
          </a:p>
        </p:txBody>
      </p:sp>
      <p:sp>
        <p:nvSpPr>
          <p:cNvPr id="2136" name="object 2136"/>
          <p:cNvSpPr/>
          <p:nvPr/>
        </p:nvSpPr>
        <p:spPr>
          <a:xfrm>
            <a:off x="8335325" y="1390910"/>
            <a:ext cx="37697" cy="27638"/>
          </a:xfrm>
          <a:custGeom>
            <a:avLst/>
            <a:gdLst/>
            <a:ahLst/>
            <a:cxnLst/>
            <a:rect l="l" t="t" r="r" b="b"/>
            <a:pathLst>
              <a:path w="37697" h="27638">
                <a:moveTo>
                  <a:pt x="3720" y="0"/>
                </a:moveTo>
                <a:lnTo>
                  <a:pt x="2480" y="246"/>
                </a:lnTo>
                <a:lnTo>
                  <a:pt x="1240" y="987"/>
                </a:lnTo>
                <a:lnTo>
                  <a:pt x="496" y="2220"/>
                </a:lnTo>
                <a:lnTo>
                  <a:pt x="0" y="3701"/>
                </a:lnTo>
                <a:lnTo>
                  <a:pt x="0" y="21716"/>
                </a:lnTo>
                <a:lnTo>
                  <a:pt x="248" y="23196"/>
                </a:lnTo>
                <a:lnTo>
                  <a:pt x="1240" y="24184"/>
                </a:lnTo>
                <a:lnTo>
                  <a:pt x="2232" y="25171"/>
                </a:lnTo>
                <a:lnTo>
                  <a:pt x="3720" y="25417"/>
                </a:lnTo>
                <a:lnTo>
                  <a:pt x="33977" y="27638"/>
                </a:lnTo>
                <a:lnTo>
                  <a:pt x="35217" y="27392"/>
                </a:lnTo>
                <a:lnTo>
                  <a:pt x="36457" y="26404"/>
                </a:lnTo>
                <a:lnTo>
                  <a:pt x="37449" y="25417"/>
                </a:lnTo>
                <a:lnTo>
                  <a:pt x="37697" y="23937"/>
                </a:lnTo>
                <a:lnTo>
                  <a:pt x="37697" y="7156"/>
                </a:lnTo>
                <a:lnTo>
                  <a:pt x="37201" y="5922"/>
                </a:lnTo>
                <a:lnTo>
                  <a:pt x="36209" y="4688"/>
                </a:lnTo>
                <a:lnTo>
                  <a:pt x="34969" y="3948"/>
                </a:lnTo>
                <a:lnTo>
                  <a:pt x="33977" y="3454"/>
                </a:lnTo>
                <a:lnTo>
                  <a:pt x="3720" y="0"/>
                </a:lnTo>
                <a:close/>
              </a:path>
            </a:pathLst>
          </a:custGeom>
          <a:solidFill>
            <a:srgbClr val="000000"/>
          </a:solidFill>
        </p:spPr>
        <p:txBody>
          <a:bodyPr wrap="square" lIns="0" tIns="0" rIns="0" bIns="0" rtlCol="0">
            <a:noAutofit/>
          </a:bodyPr>
          <a:lstStyle/>
          <a:p>
            <a:endParaRPr/>
          </a:p>
        </p:txBody>
      </p:sp>
      <p:sp>
        <p:nvSpPr>
          <p:cNvPr id="2137" name="object 2137"/>
          <p:cNvSpPr/>
          <p:nvPr/>
        </p:nvSpPr>
        <p:spPr>
          <a:xfrm>
            <a:off x="8338797" y="1389676"/>
            <a:ext cx="30753" cy="5922"/>
          </a:xfrm>
          <a:custGeom>
            <a:avLst/>
            <a:gdLst/>
            <a:ahLst/>
            <a:cxnLst/>
            <a:rect l="l" t="t" r="r" b="b"/>
            <a:pathLst>
              <a:path w="30753" h="5922">
                <a:moveTo>
                  <a:pt x="30753" y="3454"/>
                </a:moveTo>
                <a:lnTo>
                  <a:pt x="496" y="0"/>
                </a:lnTo>
                <a:lnTo>
                  <a:pt x="0" y="2467"/>
                </a:lnTo>
                <a:lnTo>
                  <a:pt x="30257" y="5922"/>
                </a:lnTo>
                <a:lnTo>
                  <a:pt x="30753" y="3454"/>
                </a:lnTo>
                <a:close/>
              </a:path>
            </a:pathLst>
          </a:custGeom>
          <a:solidFill>
            <a:srgbClr val="000000"/>
          </a:solidFill>
        </p:spPr>
        <p:txBody>
          <a:bodyPr wrap="square" lIns="0" tIns="0" rIns="0" bIns="0" rtlCol="0">
            <a:noAutofit/>
          </a:bodyPr>
          <a:lstStyle/>
          <a:p>
            <a:endParaRPr/>
          </a:p>
        </p:txBody>
      </p:sp>
      <p:sp>
        <p:nvSpPr>
          <p:cNvPr id="2138" name="object 2138"/>
          <p:cNvSpPr/>
          <p:nvPr/>
        </p:nvSpPr>
        <p:spPr>
          <a:xfrm>
            <a:off x="8369054" y="1393132"/>
            <a:ext cx="5208" cy="4935"/>
          </a:xfrm>
          <a:custGeom>
            <a:avLst/>
            <a:gdLst/>
            <a:ahLst/>
            <a:cxnLst/>
            <a:rect l="l" t="t" r="r" b="b"/>
            <a:pathLst>
              <a:path w="5208" h="4935">
                <a:moveTo>
                  <a:pt x="744" y="2714"/>
                </a:moveTo>
                <a:lnTo>
                  <a:pt x="1736" y="3454"/>
                </a:lnTo>
                <a:lnTo>
                  <a:pt x="2480" y="4441"/>
                </a:lnTo>
                <a:lnTo>
                  <a:pt x="2728" y="4935"/>
                </a:lnTo>
                <a:lnTo>
                  <a:pt x="5208" y="4935"/>
                </a:lnTo>
                <a:lnTo>
                  <a:pt x="4464" y="2961"/>
                </a:lnTo>
                <a:lnTo>
                  <a:pt x="3224" y="1480"/>
                </a:lnTo>
                <a:lnTo>
                  <a:pt x="1736" y="740"/>
                </a:lnTo>
                <a:lnTo>
                  <a:pt x="496" y="0"/>
                </a:lnTo>
                <a:lnTo>
                  <a:pt x="0" y="2467"/>
                </a:lnTo>
                <a:lnTo>
                  <a:pt x="744" y="2714"/>
                </a:lnTo>
                <a:close/>
              </a:path>
            </a:pathLst>
          </a:custGeom>
          <a:solidFill>
            <a:srgbClr val="000000"/>
          </a:solidFill>
        </p:spPr>
        <p:txBody>
          <a:bodyPr wrap="square" lIns="0" tIns="0" rIns="0" bIns="0" rtlCol="0">
            <a:noAutofit/>
          </a:bodyPr>
          <a:lstStyle/>
          <a:p>
            <a:endParaRPr/>
          </a:p>
        </p:txBody>
      </p:sp>
      <p:sp>
        <p:nvSpPr>
          <p:cNvPr id="2139" name="object 2139"/>
          <p:cNvSpPr/>
          <p:nvPr/>
        </p:nvSpPr>
        <p:spPr>
          <a:xfrm>
            <a:off x="8371782" y="1406457"/>
            <a:ext cx="2480" cy="0"/>
          </a:xfrm>
          <a:custGeom>
            <a:avLst/>
            <a:gdLst/>
            <a:ahLst/>
            <a:cxnLst/>
            <a:rect l="l" t="t" r="r" b="b"/>
            <a:pathLst>
              <a:path w="2480">
                <a:moveTo>
                  <a:pt x="0" y="0"/>
                </a:moveTo>
                <a:lnTo>
                  <a:pt x="2480" y="0"/>
                </a:lnTo>
              </a:path>
            </a:pathLst>
          </a:custGeom>
          <a:ln w="18050">
            <a:solidFill>
              <a:srgbClr val="000000"/>
            </a:solidFill>
          </a:ln>
        </p:spPr>
        <p:txBody>
          <a:bodyPr wrap="square" lIns="0" tIns="0" rIns="0" bIns="0" rtlCol="0">
            <a:noAutofit/>
          </a:bodyPr>
          <a:lstStyle/>
          <a:p>
            <a:endParaRPr/>
          </a:p>
        </p:txBody>
      </p:sp>
      <p:sp>
        <p:nvSpPr>
          <p:cNvPr id="2140" name="object 2140"/>
          <p:cNvSpPr/>
          <p:nvPr/>
        </p:nvSpPr>
        <p:spPr>
          <a:xfrm>
            <a:off x="8369302" y="1414848"/>
            <a:ext cx="4960" cy="4935"/>
          </a:xfrm>
          <a:custGeom>
            <a:avLst/>
            <a:gdLst/>
            <a:ahLst/>
            <a:cxnLst/>
            <a:rect l="l" t="t" r="r" b="b"/>
            <a:pathLst>
              <a:path w="4960" h="4935">
                <a:moveTo>
                  <a:pt x="3224" y="3454"/>
                </a:moveTo>
                <a:lnTo>
                  <a:pt x="4464" y="1974"/>
                </a:lnTo>
                <a:lnTo>
                  <a:pt x="4960" y="0"/>
                </a:lnTo>
                <a:lnTo>
                  <a:pt x="2480" y="0"/>
                </a:lnTo>
                <a:lnTo>
                  <a:pt x="2480" y="987"/>
                </a:lnTo>
                <a:lnTo>
                  <a:pt x="1736" y="1480"/>
                </a:lnTo>
                <a:lnTo>
                  <a:pt x="744" y="2467"/>
                </a:lnTo>
                <a:lnTo>
                  <a:pt x="0" y="2467"/>
                </a:lnTo>
                <a:lnTo>
                  <a:pt x="0" y="4935"/>
                </a:lnTo>
                <a:lnTo>
                  <a:pt x="1736" y="4441"/>
                </a:lnTo>
                <a:lnTo>
                  <a:pt x="3224" y="3454"/>
                </a:lnTo>
                <a:close/>
              </a:path>
            </a:pathLst>
          </a:custGeom>
          <a:solidFill>
            <a:srgbClr val="000000"/>
          </a:solidFill>
        </p:spPr>
        <p:txBody>
          <a:bodyPr wrap="square" lIns="0" tIns="0" rIns="0" bIns="0" rtlCol="0">
            <a:noAutofit/>
          </a:bodyPr>
          <a:lstStyle/>
          <a:p>
            <a:endParaRPr/>
          </a:p>
        </p:txBody>
      </p:sp>
      <p:sp>
        <p:nvSpPr>
          <p:cNvPr id="2141" name="object 2141"/>
          <p:cNvSpPr/>
          <p:nvPr/>
        </p:nvSpPr>
        <p:spPr>
          <a:xfrm>
            <a:off x="8339045" y="1415094"/>
            <a:ext cx="30257" cy="4688"/>
          </a:xfrm>
          <a:custGeom>
            <a:avLst/>
            <a:gdLst/>
            <a:ahLst/>
            <a:cxnLst/>
            <a:rect l="l" t="t" r="r" b="b"/>
            <a:pathLst>
              <a:path w="30257" h="4688">
                <a:moveTo>
                  <a:pt x="0" y="2467"/>
                </a:moveTo>
                <a:lnTo>
                  <a:pt x="30257" y="4688"/>
                </a:lnTo>
                <a:lnTo>
                  <a:pt x="30257" y="2220"/>
                </a:lnTo>
                <a:lnTo>
                  <a:pt x="0" y="0"/>
                </a:lnTo>
                <a:lnTo>
                  <a:pt x="0" y="2467"/>
                </a:lnTo>
                <a:close/>
              </a:path>
            </a:pathLst>
          </a:custGeom>
          <a:solidFill>
            <a:srgbClr val="000000"/>
          </a:solidFill>
        </p:spPr>
        <p:txBody>
          <a:bodyPr wrap="square" lIns="0" tIns="0" rIns="0" bIns="0" rtlCol="0">
            <a:noAutofit/>
          </a:bodyPr>
          <a:lstStyle/>
          <a:p>
            <a:endParaRPr/>
          </a:p>
        </p:txBody>
      </p:sp>
      <p:sp>
        <p:nvSpPr>
          <p:cNvPr id="2142" name="object 2142"/>
          <p:cNvSpPr/>
          <p:nvPr/>
        </p:nvSpPr>
        <p:spPr>
          <a:xfrm>
            <a:off x="8334084" y="1412627"/>
            <a:ext cx="4960" cy="4935"/>
          </a:xfrm>
          <a:custGeom>
            <a:avLst/>
            <a:gdLst/>
            <a:ahLst/>
            <a:cxnLst/>
            <a:rect l="l" t="t" r="r" b="b"/>
            <a:pathLst>
              <a:path w="4960" h="4935">
                <a:moveTo>
                  <a:pt x="4960" y="2467"/>
                </a:moveTo>
                <a:lnTo>
                  <a:pt x="3968" y="2467"/>
                </a:lnTo>
                <a:lnTo>
                  <a:pt x="3472" y="1480"/>
                </a:lnTo>
                <a:lnTo>
                  <a:pt x="2480" y="987"/>
                </a:lnTo>
                <a:lnTo>
                  <a:pt x="2480" y="0"/>
                </a:lnTo>
                <a:lnTo>
                  <a:pt x="0" y="0"/>
                </a:lnTo>
                <a:lnTo>
                  <a:pt x="496" y="1974"/>
                </a:lnTo>
                <a:lnTo>
                  <a:pt x="1488" y="3454"/>
                </a:lnTo>
                <a:lnTo>
                  <a:pt x="2976" y="4441"/>
                </a:lnTo>
                <a:lnTo>
                  <a:pt x="4960" y="4935"/>
                </a:lnTo>
                <a:lnTo>
                  <a:pt x="4960" y="2467"/>
                </a:lnTo>
                <a:close/>
              </a:path>
            </a:pathLst>
          </a:custGeom>
          <a:solidFill>
            <a:srgbClr val="000000"/>
          </a:solidFill>
        </p:spPr>
        <p:txBody>
          <a:bodyPr wrap="square" lIns="0" tIns="0" rIns="0" bIns="0" rtlCol="0">
            <a:noAutofit/>
          </a:bodyPr>
          <a:lstStyle/>
          <a:p>
            <a:endParaRPr/>
          </a:p>
        </p:txBody>
      </p:sp>
      <p:sp>
        <p:nvSpPr>
          <p:cNvPr id="2143" name="object 2143"/>
          <p:cNvSpPr/>
          <p:nvPr/>
        </p:nvSpPr>
        <p:spPr>
          <a:xfrm>
            <a:off x="8334084" y="1403619"/>
            <a:ext cx="2480" cy="0"/>
          </a:xfrm>
          <a:custGeom>
            <a:avLst/>
            <a:gdLst/>
            <a:ahLst/>
            <a:cxnLst/>
            <a:rect l="l" t="t" r="r" b="b"/>
            <a:pathLst>
              <a:path w="2480">
                <a:moveTo>
                  <a:pt x="0" y="0"/>
                </a:moveTo>
                <a:lnTo>
                  <a:pt x="2480" y="0"/>
                </a:lnTo>
              </a:path>
            </a:pathLst>
          </a:custGeom>
          <a:ln w="19284">
            <a:solidFill>
              <a:srgbClr val="000000"/>
            </a:solidFill>
          </a:ln>
        </p:spPr>
        <p:txBody>
          <a:bodyPr wrap="square" lIns="0" tIns="0" rIns="0" bIns="0" rtlCol="0">
            <a:noAutofit/>
          </a:bodyPr>
          <a:lstStyle/>
          <a:p>
            <a:endParaRPr/>
          </a:p>
        </p:txBody>
      </p:sp>
      <p:sp>
        <p:nvSpPr>
          <p:cNvPr id="2144" name="object 2144"/>
          <p:cNvSpPr/>
          <p:nvPr/>
        </p:nvSpPr>
        <p:spPr>
          <a:xfrm>
            <a:off x="8334084" y="1389677"/>
            <a:ext cx="5208" cy="4935"/>
          </a:xfrm>
          <a:custGeom>
            <a:avLst/>
            <a:gdLst/>
            <a:ahLst/>
            <a:cxnLst/>
            <a:rect l="l" t="t" r="r" b="b"/>
            <a:pathLst>
              <a:path w="5208" h="4935">
                <a:moveTo>
                  <a:pt x="2480" y="4935"/>
                </a:moveTo>
                <a:lnTo>
                  <a:pt x="2976" y="3948"/>
                </a:lnTo>
                <a:lnTo>
                  <a:pt x="3472" y="3208"/>
                </a:lnTo>
                <a:lnTo>
                  <a:pt x="4216" y="2714"/>
                </a:lnTo>
                <a:lnTo>
                  <a:pt x="4712" y="2467"/>
                </a:lnTo>
                <a:lnTo>
                  <a:pt x="5208" y="0"/>
                </a:lnTo>
                <a:lnTo>
                  <a:pt x="3224" y="246"/>
                </a:lnTo>
                <a:lnTo>
                  <a:pt x="1488" y="1233"/>
                </a:lnTo>
                <a:lnTo>
                  <a:pt x="496" y="2961"/>
                </a:lnTo>
                <a:lnTo>
                  <a:pt x="0" y="4935"/>
                </a:lnTo>
                <a:lnTo>
                  <a:pt x="2480" y="4935"/>
                </a:lnTo>
                <a:close/>
              </a:path>
            </a:pathLst>
          </a:custGeom>
          <a:solidFill>
            <a:srgbClr val="000000"/>
          </a:solidFill>
        </p:spPr>
        <p:txBody>
          <a:bodyPr wrap="square" lIns="0" tIns="0" rIns="0" bIns="0" rtlCol="0">
            <a:noAutofit/>
          </a:bodyPr>
          <a:lstStyle/>
          <a:p>
            <a:endParaRPr/>
          </a:p>
        </p:txBody>
      </p:sp>
      <p:sp>
        <p:nvSpPr>
          <p:cNvPr id="2145" name="object 2145"/>
          <p:cNvSpPr/>
          <p:nvPr/>
        </p:nvSpPr>
        <p:spPr>
          <a:xfrm>
            <a:off x="8335325" y="1390663"/>
            <a:ext cx="39433" cy="14066"/>
          </a:xfrm>
          <a:custGeom>
            <a:avLst/>
            <a:gdLst/>
            <a:ahLst/>
            <a:cxnLst/>
            <a:rect l="l" t="t" r="r" b="b"/>
            <a:pathLst>
              <a:path w="39433" h="14066">
                <a:moveTo>
                  <a:pt x="0" y="10117"/>
                </a:moveTo>
                <a:lnTo>
                  <a:pt x="39433" y="14066"/>
                </a:lnTo>
                <a:lnTo>
                  <a:pt x="39433" y="5922"/>
                </a:lnTo>
                <a:lnTo>
                  <a:pt x="38441" y="4195"/>
                </a:lnTo>
                <a:lnTo>
                  <a:pt x="3224" y="0"/>
                </a:lnTo>
                <a:lnTo>
                  <a:pt x="0" y="1480"/>
                </a:lnTo>
                <a:lnTo>
                  <a:pt x="0" y="10117"/>
                </a:lnTo>
                <a:close/>
              </a:path>
            </a:pathLst>
          </a:custGeom>
          <a:solidFill>
            <a:srgbClr val="BEBEBE"/>
          </a:solidFill>
        </p:spPr>
        <p:txBody>
          <a:bodyPr wrap="square" lIns="0" tIns="0" rIns="0" bIns="0" rtlCol="0">
            <a:noAutofit/>
          </a:bodyPr>
          <a:lstStyle/>
          <a:p>
            <a:endParaRPr/>
          </a:p>
        </p:txBody>
      </p:sp>
      <p:sp>
        <p:nvSpPr>
          <p:cNvPr id="2146" name="object 2146"/>
          <p:cNvSpPr/>
          <p:nvPr/>
        </p:nvSpPr>
        <p:spPr>
          <a:xfrm>
            <a:off x="8335325" y="1399547"/>
            <a:ext cx="40673" cy="6416"/>
          </a:xfrm>
          <a:custGeom>
            <a:avLst/>
            <a:gdLst/>
            <a:ahLst/>
            <a:cxnLst/>
            <a:rect l="l" t="t" r="r" b="b"/>
            <a:pathLst>
              <a:path w="40673" h="6416">
                <a:moveTo>
                  <a:pt x="40177" y="5922"/>
                </a:moveTo>
                <a:lnTo>
                  <a:pt x="40673" y="5182"/>
                </a:lnTo>
                <a:lnTo>
                  <a:pt x="40177" y="4441"/>
                </a:lnTo>
                <a:lnTo>
                  <a:pt x="39433" y="3948"/>
                </a:lnTo>
                <a:lnTo>
                  <a:pt x="0" y="0"/>
                </a:lnTo>
                <a:lnTo>
                  <a:pt x="0" y="2467"/>
                </a:lnTo>
                <a:lnTo>
                  <a:pt x="39433" y="6416"/>
                </a:lnTo>
                <a:lnTo>
                  <a:pt x="38193" y="5182"/>
                </a:lnTo>
                <a:lnTo>
                  <a:pt x="39433" y="6416"/>
                </a:lnTo>
                <a:lnTo>
                  <a:pt x="40177" y="5922"/>
                </a:lnTo>
                <a:close/>
              </a:path>
            </a:pathLst>
          </a:custGeom>
          <a:solidFill>
            <a:srgbClr val="000000"/>
          </a:solidFill>
        </p:spPr>
        <p:txBody>
          <a:bodyPr wrap="square" lIns="0" tIns="0" rIns="0" bIns="0" rtlCol="0">
            <a:noAutofit/>
          </a:bodyPr>
          <a:lstStyle/>
          <a:p>
            <a:endParaRPr/>
          </a:p>
        </p:txBody>
      </p:sp>
      <p:sp>
        <p:nvSpPr>
          <p:cNvPr id="2147" name="object 2147"/>
          <p:cNvSpPr/>
          <p:nvPr/>
        </p:nvSpPr>
        <p:spPr>
          <a:xfrm>
            <a:off x="8373518" y="1395353"/>
            <a:ext cx="2480" cy="9377"/>
          </a:xfrm>
          <a:custGeom>
            <a:avLst/>
            <a:gdLst/>
            <a:ahLst/>
            <a:cxnLst/>
            <a:rect l="l" t="t" r="r" b="b"/>
            <a:pathLst>
              <a:path w="2480" h="9377">
                <a:moveTo>
                  <a:pt x="1984" y="493"/>
                </a:moveTo>
                <a:lnTo>
                  <a:pt x="1240" y="0"/>
                </a:lnTo>
                <a:lnTo>
                  <a:pt x="496" y="493"/>
                </a:lnTo>
                <a:lnTo>
                  <a:pt x="0" y="1233"/>
                </a:lnTo>
                <a:lnTo>
                  <a:pt x="0" y="9377"/>
                </a:lnTo>
                <a:lnTo>
                  <a:pt x="2480" y="9377"/>
                </a:lnTo>
                <a:lnTo>
                  <a:pt x="248" y="1727"/>
                </a:lnTo>
                <a:lnTo>
                  <a:pt x="2480" y="9377"/>
                </a:lnTo>
                <a:lnTo>
                  <a:pt x="2480" y="1233"/>
                </a:lnTo>
                <a:lnTo>
                  <a:pt x="1984" y="493"/>
                </a:lnTo>
                <a:close/>
              </a:path>
            </a:pathLst>
          </a:custGeom>
          <a:solidFill>
            <a:srgbClr val="000000"/>
          </a:solidFill>
        </p:spPr>
        <p:txBody>
          <a:bodyPr wrap="square" lIns="0" tIns="0" rIns="0" bIns="0" rtlCol="0">
            <a:noAutofit/>
          </a:bodyPr>
          <a:lstStyle/>
          <a:p>
            <a:endParaRPr/>
          </a:p>
        </p:txBody>
      </p:sp>
      <p:sp>
        <p:nvSpPr>
          <p:cNvPr id="2148" name="object 2148"/>
          <p:cNvSpPr/>
          <p:nvPr/>
        </p:nvSpPr>
        <p:spPr>
          <a:xfrm>
            <a:off x="8372774" y="1393871"/>
            <a:ext cx="2976" cy="3208"/>
          </a:xfrm>
          <a:custGeom>
            <a:avLst/>
            <a:gdLst/>
            <a:ahLst/>
            <a:cxnLst/>
            <a:rect l="l" t="t" r="r" b="b"/>
            <a:pathLst>
              <a:path w="2976" h="3208">
                <a:moveTo>
                  <a:pt x="0" y="740"/>
                </a:moveTo>
                <a:lnTo>
                  <a:pt x="744" y="2220"/>
                </a:lnTo>
                <a:lnTo>
                  <a:pt x="992" y="3208"/>
                </a:lnTo>
                <a:lnTo>
                  <a:pt x="2976" y="2220"/>
                </a:lnTo>
                <a:lnTo>
                  <a:pt x="1984" y="493"/>
                </a:lnTo>
                <a:lnTo>
                  <a:pt x="1488" y="0"/>
                </a:lnTo>
                <a:lnTo>
                  <a:pt x="744" y="0"/>
                </a:lnTo>
                <a:lnTo>
                  <a:pt x="0" y="740"/>
                </a:lnTo>
                <a:close/>
              </a:path>
              <a:path w="2976" h="3208">
                <a:moveTo>
                  <a:pt x="744" y="2220"/>
                </a:moveTo>
                <a:lnTo>
                  <a:pt x="0" y="740"/>
                </a:lnTo>
                <a:lnTo>
                  <a:pt x="0" y="1480"/>
                </a:lnTo>
                <a:lnTo>
                  <a:pt x="992" y="3208"/>
                </a:lnTo>
                <a:lnTo>
                  <a:pt x="744" y="2220"/>
                </a:lnTo>
                <a:close/>
              </a:path>
            </a:pathLst>
          </a:custGeom>
          <a:solidFill>
            <a:srgbClr val="000000"/>
          </a:solidFill>
        </p:spPr>
        <p:txBody>
          <a:bodyPr wrap="square" lIns="0" tIns="0" rIns="0" bIns="0" rtlCol="0">
            <a:noAutofit/>
          </a:bodyPr>
          <a:lstStyle/>
          <a:p>
            <a:endParaRPr/>
          </a:p>
        </p:txBody>
      </p:sp>
      <p:sp>
        <p:nvSpPr>
          <p:cNvPr id="2149" name="object 2149"/>
          <p:cNvSpPr/>
          <p:nvPr/>
        </p:nvSpPr>
        <p:spPr>
          <a:xfrm>
            <a:off x="8338301" y="1391898"/>
            <a:ext cx="35217" cy="4195"/>
          </a:xfrm>
          <a:custGeom>
            <a:avLst/>
            <a:gdLst/>
            <a:ahLst/>
            <a:cxnLst/>
            <a:rect l="l" t="t" r="r" b="b"/>
            <a:pathLst>
              <a:path w="35217" h="4195">
                <a:moveTo>
                  <a:pt x="35217" y="4195"/>
                </a:moveTo>
                <a:lnTo>
                  <a:pt x="744" y="0"/>
                </a:lnTo>
                <a:lnTo>
                  <a:pt x="0" y="0"/>
                </a:lnTo>
                <a:lnTo>
                  <a:pt x="35217" y="4195"/>
                </a:lnTo>
                <a:close/>
              </a:path>
            </a:pathLst>
          </a:custGeom>
          <a:solidFill>
            <a:srgbClr val="000000"/>
          </a:solidFill>
        </p:spPr>
        <p:txBody>
          <a:bodyPr wrap="square" lIns="0" tIns="0" rIns="0" bIns="0" rtlCol="0">
            <a:noAutofit/>
          </a:bodyPr>
          <a:lstStyle/>
          <a:p>
            <a:endParaRPr/>
          </a:p>
        </p:txBody>
      </p:sp>
      <p:sp>
        <p:nvSpPr>
          <p:cNvPr id="2150" name="object 2150"/>
          <p:cNvSpPr/>
          <p:nvPr/>
        </p:nvSpPr>
        <p:spPr>
          <a:xfrm>
            <a:off x="8337557" y="1389429"/>
            <a:ext cx="36457" cy="6662"/>
          </a:xfrm>
          <a:custGeom>
            <a:avLst/>
            <a:gdLst/>
            <a:ahLst/>
            <a:cxnLst/>
            <a:rect l="l" t="t" r="r" b="b"/>
            <a:pathLst>
              <a:path w="36457" h="6662">
                <a:moveTo>
                  <a:pt x="35961" y="6662"/>
                </a:moveTo>
                <a:lnTo>
                  <a:pt x="36457" y="4195"/>
                </a:lnTo>
                <a:lnTo>
                  <a:pt x="1240" y="0"/>
                </a:lnTo>
                <a:lnTo>
                  <a:pt x="248" y="246"/>
                </a:lnTo>
                <a:lnTo>
                  <a:pt x="0" y="987"/>
                </a:lnTo>
                <a:lnTo>
                  <a:pt x="0" y="1974"/>
                </a:lnTo>
                <a:lnTo>
                  <a:pt x="744" y="2467"/>
                </a:lnTo>
                <a:lnTo>
                  <a:pt x="1488" y="2467"/>
                </a:lnTo>
                <a:lnTo>
                  <a:pt x="35961" y="6662"/>
                </a:lnTo>
                <a:close/>
              </a:path>
            </a:pathLst>
          </a:custGeom>
          <a:solidFill>
            <a:srgbClr val="000000"/>
          </a:solidFill>
        </p:spPr>
        <p:txBody>
          <a:bodyPr wrap="square" lIns="0" tIns="0" rIns="0" bIns="0" rtlCol="0">
            <a:noAutofit/>
          </a:bodyPr>
          <a:lstStyle/>
          <a:p>
            <a:endParaRPr/>
          </a:p>
        </p:txBody>
      </p:sp>
      <p:sp>
        <p:nvSpPr>
          <p:cNvPr id="2151" name="object 2151"/>
          <p:cNvSpPr/>
          <p:nvPr/>
        </p:nvSpPr>
        <p:spPr>
          <a:xfrm>
            <a:off x="8334084" y="1389429"/>
            <a:ext cx="4960" cy="3948"/>
          </a:xfrm>
          <a:custGeom>
            <a:avLst/>
            <a:gdLst/>
            <a:ahLst/>
            <a:cxnLst/>
            <a:rect l="l" t="t" r="r" b="b"/>
            <a:pathLst>
              <a:path w="4960" h="3948">
                <a:moveTo>
                  <a:pt x="248" y="2961"/>
                </a:moveTo>
                <a:lnTo>
                  <a:pt x="744" y="3948"/>
                </a:lnTo>
                <a:lnTo>
                  <a:pt x="1736" y="3948"/>
                </a:lnTo>
                <a:lnTo>
                  <a:pt x="2480" y="2714"/>
                </a:lnTo>
                <a:lnTo>
                  <a:pt x="1736" y="3948"/>
                </a:lnTo>
                <a:lnTo>
                  <a:pt x="4960" y="2467"/>
                </a:lnTo>
                <a:lnTo>
                  <a:pt x="3968" y="0"/>
                </a:lnTo>
                <a:lnTo>
                  <a:pt x="744" y="1480"/>
                </a:lnTo>
                <a:lnTo>
                  <a:pt x="0" y="2220"/>
                </a:lnTo>
                <a:lnTo>
                  <a:pt x="106" y="2538"/>
                </a:lnTo>
                <a:lnTo>
                  <a:pt x="248" y="2961"/>
                </a:lnTo>
                <a:close/>
              </a:path>
            </a:pathLst>
          </a:custGeom>
          <a:solidFill>
            <a:srgbClr val="000000"/>
          </a:solidFill>
        </p:spPr>
        <p:txBody>
          <a:bodyPr wrap="square" lIns="0" tIns="0" rIns="0" bIns="0" rtlCol="0">
            <a:noAutofit/>
          </a:bodyPr>
          <a:lstStyle/>
          <a:p>
            <a:endParaRPr/>
          </a:p>
        </p:txBody>
      </p:sp>
      <p:sp>
        <p:nvSpPr>
          <p:cNvPr id="2152" name="object 2152"/>
          <p:cNvSpPr/>
          <p:nvPr/>
        </p:nvSpPr>
        <p:spPr>
          <a:xfrm>
            <a:off x="8334084" y="1392144"/>
            <a:ext cx="2480" cy="9624"/>
          </a:xfrm>
          <a:custGeom>
            <a:avLst/>
            <a:gdLst/>
            <a:ahLst/>
            <a:cxnLst/>
            <a:rect l="l" t="t" r="r" b="b"/>
            <a:pathLst>
              <a:path w="2480" h="9624">
                <a:moveTo>
                  <a:pt x="868" y="9500"/>
                </a:moveTo>
                <a:lnTo>
                  <a:pt x="1240" y="9624"/>
                </a:lnTo>
                <a:lnTo>
                  <a:pt x="1240" y="7403"/>
                </a:lnTo>
                <a:lnTo>
                  <a:pt x="2480" y="0"/>
                </a:lnTo>
                <a:lnTo>
                  <a:pt x="0" y="0"/>
                </a:lnTo>
                <a:lnTo>
                  <a:pt x="0" y="8637"/>
                </a:lnTo>
                <a:lnTo>
                  <a:pt x="496" y="9377"/>
                </a:lnTo>
                <a:lnTo>
                  <a:pt x="868" y="9500"/>
                </a:lnTo>
                <a:close/>
              </a:path>
            </a:pathLst>
          </a:custGeom>
          <a:solidFill>
            <a:srgbClr val="000000"/>
          </a:solidFill>
        </p:spPr>
        <p:txBody>
          <a:bodyPr wrap="square" lIns="0" tIns="0" rIns="0" bIns="0" rtlCol="0">
            <a:noAutofit/>
          </a:bodyPr>
          <a:lstStyle/>
          <a:p>
            <a:endParaRPr/>
          </a:p>
        </p:txBody>
      </p:sp>
      <p:sp>
        <p:nvSpPr>
          <p:cNvPr id="2153" name="object 2153"/>
          <p:cNvSpPr/>
          <p:nvPr/>
        </p:nvSpPr>
        <p:spPr>
          <a:xfrm>
            <a:off x="8335324" y="1392144"/>
            <a:ext cx="1240" cy="9624"/>
          </a:xfrm>
          <a:custGeom>
            <a:avLst/>
            <a:gdLst/>
            <a:ahLst/>
            <a:cxnLst/>
            <a:rect l="l" t="t" r="r" b="b"/>
            <a:pathLst>
              <a:path w="1240" h="9624">
                <a:moveTo>
                  <a:pt x="0" y="7403"/>
                </a:moveTo>
                <a:lnTo>
                  <a:pt x="0" y="9624"/>
                </a:lnTo>
                <a:lnTo>
                  <a:pt x="744" y="9377"/>
                </a:lnTo>
                <a:lnTo>
                  <a:pt x="1240" y="8637"/>
                </a:lnTo>
                <a:lnTo>
                  <a:pt x="1240" y="0"/>
                </a:lnTo>
                <a:lnTo>
                  <a:pt x="0" y="7403"/>
                </a:lnTo>
                <a:close/>
              </a:path>
            </a:pathLst>
          </a:custGeom>
          <a:solidFill>
            <a:srgbClr val="000000"/>
          </a:solidFill>
        </p:spPr>
        <p:txBody>
          <a:bodyPr wrap="square" lIns="0" tIns="0" rIns="0" bIns="0" rtlCol="0">
            <a:noAutofit/>
          </a:bodyPr>
          <a:lstStyle/>
          <a:p>
            <a:endParaRPr/>
          </a:p>
        </p:txBody>
      </p:sp>
      <p:sp>
        <p:nvSpPr>
          <p:cNvPr id="2154" name="object 2154"/>
          <p:cNvSpPr/>
          <p:nvPr/>
        </p:nvSpPr>
        <p:spPr>
          <a:xfrm>
            <a:off x="7975708" y="1064426"/>
            <a:ext cx="150294" cy="70084"/>
          </a:xfrm>
          <a:custGeom>
            <a:avLst/>
            <a:gdLst/>
            <a:ahLst/>
            <a:cxnLst/>
            <a:rect l="l" t="t" r="r" b="b"/>
            <a:pathLst>
              <a:path w="150294" h="70084">
                <a:moveTo>
                  <a:pt x="150294" y="0"/>
                </a:moveTo>
                <a:lnTo>
                  <a:pt x="0" y="23443"/>
                </a:lnTo>
                <a:lnTo>
                  <a:pt x="0" y="70084"/>
                </a:lnTo>
                <a:lnTo>
                  <a:pt x="9424" y="69343"/>
                </a:lnTo>
                <a:lnTo>
                  <a:pt x="18848" y="68850"/>
                </a:lnTo>
                <a:lnTo>
                  <a:pt x="28273" y="68356"/>
                </a:lnTo>
                <a:lnTo>
                  <a:pt x="37697" y="67863"/>
                </a:lnTo>
                <a:lnTo>
                  <a:pt x="47122" y="67616"/>
                </a:lnTo>
                <a:lnTo>
                  <a:pt x="56546" y="67369"/>
                </a:lnTo>
                <a:lnTo>
                  <a:pt x="65970" y="67122"/>
                </a:lnTo>
                <a:lnTo>
                  <a:pt x="150294" y="67122"/>
                </a:lnTo>
                <a:lnTo>
                  <a:pt x="150294" y="0"/>
                </a:lnTo>
                <a:close/>
              </a:path>
            </a:pathLst>
          </a:custGeom>
          <a:solidFill>
            <a:srgbClr val="BEBEBE"/>
          </a:solidFill>
        </p:spPr>
        <p:txBody>
          <a:bodyPr wrap="square" lIns="0" tIns="0" rIns="0" bIns="0" rtlCol="0">
            <a:noAutofit/>
          </a:bodyPr>
          <a:lstStyle/>
          <a:p>
            <a:endParaRPr/>
          </a:p>
        </p:txBody>
      </p:sp>
      <p:sp>
        <p:nvSpPr>
          <p:cNvPr id="2155" name="object 2155"/>
          <p:cNvSpPr/>
          <p:nvPr/>
        </p:nvSpPr>
        <p:spPr>
          <a:xfrm>
            <a:off x="7975708" y="1086636"/>
            <a:ext cx="1240" cy="2467"/>
          </a:xfrm>
          <a:custGeom>
            <a:avLst/>
            <a:gdLst/>
            <a:ahLst/>
            <a:cxnLst/>
            <a:rect l="l" t="t" r="r" b="b"/>
            <a:pathLst>
              <a:path w="1240" h="2467">
                <a:moveTo>
                  <a:pt x="744" y="493"/>
                </a:moveTo>
                <a:lnTo>
                  <a:pt x="0" y="0"/>
                </a:lnTo>
                <a:lnTo>
                  <a:pt x="248" y="2467"/>
                </a:lnTo>
                <a:lnTo>
                  <a:pt x="1240" y="1233"/>
                </a:lnTo>
                <a:lnTo>
                  <a:pt x="744" y="493"/>
                </a:lnTo>
                <a:close/>
              </a:path>
            </a:pathLst>
          </a:custGeom>
          <a:solidFill>
            <a:srgbClr val="000000"/>
          </a:solidFill>
        </p:spPr>
        <p:txBody>
          <a:bodyPr wrap="square" lIns="0" tIns="0" rIns="0" bIns="0" rtlCol="0">
            <a:noAutofit/>
          </a:bodyPr>
          <a:lstStyle/>
          <a:p>
            <a:endParaRPr/>
          </a:p>
        </p:txBody>
      </p:sp>
      <p:sp>
        <p:nvSpPr>
          <p:cNvPr id="2156" name="object 2156"/>
          <p:cNvSpPr/>
          <p:nvPr/>
        </p:nvSpPr>
        <p:spPr>
          <a:xfrm>
            <a:off x="7974468" y="1086635"/>
            <a:ext cx="2480" cy="47874"/>
          </a:xfrm>
          <a:custGeom>
            <a:avLst/>
            <a:gdLst/>
            <a:ahLst/>
            <a:cxnLst/>
            <a:rect l="l" t="t" r="r" b="b"/>
            <a:pathLst>
              <a:path w="2480" h="47874">
                <a:moveTo>
                  <a:pt x="2480" y="47874"/>
                </a:moveTo>
                <a:lnTo>
                  <a:pt x="2480" y="1233"/>
                </a:lnTo>
                <a:lnTo>
                  <a:pt x="1488" y="2467"/>
                </a:lnTo>
                <a:lnTo>
                  <a:pt x="1240" y="0"/>
                </a:lnTo>
                <a:lnTo>
                  <a:pt x="708" y="352"/>
                </a:lnTo>
                <a:lnTo>
                  <a:pt x="496" y="493"/>
                </a:lnTo>
                <a:lnTo>
                  <a:pt x="0" y="1233"/>
                </a:lnTo>
                <a:lnTo>
                  <a:pt x="0" y="47874"/>
                </a:lnTo>
                <a:lnTo>
                  <a:pt x="2480" y="47874"/>
                </a:lnTo>
                <a:close/>
              </a:path>
            </a:pathLst>
          </a:custGeom>
          <a:solidFill>
            <a:srgbClr val="000000"/>
          </a:solidFill>
        </p:spPr>
        <p:txBody>
          <a:bodyPr wrap="square" lIns="0" tIns="0" rIns="0" bIns="0" rtlCol="0">
            <a:noAutofit/>
          </a:bodyPr>
          <a:lstStyle/>
          <a:p>
            <a:endParaRPr/>
          </a:p>
        </p:txBody>
      </p:sp>
      <p:sp>
        <p:nvSpPr>
          <p:cNvPr id="2157" name="object 2157"/>
          <p:cNvSpPr/>
          <p:nvPr/>
        </p:nvSpPr>
        <p:spPr>
          <a:xfrm>
            <a:off x="7975460" y="1063193"/>
            <a:ext cx="151782" cy="25911"/>
          </a:xfrm>
          <a:custGeom>
            <a:avLst/>
            <a:gdLst/>
            <a:ahLst/>
            <a:cxnLst/>
            <a:rect l="l" t="t" r="r" b="b"/>
            <a:pathLst>
              <a:path w="151782" h="25911">
                <a:moveTo>
                  <a:pt x="151782" y="987"/>
                </a:moveTo>
                <a:lnTo>
                  <a:pt x="151286" y="246"/>
                </a:lnTo>
                <a:lnTo>
                  <a:pt x="150294" y="0"/>
                </a:lnTo>
                <a:lnTo>
                  <a:pt x="149302" y="1233"/>
                </a:lnTo>
                <a:lnTo>
                  <a:pt x="150294" y="0"/>
                </a:lnTo>
                <a:lnTo>
                  <a:pt x="0" y="23443"/>
                </a:lnTo>
                <a:lnTo>
                  <a:pt x="496" y="25911"/>
                </a:lnTo>
                <a:lnTo>
                  <a:pt x="150790" y="2467"/>
                </a:lnTo>
                <a:lnTo>
                  <a:pt x="151534" y="1974"/>
                </a:lnTo>
                <a:lnTo>
                  <a:pt x="151731" y="1191"/>
                </a:lnTo>
                <a:lnTo>
                  <a:pt x="151782" y="987"/>
                </a:lnTo>
                <a:close/>
              </a:path>
            </a:pathLst>
          </a:custGeom>
          <a:solidFill>
            <a:srgbClr val="000000"/>
          </a:solidFill>
        </p:spPr>
        <p:txBody>
          <a:bodyPr wrap="square" lIns="0" tIns="0" rIns="0" bIns="0" rtlCol="0">
            <a:noAutofit/>
          </a:bodyPr>
          <a:lstStyle/>
          <a:p>
            <a:endParaRPr/>
          </a:p>
        </p:txBody>
      </p:sp>
      <p:sp>
        <p:nvSpPr>
          <p:cNvPr id="2158" name="object 2158"/>
          <p:cNvSpPr/>
          <p:nvPr/>
        </p:nvSpPr>
        <p:spPr>
          <a:xfrm>
            <a:off x="8124763" y="1064426"/>
            <a:ext cx="2480" cy="67986"/>
          </a:xfrm>
          <a:custGeom>
            <a:avLst/>
            <a:gdLst/>
            <a:ahLst/>
            <a:cxnLst/>
            <a:rect l="l" t="t" r="r" b="b"/>
            <a:pathLst>
              <a:path w="2480" h="67986">
                <a:moveTo>
                  <a:pt x="1984" y="67863"/>
                </a:moveTo>
                <a:lnTo>
                  <a:pt x="2480" y="67122"/>
                </a:lnTo>
                <a:lnTo>
                  <a:pt x="2480" y="0"/>
                </a:lnTo>
                <a:lnTo>
                  <a:pt x="0" y="0"/>
                </a:lnTo>
                <a:lnTo>
                  <a:pt x="0" y="67122"/>
                </a:lnTo>
                <a:lnTo>
                  <a:pt x="1240" y="65889"/>
                </a:lnTo>
                <a:lnTo>
                  <a:pt x="1612" y="67986"/>
                </a:lnTo>
                <a:lnTo>
                  <a:pt x="1984" y="67863"/>
                </a:lnTo>
                <a:close/>
              </a:path>
            </a:pathLst>
          </a:custGeom>
          <a:solidFill>
            <a:srgbClr val="000000"/>
          </a:solidFill>
        </p:spPr>
        <p:txBody>
          <a:bodyPr wrap="square" lIns="0" tIns="0" rIns="0" bIns="0" rtlCol="0">
            <a:noAutofit/>
          </a:bodyPr>
          <a:lstStyle/>
          <a:p>
            <a:endParaRPr/>
          </a:p>
        </p:txBody>
      </p:sp>
      <p:sp>
        <p:nvSpPr>
          <p:cNvPr id="2159" name="object 2159"/>
          <p:cNvSpPr/>
          <p:nvPr/>
        </p:nvSpPr>
        <p:spPr>
          <a:xfrm>
            <a:off x="8124763" y="1130315"/>
            <a:ext cx="1612" cy="2220"/>
          </a:xfrm>
          <a:custGeom>
            <a:avLst/>
            <a:gdLst/>
            <a:ahLst/>
            <a:cxnLst/>
            <a:rect l="l" t="t" r="r" b="b"/>
            <a:pathLst>
              <a:path w="1612" h="2220">
                <a:moveTo>
                  <a:pt x="1240" y="0"/>
                </a:moveTo>
                <a:lnTo>
                  <a:pt x="0" y="1233"/>
                </a:lnTo>
                <a:lnTo>
                  <a:pt x="496" y="1974"/>
                </a:lnTo>
                <a:lnTo>
                  <a:pt x="1240" y="2220"/>
                </a:lnTo>
                <a:lnTo>
                  <a:pt x="1612" y="2097"/>
                </a:lnTo>
                <a:lnTo>
                  <a:pt x="1240" y="0"/>
                </a:lnTo>
                <a:close/>
              </a:path>
            </a:pathLst>
          </a:custGeom>
          <a:solidFill>
            <a:srgbClr val="000000"/>
          </a:solidFill>
        </p:spPr>
        <p:txBody>
          <a:bodyPr wrap="square" lIns="0" tIns="0" rIns="0" bIns="0" rtlCol="0">
            <a:noAutofit/>
          </a:bodyPr>
          <a:lstStyle/>
          <a:p>
            <a:endParaRPr/>
          </a:p>
        </p:txBody>
      </p:sp>
      <p:sp>
        <p:nvSpPr>
          <p:cNvPr id="2160" name="object 2160"/>
          <p:cNvSpPr/>
          <p:nvPr/>
        </p:nvSpPr>
        <p:spPr>
          <a:xfrm>
            <a:off x="7975708" y="1132536"/>
            <a:ext cx="9424" cy="1974"/>
          </a:xfrm>
          <a:custGeom>
            <a:avLst/>
            <a:gdLst/>
            <a:ahLst/>
            <a:cxnLst/>
            <a:rect l="l" t="t" r="r" b="b"/>
            <a:pathLst>
              <a:path w="9424" h="1974">
                <a:moveTo>
                  <a:pt x="1240" y="1974"/>
                </a:moveTo>
                <a:lnTo>
                  <a:pt x="9424" y="0"/>
                </a:lnTo>
                <a:lnTo>
                  <a:pt x="0" y="740"/>
                </a:lnTo>
                <a:lnTo>
                  <a:pt x="1240" y="1974"/>
                </a:lnTo>
                <a:close/>
              </a:path>
            </a:pathLst>
          </a:custGeom>
          <a:solidFill>
            <a:srgbClr val="000000"/>
          </a:solidFill>
        </p:spPr>
        <p:txBody>
          <a:bodyPr wrap="square" lIns="0" tIns="0" rIns="0" bIns="0" rtlCol="0">
            <a:noAutofit/>
          </a:bodyPr>
          <a:lstStyle/>
          <a:p>
            <a:endParaRPr/>
          </a:p>
        </p:txBody>
      </p:sp>
      <p:sp>
        <p:nvSpPr>
          <p:cNvPr id="2161" name="object 2161"/>
          <p:cNvSpPr/>
          <p:nvPr/>
        </p:nvSpPr>
        <p:spPr>
          <a:xfrm>
            <a:off x="7974716" y="1130316"/>
            <a:ext cx="151286" cy="5429"/>
          </a:xfrm>
          <a:custGeom>
            <a:avLst/>
            <a:gdLst/>
            <a:ahLst/>
            <a:cxnLst/>
            <a:rect l="l" t="t" r="r" b="b"/>
            <a:pathLst>
              <a:path w="151286" h="5429">
                <a:moveTo>
                  <a:pt x="992" y="5429"/>
                </a:moveTo>
                <a:lnTo>
                  <a:pt x="10416" y="4688"/>
                </a:lnTo>
                <a:lnTo>
                  <a:pt x="19840" y="4195"/>
                </a:lnTo>
                <a:lnTo>
                  <a:pt x="29265" y="3701"/>
                </a:lnTo>
                <a:lnTo>
                  <a:pt x="38689" y="3208"/>
                </a:lnTo>
                <a:lnTo>
                  <a:pt x="48114" y="2961"/>
                </a:lnTo>
                <a:lnTo>
                  <a:pt x="57538" y="2714"/>
                </a:lnTo>
                <a:lnTo>
                  <a:pt x="66963" y="2467"/>
                </a:lnTo>
                <a:lnTo>
                  <a:pt x="151286" y="2467"/>
                </a:lnTo>
                <a:lnTo>
                  <a:pt x="151286" y="0"/>
                </a:lnTo>
                <a:lnTo>
                  <a:pt x="66963" y="0"/>
                </a:lnTo>
                <a:lnTo>
                  <a:pt x="57538" y="246"/>
                </a:lnTo>
                <a:lnTo>
                  <a:pt x="48114" y="493"/>
                </a:lnTo>
                <a:lnTo>
                  <a:pt x="38689" y="740"/>
                </a:lnTo>
                <a:lnTo>
                  <a:pt x="29265" y="1233"/>
                </a:lnTo>
                <a:lnTo>
                  <a:pt x="19840" y="1727"/>
                </a:lnTo>
                <a:lnTo>
                  <a:pt x="10416" y="2220"/>
                </a:lnTo>
                <a:lnTo>
                  <a:pt x="2232" y="4195"/>
                </a:lnTo>
                <a:lnTo>
                  <a:pt x="992" y="2961"/>
                </a:lnTo>
                <a:lnTo>
                  <a:pt x="248" y="3454"/>
                </a:lnTo>
                <a:lnTo>
                  <a:pt x="0" y="4195"/>
                </a:lnTo>
                <a:lnTo>
                  <a:pt x="124" y="4565"/>
                </a:lnTo>
                <a:lnTo>
                  <a:pt x="248" y="4935"/>
                </a:lnTo>
                <a:lnTo>
                  <a:pt x="992" y="5429"/>
                </a:lnTo>
                <a:close/>
              </a:path>
            </a:pathLst>
          </a:custGeom>
          <a:solidFill>
            <a:srgbClr val="000000"/>
          </a:solidFill>
        </p:spPr>
        <p:txBody>
          <a:bodyPr wrap="square" lIns="0" tIns="0" rIns="0" bIns="0" rtlCol="0">
            <a:noAutofit/>
          </a:bodyPr>
          <a:lstStyle/>
          <a:p>
            <a:endParaRPr/>
          </a:p>
        </p:txBody>
      </p:sp>
      <p:sp>
        <p:nvSpPr>
          <p:cNvPr id="2162" name="object 2162"/>
          <p:cNvSpPr/>
          <p:nvPr/>
        </p:nvSpPr>
        <p:spPr>
          <a:xfrm>
            <a:off x="8178085" y="1662856"/>
            <a:ext cx="223210" cy="314640"/>
          </a:xfrm>
          <a:custGeom>
            <a:avLst/>
            <a:gdLst/>
            <a:ahLst/>
            <a:cxnLst/>
            <a:rect l="l" t="t" r="r" b="b"/>
            <a:pathLst>
              <a:path w="223210" h="314640">
                <a:moveTo>
                  <a:pt x="111605" y="0"/>
                </a:moveTo>
                <a:lnTo>
                  <a:pt x="100196" y="740"/>
                </a:lnTo>
                <a:lnTo>
                  <a:pt x="89036" y="3208"/>
                </a:lnTo>
                <a:lnTo>
                  <a:pt x="78371" y="7156"/>
                </a:lnTo>
                <a:lnTo>
                  <a:pt x="68203" y="12338"/>
                </a:lnTo>
                <a:lnTo>
                  <a:pt x="58530" y="19001"/>
                </a:lnTo>
                <a:lnTo>
                  <a:pt x="49354" y="26898"/>
                </a:lnTo>
                <a:lnTo>
                  <a:pt x="40673" y="36029"/>
                </a:lnTo>
                <a:lnTo>
                  <a:pt x="32737" y="46147"/>
                </a:lnTo>
                <a:lnTo>
                  <a:pt x="25545" y="57251"/>
                </a:lnTo>
                <a:lnTo>
                  <a:pt x="19096" y="69343"/>
                </a:lnTo>
                <a:lnTo>
                  <a:pt x="13392" y="82423"/>
                </a:lnTo>
                <a:lnTo>
                  <a:pt x="8680" y="95995"/>
                </a:lnTo>
                <a:lnTo>
                  <a:pt x="4960" y="110555"/>
                </a:lnTo>
                <a:lnTo>
                  <a:pt x="2232" y="125608"/>
                </a:lnTo>
                <a:lnTo>
                  <a:pt x="496" y="141155"/>
                </a:lnTo>
                <a:lnTo>
                  <a:pt x="0" y="157196"/>
                </a:lnTo>
                <a:lnTo>
                  <a:pt x="496" y="173236"/>
                </a:lnTo>
                <a:lnTo>
                  <a:pt x="2232" y="188783"/>
                </a:lnTo>
                <a:lnTo>
                  <a:pt x="4960" y="203836"/>
                </a:lnTo>
                <a:lnTo>
                  <a:pt x="8680" y="218396"/>
                </a:lnTo>
                <a:lnTo>
                  <a:pt x="13392" y="232215"/>
                </a:lnTo>
                <a:lnTo>
                  <a:pt x="19096" y="245048"/>
                </a:lnTo>
                <a:lnTo>
                  <a:pt x="25545" y="257140"/>
                </a:lnTo>
                <a:lnTo>
                  <a:pt x="32737" y="268491"/>
                </a:lnTo>
                <a:lnTo>
                  <a:pt x="40673" y="278609"/>
                </a:lnTo>
                <a:lnTo>
                  <a:pt x="49354" y="287740"/>
                </a:lnTo>
                <a:lnTo>
                  <a:pt x="58530" y="295638"/>
                </a:lnTo>
                <a:lnTo>
                  <a:pt x="68203" y="302301"/>
                </a:lnTo>
                <a:lnTo>
                  <a:pt x="78371" y="307483"/>
                </a:lnTo>
                <a:lnTo>
                  <a:pt x="89036" y="311432"/>
                </a:lnTo>
                <a:lnTo>
                  <a:pt x="100196" y="313899"/>
                </a:lnTo>
                <a:lnTo>
                  <a:pt x="111605" y="314640"/>
                </a:lnTo>
                <a:lnTo>
                  <a:pt x="123013" y="313899"/>
                </a:lnTo>
                <a:lnTo>
                  <a:pt x="134174" y="311432"/>
                </a:lnTo>
                <a:lnTo>
                  <a:pt x="144838" y="307483"/>
                </a:lnTo>
                <a:lnTo>
                  <a:pt x="155006" y="302301"/>
                </a:lnTo>
                <a:lnTo>
                  <a:pt x="164679" y="295638"/>
                </a:lnTo>
                <a:lnTo>
                  <a:pt x="173855" y="287740"/>
                </a:lnTo>
                <a:lnTo>
                  <a:pt x="182536" y="278609"/>
                </a:lnTo>
                <a:lnTo>
                  <a:pt x="190472" y="268491"/>
                </a:lnTo>
                <a:lnTo>
                  <a:pt x="197664" y="257140"/>
                </a:lnTo>
                <a:lnTo>
                  <a:pt x="204113" y="245048"/>
                </a:lnTo>
                <a:lnTo>
                  <a:pt x="209817" y="232215"/>
                </a:lnTo>
                <a:lnTo>
                  <a:pt x="214529" y="218396"/>
                </a:lnTo>
                <a:lnTo>
                  <a:pt x="218249" y="203836"/>
                </a:lnTo>
                <a:lnTo>
                  <a:pt x="220977" y="188783"/>
                </a:lnTo>
                <a:lnTo>
                  <a:pt x="222714" y="173236"/>
                </a:lnTo>
                <a:lnTo>
                  <a:pt x="223210" y="157196"/>
                </a:lnTo>
                <a:lnTo>
                  <a:pt x="222714" y="141155"/>
                </a:lnTo>
                <a:lnTo>
                  <a:pt x="220977" y="125608"/>
                </a:lnTo>
                <a:lnTo>
                  <a:pt x="218249" y="110555"/>
                </a:lnTo>
                <a:lnTo>
                  <a:pt x="214529" y="95995"/>
                </a:lnTo>
                <a:lnTo>
                  <a:pt x="209817" y="82423"/>
                </a:lnTo>
                <a:lnTo>
                  <a:pt x="204113" y="69343"/>
                </a:lnTo>
                <a:lnTo>
                  <a:pt x="197664" y="57251"/>
                </a:lnTo>
                <a:lnTo>
                  <a:pt x="190472" y="46147"/>
                </a:lnTo>
                <a:lnTo>
                  <a:pt x="182536" y="36029"/>
                </a:lnTo>
                <a:lnTo>
                  <a:pt x="173855" y="26898"/>
                </a:lnTo>
                <a:lnTo>
                  <a:pt x="164679" y="19001"/>
                </a:lnTo>
                <a:lnTo>
                  <a:pt x="155006" y="12338"/>
                </a:lnTo>
                <a:lnTo>
                  <a:pt x="144838" y="7156"/>
                </a:lnTo>
                <a:lnTo>
                  <a:pt x="134174" y="3208"/>
                </a:lnTo>
                <a:lnTo>
                  <a:pt x="123013" y="740"/>
                </a:lnTo>
                <a:lnTo>
                  <a:pt x="111605" y="0"/>
                </a:lnTo>
                <a:close/>
              </a:path>
            </a:pathLst>
          </a:custGeom>
          <a:solidFill>
            <a:srgbClr val="000000"/>
          </a:solidFill>
        </p:spPr>
        <p:txBody>
          <a:bodyPr wrap="square" lIns="0" tIns="0" rIns="0" bIns="0" rtlCol="0">
            <a:noAutofit/>
          </a:bodyPr>
          <a:lstStyle/>
          <a:p>
            <a:endParaRPr/>
          </a:p>
        </p:txBody>
      </p:sp>
      <p:sp>
        <p:nvSpPr>
          <p:cNvPr id="2163" name="object 2163"/>
          <p:cNvSpPr/>
          <p:nvPr/>
        </p:nvSpPr>
        <p:spPr>
          <a:xfrm>
            <a:off x="8289691" y="1661130"/>
            <a:ext cx="113341" cy="158923"/>
          </a:xfrm>
          <a:custGeom>
            <a:avLst/>
            <a:gdLst/>
            <a:ahLst/>
            <a:cxnLst/>
            <a:rect l="l" t="t" r="r" b="b"/>
            <a:pathLst>
              <a:path w="113341" h="158923">
                <a:moveTo>
                  <a:pt x="11160" y="4195"/>
                </a:moveTo>
                <a:lnTo>
                  <a:pt x="22072" y="6662"/>
                </a:lnTo>
                <a:lnTo>
                  <a:pt x="32489" y="10364"/>
                </a:lnTo>
                <a:lnTo>
                  <a:pt x="42409" y="15546"/>
                </a:lnTo>
                <a:lnTo>
                  <a:pt x="52082" y="22209"/>
                </a:lnTo>
                <a:lnTo>
                  <a:pt x="61010" y="29859"/>
                </a:lnTo>
                <a:lnTo>
                  <a:pt x="69691" y="38990"/>
                </a:lnTo>
                <a:lnTo>
                  <a:pt x="77379" y="48861"/>
                </a:lnTo>
                <a:lnTo>
                  <a:pt x="84571" y="59966"/>
                </a:lnTo>
                <a:lnTo>
                  <a:pt x="91020" y="71811"/>
                </a:lnTo>
                <a:lnTo>
                  <a:pt x="96476" y="84890"/>
                </a:lnTo>
                <a:lnTo>
                  <a:pt x="101188" y="98216"/>
                </a:lnTo>
                <a:lnTo>
                  <a:pt x="104908" y="112529"/>
                </a:lnTo>
                <a:lnTo>
                  <a:pt x="107636" y="127583"/>
                </a:lnTo>
                <a:lnTo>
                  <a:pt x="109372" y="142883"/>
                </a:lnTo>
                <a:lnTo>
                  <a:pt x="109868" y="158923"/>
                </a:lnTo>
                <a:lnTo>
                  <a:pt x="113341" y="158923"/>
                </a:lnTo>
                <a:lnTo>
                  <a:pt x="112845" y="142883"/>
                </a:lnTo>
                <a:lnTo>
                  <a:pt x="111108" y="127089"/>
                </a:lnTo>
                <a:lnTo>
                  <a:pt x="108380" y="112036"/>
                </a:lnTo>
                <a:lnTo>
                  <a:pt x="104660" y="97229"/>
                </a:lnTo>
                <a:lnTo>
                  <a:pt x="99948" y="83410"/>
                </a:lnTo>
                <a:lnTo>
                  <a:pt x="93996" y="70331"/>
                </a:lnTo>
                <a:lnTo>
                  <a:pt x="87547" y="57992"/>
                </a:lnTo>
                <a:lnTo>
                  <a:pt x="80355" y="46887"/>
                </a:lnTo>
                <a:lnTo>
                  <a:pt x="72171" y="36522"/>
                </a:lnTo>
                <a:lnTo>
                  <a:pt x="63490" y="27392"/>
                </a:lnTo>
                <a:lnTo>
                  <a:pt x="54066" y="19248"/>
                </a:lnTo>
                <a:lnTo>
                  <a:pt x="44393" y="12585"/>
                </a:lnTo>
                <a:lnTo>
                  <a:pt x="33977" y="7403"/>
                </a:lnTo>
                <a:lnTo>
                  <a:pt x="23065" y="3208"/>
                </a:lnTo>
                <a:lnTo>
                  <a:pt x="11656" y="740"/>
                </a:lnTo>
                <a:lnTo>
                  <a:pt x="0" y="0"/>
                </a:lnTo>
                <a:lnTo>
                  <a:pt x="0" y="3454"/>
                </a:lnTo>
                <a:lnTo>
                  <a:pt x="11160" y="4195"/>
                </a:lnTo>
                <a:close/>
              </a:path>
            </a:pathLst>
          </a:custGeom>
          <a:solidFill>
            <a:srgbClr val="000000"/>
          </a:solidFill>
        </p:spPr>
        <p:txBody>
          <a:bodyPr wrap="square" lIns="0" tIns="0" rIns="0" bIns="0" rtlCol="0">
            <a:noAutofit/>
          </a:bodyPr>
          <a:lstStyle/>
          <a:p>
            <a:endParaRPr/>
          </a:p>
        </p:txBody>
      </p:sp>
      <p:sp>
        <p:nvSpPr>
          <p:cNvPr id="2164" name="object 2164"/>
          <p:cNvSpPr/>
          <p:nvPr/>
        </p:nvSpPr>
        <p:spPr>
          <a:xfrm>
            <a:off x="8289691" y="1820054"/>
            <a:ext cx="113341" cy="159171"/>
          </a:xfrm>
          <a:custGeom>
            <a:avLst/>
            <a:gdLst/>
            <a:ahLst/>
            <a:cxnLst/>
            <a:rect l="l" t="t" r="r" b="b"/>
            <a:pathLst>
              <a:path w="113341" h="159171">
                <a:moveTo>
                  <a:pt x="11656" y="158431"/>
                </a:moveTo>
                <a:lnTo>
                  <a:pt x="23065" y="155963"/>
                </a:lnTo>
                <a:lnTo>
                  <a:pt x="33977" y="151768"/>
                </a:lnTo>
                <a:lnTo>
                  <a:pt x="44393" y="146585"/>
                </a:lnTo>
                <a:lnTo>
                  <a:pt x="54066" y="139923"/>
                </a:lnTo>
                <a:lnTo>
                  <a:pt x="63490" y="131778"/>
                </a:lnTo>
                <a:lnTo>
                  <a:pt x="72171" y="122647"/>
                </a:lnTo>
                <a:lnTo>
                  <a:pt x="80355" y="112282"/>
                </a:lnTo>
                <a:lnTo>
                  <a:pt x="87547" y="100931"/>
                </a:lnTo>
                <a:lnTo>
                  <a:pt x="93996" y="88592"/>
                </a:lnTo>
                <a:lnTo>
                  <a:pt x="99948" y="75760"/>
                </a:lnTo>
                <a:lnTo>
                  <a:pt x="104660" y="61693"/>
                </a:lnTo>
                <a:lnTo>
                  <a:pt x="108380" y="46887"/>
                </a:lnTo>
                <a:lnTo>
                  <a:pt x="111108" y="31834"/>
                </a:lnTo>
                <a:lnTo>
                  <a:pt x="112845" y="16040"/>
                </a:lnTo>
                <a:lnTo>
                  <a:pt x="113341" y="0"/>
                </a:lnTo>
                <a:lnTo>
                  <a:pt x="109868" y="0"/>
                </a:lnTo>
                <a:lnTo>
                  <a:pt x="109372" y="16040"/>
                </a:lnTo>
                <a:lnTo>
                  <a:pt x="107636" y="31340"/>
                </a:lnTo>
                <a:lnTo>
                  <a:pt x="104908" y="46393"/>
                </a:lnTo>
                <a:lnTo>
                  <a:pt x="101188" y="60706"/>
                </a:lnTo>
                <a:lnTo>
                  <a:pt x="96476" y="74279"/>
                </a:lnTo>
                <a:lnTo>
                  <a:pt x="91020" y="87111"/>
                </a:lnTo>
                <a:lnTo>
                  <a:pt x="84571" y="98957"/>
                </a:lnTo>
                <a:lnTo>
                  <a:pt x="77379" y="110308"/>
                </a:lnTo>
                <a:lnTo>
                  <a:pt x="69691" y="120179"/>
                </a:lnTo>
                <a:lnTo>
                  <a:pt x="61010" y="129310"/>
                </a:lnTo>
                <a:lnTo>
                  <a:pt x="52082" y="136961"/>
                </a:lnTo>
                <a:lnTo>
                  <a:pt x="42409" y="143624"/>
                </a:lnTo>
                <a:lnTo>
                  <a:pt x="32489" y="148806"/>
                </a:lnTo>
                <a:lnTo>
                  <a:pt x="22072" y="152508"/>
                </a:lnTo>
                <a:lnTo>
                  <a:pt x="11160" y="154976"/>
                </a:lnTo>
                <a:lnTo>
                  <a:pt x="0" y="155716"/>
                </a:lnTo>
                <a:lnTo>
                  <a:pt x="0" y="159171"/>
                </a:lnTo>
                <a:lnTo>
                  <a:pt x="11656" y="158431"/>
                </a:lnTo>
                <a:close/>
              </a:path>
            </a:pathLst>
          </a:custGeom>
          <a:solidFill>
            <a:srgbClr val="000000"/>
          </a:solidFill>
        </p:spPr>
        <p:txBody>
          <a:bodyPr wrap="square" lIns="0" tIns="0" rIns="0" bIns="0" rtlCol="0">
            <a:noAutofit/>
          </a:bodyPr>
          <a:lstStyle/>
          <a:p>
            <a:endParaRPr/>
          </a:p>
        </p:txBody>
      </p:sp>
      <p:sp>
        <p:nvSpPr>
          <p:cNvPr id="2165" name="object 2165"/>
          <p:cNvSpPr/>
          <p:nvPr/>
        </p:nvSpPr>
        <p:spPr>
          <a:xfrm>
            <a:off x="8176350" y="1820054"/>
            <a:ext cx="113341" cy="159171"/>
          </a:xfrm>
          <a:custGeom>
            <a:avLst/>
            <a:gdLst/>
            <a:ahLst/>
            <a:cxnLst/>
            <a:rect l="l" t="t" r="r" b="b"/>
            <a:pathLst>
              <a:path w="113341" h="159171">
                <a:moveTo>
                  <a:pt x="8432" y="46393"/>
                </a:moveTo>
                <a:lnTo>
                  <a:pt x="5704" y="31340"/>
                </a:lnTo>
                <a:lnTo>
                  <a:pt x="3968" y="16040"/>
                </a:lnTo>
                <a:lnTo>
                  <a:pt x="3472" y="0"/>
                </a:lnTo>
                <a:lnTo>
                  <a:pt x="0" y="0"/>
                </a:lnTo>
                <a:lnTo>
                  <a:pt x="496" y="16040"/>
                </a:lnTo>
                <a:lnTo>
                  <a:pt x="2232" y="31834"/>
                </a:lnTo>
                <a:lnTo>
                  <a:pt x="4960" y="46887"/>
                </a:lnTo>
                <a:lnTo>
                  <a:pt x="8680" y="61693"/>
                </a:lnTo>
                <a:lnTo>
                  <a:pt x="13392" y="75760"/>
                </a:lnTo>
                <a:lnTo>
                  <a:pt x="19344" y="88592"/>
                </a:lnTo>
                <a:lnTo>
                  <a:pt x="25793" y="100931"/>
                </a:lnTo>
                <a:lnTo>
                  <a:pt x="32985" y="112282"/>
                </a:lnTo>
                <a:lnTo>
                  <a:pt x="41169" y="122647"/>
                </a:lnTo>
                <a:lnTo>
                  <a:pt x="49850" y="131778"/>
                </a:lnTo>
                <a:lnTo>
                  <a:pt x="59274" y="139923"/>
                </a:lnTo>
                <a:lnTo>
                  <a:pt x="68947" y="146585"/>
                </a:lnTo>
                <a:lnTo>
                  <a:pt x="79363" y="151768"/>
                </a:lnTo>
                <a:lnTo>
                  <a:pt x="90276" y="155963"/>
                </a:lnTo>
                <a:lnTo>
                  <a:pt x="101684" y="158431"/>
                </a:lnTo>
                <a:lnTo>
                  <a:pt x="113341" y="159171"/>
                </a:lnTo>
                <a:lnTo>
                  <a:pt x="113341" y="155716"/>
                </a:lnTo>
                <a:lnTo>
                  <a:pt x="102180" y="154976"/>
                </a:lnTo>
                <a:lnTo>
                  <a:pt x="91268" y="152508"/>
                </a:lnTo>
                <a:lnTo>
                  <a:pt x="80851" y="148806"/>
                </a:lnTo>
                <a:lnTo>
                  <a:pt x="70931" y="143624"/>
                </a:lnTo>
                <a:lnTo>
                  <a:pt x="61258" y="136961"/>
                </a:lnTo>
                <a:lnTo>
                  <a:pt x="52330" y="129310"/>
                </a:lnTo>
                <a:lnTo>
                  <a:pt x="43649" y="120179"/>
                </a:lnTo>
                <a:lnTo>
                  <a:pt x="35961" y="110308"/>
                </a:lnTo>
                <a:lnTo>
                  <a:pt x="28769" y="98957"/>
                </a:lnTo>
                <a:lnTo>
                  <a:pt x="22321" y="87111"/>
                </a:lnTo>
                <a:lnTo>
                  <a:pt x="16864" y="74279"/>
                </a:lnTo>
                <a:lnTo>
                  <a:pt x="12152" y="60706"/>
                </a:lnTo>
                <a:lnTo>
                  <a:pt x="8432" y="46393"/>
                </a:lnTo>
                <a:close/>
              </a:path>
            </a:pathLst>
          </a:custGeom>
          <a:solidFill>
            <a:srgbClr val="000000"/>
          </a:solidFill>
        </p:spPr>
        <p:txBody>
          <a:bodyPr wrap="square" lIns="0" tIns="0" rIns="0" bIns="0" rtlCol="0">
            <a:noAutofit/>
          </a:bodyPr>
          <a:lstStyle/>
          <a:p>
            <a:endParaRPr/>
          </a:p>
        </p:txBody>
      </p:sp>
      <p:sp>
        <p:nvSpPr>
          <p:cNvPr id="2166" name="object 2166"/>
          <p:cNvSpPr/>
          <p:nvPr/>
        </p:nvSpPr>
        <p:spPr>
          <a:xfrm>
            <a:off x="8176350" y="1661130"/>
            <a:ext cx="113341" cy="158923"/>
          </a:xfrm>
          <a:custGeom>
            <a:avLst/>
            <a:gdLst/>
            <a:ahLst/>
            <a:cxnLst/>
            <a:rect l="l" t="t" r="r" b="b"/>
            <a:pathLst>
              <a:path w="113341" h="158923">
                <a:moveTo>
                  <a:pt x="3472" y="158923"/>
                </a:moveTo>
                <a:lnTo>
                  <a:pt x="3968" y="142883"/>
                </a:lnTo>
                <a:lnTo>
                  <a:pt x="5704" y="127583"/>
                </a:lnTo>
                <a:lnTo>
                  <a:pt x="8432" y="112529"/>
                </a:lnTo>
                <a:lnTo>
                  <a:pt x="12152" y="98216"/>
                </a:lnTo>
                <a:lnTo>
                  <a:pt x="16864" y="84890"/>
                </a:lnTo>
                <a:lnTo>
                  <a:pt x="22321" y="71811"/>
                </a:lnTo>
                <a:lnTo>
                  <a:pt x="28769" y="59966"/>
                </a:lnTo>
                <a:lnTo>
                  <a:pt x="35961" y="48861"/>
                </a:lnTo>
                <a:lnTo>
                  <a:pt x="43649" y="38990"/>
                </a:lnTo>
                <a:lnTo>
                  <a:pt x="52330" y="29859"/>
                </a:lnTo>
                <a:lnTo>
                  <a:pt x="61258" y="22209"/>
                </a:lnTo>
                <a:lnTo>
                  <a:pt x="70931" y="15546"/>
                </a:lnTo>
                <a:lnTo>
                  <a:pt x="80851" y="10364"/>
                </a:lnTo>
                <a:lnTo>
                  <a:pt x="91268" y="6662"/>
                </a:lnTo>
                <a:lnTo>
                  <a:pt x="102180" y="4195"/>
                </a:lnTo>
                <a:lnTo>
                  <a:pt x="113341" y="3454"/>
                </a:lnTo>
                <a:lnTo>
                  <a:pt x="113341" y="0"/>
                </a:lnTo>
                <a:lnTo>
                  <a:pt x="101684" y="740"/>
                </a:lnTo>
                <a:lnTo>
                  <a:pt x="90276" y="3208"/>
                </a:lnTo>
                <a:lnTo>
                  <a:pt x="79363" y="7403"/>
                </a:lnTo>
                <a:lnTo>
                  <a:pt x="68947" y="12585"/>
                </a:lnTo>
                <a:lnTo>
                  <a:pt x="59274" y="19248"/>
                </a:lnTo>
                <a:lnTo>
                  <a:pt x="49850" y="27392"/>
                </a:lnTo>
                <a:lnTo>
                  <a:pt x="41169" y="36522"/>
                </a:lnTo>
                <a:lnTo>
                  <a:pt x="32985" y="46887"/>
                </a:lnTo>
                <a:lnTo>
                  <a:pt x="25793" y="57992"/>
                </a:lnTo>
                <a:lnTo>
                  <a:pt x="19344" y="70331"/>
                </a:lnTo>
                <a:lnTo>
                  <a:pt x="13392" y="83410"/>
                </a:lnTo>
                <a:lnTo>
                  <a:pt x="8680" y="97229"/>
                </a:lnTo>
                <a:lnTo>
                  <a:pt x="4960" y="112036"/>
                </a:lnTo>
                <a:lnTo>
                  <a:pt x="2232" y="127089"/>
                </a:lnTo>
                <a:lnTo>
                  <a:pt x="496" y="142883"/>
                </a:lnTo>
                <a:lnTo>
                  <a:pt x="0" y="158923"/>
                </a:lnTo>
                <a:lnTo>
                  <a:pt x="3472" y="158923"/>
                </a:lnTo>
                <a:close/>
              </a:path>
            </a:pathLst>
          </a:custGeom>
          <a:solidFill>
            <a:srgbClr val="000000"/>
          </a:solidFill>
        </p:spPr>
        <p:txBody>
          <a:bodyPr wrap="square" lIns="0" tIns="0" rIns="0" bIns="0" rtlCol="0">
            <a:noAutofit/>
          </a:bodyPr>
          <a:lstStyle/>
          <a:p>
            <a:endParaRPr/>
          </a:p>
        </p:txBody>
      </p:sp>
      <p:sp>
        <p:nvSpPr>
          <p:cNvPr id="2167" name="object 2167"/>
          <p:cNvSpPr/>
          <p:nvPr/>
        </p:nvSpPr>
        <p:spPr>
          <a:xfrm>
            <a:off x="8233888" y="1724305"/>
            <a:ext cx="135910" cy="191497"/>
          </a:xfrm>
          <a:custGeom>
            <a:avLst/>
            <a:gdLst/>
            <a:ahLst/>
            <a:cxnLst/>
            <a:rect l="l" t="t" r="r" b="b"/>
            <a:pathLst>
              <a:path w="135910" h="191497">
                <a:moveTo>
                  <a:pt x="67955" y="0"/>
                </a:moveTo>
                <a:lnTo>
                  <a:pt x="61010" y="493"/>
                </a:lnTo>
                <a:lnTo>
                  <a:pt x="54314" y="1974"/>
                </a:lnTo>
                <a:lnTo>
                  <a:pt x="47866" y="4195"/>
                </a:lnTo>
                <a:lnTo>
                  <a:pt x="41417" y="7650"/>
                </a:lnTo>
                <a:lnTo>
                  <a:pt x="35713" y="11598"/>
                </a:lnTo>
                <a:lnTo>
                  <a:pt x="30009" y="16287"/>
                </a:lnTo>
                <a:lnTo>
                  <a:pt x="24801" y="21963"/>
                </a:lnTo>
                <a:lnTo>
                  <a:pt x="19840" y="28132"/>
                </a:lnTo>
                <a:lnTo>
                  <a:pt x="15624" y="34795"/>
                </a:lnTo>
                <a:lnTo>
                  <a:pt x="11656" y="42198"/>
                </a:lnTo>
                <a:lnTo>
                  <a:pt x="8184" y="50095"/>
                </a:lnTo>
                <a:lnTo>
                  <a:pt x="5456" y="58485"/>
                </a:lnTo>
                <a:lnTo>
                  <a:pt x="2976" y="67369"/>
                </a:lnTo>
                <a:lnTo>
                  <a:pt x="1488" y="76500"/>
                </a:lnTo>
                <a:lnTo>
                  <a:pt x="248" y="85877"/>
                </a:lnTo>
                <a:lnTo>
                  <a:pt x="0" y="95748"/>
                </a:lnTo>
                <a:lnTo>
                  <a:pt x="248" y="105619"/>
                </a:lnTo>
                <a:lnTo>
                  <a:pt x="1488" y="114997"/>
                </a:lnTo>
                <a:lnTo>
                  <a:pt x="2976" y="124128"/>
                </a:lnTo>
                <a:lnTo>
                  <a:pt x="5456" y="133012"/>
                </a:lnTo>
                <a:lnTo>
                  <a:pt x="8184" y="141402"/>
                </a:lnTo>
                <a:lnTo>
                  <a:pt x="11656" y="149299"/>
                </a:lnTo>
                <a:lnTo>
                  <a:pt x="15624" y="156702"/>
                </a:lnTo>
                <a:lnTo>
                  <a:pt x="19840" y="163365"/>
                </a:lnTo>
                <a:lnTo>
                  <a:pt x="24801" y="169534"/>
                </a:lnTo>
                <a:lnTo>
                  <a:pt x="30009" y="175210"/>
                </a:lnTo>
                <a:lnTo>
                  <a:pt x="35713" y="179899"/>
                </a:lnTo>
                <a:lnTo>
                  <a:pt x="41417" y="183847"/>
                </a:lnTo>
                <a:lnTo>
                  <a:pt x="47866" y="187302"/>
                </a:lnTo>
                <a:lnTo>
                  <a:pt x="54314" y="189523"/>
                </a:lnTo>
                <a:lnTo>
                  <a:pt x="61010" y="191004"/>
                </a:lnTo>
                <a:lnTo>
                  <a:pt x="67955" y="191497"/>
                </a:lnTo>
                <a:lnTo>
                  <a:pt x="74899" y="191004"/>
                </a:lnTo>
                <a:lnTo>
                  <a:pt x="81595" y="189523"/>
                </a:lnTo>
                <a:lnTo>
                  <a:pt x="88043" y="187302"/>
                </a:lnTo>
                <a:lnTo>
                  <a:pt x="94492" y="183847"/>
                </a:lnTo>
                <a:lnTo>
                  <a:pt x="100196" y="179899"/>
                </a:lnTo>
                <a:lnTo>
                  <a:pt x="105900" y="175210"/>
                </a:lnTo>
                <a:lnTo>
                  <a:pt x="111108" y="169534"/>
                </a:lnTo>
                <a:lnTo>
                  <a:pt x="116069" y="163365"/>
                </a:lnTo>
                <a:lnTo>
                  <a:pt x="120285" y="156702"/>
                </a:lnTo>
                <a:lnTo>
                  <a:pt x="124253" y="149299"/>
                </a:lnTo>
                <a:lnTo>
                  <a:pt x="127725" y="141402"/>
                </a:lnTo>
                <a:lnTo>
                  <a:pt x="130453" y="133012"/>
                </a:lnTo>
                <a:lnTo>
                  <a:pt x="132933" y="124128"/>
                </a:lnTo>
                <a:lnTo>
                  <a:pt x="134422" y="114997"/>
                </a:lnTo>
                <a:lnTo>
                  <a:pt x="135662" y="105619"/>
                </a:lnTo>
                <a:lnTo>
                  <a:pt x="135910" y="95748"/>
                </a:lnTo>
                <a:lnTo>
                  <a:pt x="135662" y="85877"/>
                </a:lnTo>
                <a:lnTo>
                  <a:pt x="134422" y="76500"/>
                </a:lnTo>
                <a:lnTo>
                  <a:pt x="132933" y="67369"/>
                </a:lnTo>
                <a:lnTo>
                  <a:pt x="130453" y="58485"/>
                </a:lnTo>
                <a:lnTo>
                  <a:pt x="127725" y="50095"/>
                </a:lnTo>
                <a:lnTo>
                  <a:pt x="124253" y="42198"/>
                </a:lnTo>
                <a:lnTo>
                  <a:pt x="120285" y="34795"/>
                </a:lnTo>
                <a:lnTo>
                  <a:pt x="116069" y="28132"/>
                </a:lnTo>
                <a:lnTo>
                  <a:pt x="111108" y="21963"/>
                </a:lnTo>
                <a:lnTo>
                  <a:pt x="105900" y="16287"/>
                </a:lnTo>
                <a:lnTo>
                  <a:pt x="100196" y="11598"/>
                </a:lnTo>
                <a:lnTo>
                  <a:pt x="94492" y="7650"/>
                </a:lnTo>
                <a:lnTo>
                  <a:pt x="88043" y="4195"/>
                </a:lnTo>
                <a:lnTo>
                  <a:pt x="81595" y="1974"/>
                </a:lnTo>
                <a:lnTo>
                  <a:pt x="74899" y="493"/>
                </a:lnTo>
                <a:lnTo>
                  <a:pt x="67955" y="0"/>
                </a:lnTo>
                <a:close/>
              </a:path>
            </a:pathLst>
          </a:custGeom>
          <a:solidFill>
            <a:srgbClr val="E4E4E4"/>
          </a:solidFill>
        </p:spPr>
        <p:txBody>
          <a:bodyPr wrap="square" lIns="0" tIns="0" rIns="0" bIns="0" rtlCol="0">
            <a:noAutofit/>
          </a:bodyPr>
          <a:lstStyle/>
          <a:p>
            <a:endParaRPr/>
          </a:p>
        </p:txBody>
      </p:sp>
      <p:sp>
        <p:nvSpPr>
          <p:cNvPr id="2168" name="object 2168"/>
          <p:cNvSpPr/>
          <p:nvPr/>
        </p:nvSpPr>
        <p:spPr>
          <a:xfrm>
            <a:off x="8301844" y="1722576"/>
            <a:ext cx="69691" cy="97476"/>
          </a:xfrm>
          <a:custGeom>
            <a:avLst/>
            <a:gdLst/>
            <a:ahLst/>
            <a:cxnLst/>
            <a:rect l="l" t="t" r="r" b="b"/>
            <a:pathLst>
              <a:path w="69691" h="97476">
                <a:moveTo>
                  <a:pt x="0" y="0"/>
                </a:moveTo>
                <a:lnTo>
                  <a:pt x="0" y="3454"/>
                </a:lnTo>
                <a:lnTo>
                  <a:pt x="6696" y="3948"/>
                </a:lnTo>
                <a:lnTo>
                  <a:pt x="13144" y="5429"/>
                </a:lnTo>
                <a:lnTo>
                  <a:pt x="19344" y="7403"/>
                </a:lnTo>
                <a:lnTo>
                  <a:pt x="25545" y="10858"/>
                </a:lnTo>
                <a:lnTo>
                  <a:pt x="31249" y="14806"/>
                </a:lnTo>
                <a:lnTo>
                  <a:pt x="36705" y="19248"/>
                </a:lnTo>
                <a:lnTo>
                  <a:pt x="41913" y="24924"/>
                </a:lnTo>
                <a:lnTo>
                  <a:pt x="46626" y="30846"/>
                </a:lnTo>
                <a:lnTo>
                  <a:pt x="50842" y="37509"/>
                </a:lnTo>
                <a:lnTo>
                  <a:pt x="54810" y="44666"/>
                </a:lnTo>
                <a:lnTo>
                  <a:pt x="58034" y="52316"/>
                </a:lnTo>
                <a:lnTo>
                  <a:pt x="60762" y="60706"/>
                </a:lnTo>
                <a:lnTo>
                  <a:pt x="63242" y="69343"/>
                </a:lnTo>
                <a:lnTo>
                  <a:pt x="64730" y="78474"/>
                </a:lnTo>
                <a:lnTo>
                  <a:pt x="65970" y="87852"/>
                </a:lnTo>
                <a:lnTo>
                  <a:pt x="66218" y="97476"/>
                </a:lnTo>
                <a:lnTo>
                  <a:pt x="69691" y="97476"/>
                </a:lnTo>
                <a:lnTo>
                  <a:pt x="69443" y="87358"/>
                </a:lnTo>
                <a:lnTo>
                  <a:pt x="68203" y="77981"/>
                </a:lnTo>
                <a:lnTo>
                  <a:pt x="66715" y="68850"/>
                </a:lnTo>
                <a:lnTo>
                  <a:pt x="64234" y="59719"/>
                </a:lnTo>
                <a:lnTo>
                  <a:pt x="61506" y="51329"/>
                </a:lnTo>
                <a:lnTo>
                  <a:pt x="57786" y="43185"/>
                </a:lnTo>
                <a:lnTo>
                  <a:pt x="53818" y="35535"/>
                </a:lnTo>
                <a:lnTo>
                  <a:pt x="49602" y="28872"/>
                </a:lnTo>
                <a:lnTo>
                  <a:pt x="44393" y="22456"/>
                </a:lnTo>
                <a:lnTo>
                  <a:pt x="39185" y="16780"/>
                </a:lnTo>
                <a:lnTo>
                  <a:pt x="33233" y="11845"/>
                </a:lnTo>
                <a:lnTo>
                  <a:pt x="27529" y="7896"/>
                </a:lnTo>
                <a:lnTo>
                  <a:pt x="20832" y="4441"/>
                </a:lnTo>
                <a:lnTo>
                  <a:pt x="14136" y="1974"/>
                </a:lnTo>
                <a:lnTo>
                  <a:pt x="7192" y="493"/>
                </a:lnTo>
                <a:lnTo>
                  <a:pt x="0" y="0"/>
                </a:lnTo>
                <a:close/>
              </a:path>
            </a:pathLst>
          </a:custGeom>
          <a:solidFill>
            <a:srgbClr val="000000"/>
          </a:solidFill>
        </p:spPr>
        <p:txBody>
          <a:bodyPr wrap="square" lIns="0" tIns="0" rIns="0" bIns="0" rtlCol="0">
            <a:noAutofit/>
          </a:bodyPr>
          <a:lstStyle/>
          <a:p>
            <a:endParaRPr/>
          </a:p>
        </p:txBody>
      </p:sp>
      <p:sp>
        <p:nvSpPr>
          <p:cNvPr id="2169" name="object 2169"/>
          <p:cNvSpPr/>
          <p:nvPr/>
        </p:nvSpPr>
        <p:spPr>
          <a:xfrm>
            <a:off x="8301844" y="1820053"/>
            <a:ext cx="69691" cy="97476"/>
          </a:xfrm>
          <a:custGeom>
            <a:avLst/>
            <a:gdLst/>
            <a:ahLst/>
            <a:cxnLst/>
            <a:rect l="l" t="t" r="r" b="b"/>
            <a:pathLst>
              <a:path w="69691" h="97476">
                <a:moveTo>
                  <a:pt x="61506" y="46147"/>
                </a:moveTo>
                <a:lnTo>
                  <a:pt x="64234" y="37756"/>
                </a:lnTo>
                <a:lnTo>
                  <a:pt x="66715" y="28625"/>
                </a:lnTo>
                <a:lnTo>
                  <a:pt x="68203" y="19495"/>
                </a:lnTo>
                <a:lnTo>
                  <a:pt x="69443" y="10117"/>
                </a:lnTo>
                <a:lnTo>
                  <a:pt x="69691" y="0"/>
                </a:lnTo>
                <a:lnTo>
                  <a:pt x="66218" y="0"/>
                </a:lnTo>
                <a:lnTo>
                  <a:pt x="65970" y="9624"/>
                </a:lnTo>
                <a:lnTo>
                  <a:pt x="64730" y="19001"/>
                </a:lnTo>
                <a:lnTo>
                  <a:pt x="63242" y="28132"/>
                </a:lnTo>
                <a:lnTo>
                  <a:pt x="60762" y="36769"/>
                </a:lnTo>
                <a:lnTo>
                  <a:pt x="58034" y="45159"/>
                </a:lnTo>
                <a:lnTo>
                  <a:pt x="54810" y="52809"/>
                </a:lnTo>
                <a:lnTo>
                  <a:pt x="50842" y="59966"/>
                </a:lnTo>
                <a:lnTo>
                  <a:pt x="46626" y="66629"/>
                </a:lnTo>
                <a:lnTo>
                  <a:pt x="41913" y="72552"/>
                </a:lnTo>
                <a:lnTo>
                  <a:pt x="36705" y="78227"/>
                </a:lnTo>
                <a:lnTo>
                  <a:pt x="31249" y="82669"/>
                </a:lnTo>
                <a:lnTo>
                  <a:pt x="25545" y="86618"/>
                </a:lnTo>
                <a:lnTo>
                  <a:pt x="19344" y="90073"/>
                </a:lnTo>
                <a:lnTo>
                  <a:pt x="13144" y="92047"/>
                </a:lnTo>
                <a:lnTo>
                  <a:pt x="6696" y="93527"/>
                </a:lnTo>
                <a:lnTo>
                  <a:pt x="0" y="94021"/>
                </a:lnTo>
                <a:lnTo>
                  <a:pt x="0" y="97476"/>
                </a:lnTo>
                <a:lnTo>
                  <a:pt x="7192" y="96982"/>
                </a:lnTo>
                <a:lnTo>
                  <a:pt x="14136" y="95502"/>
                </a:lnTo>
                <a:lnTo>
                  <a:pt x="20832" y="93034"/>
                </a:lnTo>
                <a:lnTo>
                  <a:pt x="27529" y="89579"/>
                </a:lnTo>
                <a:lnTo>
                  <a:pt x="33233" y="85631"/>
                </a:lnTo>
                <a:lnTo>
                  <a:pt x="39185" y="80695"/>
                </a:lnTo>
                <a:lnTo>
                  <a:pt x="44393" y="75019"/>
                </a:lnTo>
                <a:lnTo>
                  <a:pt x="49602" y="68603"/>
                </a:lnTo>
                <a:lnTo>
                  <a:pt x="53818" y="61940"/>
                </a:lnTo>
                <a:lnTo>
                  <a:pt x="57786" y="54290"/>
                </a:lnTo>
                <a:lnTo>
                  <a:pt x="61506" y="46147"/>
                </a:lnTo>
                <a:close/>
              </a:path>
            </a:pathLst>
          </a:custGeom>
          <a:solidFill>
            <a:srgbClr val="000000"/>
          </a:solidFill>
        </p:spPr>
        <p:txBody>
          <a:bodyPr wrap="square" lIns="0" tIns="0" rIns="0" bIns="0" rtlCol="0">
            <a:noAutofit/>
          </a:bodyPr>
          <a:lstStyle/>
          <a:p>
            <a:endParaRPr/>
          </a:p>
        </p:txBody>
      </p:sp>
      <p:sp>
        <p:nvSpPr>
          <p:cNvPr id="2170" name="object 2170"/>
          <p:cNvSpPr/>
          <p:nvPr/>
        </p:nvSpPr>
        <p:spPr>
          <a:xfrm>
            <a:off x="8232153" y="1820053"/>
            <a:ext cx="69691" cy="97476"/>
          </a:xfrm>
          <a:custGeom>
            <a:avLst/>
            <a:gdLst/>
            <a:ahLst/>
            <a:cxnLst/>
            <a:rect l="l" t="t" r="r" b="b"/>
            <a:pathLst>
              <a:path w="69691" h="97476">
                <a:moveTo>
                  <a:pt x="248" y="10117"/>
                </a:moveTo>
                <a:lnTo>
                  <a:pt x="1488" y="19495"/>
                </a:lnTo>
                <a:lnTo>
                  <a:pt x="2976" y="28625"/>
                </a:lnTo>
                <a:lnTo>
                  <a:pt x="5456" y="37756"/>
                </a:lnTo>
                <a:lnTo>
                  <a:pt x="8184" y="46147"/>
                </a:lnTo>
                <a:lnTo>
                  <a:pt x="11904" y="54290"/>
                </a:lnTo>
                <a:lnTo>
                  <a:pt x="15872" y="61940"/>
                </a:lnTo>
                <a:lnTo>
                  <a:pt x="20088" y="68603"/>
                </a:lnTo>
                <a:lnTo>
                  <a:pt x="25297" y="75019"/>
                </a:lnTo>
                <a:lnTo>
                  <a:pt x="30505" y="80695"/>
                </a:lnTo>
                <a:lnTo>
                  <a:pt x="36457" y="85631"/>
                </a:lnTo>
                <a:lnTo>
                  <a:pt x="42161" y="89579"/>
                </a:lnTo>
                <a:lnTo>
                  <a:pt x="48858" y="93034"/>
                </a:lnTo>
                <a:lnTo>
                  <a:pt x="55554" y="95502"/>
                </a:lnTo>
                <a:lnTo>
                  <a:pt x="62498" y="96982"/>
                </a:lnTo>
                <a:lnTo>
                  <a:pt x="69691" y="97476"/>
                </a:lnTo>
                <a:lnTo>
                  <a:pt x="69691" y="94021"/>
                </a:lnTo>
                <a:lnTo>
                  <a:pt x="62994" y="93527"/>
                </a:lnTo>
                <a:lnTo>
                  <a:pt x="56546" y="92047"/>
                </a:lnTo>
                <a:lnTo>
                  <a:pt x="50346" y="90073"/>
                </a:lnTo>
                <a:lnTo>
                  <a:pt x="44145" y="86618"/>
                </a:lnTo>
                <a:lnTo>
                  <a:pt x="38441" y="82669"/>
                </a:lnTo>
                <a:lnTo>
                  <a:pt x="32985" y="78227"/>
                </a:lnTo>
                <a:lnTo>
                  <a:pt x="27777" y="72552"/>
                </a:lnTo>
                <a:lnTo>
                  <a:pt x="23065" y="66629"/>
                </a:lnTo>
                <a:lnTo>
                  <a:pt x="18848" y="59966"/>
                </a:lnTo>
                <a:lnTo>
                  <a:pt x="14880" y="52809"/>
                </a:lnTo>
                <a:lnTo>
                  <a:pt x="11656" y="45159"/>
                </a:lnTo>
                <a:lnTo>
                  <a:pt x="8928" y="36769"/>
                </a:lnTo>
                <a:lnTo>
                  <a:pt x="6448" y="28132"/>
                </a:lnTo>
                <a:lnTo>
                  <a:pt x="4960" y="19001"/>
                </a:lnTo>
                <a:lnTo>
                  <a:pt x="3720" y="9624"/>
                </a:lnTo>
                <a:lnTo>
                  <a:pt x="3472" y="0"/>
                </a:lnTo>
                <a:lnTo>
                  <a:pt x="0" y="0"/>
                </a:lnTo>
                <a:lnTo>
                  <a:pt x="248" y="10117"/>
                </a:lnTo>
                <a:close/>
              </a:path>
            </a:pathLst>
          </a:custGeom>
          <a:solidFill>
            <a:srgbClr val="000000"/>
          </a:solidFill>
        </p:spPr>
        <p:txBody>
          <a:bodyPr wrap="square" lIns="0" tIns="0" rIns="0" bIns="0" rtlCol="0">
            <a:noAutofit/>
          </a:bodyPr>
          <a:lstStyle/>
          <a:p>
            <a:endParaRPr/>
          </a:p>
        </p:txBody>
      </p:sp>
      <p:sp>
        <p:nvSpPr>
          <p:cNvPr id="2171" name="object 2171"/>
          <p:cNvSpPr/>
          <p:nvPr/>
        </p:nvSpPr>
        <p:spPr>
          <a:xfrm>
            <a:off x="8232153" y="1722576"/>
            <a:ext cx="69691" cy="97476"/>
          </a:xfrm>
          <a:custGeom>
            <a:avLst/>
            <a:gdLst/>
            <a:ahLst/>
            <a:cxnLst/>
            <a:rect l="l" t="t" r="r" b="b"/>
            <a:pathLst>
              <a:path w="69691" h="97476">
                <a:moveTo>
                  <a:pt x="2976" y="68850"/>
                </a:moveTo>
                <a:lnTo>
                  <a:pt x="1488" y="77981"/>
                </a:lnTo>
                <a:lnTo>
                  <a:pt x="248" y="87358"/>
                </a:lnTo>
                <a:lnTo>
                  <a:pt x="0" y="97476"/>
                </a:lnTo>
                <a:lnTo>
                  <a:pt x="3472" y="97476"/>
                </a:lnTo>
                <a:lnTo>
                  <a:pt x="3720" y="87852"/>
                </a:lnTo>
                <a:lnTo>
                  <a:pt x="4960" y="78474"/>
                </a:lnTo>
                <a:lnTo>
                  <a:pt x="6448" y="69343"/>
                </a:lnTo>
                <a:lnTo>
                  <a:pt x="8928" y="60706"/>
                </a:lnTo>
                <a:lnTo>
                  <a:pt x="11656" y="52316"/>
                </a:lnTo>
                <a:lnTo>
                  <a:pt x="14880" y="44666"/>
                </a:lnTo>
                <a:lnTo>
                  <a:pt x="18848" y="37509"/>
                </a:lnTo>
                <a:lnTo>
                  <a:pt x="23065" y="30846"/>
                </a:lnTo>
                <a:lnTo>
                  <a:pt x="27777" y="24924"/>
                </a:lnTo>
                <a:lnTo>
                  <a:pt x="32985" y="19248"/>
                </a:lnTo>
                <a:lnTo>
                  <a:pt x="38441" y="14806"/>
                </a:lnTo>
                <a:lnTo>
                  <a:pt x="44145" y="10858"/>
                </a:lnTo>
                <a:lnTo>
                  <a:pt x="50346" y="7403"/>
                </a:lnTo>
                <a:lnTo>
                  <a:pt x="56546" y="5429"/>
                </a:lnTo>
                <a:lnTo>
                  <a:pt x="62994" y="3948"/>
                </a:lnTo>
                <a:lnTo>
                  <a:pt x="69691" y="3454"/>
                </a:lnTo>
                <a:lnTo>
                  <a:pt x="69691" y="0"/>
                </a:lnTo>
                <a:lnTo>
                  <a:pt x="62498" y="493"/>
                </a:lnTo>
                <a:lnTo>
                  <a:pt x="55554" y="1974"/>
                </a:lnTo>
                <a:lnTo>
                  <a:pt x="48858" y="4441"/>
                </a:lnTo>
                <a:lnTo>
                  <a:pt x="42161" y="7896"/>
                </a:lnTo>
                <a:lnTo>
                  <a:pt x="36457" y="11845"/>
                </a:lnTo>
                <a:lnTo>
                  <a:pt x="30505" y="16780"/>
                </a:lnTo>
                <a:lnTo>
                  <a:pt x="25297" y="22456"/>
                </a:lnTo>
                <a:lnTo>
                  <a:pt x="20088" y="28872"/>
                </a:lnTo>
                <a:lnTo>
                  <a:pt x="15872" y="35535"/>
                </a:lnTo>
                <a:lnTo>
                  <a:pt x="11904" y="43185"/>
                </a:lnTo>
                <a:lnTo>
                  <a:pt x="8184" y="51329"/>
                </a:lnTo>
                <a:lnTo>
                  <a:pt x="5456" y="59719"/>
                </a:lnTo>
                <a:lnTo>
                  <a:pt x="2976" y="68850"/>
                </a:lnTo>
                <a:close/>
              </a:path>
            </a:pathLst>
          </a:custGeom>
          <a:solidFill>
            <a:srgbClr val="000000"/>
          </a:solidFill>
        </p:spPr>
        <p:txBody>
          <a:bodyPr wrap="square" lIns="0" tIns="0" rIns="0" bIns="0" rtlCol="0">
            <a:noAutofit/>
          </a:bodyPr>
          <a:lstStyle/>
          <a:p>
            <a:endParaRPr/>
          </a:p>
        </p:txBody>
      </p:sp>
      <p:sp>
        <p:nvSpPr>
          <p:cNvPr id="2172" name="object 2172"/>
          <p:cNvSpPr/>
          <p:nvPr/>
        </p:nvSpPr>
        <p:spPr>
          <a:xfrm>
            <a:off x="8233889" y="1730967"/>
            <a:ext cx="126485" cy="178172"/>
          </a:xfrm>
          <a:custGeom>
            <a:avLst/>
            <a:gdLst/>
            <a:ahLst/>
            <a:cxnLst/>
            <a:rect l="l" t="t" r="r" b="b"/>
            <a:pathLst>
              <a:path w="126485" h="178172">
                <a:moveTo>
                  <a:pt x="63242" y="0"/>
                </a:moveTo>
                <a:lnTo>
                  <a:pt x="56794" y="493"/>
                </a:lnTo>
                <a:lnTo>
                  <a:pt x="50594" y="1727"/>
                </a:lnTo>
                <a:lnTo>
                  <a:pt x="44393" y="3948"/>
                </a:lnTo>
                <a:lnTo>
                  <a:pt x="38689" y="6909"/>
                </a:lnTo>
                <a:lnTo>
                  <a:pt x="33233" y="10858"/>
                </a:lnTo>
                <a:lnTo>
                  <a:pt x="28025" y="15300"/>
                </a:lnTo>
                <a:lnTo>
                  <a:pt x="23065" y="20482"/>
                </a:lnTo>
                <a:lnTo>
                  <a:pt x="18600" y="26158"/>
                </a:lnTo>
                <a:lnTo>
                  <a:pt x="14384" y="32574"/>
                </a:lnTo>
                <a:lnTo>
                  <a:pt x="10912" y="39237"/>
                </a:lnTo>
                <a:lnTo>
                  <a:pt x="7688" y="46640"/>
                </a:lnTo>
                <a:lnTo>
                  <a:pt x="4960" y="54537"/>
                </a:lnTo>
                <a:lnTo>
                  <a:pt x="2976" y="62681"/>
                </a:lnTo>
                <a:lnTo>
                  <a:pt x="1240" y="71071"/>
                </a:lnTo>
                <a:lnTo>
                  <a:pt x="248" y="79955"/>
                </a:lnTo>
                <a:lnTo>
                  <a:pt x="0" y="89086"/>
                </a:lnTo>
                <a:lnTo>
                  <a:pt x="248" y="98216"/>
                </a:lnTo>
                <a:lnTo>
                  <a:pt x="1240" y="107100"/>
                </a:lnTo>
                <a:lnTo>
                  <a:pt x="2976" y="115490"/>
                </a:lnTo>
                <a:lnTo>
                  <a:pt x="4960" y="123634"/>
                </a:lnTo>
                <a:lnTo>
                  <a:pt x="7688" y="131531"/>
                </a:lnTo>
                <a:lnTo>
                  <a:pt x="10912" y="138934"/>
                </a:lnTo>
                <a:lnTo>
                  <a:pt x="14384" y="145597"/>
                </a:lnTo>
                <a:lnTo>
                  <a:pt x="18600" y="152013"/>
                </a:lnTo>
                <a:lnTo>
                  <a:pt x="23065" y="157689"/>
                </a:lnTo>
                <a:lnTo>
                  <a:pt x="28025" y="162871"/>
                </a:lnTo>
                <a:lnTo>
                  <a:pt x="33233" y="167313"/>
                </a:lnTo>
                <a:lnTo>
                  <a:pt x="38689" y="171262"/>
                </a:lnTo>
                <a:lnTo>
                  <a:pt x="44393" y="174223"/>
                </a:lnTo>
                <a:lnTo>
                  <a:pt x="50594" y="176444"/>
                </a:lnTo>
                <a:lnTo>
                  <a:pt x="56794" y="177678"/>
                </a:lnTo>
                <a:lnTo>
                  <a:pt x="63242" y="178172"/>
                </a:lnTo>
                <a:lnTo>
                  <a:pt x="69691" y="177678"/>
                </a:lnTo>
                <a:lnTo>
                  <a:pt x="75891" y="176444"/>
                </a:lnTo>
                <a:lnTo>
                  <a:pt x="82091" y="174223"/>
                </a:lnTo>
                <a:lnTo>
                  <a:pt x="87795" y="171262"/>
                </a:lnTo>
                <a:lnTo>
                  <a:pt x="93500" y="167313"/>
                </a:lnTo>
                <a:lnTo>
                  <a:pt x="98708" y="162871"/>
                </a:lnTo>
                <a:lnTo>
                  <a:pt x="103420" y="157689"/>
                </a:lnTo>
                <a:lnTo>
                  <a:pt x="107884" y="152013"/>
                </a:lnTo>
                <a:lnTo>
                  <a:pt x="112101" y="145597"/>
                </a:lnTo>
                <a:lnTo>
                  <a:pt x="115573" y="138934"/>
                </a:lnTo>
                <a:lnTo>
                  <a:pt x="118797" y="131531"/>
                </a:lnTo>
                <a:lnTo>
                  <a:pt x="121525" y="123634"/>
                </a:lnTo>
                <a:lnTo>
                  <a:pt x="123757" y="115490"/>
                </a:lnTo>
                <a:lnTo>
                  <a:pt x="125245" y="107100"/>
                </a:lnTo>
                <a:lnTo>
                  <a:pt x="126237" y="98216"/>
                </a:lnTo>
                <a:lnTo>
                  <a:pt x="126485" y="89086"/>
                </a:lnTo>
                <a:lnTo>
                  <a:pt x="126237" y="79955"/>
                </a:lnTo>
                <a:lnTo>
                  <a:pt x="125245" y="71071"/>
                </a:lnTo>
                <a:lnTo>
                  <a:pt x="123757" y="62681"/>
                </a:lnTo>
                <a:lnTo>
                  <a:pt x="121525" y="54537"/>
                </a:lnTo>
                <a:lnTo>
                  <a:pt x="118797" y="46640"/>
                </a:lnTo>
                <a:lnTo>
                  <a:pt x="115573" y="39237"/>
                </a:lnTo>
                <a:lnTo>
                  <a:pt x="112101" y="32574"/>
                </a:lnTo>
                <a:lnTo>
                  <a:pt x="107884" y="26158"/>
                </a:lnTo>
                <a:lnTo>
                  <a:pt x="103420" y="20482"/>
                </a:lnTo>
                <a:lnTo>
                  <a:pt x="98708" y="15300"/>
                </a:lnTo>
                <a:lnTo>
                  <a:pt x="93500" y="10858"/>
                </a:lnTo>
                <a:lnTo>
                  <a:pt x="87795" y="6909"/>
                </a:lnTo>
                <a:lnTo>
                  <a:pt x="82091" y="3948"/>
                </a:lnTo>
                <a:lnTo>
                  <a:pt x="75891" y="1727"/>
                </a:lnTo>
                <a:lnTo>
                  <a:pt x="69691" y="493"/>
                </a:lnTo>
                <a:lnTo>
                  <a:pt x="63242" y="0"/>
                </a:lnTo>
                <a:close/>
              </a:path>
            </a:pathLst>
          </a:custGeom>
          <a:solidFill>
            <a:srgbClr val="B1B1B1"/>
          </a:solidFill>
        </p:spPr>
        <p:txBody>
          <a:bodyPr wrap="square" lIns="0" tIns="0" rIns="0" bIns="0" rtlCol="0">
            <a:noAutofit/>
          </a:bodyPr>
          <a:lstStyle/>
          <a:p>
            <a:endParaRPr/>
          </a:p>
        </p:txBody>
      </p:sp>
      <p:sp>
        <p:nvSpPr>
          <p:cNvPr id="2173" name="object 2173"/>
          <p:cNvSpPr/>
          <p:nvPr/>
        </p:nvSpPr>
        <p:spPr>
          <a:xfrm>
            <a:off x="8232152" y="1729240"/>
            <a:ext cx="64978" cy="90813"/>
          </a:xfrm>
          <a:custGeom>
            <a:avLst/>
            <a:gdLst/>
            <a:ahLst/>
            <a:cxnLst/>
            <a:rect l="l" t="t" r="r" b="b"/>
            <a:pathLst>
              <a:path w="64978" h="90813">
                <a:moveTo>
                  <a:pt x="2976" y="63914"/>
                </a:moveTo>
                <a:lnTo>
                  <a:pt x="1240" y="72552"/>
                </a:lnTo>
                <a:lnTo>
                  <a:pt x="248" y="81682"/>
                </a:lnTo>
                <a:lnTo>
                  <a:pt x="0" y="90813"/>
                </a:lnTo>
                <a:lnTo>
                  <a:pt x="3472" y="90813"/>
                </a:lnTo>
                <a:lnTo>
                  <a:pt x="3720" y="81682"/>
                </a:lnTo>
                <a:lnTo>
                  <a:pt x="4712" y="73045"/>
                </a:lnTo>
                <a:lnTo>
                  <a:pt x="6448" y="64901"/>
                </a:lnTo>
                <a:lnTo>
                  <a:pt x="8432" y="56758"/>
                </a:lnTo>
                <a:lnTo>
                  <a:pt x="11160" y="49108"/>
                </a:lnTo>
                <a:lnTo>
                  <a:pt x="14136" y="41705"/>
                </a:lnTo>
                <a:lnTo>
                  <a:pt x="17608" y="35288"/>
                </a:lnTo>
                <a:lnTo>
                  <a:pt x="21824" y="28872"/>
                </a:lnTo>
                <a:lnTo>
                  <a:pt x="26041" y="23443"/>
                </a:lnTo>
                <a:lnTo>
                  <a:pt x="31001" y="18261"/>
                </a:lnTo>
                <a:lnTo>
                  <a:pt x="35961" y="13819"/>
                </a:lnTo>
                <a:lnTo>
                  <a:pt x="41417" y="10117"/>
                </a:lnTo>
                <a:lnTo>
                  <a:pt x="46874" y="7156"/>
                </a:lnTo>
                <a:lnTo>
                  <a:pt x="52826" y="5182"/>
                </a:lnTo>
                <a:lnTo>
                  <a:pt x="58778" y="3948"/>
                </a:lnTo>
                <a:lnTo>
                  <a:pt x="64978" y="3454"/>
                </a:lnTo>
                <a:lnTo>
                  <a:pt x="64978" y="0"/>
                </a:lnTo>
                <a:lnTo>
                  <a:pt x="58282" y="493"/>
                </a:lnTo>
                <a:lnTo>
                  <a:pt x="51834" y="1727"/>
                </a:lnTo>
                <a:lnTo>
                  <a:pt x="45386" y="4195"/>
                </a:lnTo>
                <a:lnTo>
                  <a:pt x="39433" y="7156"/>
                </a:lnTo>
                <a:lnTo>
                  <a:pt x="33977" y="11351"/>
                </a:lnTo>
                <a:lnTo>
                  <a:pt x="28521" y="15793"/>
                </a:lnTo>
                <a:lnTo>
                  <a:pt x="23561" y="20975"/>
                </a:lnTo>
                <a:lnTo>
                  <a:pt x="18848" y="26898"/>
                </a:lnTo>
                <a:lnTo>
                  <a:pt x="14632" y="33314"/>
                </a:lnTo>
                <a:lnTo>
                  <a:pt x="11160" y="40224"/>
                </a:lnTo>
                <a:lnTo>
                  <a:pt x="7688" y="47627"/>
                </a:lnTo>
                <a:lnTo>
                  <a:pt x="4960" y="55771"/>
                </a:lnTo>
                <a:lnTo>
                  <a:pt x="2976" y="63914"/>
                </a:lnTo>
                <a:close/>
              </a:path>
            </a:pathLst>
          </a:custGeom>
          <a:solidFill>
            <a:srgbClr val="FFFFFF"/>
          </a:solidFill>
        </p:spPr>
        <p:txBody>
          <a:bodyPr wrap="square" lIns="0" tIns="0" rIns="0" bIns="0" rtlCol="0">
            <a:noAutofit/>
          </a:bodyPr>
          <a:lstStyle/>
          <a:p>
            <a:endParaRPr/>
          </a:p>
        </p:txBody>
      </p:sp>
      <p:sp>
        <p:nvSpPr>
          <p:cNvPr id="2174" name="object 2174"/>
          <p:cNvSpPr/>
          <p:nvPr/>
        </p:nvSpPr>
        <p:spPr>
          <a:xfrm>
            <a:off x="8232152" y="1820054"/>
            <a:ext cx="64978" cy="90813"/>
          </a:xfrm>
          <a:custGeom>
            <a:avLst/>
            <a:gdLst/>
            <a:ahLst/>
            <a:cxnLst/>
            <a:rect l="l" t="t" r="r" b="b"/>
            <a:pathLst>
              <a:path w="64978" h="90813">
                <a:moveTo>
                  <a:pt x="248" y="9130"/>
                </a:moveTo>
                <a:lnTo>
                  <a:pt x="1240" y="18261"/>
                </a:lnTo>
                <a:lnTo>
                  <a:pt x="2976" y="26898"/>
                </a:lnTo>
                <a:lnTo>
                  <a:pt x="4960" y="35042"/>
                </a:lnTo>
                <a:lnTo>
                  <a:pt x="7688" y="43185"/>
                </a:lnTo>
                <a:lnTo>
                  <a:pt x="11160" y="50589"/>
                </a:lnTo>
                <a:lnTo>
                  <a:pt x="14632" y="57498"/>
                </a:lnTo>
                <a:lnTo>
                  <a:pt x="18848" y="63914"/>
                </a:lnTo>
                <a:lnTo>
                  <a:pt x="23561" y="69837"/>
                </a:lnTo>
                <a:lnTo>
                  <a:pt x="28521" y="75019"/>
                </a:lnTo>
                <a:lnTo>
                  <a:pt x="33977" y="79461"/>
                </a:lnTo>
                <a:lnTo>
                  <a:pt x="39433" y="83656"/>
                </a:lnTo>
                <a:lnTo>
                  <a:pt x="45386" y="86618"/>
                </a:lnTo>
                <a:lnTo>
                  <a:pt x="51834" y="89086"/>
                </a:lnTo>
                <a:lnTo>
                  <a:pt x="58282" y="90319"/>
                </a:lnTo>
                <a:lnTo>
                  <a:pt x="64978" y="90813"/>
                </a:lnTo>
                <a:lnTo>
                  <a:pt x="64978" y="87358"/>
                </a:lnTo>
                <a:lnTo>
                  <a:pt x="58778" y="86865"/>
                </a:lnTo>
                <a:lnTo>
                  <a:pt x="52826" y="85631"/>
                </a:lnTo>
                <a:lnTo>
                  <a:pt x="46874" y="83656"/>
                </a:lnTo>
                <a:lnTo>
                  <a:pt x="41417" y="80695"/>
                </a:lnTo>
                <a:lnTo>
                  <a:pt x="35961" y="76993"/>
                </a:lnTo>
                <a:lnTo>
                  <a:pt x="31001" y="72552"/>
                </a:lnTo>
                <a:lnTo>
                  <a:pt x="26041" y="67369"/>
                </a:lnTo>
                <a:lnTo>
                  <a:pt x="21824" y="61940"/>
                </a:lnTo>
                <a:lnTo>
                  <a:pt x="17608" y="55524"/>
                </a:lnTo>
                <a:lnTo>
                  <a:pt x="14136" y="49108"/>
                </a:lnTo>
                <a:lnTo>
                  <a:pt x="11160" y="41705"/>
                </a:lnTo>
                <a:lnTo>
                  <a:pt x="8432" y="34055"/>
                </a:lnTo>
                <a:lnTo>
                  <a:pt x="6448" y="25911"/>
                </a:lnTo>
                <a:lnTo>
                  <a:pt x="4712" y="17767"/>
                </a:lnTo>
                <a:lnTo>
                  <a:pt x="3720" y="9130"/>
                </a:lnTo>
                <a:lnTo>
                  <a:pt x="3472" y="0"/>
                </a:lnTo>
                <a:lnTo>
                  <a:pt x="0" y="0"/>
                </a:lnTo>
                <a:lnTo>
                  <a:pt x="248" y="9130"/>
                </a:lnTo>
                <a:close/>
              </a:path>
            </a:pathLst>
          </a:custGeom>
          <a:solidFill>
            <a:srgbClr val="FFFFFF"/>
          </a:solidFill>
        </p:spPr>
        <p:txBody>
          <a:bodyPr wrap="square" lIns="0" tIns="0" rIns="0" bIns="0" rtlCol="0">
            <a:noAutofit/>
          </a:bodyPr>
          <a:lstStyle/>
          <a:p>
            <a:endParaRPr/>
          </a:p>
        </p:txBody>
      </p:sp>
      <p:sp>
        <p:nvSpPr>
          <p:cNvPr id="2175" name="object 2175"/>
          <p:cNvSpPr/>
          <p:nvPr/>
        </p:nvSpPr>
        <p:spPr>
          <a:xfrm>
            <a:off x="8297131" y="1820054"/>
            <a:ext cx="64978" cy="90813"/>
          </a:xfrm>
          <a:custGeom>
            <a:avLst/>
            <a:gdLst/>
            <a:ahLst/>
            <a:cxnLst/>
            <a:rect l="l" t="t" r="r" b="b"/>
            <a:pathLst>
              <a:path w="64978" h="90813">
                <a:moveTo>
                  <a:pt x="57290" y="43185"/>
                </a:moveTo>
                <a:lnTo>
                  <a:pt x="60018" y="35042"/>
                </a:lnTo>
                <a:lnTo>
                  <a:pt x="62250" y="26898"/>
                </a:lnTo>
                <a:lnTo>
                  <a:pt x="63738" y="18261"/>
                </a:lnTo>
                <a:lnTo>
                  <a:pt x="64730" y="9130"/>
                </a:lnTo>
                <a:lnTo>
                  <a:pt x="64978" y="0"/>
                </a:lnTo>
                <a:lnTo>
                  <a:pt x="61506" y="0"/>
                </a:lnTo>
                <a:lnTo>
                  <a:pt x="61258" y="9130"/>
                </a:lnTo>
                <a:lnTo>
                  <a:pt x="60266" y="17767"/>
                </a:lnTo>
                <a:lnTo>
                  <a:pt x="58778" y="25911"/>
                </a:lnTo>
                <a:lnTo>
                  <a:pt x="56546" y="34055"/>
                </a:lnTo>
                <a:lnTo>
                  <a:pt x="53818" y="41705"/>
                </a:lnTo>
                <a:lnTo>
                  <a:pt x="50842" y="49108"/>
                </a:lnTo>
                <a:lnTo>
                  <a:pt x="47370" y="55524"/>
                </a:lnTo>
                <a:lnTo>
                  <a:pt x="43153" y="61940"/>
                </a:lnTo>
                <a:lnTo>
                  <a:pt x="38937" y="67616"/>
                </a:lnTo>
                <a:lnTo>
                  <a:pt x="34225" y="72552"/>
                </a:lnTo>
                <a:lnTo>
                  <a:pt x="29265" y="76747"/>
                </a:lnTo>
                <a:lnTo>
                  <a:pt x="23561" y="80695"/>
                </a:lnTo>
                <a:lnTo>
                  <a:pt x="18104" y="83656"/>
                </a:lnTo>
                <a:lnTo>
                  <a:pt x="12152" y="85631"/>
                </a:lnTo>
                <a:lnTo>
                  <a:pt x="6200" y="86865"/>
                </a:lnTo>
                <a:lnTo>
                  <a:pt x="0" y="87358"/>
                </a:lnTo>
                <a:lnTo>
                  <a:pt x="0" y="90813"/>
                </a:lnTo>
                <a:lnTo>
                  <a:pt x="6696" y="90319"/>
                </a:lnTo>
                <a:lnTo>
                  <a:pt x="13144" y="89086"/>
                </a:lnTo>
                <a:lnTo>
                  <a:pt x="19592" y="86618"/>
                </a:lnTo>
                <a:lnTo>
                  <a:pt x="25545" y="83656"/>
                </a:lnTo>
                <a:lnTo>
                  <a:pt x="31249" y="79708"/>
                </a:lnTo>
                <a:lnTo>
                  <a:pt x="36705" y="75019"/>
                </a:lnTo>
                <a:lnTo>
                  <a:pt x="41417" y="69590"/>
                </a:lnTo>
                <a:lnTo>
                  <a:pt x="46130" y="63914"/>
                </a:lnTo>
                <a:lnTo>
                  <a:pt x="50346" y="57498"/>
                </a:lnTo>
                <a:lnTo>
                  <a:pt x="53818" y="50589"/>
                </a:lnTo>
                <a:lnTo>
                  <a:pt x="57290" y="43185"/>
                </a:lnTo>
                <a:close/>
              </a:path>
            </a:pathLst>
          </a:custGeom>
          <a:solidFill>
            <a:srgbClr val="FFFFFF"/>
          </a:solidFill>
        </p:spPr>
        <p:txBody>
          <a:bodyPr wrap="square" lIns="0" tIns="0" rIns="0" bIns="0" rtlCol="0">
            <a:noAutofit/>
          </a:bodyPr>
          <a:lstStyle/>
          <a:p>
            <a:endParaRPr/>
          </a:p>
        </p:txBody>
      </p:sp>
      <p:sp>
        <p:nvSpPr>
          <p:cNvPr id="2176" name="object 2176"/>
          <p:cNvSpPr/>
          <p:nvPr/>
        </p:nvSpPr>
        <p:spPr>
          <a:xfrm>
            <a:off x="8297131" y="1729240"/>
            <a:ext cx="64978" cy="90813"/>
          </a:xfrm>
          <a:custGeom>
            <a:avLst/>
            <a:gdLst/>
            <a:ahLst/>
            <a:cxnLst/>
            <a:rect l="l" t="t" r="r" b="b"/>
            <a:pathLst>
              <a:path w="64978" h="90813">
                <a:moveTo>
                  <a:pt x="0" y="0"/>
                </a:moveTo>
                <a:lnTo>
                  <a:pt x="0" y="3454"/>
                </a:lnTo>
                <a:lnTo>
                  <a:pt x="6200" y="3948"/>
                </a:lnTo>
                <a:lnTo>
                  <a:pt x="12152" y="5182"/>
                </a:lnTo>
                <a:lnTo>
                  <a:pt x="18104" y="7156"/>
                </a:lnTo>
                <a:lnTo>
                  <a:pt x="23561" y="10117"/>
                </a:lnTo>
                <a:lnTo>
                  <a:pt x="29265" y="14066"/>
                </a:lnTo>
                <a:lnTo>
                  <a:pt x="34225" y="18261"/>
                </a:lnTo>
                <a:lnTo>
                  <a:pt x="38937" y="23196"/>
                </a:lnTo>
                <a:lnTo>
                  <a:pt x="43153" y="28872"/>
                </a:lnTo>
                <a:lnTo>
                  <a:pt x="47370" y="35288"/>
                </a:lnTo>
                <a:lnTo>
                  <a:pt x="50842" y="41705"/>
                </a:lnTo>
                <a:lnTo>
                  <a:pt x="53818" y="49108"/>
                </a:lnTo>
                <a:lnTo>
                  <a:pt x="56546" y="56758"/>
                </a:lnTo>
                <a:lnTo>
                  <a:pt x="58778" y="64901"/>
                </a:lnTo>
                <a:lnTo>
                  <a:pt x="60266" y="73045"/>
                </a:lnTo>
                <a:lnTo>
                  <a:pt x="61258" y="81682"/>
                </a:lnTo>
                <a:lnTo>
                  <a:pt x="61506" y="90813"/>
                </a:lnTo>
                <a:lnTo>
                  <a:pt x="64978" y="90813"/>
                </a:lnTo>
                <a:lnTo>
                  <a:pt x="64730" y="81682"/>
                </a:lnTo>
                <a:lnTo>
                  <a:pt x="63738" y="72552"/>
                </a:lnTo>
                <a:lnTo>
                  <a:pt x="62250" y="63914"/>
                </a:lnTo>
                <a:lnTo>
                  <a:pt x="60018" y="55771"/>
                </a:lnTo>
                <a:lnTo>
                  <a:pt x="57290" y="47627"/>
                </a:lnTo>
                <a:lnTo>
                  <a:pt x="53818" y="40224"/>
                </a:lnTo>
                <a:lnTo>
                  <a:pt x="50346" y="33314"/>
                </a:lnTo>
                <a:lnTo>
                  <a:pt x="46130" y="26898"/>
                </a:lnTo>
                <a:lnTo>
                  <a:pt x="41417" y="21222"/>
                </a:lnTo>
                <a:lnTo>
                  <a:pt x="36705" y="15793"/>
                </a:lnTo>
                <a:lnTo>
                  <a:pt x="31249" y="11104"/>
                </a:lnTo>
                <a:lnTo>
                  <a:pt x="25545" y="7156"/>
                </a:lnTo>
                <a:lnTo>
                  <a:pt x="19592" y="4195"/>
                </a:lnTo>
                <a:lnTo>
                  <a:pt x="13144" y="1727"/>
                </a:lnTo>
                <a:lnTo>
                  <a:pt x="6696" y="493"/>
                </a:lnTo>
                <a:lnTo>
                  <a:pt x="0" y="0"/>
                </a:lnTo>
                <a:close/>
              </a:path>
            </a:pathLst>
          </a:custGeom>
          <a:solidFill>
            <a:srgbClr val="FFFFFF"/>
          </a:solidFill>
        </p:spPr>
        <p:txBody>
          <a:bodyPr wrap="square" lIns="0" tIns="0" rIns="0" bIns="0" rtlCol="0">
            <a:noAutofit/>
          </a:bodyPr>
          <a:lstStyle/>
          <a:p>
            <a:endParaRPr/>
          </a:p>
        </p:txBody>
      </p:sp>
      <p:sp>
        <p:nvSpPr>
          <p:cNvPr id="2177" name="object 2177"/>
          <p:cNvSpPr/>
          <p:nvPr/>
        </p:nvSpPr>
        <p:spPr>
          <a:xfrm>
            <a:off x="8233889" y="1738617"/>
            <a:ext cx="115821" cy="163118"/>
          </a:xfrm>
          <a:custGeom>
            <a:avLst/>
            <a:gdLst/>
            <a:ahLst/>
            <a:cxnLst/>
            <a:rect l="l" t="t" r="r" b="b"/>
            <a:pathLst>
              <a:path w="115821" h="163118">
                <a:moveTo>
                  <a:pt x="57786" y="0"/>
                </a:moveTo>
                <a:lnTo>
                  <a:pt x="51834" y="493"/>
                </a:lnTo>
                <a:lnTo>
                  <a:pt x="46130" y="1727"/>
                </a:lnTo>
                <a:lnTo>
                  <a:pt x="40673" y="3701"/>
                </a:lnTo>
                <a:lnTo>
                  <a:pt x="35465" y="6416"/>
                </a:lnTo>
                <a:lnTo>
                  <a:pt x="30257" y="9871"/>
                </a:lnTo>
                <a:lnTo>
                  <a:pt x="25545" y="14066"/>
                </a:lnTo>
                <a:lnTo>
                  <a:pt x="21080" y="18754"/>
                </a:lnTo>
                <a:lnTo>
                  <a:pt x="17112" y="23937"/>
                </a:lnTo>
                <a:lnTo>
                  <a:pt x="13144" y="29859"/>
                </a:lnTo>
                <a:lnTo>
                  <a:pt x="9920" y="36029"/>
                </a:lnTo>
                <a:lnTo>
                  <a:pt x="6944" y="42938"/>
                </a:lnTo>
                <a:lnTo>
                  <a:pt x="4464" y="49848"/>
                </a:lnTo>
                <a:lnTo>
                  <a:pt x="2728" y="57498"/>
                </a:lnTo>
                <a:lnTo>
                  <a:pt x="1240" y="65395"/>
                </a:lnTo>
                <a:lnTo>
                  <a:pt x="248" y="73292"/>
                </a:lnTo>
                <a:lnTo>
                  <a:pt x="0" y="81682"/>
                </a:lnTo>
                <a:lnTo>
                  <a:pt x="248" y="90073"/>
                </a:lnTo>
                <a:lnTo>
                  <a:pt x="1240" y="97969"/>
                </a:lnTo>
                <a:lnTo>
                  <a:pt x="2728" y="105866"/>
                </a:lnTo>
                <a:lnTo>
                  <a:pt x="4464" y="113270"/>
                </a:lnTo>
                <a:lnTo>
                  <a:pt x="6944" y="120426"/>
                </a:lnTo>
                <a:lnTo>
                  <a:pt x="9920" y="127089"/>
                </a:lnTo>
                <a:lnTo>
                  <a:pt x="13144" y="133505"/>
                </a:lnTo>
                <a:lnTo>
                  <a:pt x="17112" y="139181"/>
                </a:lnTo>
                <a:lnTo>
                  <a:pt x="21080" y="144610"/>
                </a:lnTo>
                <a:lnTo>
                  <a:pt x="25545" y="149299"/>
                </a:lnTo>
                <a:lnTo>
                  <a:pt x="30257" y="153247"/>
                </a:lnTo>
                <a:lnTo>
                  <a:pt x="35465" y="156702"/>
                </a:lnTo>
                <a:lnTo>
                  <a:pt x="40673" y="159417"/>
                </a:lnTo>
                <a:lnTo>
                  <a:pt x="46130" y="161391"/>
                </a:lnTo>
                <a:lnTo>
                  <a:pt x="51834" y="162625"/>
                </a:lnTo>
                <a:lnTo>
                  <a:pt x="57786" y="163118"/>
                </a:lnTo>
                <a:lnTo>
                  <a:pt x="63738" y="162625"/>
                </a:lnTo>
                <a:lnTo>
                  <a:pt x="69443" y="161391"/>
                </a:lnTo>
                <a:lnTo>
                  <a:pt x="74899" y="159417"/>
                </a:lnTo>
                <a:lnTo>
                  <a:pt x="80355" y="156702"/>
                </a:lnTo>
                <a:lnTo>
                  <a:pt x="85315" y="153247"/>
                </a:lnTo>
                <a:lnTo>
                  <a:pt x="90276" y="149299"/>
                </a:lnTo>
                <a:lnTo>
                  <a:pt x="94740" y="144610"/>
                </a:lnTo>
                <a:lnTo>
                  <a:pt x="98708" y="139181"/>
                </a:lnTo>
                <a:lnTo>
                  <a:pt x="102428" y="133505"/>
                </a:lnTo>
                <a:lnTo>
                  <a:pt x="105900" y="127089"/>
                </a:lnTo>
                <a:lnTo>
                  <a:pt x="108876" y="120426"/>
                </a:lnTo>
                <a:lnTo>
                  <a:pt x="111357" y="113270"/>
                </a:lnTo>
                <a:lnTo>
                  <a:pt x="113093" y="105866"/>
                </a:lnTo>
                <a:lnTo>
                  <a:pt x="114581" y="97969"/>
                </a:lnTo>
                <a:lnTo>
                  <a:pt x="115573" y="90073"/>
                </a:lnTo>
                <a:lnTo>
                  <a:pt x="115821" y="81682"/>
                </a:lnTo>
                <a:lnTo>
                  <a:pt x="115573" y="73292"/>
                </a:lnTo>
                <a:lnTo>
                  <a:pt x="114581" y="65395"/>
                </a:lnTo>
                <a:lnTo>
                  <a:pt x="113093" y="57498"/>
                </a:lnTo>
                <a:lnTo>
                  <a:pt x="111357" y="49848"/>
                </a:lnTo>
                <a:lnTo>
                  <a:pt x="108876" y="42938"/>
                </a:lnTo>
                <a:lnTo>
                  <a:pt x="105900" y="36029"/>
                </a:lnTo>
                <a:lnTo>
                  <a:pt x="102428" y="29859"/>
                </a:lnTo>
                <a:lnTo>
                  <a:pt x="98708" y="23937"/>
                </a:lnTo>
                <a:lnTo>
                  <a:pt x="94740" y="18754"/>
                </a:lnTo>
                <a:lnTo>
                  <a:pt x="90276" y="14066"/>
                </a:lnTo>
                <a:lnTo>
                  <a:pt x="85315" y="9871"/>
                </a:lnTo>
                <a:lnTo>
                  <a:pt x="80355" y="6416"/>
                </a:lnTo>
                <a:lnTo>
                  <a:pt x="74899" y="3701"/>
                </a:lnTo>
                <a:lnTo>
                  <a:pt x="69443" y="1727"/>
                </a:lnTo>
                <a:lnTo>
                  <a:pt x="63738" y="493"/>
                </a:lnTo>
                <a:lnTo>
                  <a:pt x="57786" y="0"/>
                </a:lnTo>
                <a:close/>
              </a:path>
            </a:pathLst>
          </a:custGeom>
          <a:solidFill>
            <a:srgbClr val="999999"/>
          </a:solidFill>
        </p:spPr>
        <p:txBody>
          <a:bodyPr wrap="square" lIns="0" tIns="0" rIns="0" bIns="0" rtlCol="0">
            <a:noAutofit/>
          </a:bodyPr>
          <a:lstStyle/>
          <a:p>
            <a:endParaRPr/>
          </a:p>
        </p:txBody>
      </p:sp>
      <p:sp>
        <p:nvSpPr>
          <p:cNvPr id="2178" name="object 2178"/>
          <p:cNvSpPr/>
          <p:nvPr/>
        </p:nvSpPr>
        <p:spPr>
          <a:xfrm>
            <a:off x="8291674" y="1736889"/>
            <a:ext cx="59770" cy="83410"/>
          </a:xfrm>
          <a:custGeom>
            <a:avLst/>
            <a:gdLst/>
            <a:ahLst/>
            <a:cxnLst/>
            <a:rect l="l" t="t" r="r" b="b"/>
            <a:pathLst>
              <a:path w="59770" h="83410">
                <a:moveTo>
                  <a:pt x="5704" y="3948"/>
                </a:moveTo>
                <a:lnTo>
                  <a:pt x="11160" y="5182"/>
                </a:lnTo>
                <a:lnTo>
                  <a:pt x="16368" y="6909"/>
                </a:lnTo>
                <a:lnTo>
                  <a:pt x="21576" y="9624"/>
                </a:lnTo>
                <a:lnTo>
                  <a:pt x="26537" y="13079"/>
                </a:lnTo>
                <a:lnTo>
                  <a:pt x="31249" y="17027"/>
                </a:lnTo>
                <a:lnTo>
                  <a:pt x="35713" y="21716"/>
                </a:lnTo>
                <a:lnTo>
                  <a:pt x="39433" y="26651"/>
                </a:lnTo>
                <a:lnTo>
                  <a:pt x="43153" y="32574"/>
                </a:lnTo>
                <a:lnTo>
                  <a:pt x="46626" y="38496"/>
                </a:lnTo>
                <a:lnTo>
                  <a:pt x="49354" y="45406"/>
                </a:lnTo>
                <a:lnTo>
                  <a:pt x="51834" y="52069"/>
                </a:lnTo>
                <a:lnTo>
                  <a:pt x="53570" y="59472"/>
                </a:lnTo>
                <a:lnTo>
                  <a:pt x="55058" y="67369"/>
                </a:lnTo>
                <a:lnTo>
                  <a:pt x="56050" y="75266"/>
                </a:lnTo>
                <a:lnTo>
                  <a:pt x="56298" y="83410"/>
                </a:lnTo>
                <a:lnTo>
                  <a:pt x="59770" y="83410"/>
                </a:lnTo>
                <a:lnTo>
                  <a:pt x="59522" y="74773"/>
                </a:lnTo>
                <a:lnTo>
                  <a:pt x="58530" y="66876"/>
                </a:lnTo>
                <a:lnTo>
                  <a:pt x="57042" y="58979"/>
                </a:lnTo>
                <a:lnTo>
                  <a:pt x="55306" y="51082"/>
                </a:lnTo>
                <a:lnTo>
                  <a:pt x="52826" y="43926"/>
                </a:lnTo>
                <a:lnTo>
                  <a:pt x="49602" y="37016"/>
                </a:lnTo>
                <a:lnTo>
                  <a:pt x="46130" y="30600"/>
                </a:lnTo>
                <a:lnTo>
                  <a:pt x="42409" y="24677"/>
                </a:lnTo>
                <a:lnTo>
                  <a:pt x="38193" y="19248"/>
                </a:lnTo>
                <a:lnTo>
                  <a:pt x="33729" y="14559"/>
                </a:lnTo>
                <a:lnTo>
                  <a:pt x="28521" y="10117"/>
                </a:lnTo>
                <a:lnTo>
                  <a:pt x="23561" y="6662"/>
                </a:lnTo>
                <a:lnTo>
                  <a:pt x="17856" y="3948"/>
                </a:lnTo>
                <a:lnTo>
                  <a:pt x="12152" y="1727"/>
                </a:lnTo>
                <a:lnTo>
                  <a:pt x="6200" y="493"/>
                </a:lnTo>
                <a:lnTo>
                  <a:pt x="0" y="0"/>
                </a:lnTo>
                <a:lnTo>
                  <a:pt x="0" y="3454"/>
                </a:lnTo>
                <a:lnTo>
                  <a:pt x="5704" y="3948"/>
                </a:lnTo>
                <a:close/>
              </a:path>
            </a:pathLst>
          </a:custGeom>
          <a:solidFill>
            <a:srgbClr val="000000"/>
          </a:solidFill>
        </p:spPr>
        <p:txBody>
          <a:bodyPr wrap="square" lIns="0" tIns="0" rIns="0" bIns="0" rtlCol="0">
            <a:noAutofit/>
          </a:bodyPr>
          <a:lstStyle/>
          <a:p>
            <a:endParaRPr/>
          </a:p>
        </p:txBody>
      </p:sp>
      <p:sp>
        <p:nvSpPr>
          <p:cNvPr id="2179" name="object 2179"/>
          <p:cNvSpPr/>
          <p:nvPr/>
        </p:nvSpPr>
        <p:spPr>
          <a:xfrm>
            <a:off x="8291674" y="1820300"/>
            <a:ext cx="59770" cy="83163"/>
          </a:xfrm>
          <a:custGeom>
            <a:avLst/>
            <a:gdLst/>
            <a:ahLst/>
            <a:cxnLst/>
            <a:rect l="l" t="t" r="r" b="b"/>
            <a:pathLst>
              <a:path w="59770" h="83163">
                <a:moveTo>
                  <a:pt x="0" y="79708"/>
                </a:moveTo>
                <a:lnTo>
                  <a:pt x="0" y="83163"/>
                </a:lnTo>
                <a:lnTo>
                  <a:pt x="6200" y="82669"/>
                </a:lnTo>
                <a:lnTo>
                  <a:pt x="12152" y="81435"/>
                </a:lnTo>
                <a:lnTo>
                  <a:pt x="17856" y="79214"/>
                </a:lnTo>
                <a:lnTo>
                  <a:pt x="23561" y="76500"/>
                </a:lnTo>
                <a:lnTo>
                  <a:pt x="28521" y="73045"/>
                </a:lnTo>
                <a:lnTo>
                  <a:pt x="33729" y="68850"/>
                </a:lnTo>
                <a:lnTo>
                  <a:pt x="38193" y="63914"/>
                </a:lnTo>
                <a:lnTo>
                  <a:pt x="42409" y="58485"/>
                </a:lnTo>
                <a:lnTo>
                  <a:pt x="46130" y="52809"/>
                </a:lnTo>
                <a:lnTo>
                  <a:pt x="49602" y="46147"/>
                </a:lnTo>
                <a:lnTo>
                  <a:pt x="52826" y="39484"/>
                </a:lnTo>
                <a:lnTo>
                  <a:pt x="55306" y="32080"/>
                </a:lnTo>
                <a:lnTo>
                  <a:pt x="57042" y="24430"/>
                </a:lnTo>
                <a:lnTo>
                  <a:pt x="58530" y="16533"/>
                </a:lnTo>
                <a:lnTo>
                  <a:pt x="59522" y="8637"/>
                </a:lnTo>
                <a:lnTo>
                  <a:pt x="59770" y="0"/>
                </a:lnTo>
                <a:lnTo>
                  <a:pt x="56298" y="0"/>
                </a:lnTo>
                <a:lnTo>
                  <a:pt x="56050" y="8143"/>
                </a:lnTo>
                <a:lnTo>
                  <a:pt x="55058" y="16040"/>
                </a:lnTo>
                <a:lnTo>
                  <a:pt x="53570" y="23937"/>
                </a:lnTo>
                <a:lnTo>
                  <a:pt x="51834" y="31093"/>
                </a:lnTo>
                <a:lnTo>
                  <a:pt x="49354" y="38003"/>
                </a:lnTo>
                <a:lnTo>
                  <a:pt x="46626" y="44666"/>
                </a:lnTo>
                <a:lnTo>
                  <a:pt x="43153" y="50835"/>
                </a:lnTo>
                <a:lnTo>
                  <a:pt x="39433" y="56511"/>
                </a:lnTo>
                <a:lnTo>
                  <a:pt x="35713" y="61940"/>
                </a:lnTo>
                <a:lnTo>
                  <a:pt x="31249" y="66382"/>
                </a:lnTo>
                <a:lnTo>
                  <a:pt x="26537" y="70084"/>
                </a:lnTo>
                <a:lnTo>
                  <a:pt x="21576" y="73539"/>
                </a:lnTo>
                <a:lnTo>
                  <a:pt x="16368" y="76253"/>
                </a:lnTo>
                <a:lnTo>
                  <a:pt x="11160" y="77981"/>
                </a:lnTo>
                <a:lnTo>
                  <a:pt x="5704" y="79214"/>
                </a:lnTo>
                <a:lnTo>
                  <a:pt x="0" y="79708"/>
                </a:lnTo>
                <a:close/>
              </a:path>
            </a:pathLst>
          </a:custGeom>
          <a:solidFill>
            <a:srgbClr val="000000"/>
          </a:solidFill>
        </p:spPr>
        <p:txBody>
          <a:bodyPr wrap="square" lIns="0" tIns="0" rIns="0" bIns="0" rtlCol="0">
            <a:noAutofit/>
          </a:bodyPr>
          <a:lstStyle/>
          <a:p>
            <a:endParaRPr/>
          </a:p>
        </p:txBody>
      </p:sp>
      <p:sp>
        <p:nvSpPr>
          <p:cNvPr id="2180" name="object 2180"/>
          <p:cNvSpPr/>
          <p:nvPr/>
        </p:nvSpPr>
        <p:spPr>
          <a:xfrm>
            <a:off x="8232152" y="1820300"/>
            <a:ext cx="59522" cy="83163"/>
          </a:xfrm>
          <a:custGeom>
            <a:avLst/>
            <a:gdLst/>
            <a:ahLst/>
            <a:cxnLst/>
            <a:rect l="l" t="t" r="r" b="b"/>
            <a:pathLst>
              <a:path w="59522" h="83163">
                <a:moveTo>
                  <a:pt x="248" y="8637"/>
                </a:moveTo>
                <a:lnTo>
                  <a:pt x="1240" y="16533"/>
                </a:lnTo>
                <a:lnTo>
                  <a:pt x="2728" y="24430"/>
                </a:lnTo>
                <a:lnTo>
                  <a:pt x="4464" y="32080"/>
                </a:lnTo>
                <a:lnTo>
                  <a:pt x="6944" y="39484"/>
                </a:lnTo>
                <a:lnTo>
                  <a:pt x="10168" y="46147"/>
                </a:lnTo>
                <a:lnTo>
                  <a:pt x="13392" y="52809"/>
                </a:lnTo>
                <a:lnTo>
                  <a:pt x="17360" y="58485"/>
                </a:lnTo>
                <a:lnTo>
                  <a:pt x="21576" y="63914"/>
                </a:lnTo>
                <a:lnTo>
                  <a:pt x="26041" y="68850"/>
                </a:lnTo>
                <a:lnTo>
                  <a:pt x="31001" y="73045"/>
                </a:lnTo>
                <a:lnTo>
                  <a:pt x="36209" y="76500"/>
                </a:lnTo>
                <a:lnTo>
                  <a:pt x="41665" y="79214"/>
                </a:lnTo>
                <a:lnTo>
                  <a:pt x="47370" y="81435"/>
                </a:lnTo>
                <a:lnTo>
                  <a:pt x="53322" y="82669"/>
                </a:lnTo>
                <a:lnTo>
                  <a:pt x="59522" y="83163"/>
                </a:lnTo>
                <a:lnTo>
                  <a:pt x="59522" y="79708"/>
                </a:lnTo>
                <a:lnTo>
                  <a:pt x="53818" y="79214"/>
                </a:lnTo>
                <a:lnTo>
                  <a:pt x="48362" y="77981"/>
                </a:lnTo>
                <a:lnTo>
                  <a:pt x="43153" y="76253"/>
                </a:lnTo>
                <a:lnTo>
                  <a:pt x="38193" y="73539"/>
                </a:lnTo>
                <a:lnTo>
                  <a:pt x="32985" y="70084"/>
                </a:lnTo>
                <a:lnTo>
                  <a:pt x="28521" y="66382"/>
                </a:lnTo>
                <a:lnTo>
                  <a:pt x="24057" y="61940"/>
                </a:lnTo>
                <a:lnTo>
                  <a:pt x="20336" y="56511"/>
                </a:lnTo>
                <a:lnTo>
                  <a:pt x="16368" y="50835"/>
                </a:lnTo>
                <a:lnTo>
                  <a:pt x="13144" y="44666"/>
                </a:lnTo>
                <a:lnTo>
                  <a:pt x="10416" y="38003"/>
                </a:lnTo>
                <a:lnTo>
                  <a:pt x="7936" y="31093"/>
                </a:lnTo>
                <a:lnTo>
                  <a:pt x="6200" y="23937"/>
                </a:lnTo>
                <a:lnTo>
                  <a:pt x="4712" y="16040"/>
                </a:lnTo>
                <a:lnTo>
                  <a:pt x="3720" y="8143"/>
                </a:lnTo>
                <a:lnTo>
                  <a:pt x="3472" y="0"/>
                </a:lnTo>
                <a:lnTo>
                  <a:pt x="0" y="0"/>
                </a:lnTo>
                <a:lnTo>
                  <a:pt x="248" y="8637"/>
                </a:lnTo>
                <a:close/>
              </a:path>
            </a:pathLst>
          </a:custGeom>
          <a:solidFill>
            <a:srgbClr val="000000"/>
          </a:solidFill>
        </p:spPr>
        <p:txBody>
          <a:bodyPr wrap="square" lIns="0" tIns="0" rIns="0" bIns="0" rtlCol="0">
            <a:noAutofit/>
          </a:bodyPr>
          <a:lstStyle/>
          <a:p>
            <a:endParaRPr/>
          </a:p>
        </p:txBody>
      </p:sp>
      <p:sp>
        <p:nvSpPr>
          <p:cNvPr id="2181" name="object 2181"/>
          <p:cNvSpPr/>
          <p:nvPr/>
        </p:nvSpPr>
        <p:spPr>
          <a:xfrm>
            <a:off x="8232152" y="1736889"/>
            <a:ext cx="59522" cy="83410"/>
          </a:xfrm>
          <a:custGeom>
            <a:avLst/>
            <a:gdLst/>
            <a:ahLst/>
            <a:cxnLst/>
            <a:rect l="l" t="t" r="r" b="b"/>
            <a:pathLst>
              <a:path w="59522" h="83410">
                <a:moveTo>
                  <a:pt x="1240" y="66876"/>
                </a:moveTo>
                <a:lnTo>
                  <a:pt x="248" y="74773"/>
                </a:lnTo>
                <a:lnTo>
                  <a:pt x="0" y="83410"/>
                </a:lnTo>
                <a:lnTo>
                  <a:pt x="3472" y="83410"/>
                </a:lnTo>
                <a:lnTo>
                  <a:pt x="3720" y="75266"/>
                </a:lnTo>
                <a:lnTo>
                  <a:pt x="4712" y="67369"/>
                </a:lnTo>
                <a:lnTo>
                  <a:pt x="6200" y="59472"/>
                </a:lnTo>
                <a:lnTo>
                  <a:pt x="7936" y="52069"/>
                </a:lnTo>
                <a:lnTo>
                  <a:pt x="10416" y="45406"/>
                </a:lnTo>
                <a:lnTo>
                  <a:pt x="13144" y="38496"/>
                </a:lnTo>
                <a:lnTo>
                  <a:pt x="16368" y="32574"/>
                </a:lnTo>
                <a:lnTo>
                  <a:pt x="20336" y="26651"/>
                </a:lnTo>
                <a:lnTo>
                  <a:pt x="24057" y="21716"/>
                </a:lnTo>
                <a:lnTo>
                  <a:pt x="28521" y="17027"/>
                </a:lnTo>
                <a:lnTo>
                  <a:pt x="32985" y="13079"/>
                </a:lnTo>
                <a:lnTo>
                  <a:pt x="38193" y="9624"/>
                </a:lnTo>
                <a:lnTo>
                  <a:pt x="43153" y="6909"/>
                </a:lnTo>
                <a:lnTo>
                  <a:pt x="48362" y="5182"/>
                </a:lnTo>
                <a:lnTo>
                  <a:pt x="53818" y="3948"/>
                </a:lnTo>
                <a:lnTo>
                  <a:pt x="59522" y="3454"/>
                </a:lnTo>
                <a:lnTo>
                  <a:pt x="59522" y="0"/>
                </a:lnTo>
                <a:lnTo>
                  <a:pt x="53322" y="493"/>
                </a:lnTo>
                <a:lnTo>
                  <a:pt x="47370" y="1727"/>
                </a:lnTo>
                <a:lnTo>
                  <a:pt x="41665" y="3948"/>
                </a:lnTo>
                <a:lnTo>
                  <a:pt x="36209" y="6662"/>
                </a:lnTo>
                <a:lnTo>
                  <a:pt x="31001" y="10117"/>
                </a:lnTo>
                <a:lnTo>
                  <a:pt x="26041" y="14559"/>
                </a:lnTo>
                <a:lnTo>
                  <a:pt x="21576" y="19248"/>
                </a:lnTo>
                <a:lnTo>
                  <a:pt x="17360" y="24677"/>
                </a:lnTo>
                <a:lnTo>
                  <a:pt x="13392" y="30600"/>
                </a:lnTo>
                <a:lnTo>
                  <a:pt x="10168" y="37016"/>
                </a:lnTo>
                <a:lnTo>
                  <a:pt x="6944" y="43926"/>
                </a:lnTo>
                <a:lnTo>
                  <a:pt x="4464" y="51082"/>
                </a:lnTo>
                <a:lnTo>
                  <a:pt x="2728" y="58979"/>
                </a:lnTo>
                <a:lnTo>
                  <a:pt x="1240" y="66876"/>
                </a:lnTo>
                <a:close/>
              </a:path>
            </a:pathLst>
          </a:custGeom>
          <a:solidFill>
            <a:srgbClr val="000000"/>
          </a:solidFill>
        </p:spPr>
        <p:txBody>
          <a:bodyPr wrap="square" lIns="0" tIns="0" rIns="0" bIns="0" rtlCol="0">
            <a:noAutofit/>
          </a:bodyPr>
          <a:lstStyle/>
          <a:p>
            <a:endParaRPr/>
          </a:p>
        </p:txBody>
      </p:sp>
      <p:sp>
        <p:nvSpPr>
          <p:cNvPr id="2182" name="object 2182"/>
          <p:cNvSpPr/>
          <p:nvPr/>
        </p:nvSpPr>
        <p:spPr>
          <a:xfrm>
            <a:off x="8249016" y="1748242"/>
            <a:ext cx="101932" cy="143623"/>
          </a:xfrm>
          <a:custGeom>
            <a:avLst/>
            <a:gdLst/>
            <a:ahLst/>
            <a:cxnLst/>
            <a:rect l="l" t="t" r="r" b="b"/>
            <a:pathLst>
              <a:path w="101932" h="143623">
                <a:moveTo>
                  <a:pt x="50842" y="0"/>
                </a:moveTo>
                <a:lnTo>
                  <a:pt x="45634" y="493"/>
                </a:lnTo>
                <a:lnTo>
                  <a:pt x="40673" y="1480"/>
                </a:lnTo>
                <a:lnTo>
                  <a:pt x="35713" y="3208"/>
                </a:lnTo>
                <a:lnTo>
                  <a:pt x="31001" y="5675"/>
                </a:lnTo>
                <a:lnTo>
                  <a:pt x="26537" y="8637"/>
                </a:lnTo>
                <a:lnTo>
                  <a:pt x="22321" y="12338"/>
                </a:lnTo>
                <a:lnTo>
                  <a:pt x="18600" y="16533"/>
                </a:lnTo>
                <a:lnTo>
                  <a:pt x="14880" y="20975"/>
                </a:lnTo>
                <a:lnTo>
                  <a:pt x="11656" y="26158"/>
                </a:lnTo>
                <a:lnTo>
                  <a:pt x="8680" y="31834"/>
                </a:lnTo>
                <a:lnTo>
                  <a:pt x="6200" y="37756"/>
                </a:lnTo>
                <a:lnTo>
                  <a:pt x="3968" y="43926"/>
                </a:lnTo>
                <a:lnTo>
                  <a:pt x="2232" y="50589"/>
                </a:lnTo>
                <a:lnTo>
                  <a:pt x="992" y="57498"/>
                </a:lnTo>
                <a:lnTo>
                  <a:pt x="248" y="64408"/>
                </a:lnTo>
                <a:lnTo>
                  <a:pt x="0" y="71811"/>
                </a:lnTo>
                <a:lnTo>
                  <a:pt x="248" y="79214"/>
                </a:lnTo>
                <a:lnTo>
                  <a:pt x="992" y="86124"/>
                </a:lnTo>
                <a:lnTo>
                  <a:pt x="2232" y="93034"/>
                </a:lnTo>
                <a:lnTo>
                  <a:pt x="3968" y="99697"/>
                </a:lnTo>
                <a:lnTo>
                  <a:pt x="6200" y="105866"/>
                </a:lnTo>
                <a:lnTo>
                  <a:pt x="8680" y="111789"/>
                </a:lnTo>
                <a:lnTo>
                  <a:pt x="11656" y="117465"/>
                </a:lnTo>
                <a:lnTo>
                  <a:pt x="14880" y="122400"/>
                </a:lnTo>
                <a:lnTo>
                  <a:pt x="18600" y="127089"/>
                </a:lnTo>
                <a:lnTo>
                  <a:pt x="22321" y="131284"/>
                </a:lnTo>
                <a:lnTo>
                  <a:pt x="26537" y="134986"/>
                </a:lnTo>
                <a:lnTo>
                  <a:pt x="31001" y="137947"/>
                </a:lnTo>
                <a:lnTo>
                  <a:pt x="35713" y="140415"/>
                </a:lnTo>
                <a:lnTo>
                  <a:pt x="40673" y="142142"/>
                </a:lnTo>
                <a:lnTo>
                  <a:pt x="45634" y="143129"/>
                </a:lnTo>
                <a:lnTo>
                  <a:pt x="50842" y="143623"/>
                </a:lnTo>
                <a:lnTo>
                  <a:pt x="56050" y="143129"/>
                </a:lnTo>
                <a:lnTo>
                  <a:pt x="61010" y="142142"/>
                </a:lnTo>
                <a:lnTo>
                  <a:pt x="65970" y="140415"/>
                </a:lnTo>
                <a:lnTo>
                  <a:pt x="70683" y="137947"/>
                </a:lnTo>
                <a:lnTo>
                  <a:pt x="75147" y="134986"/>
                </a:lnTo>
                <a:lnTo>
                  <a:pt x="79363" y="131284"/>
                </a:lnTo>
                <a:lnTo>
                  <a:pt x="83331" y="127089"/>
                </a:lnTo>
                <a:lnTo>
                  <a:pt x="86803" y="122400"/>
                </a:lnTo>
                <a:lnTo>
                  <a:pt x="90276" y="117465"/>
                </a:lnTo>
                <a:lnTo>
                  <a:pt x="93252" y="111789"/>
                </a:lnTo>
                <a:lnTo>
                  <a:pt x="95732" y="105866"/>
                </a:lnTo>
                <a:lnTo>
                  <a:pt x="97964" y="99697"/>
                </a:lnTo>
                <a:lnTo>
                  <a:pt x="99700" y="93034"/>
                </a:lnTo>
                <a:lnTo>
                  <a:pt x="100940" y="86124"/>
                </a:lnTo>
                <a:lnTo>
                  <a:pt x="101684" y="79214"/>
                </a:lnTo>
                <a:lnTo>
                  <a:pt x="101932" y="71811"/>
                </a:lnTo>
                <a:lnTo>
                  <a:pt x="101684" y="64408"/>
                </a:lnTo>
                <a:lnTo>
                  <a:pt x="100940" y="57498"/>
                </a:lnTo>
                <a:lnTo>
                  <a:pt x="99700" y="50589"/>
                </a:lnTo>
                <a:lnTo>
                  <a:pt x="97964" y="43926"/>
                </a:lnTo>
                <a:lnTo>
                  <a:pt x="95732" y="37756"/>
                </a:lnTo>
                <a:lnTo>
                  <a:pt x="93252" y="31834"/>
                </a:lnTo>
                <a:lnTo>
                  <a:pt x="90276" y="26158"/>
                </a:lnTo>
                <a:lnTo>
                  <a:pt x="86803" y="20975"/>
                </a:lnTo>
                <a:lnTo>
                  <a:pt x="83331" y="16533"/>
                </a:lnTo>
                <a:lnTo>
                  <a:pt x="79363" y="12338"/>
                </a:lnTo>
                <a:lnTo>
                  <a:pt x="75147" y="8637"/>
                </a:lnTo>
                <a:lnTo>
                  <a:pt x="70683" y="5675"/>
                </a:lnTo>
                <a:lnTo>
                  <a:pt x="65970" y="3208"/>
                </a:lnTo>
                <a:lnTo>
                  <a:pt x="61010" y="1480"/>
                </a:lnTo>
                <a:lnTo>
                  <a:pt x="56050" y="493"/>
                </a:lnTo>
                <a:lnTo>
                  <a:pt x="50842" y="0"/>
                </a:lnTo>
                <a:close/>
              </a:path>
            </a:pathLst>
          </a:custGeom>
          <a:solidFill>
            <a:srgbClr val="000000"/>
          </a:solidFill>
        </p:spPr>
        <p:txBody>
          <a:bodyPr wrap="square" lIns="0" tIns="0" rIns="0" bIns="0" rtlCol="0">
            <a:noAutofit/>
          </a:bodyPr>
          <a:lstStyle/>
          <a:p>
            <a:endParaRPr/>
          </a:p>
        </p:txBody>
      </p:sp>
      <p:sp>
        <p:nvSpPr>
          <p:cNvPr id="2183" name="object 2183"/>
          <p:cNvSpPr/>
          <p:nvPr/>
        </p:nvSpPr>
        <p:spPr>
          <a:xfrm>
            <a:off x="8299859" y="1746514"/>
            <a:ext cx="52826" cy="73539"/>
          </a:xfrm>
          <a:custGeom>
            <a:avLst/>
            <a:gdLst/>
            <a:ahLst/>
            <a:cxnLst/>
            <a:rect l="l" t="t" r="r" b="b"/>
            <a:pathLst>
              <a:path w="52826" h="73539">
                <a:moveTo>
                  <a:pt x="4960" y="3948"/>
                </a:moveTo>
                <a:lnTo>
                  <a:pt x="9672" y="4935"/>
                </a:lnTo>
                <a:lnTo>
                  <a:pt x="14384" y="6416"/>
                </a:lnTo>
                <a:lnTo>
                  <a:pt x="18848" y="8883"/>
                </a:lnTo>
                <a:lnTo>
                  <a:pt x="23313" y="11845"/>
                </a:lnTo>
                <a:lnTo>
                  <a:pt x="27281" y="15300"/>
                </a:lnTo>
                <a:lnTo>
                  <a:pt x="31249" y="19495"/>
                </a:lnTo>
                <a:lnTo>
                  <a:pt x="34473" y="23690"/>
                </a:lnTo>
                <a:lnTo>
                  <a:pt x="37945" y="28872"/>
                </a:lnTo>
                <a:lnTo>
                  <a:pt x="40921" y="34301"/>
                </a:lnTo>
                <a:lnTo>
                  <a:pt x="43153" y="40224"/>
                </a:lnTo>
                <a:lnTo>
                  <a:pt x="45386" y="46147"/>
                </a:lnTo>
                <a:lnTo>
                  <a:pt x="47122" y="52563"/>
                </a:lnTo>
                <a:lnTo>
                  <a:pt x="48362" y="59472"/>
                </a:lnTo>
                <a:lnTo>
                  <a:pt x="49106" y="66135"/>
                </a:lnTo>
                <a:lnTo>
                  <a:pt x="49354" y="73539"/>
                </a:lnTo>
                <a:lnTo>
                  <a:pt x="52826" y="73539"/>
                </a:lnTo>
                <a:lnTo>
                  <a:pt x="52578" y="66135"/>
                </a:lnTo>
                <a:lnTo>
                  <a:pt x="51834" y="58979"/>
                </a:lnTo>
                <a:lnTo>
                  <a:pt x="50594" y="52069"/>
                </a:lnTo>
                <a:lnTo>
                  <a:pt x="48858" y="45159"/>
                </a:lnTo>
                <a:lnTo>
                  <a:pt x="46626" y="38743"/>
                </a:lnTo>
                <a:lnTo>
                  <a:pt x="43897" y="32821"/>
                </a:lnTo>
                <a:lnTo>
                  <a:pt x="40921" y="26898"/>
                </a:lnTo>
                <a:lnTo>
                  <a:pt x="37449" y="21716"/>
                </a:lnTo>
                <a:lnTo>
                  <a:pt x="33729" y="17027"/>
                </a:lnTo>
                <a:lnTo>
                  <a:pt x="29761" y="12832"/>
                </a:lnTo>
                <a:lnTo>
                  <a:pt x="25297" y="8883"/>
                </a:lnTo>
                <a:lnTo>
                  <a:pt x="20832" y="5922"/>
                </a:lnTo>
                <a:lnTo>
                  <a:pt x="15872" y="3454"/>
                </a:lnTo>
                <a:lnTo>
                  <a:pt x="10664" y="1480"/>
                </a:lnTo>
                <a:lnTo>
                  <a:pt x="5456" y="493"/>
                </a:lnTo>
                <a:lnTo>
                  <a:pt x="0" y="0"/>
                </a:lnTo>
                <a:lnTo>
                  <a:pt x="0" y="3454"/>
                </a:lnTo>
                <a:lnTo>
                  <a:pt x="4960" y="3948"/>
                </a:lnTo>
                <a:close/>
              </a:path>
            </a:pathLst>
          </a:custGeom>
          <a:solidFill>
            <a:srgbClr val="000000"/>
          </a:solidFill>
        </p:spPr>
        <p:txBody>
          <a:bodyPr wrap="square" lIns="0" tIns="0" rIns="0" bIns="0" rtlCol="0">
            <a:noAutofit/>
          </a:bodyPr>
          <a:lstStyle/>
          <a:p>
            <a:endParaRPr/>
          </a:p>
        </p:txBody>
      </p:sp>
      <p:sp>
        <p:nvSpPr>
          <p:cNvPr id="2184" name="object 2184"/>
          <p:cNvSpPr/>
          <p:nvPr/>
        </p:nvSpPr>
        <p:spPr>
          <a:xfrm>
            <a:off x="8299859" y="1820054"/>
            <a:ext cx="52826" cy="73539"/>
          </a:xfrm>
          <a:custGeom>
            <a:avLst/>
            <a:gdLst/>
            <a:ahLst/>
            <a:cxnLst/>
            <a:rect l="l" t="t" r="r" b="b"/>
            <a:pathLst>
              <a:path w="52826" h="73539">
                <a:moveTo>
                  <a:pt x="0" y="70084"/>
                </a:moveTo>
                <a:lnTo>
                  <a:pt x="0" y="73539"/>
                </a:lnTo>
                <a:lnTo>
                  <a:pt x="5456" y="73045"/>
                </a:lnTo>
                <a:lnTo>
                  <a:pt x="10664" y="72058"/>
                </a:lnTo>
                <a:lnTo>
                  <a:pt x="15872" y="70084"/>
                </a:lnTo>
                <a:lnTo>
                  <a:pt x="20832" y="67616"/>
                </a:lnTo>
                <a:lnTo>
                  <a:pt x="25297" y="64655"/>
                </a:lnTo>
                <a:lnTo>
                  <a:pt x="29761" y="60706"/>
                </a:lnTo>
                <a:lnTo>
                  <a:pt x="33729" y="56264"/>
                </a:lnTo>
                <a:lnTo>
                  <a:pt x="37449" y="51576"/>
                </a:lnTo>
                <a:lnTo>
                  <a:pt x="40921" y="46640"/>
                </a:lnTo>
                <a:lnTo>
                  <a:pt x="43897" y="40717"/>
                </a:lnTo>
                <a:lnTo>
                  <a:pt x="46626" y="34795"/>
                </a:lnTo>
                <a:lnTo>
                  <a:pt x="48858" y="28379"/>
                </a:lnTo>
                <a:lnTo>
                  <a:pt x="50594" y="21469"/>
                </a:lnTo>
                <a:lnTo>
                  <a:pt x="51834" y="14559"/>
                </a:lnTo>
                <a:lnTo>
                  <a:pt x="52578" y="7403"/>
                </a:lnTo>
                <a:lnTo>
                  <a:pt x="52826" y="0"/>
                </a:lnTo>
                <a:lnTo>
                  <a:pt x="49354" y="0"/>
                </a:lnTo>
                <a:lnTo>
                  <a:pt x="49106" y="7403"/>
                </a:lnTo>
                <a:lnTo>
                  <a:pt x="48362" y="14066"/>
                </a:lnTo>
                <a:lnTo>
                  <a:pt x="47122" y="20975"/>
                </a:lnTo>
                <a:lnTo>
                  <a:pt x="45386" y="27392"/>
                </a:lnTo>
                <a:lnTo>
                  <a:pt x="43153" y="33314"/>
                </a:lnTo>
                <a:lnTo>
                  <a:pt x="40921" y="39237"/>
                </a:lnTo>
                <a:lnTo>
                  <a:pt x="37945" y="44666"/>
                </a:lnTo>
                <a:lnTo>
                  <a:pt x="34473" y="49601"/>
                </a:lnTo>
                <a:lnTo>
                  <a:pt x="31249" y="54290"/>
                </a:lnTo>
                <a:lnTo>
                  <a:pt x="27281" y="58239"/>
                </a:lnTo>
                <a:lnTo>
                  <a:pt x="23313" y="61693"/>
                </a:lnTo>
                <a:lnTo>
                  <a:pt x="18848" y="64655"/>
                </a:lnTo>
                <a:lnTo>
                  <a:pt x="14384" y="67122"/>
                </a:lnTo>
                <a:lnTo>
                  <a:pt x="9672" y="68603"/>
                </a:lnTo>
                <a:lnTo>
                  <a:pt x="4960" y="69590"/>
                </a:lnTo>
                <a:lnTo>
                  <a:pt x="0" y="70084"/>
                </a:lnTo>
                <a:close/>
              </a:path>
            </a:pathLst>
          </a:custGeom>
          <a:solidFill>
            <a:srgbClr val="000000"/>
          </a:solidFill>
        </p:spPr>
        <p:txBody>
          <a:bodyPr wrap="square" lIns="0" tIns="0" rIns="0" bIns="0" rtlCol="0">
            <a:noAutofit/>
          </a:bodyPr>
          <a:lstStyle/>
          <a:p>
            <a:endParaRPr/>
          </a:p>
        </p:txBody>
      </p:sp>
      <p:sp>
        <p:nvSpPr>
          <p:cNvPr id="2185" name="object 2185"/>
          <p:cNvSpPr/>
          <p:nvPr/>
        </p:nvSpPr>
        <p:spPr>
          <a:xfrm>
            <a:off x="8247280" y="1820054"/>
            <a:ext cx="52578" cy="73539"/>
          </a:xfrm>
          <a:custGeom>
            <a:avLst/>
            <a:gdLst/>
            <a:ahLst/>
            <a:cxnLst/>
            <a:rect l="l" t="t" r="r" b="b"/>
            <a:pathLst>
              <a:path w="52578" h="73539">
                <a:moveTo>
                  <a:pt x="4464" y="14066"/>
                </a:moveTo>
                <a:lnTo>
                  <a:pt x="3720" y="7403"/>
                </a:lnTo>
                <a:lnTo>
                  <a:pt x="3472" y="0"/>
                </a:lnTo>
                <a:lnTo>
                  <a:pt x="0" y="0"/>
                </a:lnTo>
                <a:lnTo>
                  <a:pt x="248" y="7403"/>
                </a:lnTo>
                <a:lnTo>
                  <a:pt x="992" y="14559"/>
                </a:lnTo>
                <a:lnTo>
                  <a:pt x="2232" y="21469"/>
                </a:lnTo>
                <a:lnTo>
                  <a:pt x="3968" y="28379"/>
                </a:lnTo>
                <a:lnTo>
                  <a:pt x="6200" y="34795"/>
                </a:lnTo>
                <a:lnTo>
                  <a:pt x="8928" y="40717"/>
                </a:lnTo>
                <a:lnTo>
                  <a:pt x="11904" y="46640"/>
                </a:lnTo>
                <a:lnTo>
                  <a:pt x="15128" y="51576"/>
                </a:lnTo>
                <a:lnTo>
                  <a:pt x="19096" y="56264"/>
                </a:lnTo>
                <a:lnTo>
                  <a:pt x="22817" y="60706"/>
                </a:lnTo>
                <a:lnTo>
                  <a:pt x="27281" y="64655"/>
                </a:lnTo>
                <a:lnTo>
                  <a:pt x="31745" y="67616"/>
                </a:lnTo>
                <a:lnTo>
                  <a:pt x="36705" y="70084"/>
                </a:lnTo>
                <a:lnTo>
                  <a:pt x="41913" y="72058"/>
                </a:lnTo>
                <a:lnTo>
                  <a:pt x="47122" y="73045"/>
                </a:lnTo>
                <a:lnTo>
                  <a:pt x="52578" y="73539"/>
                </a:lnTo>
                <a:lnTo>
                  <a:pt x="52578" y="70084"/>
                </a:lnTo>
                <a:lnTo>
                  <a:pt x="47618" y="69590"/>
                </a:lnTo>
                <a:lnTo>
                  <a:pt x="42905" y="68603"/>
                </a:lnTo>
                <a:lnTo>
                  <a:pt x="38193" y="67122"/>
                </a:lnTo>
                <a:lnTo>
                  <a:pt x="33729" y="64655"/>
                </a:lnTo>
                <a:lnTo>
                  <a:pt x="29265" y="61693"/>
                </a:lnTo>
                <a:lnTo>
                  <a:pt x="25297" y="58239"/>
                </a:lnTo>
                <a:lnTo>
                  <a:pt x="21576" y="54290"/>
                </a:lnTo>
                <a:lnTo>
                  <a:pt x="18104" y="49601"/>
                </a:lnTo>
                <a:lnTo>
                  <a:pt x="14880" y="44666"/>
                </a:lnTo>
                <a:lnTo>
                  <a:pt x="11904" y="39237"/>
                </a:lnTo>
                <a:lnTo>
                  <a:pt x="9672" y="33314"/>
                </a:lnTo>
                <a:lnTo>
                  <a:pt x="7440" y="27392"/>
                </a:lnTo>
                <a:lnTo>
                  <a:pt x="5704" y="20975"/>
                </a:lnTo>
                <a:lnTo>
                  <a:pt x="4464" y="14066"/>
                </a:lnTo>
                <a:close/>
              </a:path>
            </a:pathLst>
          </a:custGeom>
          <a:solidFill>
            <a:srgbClr val="000000"/>
          </a:solidFill>
        </p:spPr>
        <p:txBody>
          <a:bodyPr wrap="square" lIns="0" tIns="0" rIns="0" bIns="0" rtlCol="0">
            <a:noAutofit/>
          </a:bodyPr>
          <a:lstStyle/>
          <a:p>
            <a:endParaRPr/>
          </a:p>
        </p:txBody>
      </p:sp>
      <p:sp>
        <p:nvSpPr>
          <p:cNvPr id="2186" name="object 2186"/>
          <p:cNvSpPr/>
          <p:nvPr/>
        </p:nvSpPr>
        <p:spPr>
          <a:xfrm>
            <a:off x="8247280" y="1746514"/>
            <a:ext cx="52578" cy="73539"/>
          </a:xfrm>
          <a:custGeom>
            <a:avLst/>
            <a:gdLst/>
            <a:ahLst/>
            <a:cxnLst/>
            <a:rect l="l" t="t" r="r" b="b"/>
            <a:pathLst>
              <a:path w="52578" h="73539">
                <a:moveTo>
                  <a:pt x="3968" y="45159"/>
                </a:moveTo>
                <a:lnTo>
                  <a:pt x="2232" y="52069"/>
                </a:lnTo>
                <a:lnTo>
                  <a:pt x="992" y="58979"/>
                </a:lnTo>
                <a:lnTo>
                  <a:pt x="248" y="66135"/>
                </a:lnTo>
                <a:lnTo>
                  <a:pt x="0" y="73539"/>
                </a:lnTo>
                <a:lnTo>
                  <a:pt x="3472" y="73539"/>
                </a:lnTo>
                <a:lnTo>
                  <a:pt x="3720" y="66135"/>
                </a:lnTo>
                <a:lnTo>
                  <a:pt x="4464" y="59472"/>
                </a:lnTo>
                <a:lnTo>
                  <a:pt x="5704" y="52563"/>
                </a:lnTo>
                <a:lnTo>
                  <a:pt x="7440" y="46147"/>
                </a:lnTo>
                <a:lnTo>
                  <a:pt x="9672" y="40224"/>
                </a:lnTo>
                <a:lnTo>
                  <a:pt x="11904" y="34301"/>
                </a:lnTo>
                <a:lnTo>
                  <a:pt x="14880" y="28625"/>
                </a:lnTo>
                <a:lnTo>
                  <a:pt x="18104" y="23690"/>
                </a:lnTo>
                <a:lnTo>
                  <a:pt x="21576" y="19495"/>
                </a:lnTo>
                <a:lnTo>
                  <a:pt x="25297" y="15300"/>
                </a:lnTo>
                <a:lnTo>
                  <a:pt x="29265" y="11845"/>
                </a:lnTo>
                <a:lnTo>
                  <a:pt x="33729" y="8883"/>
                </a:lnTo>
                <a:lnTo>
                  <a:pt x="38193" y="6416"/>
                </a:lnTo>
                <a:lnTo>
                  <a:pt x="42905" y="4935"/>
                </a:lnTo>
                <a:lnTo>
                  <a:pt x="47618" y="3948"/>
                </a:lnTo>
                <a:lnTo>
                  <a:pt x="52578" y="3454"/>
                </a:lnTo>
                <a:lnTo>
                  <a:pt x="52578" y="0"/>
                </a:lnTo>
                <a:lnTo>
                  <a:pt x="47122" y="493"/>
                </a:lnTo>
                <a:lnTo>
                  <a:pt x="41913" y="1480"/>
                </a:lnTo>
                <a:lnTo>
                  <a:pt x="36705" y="3454"/>
                </a:lnTo>
                <a:lnTo>
                  <a:pt x="31745" y="5922"/>
                </a:lnTo>
                <a:lnTo>
                  <a:pt x="27281" y="8883"/>
                </a:lnTo>
                <a:lnTo>
                  <a:pt x="22817" y="12832"/>
                </a:lnTo>
                <a:lnTo>
                  <a:pt x="19096" y="17027"/>
                </a:lnTo>
                <a:lnTo>
                  <a:pt x="15128" y="21716"/>
                </a:lnTo>
                <a:lnTo>
                  <a:pt x="11904" y="27145"/>
                </a:lnTo>
                <a:lnTo>
                  <a:pt x="8928" y="32821"/>
                </a:lnTo>
                <a:lnTo>
                  <a:pt x="6200" y="38743"/>
                </a:lnTo>
                <a:lnTo>
                  <a:pt x="3968" y="45159"/>
                </a:lnTo>
                <a:close/>
              </a:path>
            </a:pathLst>
          </a:custGeom>
          <a:solidFill>
            <a:srgbClr val="000000"/>
          </a:solidFill>
        </p:spPr>
        <p:txBody>
          <a:bodyPr wrap="square" lIns="0" tIns="0" rIns="0" bIns="0" rtlCol="0">
            <a:noAutofit/>
          </a:bodyPr>
          <a:lstStyle/>
          <a:p>
            <a:endParaRPr/>
          </a:p>
        </p:txBody>
      </p:sp>
      <p:sp>
        <p:nvSpPr>
          <p:cNvPr id="2187" name="object 2187"/>
          <p:cNvSpPr/>
          <p:nvPr/>
        </p:nvSpPr>
        <p:spPr>
          <a:xfrm>
            <a:off x="8250256" y="1749475"/>
            <a:ext cx="99700" cy="136466"/>
          </a:xfrm>
          <a:custGeom>
            <a:avLst/>
            <a:gdLst/>
            <a:ahLst/>
            <a:cxnLst/>
            <a:rect l="l" t="t" r="r" b="b"/>
            <a:pathLst>
              <a:path w="99700" h="136466">
                <a:moveTo>
                  <a:pt x="44145" y="74279"/>
                </a:moveTo>
                <a:lnTo>
                  <a:pt x="45301" y="77953"/>
                </a:lnTo>
                <a:lnTo>
                  <a:pt x="48858" y="78474"/>
                </a:lnTo>
                <a:lnTo>
                  <a:pt x="49793" y="74378"/>
                </a:lnTo>
                <a:lnTo>
                  <a:pt x="49151" y="71564"/>
                </a:lnTo>
                <a:lnTo>
                  <a:pt x="46805" y="71564"/>
                </a:lnTo>
                <a:lnTo>
                  <a:pt x="44145" y="74279"/>
                </a:lnTo>
                <a:close/>
              </a:path>
              <a:path w="99700" h="136466">
                <a:moveTo>
                  <a:pt x="43122" y="66474"/>
                </a:moveTo>
                <a:lnTo>
                  <a:pt x="43897" y="71564"/>
                </a:lnTo>
                <a:lnTo>
                  <a:pt x="46805" y="71564"/>
                </a:lnTo>
                <a:lnTo>
                  <a:pt x="48707" y="69623"/>
                </a:lnTo>
                <a:lnTo>
                  <a:pt x="48092" y="66927"/>
                </a:lnTo>
                <a:lnTo>
                  <a:pt x="45138" y="63914"/>
                </a:lnTo>
                <a:lnTo>
                  <a:pt x="43122" y="66474"/>
                </a:lnTo>
                <a:close/>
              </a:path>
              <a:path w="99700" h="136466">
                <a:moveTo>
                  <a:pt x="35247" y="76478"/>
                </a:moveTo>
                <a:lnTo>
                  <a:pt x="43122" y="66474"/>
                </a:lnTo>
                <a:lnTo>
                  <a:pt x="41039" y="52793"/>
                </a:lnTo>
                <a:lnTo>
                  <a:pt x="11656" y="28872"/>
                </a:lnTo>
                <a:lnTo>
                  <a:pt x="10664" y="28379"/>
                </a:lnTo>
                <a:lnTo>
                  <a:pt x="9424" y="29119"/>
                </a:lnTo>
                <a:lnTo>
                  <a:pt x="8184" y="30846"/>
                </a:lnTo>
                <a:lnTo>
                  <a:pt x="6944" y="33314"/>
                </a:lnTo>
                <a:lnTo>
                  <a:pt x="5704" y="36522"/>
                </a:lnTo>
                <a:lnTo>
                  <a:pt x="4712" y="39977"/>
                </a:lnTo>
                <a:lnTo>
                  <a:pt x="3472" y="43926"/>
                </a:lnTo>
                <a:lnTo>
                  <a:pt x="2480" y="48121"/>
                </a:lnTo>
                <a:lnTo>
                  <a:pt x="1488" y="52316"/>
                </a:lnTo>
                <a:lnTo>
                  <a:pt x="744" y="56511"/>
                </a:lnTo>
                <a:lnTo>
                  <a:pt x="248" y="60460"/>
                </a:lnTo>
                <a:lnTo>
                  <a:pt x="0" y="64161"/>
                </a:lnTo>
                <a:lnTo>
                  <a:pt x="0" y="67122"/>
                </a:lnTo>
                <a:lnTo>
                  <a:pt x="248" y="69343"/>
                </a:lnTo>
                <a:lnTo>
                  <a:pt x="744" y="71071"/>
                </a:lnTo>
                <a:lnTo>
                  <a:pt x="1736" y="71564"/>
                </a:lnTo>
                <a:lnTo>
                  <a:pt x="35247" y="76478"/>
                </a:lnTo>
                <a:close/>
              </a:path>
              <a:path w="99700" h="136466">
                <a:moveTo>
                  <a:pt x="11656" y="115984"/>
                </a:moveTo>
                <a:lnTo>
                  <a:pt x="15376" y="121166"/>
                </a:lnTo>
                <a:lnTo>
                  <a:pt x="20336" y="126595"/>
                </a:lnTo>
                <a:lnTo>
                  <a:pt x="25545" y="131531"/>
                </a:lnTo>
                <a:lnTo>
                  <a:pt x="30257" y="134986"/>
                </a:lnTo>
                <a:lnTo>
                  <a:pt x="33977" y="136220"/>
                </a:lnTo>
                <a:lnTo>
                  <a:pt x="35961" y="134739"/>
                </a:lnTo>
                <a:lnTo>
                  <a:pt x="49563" y="91500"/>
                </a:lnTo>
                <a:lnTo>
                  <a:pt x="45301" y="77953"/>
                </a:lnTo>
                <a:lnTo>
                  <a:pt x="35247" y="76478"/>
                </a:lnTo>
                <a:lnTo>
                  <a:pt x="10168" y="108334"/>
                </a:lnTo>
                <a:lnTo>
                  <a:pt x="9672" y="111295"/>
                </a:lnTo>
                <a:lnTo>
                  <a:pt x="11656" y="115984"/>
                </a:lnTo>
                <a:close/>
              </a:path>
              <a:path w="99700" h="136466">
                <a:moveTo>
                  <a:pt x="50153" y="60213"/>
                </a:moveTo>
                <a:lnTo>
                  <a:pt x="47122" y="62681"/>
                </a:lnTo>
                <a:lnTo>
                  <a:pt x="48092" y="66927"/>
                </a:lnTo>
                <a:lnTo>
                  <a:pt x="49721" y="68589"/>
                </a:lnTo>
                <a:lnTo>
                  <a:pt x="51539" y="66733"/>
                </a:lnTo>
                <a:lnTo>
                  <a:pt x="52578" y="62187"/>
                </a:lnTo>
                <a:lnTo>
                  <a:pt x="50153" y="60213"/>
                </a:lnTo>
                <a:close/>
              </a:path>
              <a:path w="99700" h="136466">
                <a:moveTo>
                  <a:pt x="52638" y="71564"/>
                </a:moveTo>
                <a:lnTo>
                  <a:pt x="50436" y="71564"/>
                </a:lnTo>
                <a:lnTo>
                  <a:pt x="49793" y="74378"/>
                </a:lnTo>
                <a:lnTo>
                  <a:pt x="50842" y="78968"/>
                </a:lnTo>
                <a:lnTo>
                  <a:pt x="53635" y="78556"/>
                </a:lnTo>
                <a:lnTo>
                  <a:pt x="55058" y="74032"/>
                </a:lnTo>
                <a:lnTo>
                  <a:pt x="52638" y="71564"/>
                </a:lnTo>
                <a:close/>
              </a:path>
              <a:path w="99700" h="136466">
                <a:moveTo>
                  <a:pt x="34969" y="3701"/>
                </a:moveTo>
                <a:lnTo>
                  <a:pt x="33977" y="6416"/>
                </a:lnTo>
                <a:lnTo>
                  <a:pt x="41039" y="52793"/>
                </a:lnTo>
                <a:lnTo>
                  <a:pt x="50153" y="60213"/>
                </a:lnTo>
                <a:lnTo>
                  <a:pt x="58858" y="53126"/>
                </a:lnTo>
                <a:lnTo>
                  <a:pt x="65970" y="6416"/>
                </a:lnTo>
                <a:lnTo>
                  <a:pt x="64978" y="3701"/>
                </a:lnTo>
                <a:lnTo>
                  <a:pt x="61506" y="1480"/>
                </a:lnTo>
                <a:lnTo>
                  <a:pt x="56050" y="246"/>
                </a:lnTo>
                <a:lnTo>
                  <a:pt x="50098" y="0"/>
                </a:lnTo>
                <a:lnTo>
                  <a:pt x="43897" y="246"/>
                </a:lnTo>
                <a:lnTo>
                  <a:pt x="38441" y="1480"/>
                </a:lnTo>
                <a:lnTo>
                  <a:pt x="34969" y="3701"/>
                </a:lnTo>
                <a:close/>
              </a:path>
              <a:path w="99700" h="136466">
                <a:moveTo>
                  <a:pt x="58858" y="53126"/>
                </a:moveTo>
                <a:lnTo>
                  <a:pt x="56607" y="67906"/>
                </a:lnTo>
                <a:lnTo>
                  <a:pt x="63892" y="77044"/>
                </a:lnTo>
                <a:lnTo>
                  <a:pt x="97716" y="72058"/>
                </a:lnTo>
                <a:lnTo>
                  <a:pt x="98708" y="71564"/>
                </a:lnTo>
                <a:lnTo>
                  <a:pt x="99452" y="69837"/>
                </a:lnTo>
                <a:lnTo>
                  <a:pt x="99700" y="67616"/>
                </a:lnTo>
                <a:lnTo>
                  <a:pt x="99700" y="64655"/>
                </a:lnTo>
                <a:lnTo>
                  <a:pt x="99452" y="60953"/>
                </a:lnTo>
                <a:lnTo>
                  <a:pt x="98956" y="57005"/>
                </a:lnTo>
                <a:lnTo>
                  <a:pt x="98212" y="52809"/>
                </a:lnTo>
                <a:lnTo>
                  <a:pt x="97220" y="48614"/>
                </a:lnTo>
                <a:lnTo>
                  <a:pt x="96228" y="44419"/>
                </a:lnTo>
                <a:lnTo>
                  <a:pt x="94988" y="40471"/>
                </a:lnTo>
                <a:lnTo>
                  <a:pt x="93996" y="37016"/>
                </a:lnTo>
                <a:lnTo>
                  <a:pt x="92756" y="33808"/>
                </a:lnTo>
                <a:lnTo>
                  <a:pt x="91516" y="31340"/>
                </a:lnTo>
                <a:lnTo>
                  <a:pt x="90276" y="29613"/>
                </a:lnTo>
                <a:lnTo>
                  <a:pt x="89036" y="28872"/>
                </a:lnTo>
                <a:lnTo>
                  <a:pt x="88043" y="29366"/>
                </a:lnTo>
                <a:lnTo>
                  <a:pt x="58858" y="53126"/>
                </a:lnTo>
                <a:close/>
              </a:path>
              <a:path w="99700" h="136466">
                <a:moveTo>
                  <a:pt x="89036" y="108581"/>
                </a:moveTo>
                <a:lnTo>
                  <a:pt x="63892" y="77044"/>
                </a:lnTo>
                <a:lnTo>
                  <a:pt x="53635" y="78556"/>
                </a:lnTo>
                <a:lnTo>
                  <a:pt x="49563" y="91500"/>
                </a:lnTo>
                <a:lnTo>
                  <a:pt x="63242" y="134986"/>
                </a:lnTo>
                <a:lnTo>
                  <a:pt x="65226" y="136466"/>
                </a:lnTo>
                <a:lnTo>
                  <a:pt x="68947" y="135233"/>
                </a:lnTo>
                <a:lnTo>
                  <a:pt x="73659" y="132024"/>
                </a:lnTo>
                <a:lnTo>
                  <a:pt x="78867" y="127089"/>
                </a:lnTo>
                <a:lnTo>
                  <a:pt x="83579" y="121660"/>
                </a:lnTo>
                <a:lnTo>
                  <a:pt x="87299" y="116231"/>
                </a:lnTo>
                <a:lnTo>
                  <a:pt x="89532" y="111789"/>
                </a:lnTo>
                <a:lnTo>
                  <a:pt x="89036" y="108581"/>
                </a:lnTo>
                <a:close/>
              </a:path>
              <a:path w="99700" h="136466">
                <a:moveTo>
                  <a:pt x="53818" y="64408"/>
                </a:moveTo>
                <a:lnTo>
                  <a:pt x="51539" y="66733"/>
                </a:lnTo>
                <a:lnTo>
                  <a:pt x="50852" y="69743"/>
                </a:lnTo>
                <a:lnTo>
                  <a:pt x="52638" y="71564"/>
                </a:lnTo>
                <a:lnTo>
                  <a:pt x="56050" y="71564"/>
                </a:lnTo>
                <a:lnTo>
                  <a:pt x="56607" y="67906"/>
                </a:lnTo>
                <a:lnTo>
                  <a:pt x="53818" y="64408"/>
                </a:lnTo>
                <a:close/>
              </a:path>
              <a:path w="99700" h="136466">
                <a:moveTo>
                  <a:pt x="49721" y="68589"/>
                </a:moveTo>
                <a:lnTo>
                  <a:pt x="48707" y="69623"/>
                </a:lnTo>
                <a:lnTo>
                  <a:pt x="49151" y="71564"/>
                </a:lnTo>
                <a:lnTo>
                  <a:pt x="50436" y="71564"/>
                </a:lnTo>
                <a:lnTo>
                  <a:pt x="50852" y="69743"/>
                </a:lnTo>
                <a:lnTo>
                  <a:pt x="49721" y="68589"/>
                </a:lnTo>
                <a:close/>
              </a:path>
            </a:pathLst>
          </a:custGeom>
          <a:solidFill>
            <a:srgbClr val="404040"/>
          </a:solidFill>
        </p:spPr>
        <p:txBody>
          <a:bodyPr wrap="square" lIns="0" tIns="0" rIns="0" bIns="0" rtlCol="0">
            <a:noAutofit/>
          </a:bodyPr>
          <a:lstStyle/>
          <a:p>
            <a:endParaRPr/>
          </a:p>
        </p:txBody>
      </p:sp>
      <p:sp>
        <p:nvSpPr>
          <p:cNvPr id="2188" name="object 2188"/>
          <p:cNvSpPr/>
          <p:nvPr/>
        </p:nvSpPr>
        <p:spPr>
          <a:xfrm>
            <a:off x="8284483" y="1823015"/>
            <a:ext cx="22569" cy="62927"/>
          </a:xfrm>
          <a:custGeom>
            <a:avLst/>
            <a:gdLst/>
            <a:ahLst/>
            <a:cxnLst/>
            <a:rect l="l" t="t" r="r" b="b"/>
            <a:pathLst>
              <a:path w="22569" h="62927">
                <a:moveTo>
                  <a:pt x="3472" y="61693"/>
                </a:moveTo>
                <a:lnTo>
                  <a:pt x="22569" y="987"/>
                </a:lnTo>
                <a:lnTo>
                  <a:pt x="19096" y="0"/>
                </a:lnTo>
                <a:lnTo>
                  <a:pt x="0" y="60706"/>
                </a:lnTo>
                <a:lnTo>
                  <a:pt x="248" y="62187"/>
                </a:lnTo>
                <a:lnTo>
                  <a:pt x="1488" y="62927"/>
                </a:lnTo>
                <a:lnTo>
                  <a:pt x="2728" y="62681"/>
                </a:lnTo>
                <a:lnTo>
                  <a:pt x="3472" y="61693"/>
                </a:lnTo>
                <a:close/>
              </a:path>
            </a:pathLst>
          </a:custGeom>
          <a:solidFill>
            <a:srgbClr val="000000"/>
          </a:solidFill>
        </p:spPr>
        <p:txBody>
          <a:bodyPr wrap="square" lIns="0" tIns="0" rIns="0" bIns="0" rtlCol="0">
            <a:noAutofit/>
          </a:bodyPr>
          <a:lstStyle/>
          <a:p>
            <a:endParaRPr/>
          </a:p>
        </p:txBody>
      </p:sp>
      <p:sp>
        <p:nvSpPr>
          <p:cNvPr id="2189" name="object 2189"/>
          <p:cNvSpPr/>
          <p:nvPr/>
        </p:nvSpPr>
        <p:spPr>
          <a:xfrm>
            <a:off x="8258194" y="1856082"/>
            <a:ext cx="29761" cy="31340"/>
          </a:xfrm>
          <a:custGeom>
            <a:avLst/>
            <a:gdLst/>
            <a:ahLst/>
            <a:cxnLst/>
            <a:rect l="l" t="t" r="r" b="b"/>
            <a:pathLst>
              <a:path w="29761" h="31340">
                <a:moveTo>
                  <a:pt x="5208" y="8637"/>
                </a:moveTo>
                <a:lnTo>
                  <a:pt x="3472" y="4441"/>
                </a:lnTo>
                <a:lnTo>
                  <a:pt x="3472" y="2961"/>
                </a:lnTo>
                <a:lnTo>
                  <a:pt x="3968" y="1727"/>
                </a:lnTo>
                <a:lnTo>
                  <a:pt x="3472" y="493"/>
                </a:lnTo>
                <a:lnTo>
                  <a:pt x="3472" y="2714"/>
                </a:lnTo>
                <a:lnTo>
                  <a:pt x="3472" y="493"/>
                </a:lnTo>
                <a:lnTo>
                  <a:pt x="2232" y="0"/>
                </a:lnTo>
                <a:lnTo>
                  <a:pt x="992" y="493"/>
                </a:lnTo>
                <a:lnTo>
                  <a:pt x="0" y="4935"/>
                </a:lnTo>
                <a:lnTo>
                  <a:pt x="2232" y="10117"/>
                </a:lnTo>
                <a:lnTo>
                  <a:pt x="992" y="740"/>
                </a:lnTo>
                <a:lnTo>
                  <a:pt x="2232" y="10117"/>
                </a:lnTo>
                <a:lnTo>
                  <a:pt x="6200" y="15546"/>
                </a:lnTo>
                <a:lnTo>
                  <a:pt x="11160" y="21222"/>
                </a:lnTo>
                <a:lnTo>
                  <a:pt x="16368" y="26158"/>
                </a:lnTo>
                <a:lnTo>
                  <a:pt x="21576" y="29859"/>
                </a:lnTo>
                <a:lnTo>
                  <a:pt x="26041" y="31340"/>
                </a:lnTo>
                <a:lnTo>
                  <a:pt x="29761" y="28625"/>
                </a:lnTo>
                <a:lnTo>
                  <a:pt x="26289" y="27638"/>
                </a:lnTo>
                <a:lnTo>
                  <a:pt x="26041" y="27885"/>
                </a:lnTo>
                <a:lnTo>
                  <a:pt x="23065" y="26898"/>
                </a:lnTo>
                <a:lnTo>
                  <a:pt x="18848" y="23690"/>
                </a:lnTo>
                <a:lnTo>
                  <a:pt x="13640" y="18754"/>
                </a:lnTo>
                <a:lnTo>
                  <a:pt x="8680" y="13572"/>
                </a:lnTo>
                <a:lnTo>
                  <a:pt x="5208" y="8637"/>
                </a:lnTo>
                <a:close/>
              </a:path>
            </a:pathLst>
          </a:custGeom>
          <a:solidFill>
            <a:srgbClr val="000000"/>
          </a:solidFill>
        </p:spPr>
        <p:txBody>
          <a:bodyPr wrap="square" lIns="0" tIns="0" rIns="0" bIns="0" rtlCol="0">
            <a:noAutofit/>
          </a:bodyPr>
          <a:lstStyle/>
          <a:p>
            <a:endParaRPr/>
          </a:p>
        </p:txBody>
      </p:sp>
      <p:sp>
        <p:nvSpPr>
          <p:cNvPr id="2190" name="object 2190"/>
          <p:cNvSpPr/>
          <p:nvPr/>
        </p:nvSpPr>
        <p:spPr>
          <a:xfrm>
            <a:off x="8259186" y="1811910"/>
            <a:ext cx="37697" cy="46887"/>
          </a:xfrm>
          <a:custGeom>
            <a:avLst/>
            <a:gdLst/>
            <a:ahLst/>
            <a:cxnLst/>
            <a:rect l="l" t="t" r="r" b="b"/>
            <a:pathLst>
              <a:path w="37697" h="46887">
                <a:moveTo>
                  <a:pt x="37201" y="246"/>
                </a:moveTo>
                <a:lnTo>
                  <a:pt x="35961" y="0"/>
                </a:lnTo>
                <a:lnTo>
                  <a:pt x="34969" y="493"/>
                </a:lnTo>
                <a:lnTo>
                  <a:pt x="34969" y="2714"/>
                </a:lnTo>
                <a:lnTo>
                  <a:pt x="34969" y="493"/>
                </a:lnTo>
                <a:lnTo>
                  <a:pt x="0" y="44913"/>
                </a:lnTo>
                <a:lnTo>
                  <a:pt x="2480" y="46887"/>
                </a:lnTo>
                <a:lnTo>
                  <a:pt x="37449" y="2467"/>
                </a:lnTo>
                <a:lnTo>
                  <a:pt x="37697" y="1233"/>
                </a:lnTo>
                <a:lnTo>
                  <a:pt x="37213" y="270"/>
                </a:lnTo>
                <a:close/>
              </a:path>
            </a:pathLst>
          </a:custGeom>
          <a:solidFill>
            <a:srgbClr val="000000"/>
          </a:solidFill>
        </p:spPr>
        <p:txBody>
          <a:bodyPr wrap="square" lIns="0" tIns="0" rIns="0" bIns="0" rtlCol="0">
            <a:noAutofit/>
          </a:bodyPr>
          <a:lstStyle/>
          <a:p>
            <a:endParaRPr/>
          </a:p>
        </p:txBody>
      </p:sp>
      <p:sp>
        <p:nvSpPr>
          <p:cNvPr id="2191" name="object 2191"/>
          <p:cNvSpPr/>
          <p:nvPr/>
        </p:nvSpPr>
        <p:spPr>
          <a:xfrm>
            <a:off x="8294154" y="1812157"/>
            <a:ext cx="12896" cy="13079"/>
          </a:xfrm>
          <a:custGeom>
            <a:avLst/>
            <a:gdLst/>
            <a:ahLst/>
            <a:cxnLst/>
            <a:rect l="l" t="t" r="r" b="b"/>
            <a:pathLst>
              <a:path w="12896" h="13079">
                <a:moveTo>
                  <a:pt x="12400" y="10117"/>
                </a:moveTo>
                <a:lnTo>
                  <a:pt x="2480" y="0"/>
                </a:lnTo>
                <a:lnTo>
                  <a:pt x="0" y="2467"/>
                </a:lnTo>
                <a:lnTo>
                  <a:pt x="9920" y="12585"/>
                </a:lnTo>
                <a:lnTo>
                  <a:pt x="11160" y="13079"/>
                </a:lnTo>
                <a:lnTo>
                  <a:pt x="12400" y="12338"/>
                </a:lnTo>
                <a:lnTo>
                  <a:pt x="12806" y="11531"/>
                </a:lnTo>
                <a:lnTo>
                  <a:pt x="12896" y="11351"/>
                </a:lnTo>
                <a:lnTo>
                  <a:pt x="12400" y="10117"/>
                </a:lnTo>
                <a:lnTo>
                  <a:pt x="9424" y="10858"/>
                </a:lnTo>
                <a:lnTo>
                  <a:pt x="12400" y="10117"/>
                </a:lnTo>
                <a:close/>
              </a:path>
            </a:pathLst>
          </a:custGeom>
          <a:solidFill>
            <a:srgbClr val="000000"/>
          </a:solidFill>
        </p:spPr>
        <p:txBody>
          <a:bodyPr wrap="square" lIns="0" tIns="0" rIns="0" bIns="0" rtlCol="0">
            <a:noAutofit/>
          </a:bodyPr>
          <a:lstStyle/>
          <a:p>
            <a:endParaRPr/>
          </a:p>
        </p:txBody>
      </p:sp>
      <p:sp>
        <p:nvSpPr>
          <p:cNvPr id="2192" name="object 2192"/>
          <p:cNvSpPr/>
          <p:nvPr/>
        </p:nvSpPr>
        <p:spPr>
          <a:xfrm>
            <a:off x="8302836" y="1812896"/>
            <a:ext cx="37945" cy="46640"/>
          </a:xfrm>
          <a:custGeom>
            <a:avLst/>
            <a:gdLst/>
            <a:ahLst/>
            <a:cxnLst/>
            <a:rect l="l" t="t" r="r" b="b"/>
            <a:pathLst>
              <a:path w="37945" h="46640">
                <a:moveTo>
                  <a:pt x="37697" y="44172"/>
                </a:moveTo>
                <a:lnTo>
                  <a:pt x="2480" y="0"/>
                </a:lnTo>
                <a:lnTo>
                  <a:pt x="0" y="1974"/>
                </a:lnTo>
                <a:lnTo>
                  <a:pt x="35217" y="46147"/>
                </a:lnTo>
                <a:lnTo>
                  <a:pt x="36209" y="46640"/>
                </a:lnTo>
                <a:lnTo>
                  <a:pt x="37449" y="46147"/>
                </a:lnTo>
                <a:lnTo>
                  <a:pt x="37945" y="45406"/>
                </a:lnTo>
                <a:lnTo>
                  <a:pt x="37697" y="44172"/>
                </a:lnTo>
                <a:close/>
              </a:path>
            </a:pathLst>
          </a:custGeom>
          <a:solidFill>
            <a:srgbClr val="000000"/>
          </a:solidFill>
        </p:spPr>
        <p:txBody>
          <a:bodyPr wrap="square" lIns="0" tIns="0" rIns="0" bIns="0" rtlCol="0">
            <a:noAutofit/>
          </a:bodyPr>
          <a:lstStyle/>
          <a:p>
            <a:endParaRPr/>
          </a:p>
        </p:txBody>
      </p:sp>
      <p:sp>
        <p:nvSpPr>
          <p:cNvPr id="2193" name="object 2193"/>
          <p:cNvSpPr/>
          <p:nvPr/>
        </p:nvSpPr>
        <p:spPr>
          <a:xfrm>
            <a:off x="8311764" y="1856822"/>
            <a:ext cx="29761" cy="30846"/>
          </a:xfrm>
          <a:custGeom>
            <a:avLst/>
            <a:gdLst/>
            <a:ahLst/>
            <a:cxnLst/>
            <a:rect l="l" t="t" r="r" b="b"/>
            <a:pathLst>
              <a:path w="29761" h="30846">
                <a:moveTo>
                  <a:pt x="3720" y="27392"/>
                </a:moveTo>
                <a:lnTo>
                  <a:pt x="3472" y="27145"/>
                </a:lnTo>
                <a:lnTo>
                  <a:pt x="2728" y="26158"/>
                </a:lnTo>
                <a:lnTo>
                  <a:pt x="1488" y="25911"/>
                </a:lnTo>
                <a:lnTo>
                  <a:pt x="248" y="26651"/>
                </a:lnTo>
                <a:lnTo>
                  <a:pt x="0" y="28132"/>
                </a:lnTo>
                <a:lnTo>
                  <a:pt x="3720" y="30846"/>
                </a:lnTo>
                <a:lnTo>
                  <a:pt x="8184" y="29366"/>
                </a:lnTo>
                <a:lnTo>
                  <a:pt x="13144" y="25911"/>
                </a:lnTo>
                <a:lnTo>
                  <a:pt x="18600" y="20975"/>
                </a:lnTo>
                <a:lnTo>
                  <a:pt x="23561" y="15300"/>
                </a:lnTo>
                <a:lnTo>
                  <a:pt x="27281" y="9871"/>
                </a:lnTo>
                <a:lnTo>
                  <a:pt x="29761" y="4935"/>
                </a:lnTo>
                <a:lnTo>
                  <a:pt x="28769" y="0"/>
                </a:lnTo>
                <a:lnTo>
                  <a:pt x="26289" y="2467"/>
                </a:lnTo>
                <a:lnTo>
                  <a:pt x="26289" y="3948"/>
                </a:lnTo>
                <a:lnTo>
                  <a:pt x="24305" y="7896"/>
                </a:lnTo>
                <a:lnTo>
                  <a:pt x="20584" y="13325"/>
                </a:lnTo>
                <a:lnTo>
                  <a:pt x="16120" y="18508"/>
                </a:lnTo>
                <a:lnTo>
                  <a:pt x="11160" y="23443"/>
                </a:lnTo>
                <a:lnTo>
                  <a:pt x="6696" y="26404"/>
                </a:lnTo>
                <a:lnTo>
                  <a:pt x="3720" y="27392"/>
                </a:lnTo>
                <a:close/>
              </a:path>
            </a:pathLst>
          </a:custGeom>
          <a:solidFill>
            <a:srgbClr val="000000"/>
          </a:solidFill>
        </p:spPr>
        <p:txBody>
          <a:bodyPr wrap="square" lIns="0" tIns="0" rIns="0" bIns="0" rtlCol="0">
            <a:noAutofit/>
          </a:bodyPr>
          <a:lstStyle/>
          <a:p>
            <a:endParaRPr/>
          </a:p>
        </p:txBody>
      </p:sp>
      <p:sp>
        <p:nvSpPr>
          <p:cNvPr id="2194" name="object 2194"/>
          <p:cNvSpPr/>
          <p:nvPr/>
        </p:nvSpPr>
        <p:spPr>
          <a:xfrm>
            <a:off x="8292667" y="1822028"/>
            <a:ext cx="22569" cy="62927"/>
          </a:xfrm>
          <a:custGeom>
            <a:avLst/>
            <a:gdLst/>
            <a:ahLst/>
            <a:cxnLst/>
            <a:rect l="l" t="t" r="r" b="b"/>
            <a:pathLst>
              <a:path w="22569" h="62927">
                <a:moveTo>
                  <a:pt x="3472" y="1233"/>
                </a:moveTo>
                <a:lnTo>
                  <a:pt x="2728" y="246"/>
                </a:lnTo>
                <a:lnTo>
                  <a:pt x="1488" y="0"/>
                </a:lnTo>
                <a:lnTo>
                  <a:pt x="461" y="612"/>
                </a:lnTo>
                <a:lnTo>
                  <a:pt x="248" y="740"/>
                </a:lnTo>
                <a:lnTo>
                  <a:pt x="0" y="2220"/>
                </a:lnTo>
                <a:lnTo>
                  <a:pt x="19096" y="62927"/>
                </a:lnTo>
                <a:lnTo>
                  <a:pt x="2976" y="2961"/>
                </a:lnTo>
                <a:lnTo>
                  <a:pt x="3472" y="1233"/>
                </a:lnTo>
                <a:close/>
              </a:path>
              <a:path w="22569" h="62927">
                <a:moveTo>
                  <a:pt x="3472" y="1233"/>
                </a:moveTo>
                <a:lnTo>
                  <a:pt x="2976" y="2961"/>
                </a:lnTo>
                <a:lnTo>
                  <a:pt x="19096" y="62927"/>
                </a:lnTo>
                <a:lnTo>
                  <a:pt x="22569" y="61940"/>
                </a:lnTo>
                <a:lnTo>
                  <a:pt x="3472" y="1233"/>
                </a:lnTo>
                <a:close/>
              </a:path>
            </a:pathLst>
          </a:custGeom>
          <a:solidFill>
            <a:srgbClr val="000000"/>
          </a:solidFill>
        </p:spPr>
        <p:txBody>
          <a:bodyPr wrap="square" lIns="0" tIns="0" rIns="0" bIns="0" rtlCol="0">
            <a:noAutofit/>
          </a:bodyPr>
          <a:lstStyle/>
          <a:p>
            <a:endParaRPr/>
          </a:p>
        </p:txBody>
      </p:sp>
      <p:sp>
        <p:nvSpPr>
          <p:cNvPr id="2195" name="object 2195"/>
          <p:cNvSpPr/>
          <p:nvPr/>
        </p:nvSpPr>
        <p:spPr>
          <a:xfrm>
            <a:off x="8293162" y="1812156"/>
            <a:ext cx="12152" cy="12832"/>
          </a:xfrm>
          <a:custGeom>
            <a:avLst/>
            <a:gdLst/>
            <a:ahLst/>
            <a:cxnLst/>
            <a:rect l="l" t="t" r="r" b="b"/>
            <a:pathLst>
              <a:path w="12152" h="12832">
                <a:moveTo>
                  <a:pt x="12152" y="493"/>
                </a:moveTo>
                <a:lnTo>
                  <a:pt x="10912" y="0"/>
                </a:lnTo>
                <a:lnTo>
                  <a:pt x="9672" y="493"/>
                </a:lnTo>
                <a:lnTo>
                  <a:pt x="9672" y="2714"/>
                </a:lnTo>
                <a:lnTo>
                  <a:pt x="9672" y="493"/>
                </a:lnTo>
                <a:lnTo>
                  <a:pt x="0" y="10364"/>
                </a:lnTo>
                <a:lnTo>
                  <a:pt x="2480" y="12832"/>
                </a:lnTo>
                <a:lnTo>
                  <a:pt x="12152" y="2961"/>
                </a:lnTo>
                <a:lnTo>
                  <a:pt x="12152" y="493"/>
                </a:lnTo>
                <a:close/>
              </a:path>
            </a:pathLst>
          </a:custGeom>
          <a:solidFill>
            <a:srgbClr val="000000"/>
          </a:solidFill>
        </p:spPr>
        <p:txBody>
          <a:bodyPr wrap="square" lIns="0" tIns="0" rIns="0" bIns="0" rtlCol="0">
            <a:noAutofit/>
          </a:bodyPr>
          <a:lstStyle/>
          <a:p>
            <a:endParaRPr/>
          </a:p>
        </p:txBody>
      </p:sp>
      <p:sp>
        <p:nvSpPr>
          <p:cNvPr id="2196" name="object 2196"/>
          <p:cNvSpPr/>
          <p:nvPr/>
        </p:nvSpPr>
        <p:spPr>
          <a:xfrm>
            <a:off x="8305315" y="1812650"/>
            <a:ext cx="496" cy="2467"/>
          </a:xfrm>
          <a:custGeom>
            <a:avLst/>
            <a:gdLst/>
            <a:ahLst/>
            <a:cxnLst/>
            <a:rect l="l" t="t" r="r" b="b"/>
            <a:pathLst>
              <a:path w="496" h="2467">
                <a:moveTo>
                  <a:pt x="0" y="246"/>
                </a:moveTo>
                <a:lnTo>
                  <a:pt x="0" y="2467"/>
                </a:lnTo>
                <a:lnTo>
                  <a:pt x="496" y="1233"/>
                </a:lnTo>
                <a:lnTo>
                  <a:pt x="0" y="0"/>
                </a:lnTo>
                <a:lnTo>
                  <a:pt x="0" y="246"/>
                </a:lnTo>
                <a:close/>
              </a:path>
            </a:pathLst>
          </a:custGeom>
          <a:solidFill>
            <a:srgbClr val="000000"/>
          </a:solidFill>
        </p:spPr>
        <p:txBody>
          <a:bodyPr wrap="square" lIns="0" tIns="0" rIns="0" bIns="0" rtlCol="0">
            <a:noAutofit/>
          </a:bodyPr>
          <a:lstStyle/>
          <a:p>
            <a:endParaRPr/>
          </a:p>
        </p:txBody>
      </p:sp>
      <p:sp>
        <p:nvSpPr>
          <p:cNvPr id="2197" name="object 2197"/>
          <p:cNvSpPr/>
          <p:nvPr/>
        </p:nvSpPr>
        <p:spPr>
          <a:xfrm>
            <a:off x="8296387" y="1777361"/>
            <a:ext cx="43401" cy="36029"/>
          </a:xfrm>
          <a:custGeom>
            <a:avLst/>
            <a:gdLst/>
            <a:ahLst/>
            <a:cxnLst/>
            <a:rect l="l" t="t" r="r" b="b"/>
            <a:pathLst>
              <a:path w="43401" h="36029">
                <a:moveTo>
                  <a:pt x="42905" y="2714"/>
                </a:moveTo>
                <a:lnTo>
                  <a:pt x="43401" y="1727"/>
                </a:lnTo>
                <a:lnTo>
                  <a:pt x="43153" y="493"/>
                </a:lnTo>
                <a:lnTo>
                  <a:pt x="42161" y="0"/>
                </a:lnTo>
                <a:lnTo>
                  <a:pt x="40921" y="246"/>
                </a:lnTo>
                <a:lnTo>
                  <a:pt x="0" y="33561"/>
                </a:lnTo>
                <a:lnTo>
                  <a:pt x="1984" y="36029"/>
                </a:lnTo>
                <a:lnTo>
                  <a:pt x="42905" y="2714"/>
                </a:lnTo>
                <a:close/>
              </a:path>
            </a:pathLst>
          </a:custGeom>
          <a:solidFill>
            <a:srgbClr val="000000"/>
          </a:solidFill>
        </p:spPr>
        <p:txBody>
          <a:bodyPr wrap="square" lIns="0" tIns="0" rIns="0" bIns="0" rtlCol="0">
            <a:noAutofit/>
          </a:bodyPr>
          <a:lstStyle/>
          <a:p>
            <a:endParaRPr/>
          </a:p>
        </p:txBody>
      </p:sp>
      <p:sp>
        <p:nvSpPr>
          <p:cNvPr id="2198" name="object 2198"/>
          <p:cNvSpPr/>
          <p:nvPr/>
        </p:nvSpPr>
        <p:spPr>
          <a:xfrm>
            <a:off x="8346237" y="1818820"/>
            <a:ext cx="1736" cy="4441"/>
          </a:xfrm>
          <a:custGeom>
            <a:avLst/>
            <a:gdLst/>
            <a:ahLst/>
            <a:cxnLst/>
            <a:rect l="l" t="t" r="r" b="b"/>
            <a:pathLst>
              <a:path w="1736" h="4441">
                <a:moveTo>
                  <a:pt x="496" y="3948"/>
                </a:moveTo>
                <a:lnTo>
                  <a:pt x="1736" y="4441"/>
                </a:lnTo>
                <a:lnTo>
                  <a:pt x="1240" y="1233"/>
                </a:lnTo>
                <a:lnTo>
                  <a:pt x="1736" y="987"/>
                </a:lnTo>
                <a:lnTo>
                  <a:pt x="1736" y="0"/>
                </a:lnTo>
                <a:lnTo>
                  <a:pt x="1263" y="1175"/>
                </a:lnTo>
                <a:lnTo>
                  <a:pt x="1488" y="987"/>
                </a:lnTo>
                <a:lnTo>
                  <a:pt x="1263" y="1175"/>
                </a:lnTo>
                <a:lnTo>
                  <a:pt x="496" y="1480"/>
                </a:lnTo>
                <a:lnTo>
                  <a:pt x="0" y="2714"/>
                </a:lnTo>
                <a:lnTo>
                  <a:pt x="496" y="3948"/>
                </a:lnTo>
                <a:close/>
              </a:path>
            </a:pathLst>
          </a:custGeom>
          <a:solidFill>
            <a:srgbClr val="000000"/>
          </a:solidFill>
        </p:spPr>
        <p:txBody>
          <a:bodyPr wrap="square" lIns="0" tIns="0" rIns="0" bIns="0" rtlCol="0">
            <a:noAutofit/>
          </a:bodyPr>
          <a:lstStyle/>
          <a:p>
            <a:endParaRPr/>
          </a:p>
        </p:txBody>
      </p:sp>
      <p:sp>
        <p:nvSpPr>
          <p:cNvPr id="2199" name="object 2199"/>
          <p:cNvSpPr/>
          <p:nvPr/>
        </p:nvSpPr>
        <p:spPr>
          <a:xfrm>
            <a:off x="8337060" y="1776620"/>
            <a:ext cx="14632" cy="46640"/>
          </a:xfrm>
          <a:custGeom>
            <a:avLst/>
            <a:gdLst/>
            <a:ahLst/>
            <a:cxnLst/>
            <a:rect l="l" t="t" r="r" b="b"/>
            <a:pathLst>
              <a:path w="14632" h="46640">
                <a:moveTo>
                  <a:pt x="10416" y="43432"/>
                </a:moveTo>
                <a:lnTo>
                  <a:pt x="10912" y="46640"/>
                </a:lnTo>
                <a:lnTo>
                  <a:pt x="13392" y="45406"/>
                </a:lnTo>
                <a:lnTo>
                  <a:pt x="14384" y="43185"/>
                </a:lnTo>
                <a:lnTo>
                  <a:pt x="14632" y="40471"/>
                </a:lnTo>
                <a:lnTo>
                  <a:pt x="14632" y="37509"/>
                </a:lnTo>
                <a:lnTo>
                  <a:pt x="14384" y="33561"/>
                </a:lnTo>
                <a:lnTo>
                  <a:pt x="13888" y="29613"/>
                </a:lnTo>
                <a:lnTo>
                  <a:pt x="13144" y="25417"/>
                </a:lnTo>
                <a:lnTo>
                  <a:pt x="12152" y="20975"/>
                </a:lnTo>
                <a:lnTo>
                  <a:pt x="11160" y="16780"/>
                </a:lnTo>
                <a:lnTo>
                  <a:pt x="9920" y="12832"/>
                </a:lnTo>
                <a:lnTo>
                  <a:pt x="8928" y="9377"/>
                </a:lnTo>
                <a:lnTo>
                  <a:pt x="7440" y="5922"/>
                </a:lnTo>
                <a:lnTo>
                  <a:pt x="6200" y="3208"/>
                </a:lnTo>
                <a:lnTo>
                  <a:pt x="4712" y="1233"/>
                </a:lnTo>
                <a:lnTo>
                  <a:pt x="2480" y="0"/>
                </a:lnTo>
                <a:lnTo>
                  <a:pt x="0" y="987"/>
                </a:lnTo>
                <a:lnTo>
                  <a:pt x="2480" y="3454"/>
                </a:lnTo>
                <a:lnTo>
                  <a:pt x="1984" y="3454"/>
                </a:lnTo>
                <a:lnTo>
                  <a:pt x="2232" y="3701"/>
                </a:lnTo>
                <a:lnTo>
                  <a:pt x="3224" y="5182"/>
                </a:lnTo>
                <a:lnTo>
                  <a:pt x="4464" y="7403"/>
                </a:lnTo>
                <a:lnTo>
                  <a:pt x="5456" y="10364"/>
                </a:lnTo>
                <a:lnTo>
                  <a:pt x="6448" y="13819"/>
                </a:lnTo>
                <a:lnTo>
                  <a:pt x="7688" y="17767"/>
                </a:lnTo>
                <a:lnTo>
                  <a:pt x="8680" y="21963"/>
                </a:lnTo>
                <a:lnTo>
                  <a:pt x="9672" y="25911"/>
                </a:lnTo>
                <a:lnTo>
                  <a:pt x="10416" y="30106"/>
                </a:lnTo>
                <a:lnTo>
                  <a:pt x="10912" y="34055"/>
                </a:lnTo>
                <a:lnTo>
                  <a:pt x="11160" y="37509"/>
                </a:lnTo>
                <a:lnTo>
                  <a:pt x="11160" y="40471"/>
                </a:lnTo>
                <a:lnTo>
                  <a:pt x="10912" y="42198"/>
                </a:lnTo>
                <a:lnTo>
                  <a:pt x="10912" y="43185"/>
                </a:lnTo>
                <a:lnTo>
                  <a:pt x="10416" y="43432"/>
                </a:lnTo>
                <a:close/>
              </a:path>
            </a:pathLst>
          </a:custGeom>
          <a:solidFill>
            <a:srgbClr val="000000"/>
          </a:solidFill>
        </p:spPr>
        <p:txBody>
          <a:bodyPr wrap="square" lIns="0" tIns="0" rIns="0" bIns="0" rtlCol="0">
            <a:noAutofit/>
          </a:bodyPr>
          <a:lstStyle/>
          <a:p>
            <a:endParaRPr/>
          </a:p>
        </p:txBody>
      </p:sp>
      <p:sp>
        <p:nvSpPr>
          <p:cNvPr id="2200" name="object 2200"/>
          <p:cNvSpPr/>
          <p:nvPr/>
        </p:nvSpPr>
        <p:spPr>
          <a:xfrm>
            <a:off x="8301347" y="1823262"/>
            <a:ext cx="46874" cy="6909"/>
          </a:xfrm>
          <a:custGeom>
            <a:avLst/>
            <a:gdLst/>
            <a:ahLst/>
            <a:cxnLst/>
            <a:rect l="l" t="t" r="r" b="b"/>
            <a:pathLst>
              <a:path w="46874" h="6909">
                <a:moveTo>
                  <a:pt x="1488" y="4688"/>
                </a:moveTo>
                <a:lnTo>
                  <a:pt x="0" y="6909"/>
                </a:lnTo>
                <a:lnTo>
                  <a:pt x="46874" y="0"/>
                </a:lnTo>
                <a:lnTo>
                  <a:pt x="1488" y="4688"/>
                </a:lnTo>
                <a:close/>
              </a:path>
            </a:pathLst>
          </a:custGeom>
          <a:solidFill>
            <a:srgbClr val="000000"/>
          </a:solidFill>
        </p:spPr>
        <p:txBody>
          <a:bodyPr wrap="square" lIns="0" tIns="0" rIns="0" bIns="0" rtlCol="0">
            <a:noAutofit/>
          </a:bodyPr>
          <a:lstStyle/>
          <a:p>
            <a:endParaRPr/>
          </a:p>
        </p:txBody>
      </p:sp>
      <p:sp>
        <p:nvSpPr>
          <p:cNvPr id="2201" name="object 2201"/>
          <p:cNvSpPr/>
          <p:nvPr/>
        </p:nvSpPr>
        <p:spPr>
          <a:xfrm>
            <a:off x="8299363" y="1819806"/>
            <a:ext cx="48858" cy="10364"/>
          </a:xfrm>
          <a:custGeom>
            <a:avLst/>
            <a:gdLst/>
            <a:ahLst/>
            <a:cxnLst/>
            <a:rect l="l" t="t" r="r" b="b"/>
            <a:pathLst>
              <a:path w="48858" h="10364">
                <a:moveTo>
                  <a:pt x="48858" y="3454"/>
                </a:moveTo>
                <a:lnTo>
                  <a:pt x="48362" y="0"/>
                </a:lnTo>
                <a:lnTo>
                  <a:pt x="1488" y="6909"/>
                </a:lnTo>
                <a:lnTo>
                  <a:pt x="248" y="7650"/>
                </a:lnTo>
                <a:lnTo>
                  <a:pt x="0" y="8883"/>
                </a:lnTo>
                <a:lnTo>
                  <a:pt x="350" y="9348"/>
                </a:lnTo>
                <a:lnTo>
                  <a:pt x="744" y="9871"/>
                </a:lnTo>
                <a:lnTo>
                  <a:pt x="1984" y="10364"/>
                </a:lnTo>
                <a:lnTo>
                  <a:pt x="3472" y="8143"/>
                </a:lnTo>
                <a:lnTo>
                  <a:pt x="48858" y="3454"/>
                </a:lnTo>
                <a:close/>
              </a:path>
            </a:pathLst>
          </a:custGeom>
          <a:solidFill>
            <a:srgbClr val="000000"/>
          </a:solidFill>
        </p:spPr>
        <p:txBody>
          <a:bodyPr wrap="square" lIns="0" tIns="0" rIns="0" bIns="0" rtlCol="0">
            <a:noAutofit/>
          </a:bodyPr>
          <a:lstStyle/>
          <a:p>
            <a:endParaRPr/>
          </a:p>
        </p:txBody>
      </p:sp>
      <p:sp>
        <p:nvSpPr>
          <p:cNvPr id="2202" name="object 2202"/>
          <p:cNvSpPr/>
          <p:nvPr/>
        </p:nvSpPr>
        <p:spPr>
          <a:xfrm>
            <a:off x="8295642" y="1810922"/>
            <a:ext cx="3720" cy="18014"/>
          </a:xfrm>
          <a:custGeom>
            <a:avLst/>
            <a:gdLst/>
            <a:ahLst/>
            <a:cxnLst/>
            <a:rect l="l" t="t" r="r" b="b"/>
            <a:pathLst>
              <a:path w="3720" h="18014">
                <a:moveTo>
                  <a:pt x="744" y="0"/>
                </a:moveTo>
                <a:lnTo>
                  <a:pt x="248" y="246"/>
                </a:lnTo>
                <a:lnTo>
                  <a:pt x="0" y="1727"/>
                </a:lnTo>
                <a:lnTo>
                  <a:pt x="3720" y="18014"/>
                </a:lnTo>
                <a:lnTo>
                  <a:pt x="744" y="0"/>
                </a:lnTo>
                <a:close/>
              </a:path>
            </a:pathLst>
          </a:custGeom>
          <a:solidFill>
            <a:srgbClr val="000000"/>
          </a:solidFill>
        </p:spPr>
        <p:txBody>
          <a:bodyPr wrap="square" lIns="0" tIns="0" rIns="0" bIns="0" rtlCol="0">
            <a:noAutofit/>
          </a:bodyPr>
          <a:lstStyle/>
          <a:p>
            <a:endParaRPr/>
          </a:p>
        </p:txBody>
      </p:sp>
      <p:sp>
        <p:nvSpPr>
          <p:cNvPr id="2203" name="object 2203"/>
          <p:cNvSpPr/>
          <p:nvPr/>
        </p:nvSpPr>
        <p:spPr>
          <a:xfrm>
            <a:off x="8297131" y="1810429"/>
            <a:ext cx="1240" cy="2961"/>
          </a:xfrm>
          <a:custGeom>
            <a:avLst/>
            <a:gdLst/>
            <a:ahLst/>
            <a:cxnLst/>
            <a:rect l="l" t="t" r="r" b="b"/>
            <a:pathLst>
              <a:path w="1240" h="2961">
                <a:moveTo>
                  <a:pt x="1240" y="2961"/>
                </a:moveTo>
                <a:lnTo>
                  <a:pt x="1240" y="246"/>
                </a:lnTo>
                <a:lnTo>
                  <a:pt x="0" y="0"/>
                </a:lnTo>
                <a:lnTo>
                  <a:pt x="1240" y="2961"/>
                </a:lnTo>
                <a:close/>
              </a:path>
            </a:pathLst>
          </a:custGeom>
          <a:solidFill>
            <a:srgbClr val="000000"/>
          </a:solidFill>
        </p:spPr>
        <p:txBody>
          <a:bodyPr wrap="square" lIns="0" tIns="0" rIns="0" bIns="0" rtlCol="0">
            <a:noAutofit/>
          </a:bodyPr>
          <a:lstStyle/>
          <a:p>
            <a:endParaRPr/>
          </a:p>
        </p:txBody>
      </p:sp>
      <p:sp>
        <p:nvSpPr>
          <p:cNvPr id="2204" name="object 2204"/>
          <p:cNvSpPr/>
          <p:nvPr/>
        </p:nvSpPr>
        <p:spPr>
          <a:xfrm>
            <a:off x="8295890" y="1810428"/>
            <a:ext cx="6944" cy="18508"/>
          </a:xfrm>
          <a:custGeom>
            <a:avLst/>
            <a:gdLst/>
            <a:ahLst/>
            <a:cxnLst/>
            <a:rect l="l" t="t" r="r" b="b"/>
            <a:pathLst>
              <a:path w="6944" h="18508">
                <a:moveTo>
                  <a:pt x="0" y="740"/>
                </a:moveTo>
                <a:lnTo>
                  <a:pt x="496" y="493"/>
                </a:lnTo>
                <a:lnTo>
                  <a:pt x="3472" y="18508"/>
                </a:lnTo>
                <a:lnTo>
                  <a:pt x="6944" y="17521"/>
                </a:lnTo>
                <a:lnTo>
                  <a:pt x="3224" y="1233"/>
                </a:lnTo>
                <a:lnTo>
                  <a:pt x="2480" y="246"/>
                </a:lnTo>
                <a:lnTo>
                  <a:pt x="2480" y="2961"/>
                </a:lnTo>
                <a:lnTo>
                  <a:pt x="1240" y="0"/>
                </a:lnTo>
                <a:lnTo>
                  <a:pt x="0" y="740"/>
                </a:lnTo>
                <a:close/>
              </a:path>
            </a:pathLst>
          </a:custGeom>
          <a:solidFill>
            <a:srgbClr val="000000"/>
          </a:solidFill>
        </p:spPr>
        <p:txBody>
          <a:bodyPr wrap="square" lIns="0" tIns="0" rIns="0" bIns="0" rtlCol="0">
            <a:noAutofit/>
          </a:bodyPr>
          <a:lstStyle/>
          <a:p>
            <a:endParaRPr/>
          </a:p>
        </p:txBody>
      </p:sp>
      <p:sp>
        <p:nvSpPr>
          <p:cNvPr id="2205" name="object 2205"/>
          <p:cNvSpPr/>
          <p:nvPr/>
        </p:nvSpPr>
        <p:spPr>
          <a:xfrm>
            <a:off x="8282498" y="1754163"/>
            <a:ext cx="13392" cy="67122"/>
          </a:xfrm>
          <a:custGeom>
            <a:avLst/>
            <a:gdLst/>
            <a:ahLst/>
            <a:cxnLst/>
            <a:rect l="l" t="t" r="r" b="b"/>
            <a:pathLst>
              <a:path w="13392" h="67122">
                <a:moveTo>
                  <a:pt x="0" y="1974"/>
                </a:moveTo>
                <a:lnTo>
                  <a:pt x="9920" y="67122"/>
                </a:lnTo>
                <a:lnTo>
                  <a:pt x="13392" y="66629"/>
                </a:lnTo>
                <a:lnTo>
                  <a:pt x="3472" y="1480"/>
                </a:lnTo>
                <a:lnTo>
                  <a:pt x="2728" y="246"/>
                </a:lnTo>
                <a:lnTo>
                  <a:pt x="1488" y="0"/>
                </a:lnTo>
                <a:lnTo>
                  <a:pt x="496" y="740"/>
                </a:lnTo>
                <a:lnTo>
                  <a:pt x="0" y="1974"/>
                </a:lnTo>
                <a:close/>
              </a:path>
            </a:pathLst>
          </a:custGeom>
          <a:solidFill>
            <a:srgbClr val="000000"/>
          </a:solidFill>
        </p:spPr>
        <p:txBody>
          <a:bodyPr wrap="square" lIns="0" tIns="0" rIns="0" bIns="0" rtlCol="0">
            <a:noAutofit/>
          </a:bodyPr>
          <a:lstStyle/>
          <a:p>
            <a:endParaRPr/>
          </a:p>
        </p:txBody>
      </p:sp>
      <p:sp>
        <p:nvSpPr>
          <p:cNvPr id="2206" name="object 2206"/>
          <p:cNvSpPr/>
          <p:nvPr/>
        </p:nvSpPr>
        <p:spPr>
          <a:xfrm>
            <a:off x="8282499" y="1747748"/>
            <a:ext cx="35465" cy="9871"/>
          </a:xfrm>
          <a:custGeom>
            <a:avLst/>
            <a:gdLst/>
            <a:ahLst/>
            <a:cxnLst/>
            <a:rect l="l" t="t" r="r" b="b"/>
            <a:pathLst>
              <a:path w="35465" h="9871">
                <a:moveTo>
                  <a:pt x="3472" y="7896"/>
                </a:moveTo>
                <a:lnTo>
                  <a:pt x="3968" y="6662"/>
                </a:lnTo>
                <a:lnTo>
                  <a:pt x="6944" y="4935"/>
                </a:lnTo>
                <a:lnTo>
                  <a:pt x="11904" y="3701"/>
                </a:lnTo>
                <a:lnTo>
                  <a:pt x="17856" y="3454"/>
                </a:lnTo>
                <a:lnTo>
                  <a:pt x="23561" y="3701"/>
                </a:lnTo>
                <a:lnTo>
                  <a:pt x="28521" y="4935"/>
                </a:lnTo>
                <a:lnTo>
                  <a:pt x="31497" y="6662"/>
                </a:lnTo>
                <a:lnTo>
                  <a:pt x="31993" y="7896"/>
                </a:lnTo>
                <a:lnTo>
                  <a:pt x="32489" y="9130"/>
                </a:lnTo>
                <a:lnTo>
                  <a:pt x="33481" y="9871"/>
                </a:lnTo>
                <a:lnTo>
                  <a:pt x="34721" y="9624"/>
                </a:lnTo>
                <a:lnTo>
                  <a:pt x="35465" y="8390"/>
                </a:lnTo>
                <a:lnTo>
                  <a:pt x="33977" y="4195"/>
                </a:lnTo>
                <a:lnTo>
                  <a:pt x="30009" y="1480"/>
                </a:lnTo>
                <a:lnTo>
                  <a:pt x="24057" y="246"/>
                </a:lnTo>
                <a:lnTo>
                  <a:pt x="17856" y="0"/>
                </a:lnTo>
                <a:lnTo>
                  <a:pt x="11408" y="246"/>
                </a:lnTo>
                <a:lnTo>
                  <a:pt x="5456" y="1480"/>
                </a:lnTo>
                <a:lnTo>
                  <a:pt x="1488" y="4195"/>
                </a:lnTo>
                <a:lnTo>
                  <a:pt x="0" y="8390"/>
                </a:lnTo>
                <a:lnTo>
                  <a:pt x="3472" y="7896"/>
                </a:lnTo>
                <a:close/>
              </a:path>
            </a:pathLst>
          </a:custGeom>
          <a:solidFill>
            <a:srgbClr val="000000"/>
          </a:solidFill>
        </p:spPr>
        <p:txBody>
          <a:bodyPr wrap="square" lIns="0" tIns="0" rIns="0" bIns="0" rtlCol="0">
            <a:noAutofit/>
          </a:bodyPr>
          <a:lstStyle/>
          <a:p>
            <a:endParaRPr/>
          </a:p>
        </p:txBody>
      </p:sp>
      <p:sp>
        <p:nvSpPr>
          <p:cNvPr id="2207" name="object 2207"/>
          <p:cNvSpPr/>
          <p:nvPr/>
        </p:nvSpPr>
        <p:spPr>
          <a:xfrm>
            <a:off x="8304571" y="1755644"/>
            <a:ext cx="9920" cy="66382"/>
          </a:xfrm>
          <a:custGeom>
            <a:avLst/>
            <a:gdLst/>
            <a:ahLst/>
            <a:cxnLst/>
            <a:rect l="l" t="t" r="r" b="b"/>
            <a:pathLst>
              <a:path w="9920" h="66382">
                <a:moveTo>
                  <a:pt x="1736" y="63668"/>
                </a:moveTo>
                <a:lnTo>
                  <a:pt x="9920" y="0"/>
                </a:lnTo>
                <a:lnTo>
                  <a:pt x="0" y="65148"/>
                </a:lnTo>
                <a:lnTo>
                  <a:pt x="496" y="66382"/>
                </a:lnTo>
                <a:lnTo>
                  <a:pt x="1736" y="63668"/>
                </a:lnTo>
                <a:close/>
              </a:path>
            </a:pathLst>
          </a:custGeom>
          <a:solidFill>
            <a:srgbClr val="000000"/>
          </a:solidFill>
        </p:spPr>
        <p:txBody>
          <a:bodyPr wrap="square" lIns="0" tIns="0" rIns="0" bIns="0" rtlCol="0">
            <a:noAutofit/>
          </a:bodyPr>
          <a:lstStyle/>
          <a:p>
            <a:endParaRPr/>
          </a:p>
        </p:txBody>
      </p:sp>
      <p:sp>
        <p:nvSpPr>
          <p:cNvPr id="2208" name="object 2208"/>
          <p:cNvSpPr/>
          <p:nvPr/>
        </p:nvSpPr>
        <p:spPr>
          <a:xfrm>
            <a:off x="8305067" y="1755644"/>
            <a:ext cx="12896" cy="67122"/>
          </a:xfrm>
          <a:custGeom>
            <a:avLst/>
            <a:gdLst/>
            <a:ahLst/>
            <a:cxnLst/>
            <a:rect l="l" t="t" r="r" b="b"/>
            <a:pathLst>
              <a:path w="12896" h="67122">
                <a:moveTo>
                  <a:pt x="0" y="66382"/>
                </a:moveTo>
                <a:lnTo>
                  <a:pt x="992" y="67122"/>
                </a:lnTo>
                <a:lnTo>
                  <a:pt x="1315" y="67058"/>
                </a:lnTo>
                <a:lnTo>
                  <a:pt x="2232" y="66876"/>
                </a:lnTo>
                <a:lnTo>
                  <a:pt x="2976" y="65642"/>
                </a:lnTo>
                <a:lnTo>
                  <a:pt x="12896" y="493"/>
                </a:lnTo>
                <a:lnTo>
                  <a:pt x="9424" y="0"/>
                </a:lnTo>
                <a:lnTo>
                  <a:pt x="1240" y="63668"/>
                </a:lnTo>
                <a:lnTo>
                  <a:pt x="0" y="66382"/>
                </a:lnTo>
                <a:close/>
              </a:path>
            </a:pathLst>
          </a:custGeom>
          <a:solidFill>
            <a:srgbClr val="000000"/>
          </a:solidFill>
        </p:spPr>
        <p:txBody>
          <a:bodyPr wrap="square" lIns="0" tIns="0" rIns="0" bIns="0" rtlCol="0">
            <a:noAutofit/>
          </a:bodyPr>
          <a:lstStyle/>
          <a:p>
            <a:endParaRPr/>
          </a:p>
        </p:txBody>
      </p:sp>
      <p:sp>
        <p:nvSpPr>
          <p:cNvPr id="2209" name="object 2209"/>
          <p:cNvSpPr/>
          <p:nvPr/>
        </p:nvSpPr>
        <p:spPr>
          <a:xfrm>
            <a:off x="8294154" y="1820793"/>
            <a:ext cx="12152" cy="1974"/>
          </a:xfrm>
          <a:custGeom>
            <a:avLst/>
            <a:gdLst/>
            <a:ahLst/>
            <a:cxnLst/>
            <a:rect l="l" t="t" r="r" b="b"/>
            <a:pathLst>
              <a:path w="12152" h="1974">
                <a:moveTo>
                  <a:pt x="1736" y="0"/>
                </a:moveTo>
                <a:lnTo>
                  <a:pt x="0" y="1974"/>
                </a:lnTo>
                <a:lnTo>
                  <a:pt x="12152" y="1974"/>
                </a:lnTo>
                <a:lnTo>
                  <a:pt x="1736" y="0"/>
                </a:lnTo>
                <a:close/>
              </a:path>
            </a:pathLst>
          </a:custGeom>
          <a:solidFill>
            <a:srgbClr val="000000"/>
          </a:solidFill>
        </p:spPr>
        <p:txBody>
          <a:bodyPr wrap="square" lIns="0" tIns="0" rIns="0" bIns="0" rtlCol="0">
            <a:noAutofit/>
          </a:bodyPr>
          <a:lstStyle/>
          <a:p>
            <a:endParaRPr/>
          </a:p>
        </p:txBody>
      </p:sp>
      <p:sp>
        <p:nvSpPr>
          <p:cNvPr id="2210" name="object 2210"/>
          <p:cNvSpPr/>
          <p:nvPr/>
        </p:nvSpPr>
        <p:spPr>
          <a:xfrm>
            <a:off x="8292418" y="1819312"/>
            <a:ext cx="13888" cy="3454"/>
          </a:xfrm>
          <a:custGeom>
            <a:avLst/>
            <a:gdLst/>
            <a:ahLst/>
            <a:cxnLst/>
            <a:rect l="l" t="t" r="r" b="b"/>
            <a:pathLst>
              <a:path w="13888" h="3454">
                <a:moveTo>
                  <a:pt x="0" y="1727"/>
                </a:moveTo>
                <a:lnTo>
                  <a:pt x="150" y="2102"/>
                </a:lnTo>
                <a:lnTo>
                  <a:pt x="496" y="2961"/>
                </a:lnTo>
                <a:lnTo>
                  <a:pt x="1736" y="3454"/>
                </a:lnTo>
                <a:lnTo>
                  <a:pt x="3472" y="1480"/>
                </a:lnTo>
                <a:lnTo>
                  <a:pt x="13888" y="3454"/>
                </a:lnTo>
                <a:lnTo>
                  <a:pt x="13888" y="0"/>
                </a:lnTo>
                <a:lnTo>
                  <a:pt x="1736" y="0"/>
                </a:lnTo>
                <a:lnTo>
                  <a:pt x="496" y="493"/>
                </a:lnTo>
                <a:lnTo>
                  <a:pt x="0" y="1727"/>
                </a:lnTo>
                <a:close/>
              </a:path>
            </a:pathLst>
          </a:custGeom>
          <a:solidFill>
            <a:srgbClr val="000000"/>
          </a:solidFill>
        </p:spPr>
        <p:txBody>
          <a:bodyPr wrap="square" lIns="0" tIns="0" rIns="0" bIns="0" rtlCol="0">
            <a:noAutofit/>
          </a:bodyPr>
          <a:lstStyle/>
          <a:p>
            <a:endParaRPr/>
          </a:p>
        </p:txBody>
      </p:sp>
      <p:sp>
        <p:nvSpPr>
          <p:cNvPr id="2211" name="object 2211"/>
          <p:cNvSpPr/>
          <p:nvPr/>
        </p:nvSpPr>
        <p:spPr>
          <a:xfrm>
            <a:off x="8250256" y="1819312"/>
            <a:ext cx="49106" cy="10364"/>
          </a:xfrm>
          <a:custGeom>
            <a:avLst/>
            <a:gdLst/>
            <a:ahLst/>
            <a:cxnLst/>
            <a:rect l="l" t="t" r="r" b="b"/>
            <a:pathLst>
              <a:path w="49106" h="10364">
                <a:moveTo>
                  <a:pt x="0" y="1480"/>
                </a:moveTo>
                <a:lnTo>
                  <a:pt x="248" y="2714"/>
                </a:lnTo>
                <a:lnTo>
                  <a:pt x="1488" y="3454"/>
                </a:lnTo>
                <a:lnTo>
                  <a:pt x="1736" y="3454"/>
                </a:lnTo>
                <a:lnTo>
                  <a:pt x="1488" y="3454"/>
                </a:lnTo>
                <a:lnTo>
                  <a:pt x="48610" y="10364"/>
                </a:lnTo>
                <a:lnTo>
                  <a:pt x="49106" y="6909"/>
                </a:lnTo>
                <a:lnTo>
                  <a:pt x="1984" y="0"/>
                </a:lnTo>
                <a:lnTo>
                  <a:pt x="744" y="493"/>
                </a:lnTo>
                <a:lnTo>
                  <a:pt x="0" y="1480"/>
                </a:lnTo>
                <a:close/>
              </a:path>
            </a:pathLst>
          </a:custGeom>
          <a:solidFill>
            <a:srgbClr val="000000"/>
          </a:solidFill>
        </p:spPr>
        <p:txBody>
          <a:bodyPr wrap="square" lIns="0" tIns="0" rIns="0" bIns="0" rtlCol="0">
            <a:noAutofit/>
          </a:bodyPr>
          <a:lstStyle/>
          <a:p>
            <a:endParaRPr/>
          </a:p>
        </p:txBody>
      </p:sp>
      <p:sp>
        <p:nvSpPr>
          <p:cNvPr id="2212" name="object 2212"/>
          <p:cNvSpPr/>
          <p:nvPr/>
        </p:nvSpPr>
        <p:spPr>
          <a:xfrm>
            <a:off x="8260673" y="1776126"/>
            <a:ext cx="2480" cy="3454"/>
          </a:xfrm>
          <a:custGeom>
            <a:avLst/>
            <a:gdLst/>
            <a:ahLst/>
            <a:cxnLst/>
            <a:rect l="l" t="t" r="r" b="b"/>
            <a:pathLst>
              <a:path w="2480" h="3454">
                <a:moveTo>
                  <a:pt x="2232" y="987"/>
                </a:moveTo>
                <a:lnTo>
                  <a:pt x="2480" y="987"/>
                </a:lnTo>
                <a:lnTo>
                  <a:pt x="0" y="0"/>
                </a:lnTo>
                <a:lnTo>
                  <a:pt x="248" y="3454"/>
                </a:lnTo>
                <a:lnTo>
                  <a:pt x="496" y="3454"/>
                </a:lnTo>
                <a:lnTo>
                  <a:pt x="2232" y="987"/>
                </a:lnTo>
                <a:close/>
              </a:path>
            </a:pathLst>
          </a:custGeom>
          <a:solidFill>
            <a:srgbClr val="000000"/>
          </a:solidFill>
        </p:spPr>
        <p:txBody>
          <a:bodyPr wrap="square" lIns="0" tIns="0" rIns="0" bIns="0" rtlCol="0">
            <a:noAutofit/>
          </a:bodyPr>
          <a:lstStyle/>
          <a:p>
            <a:endParaRPr/>
          </a:p>
        </p:txBody>
      </p:sp>
      <p:sp>
        <p:nvSpPr>
          <p:cNvPr id="2213" name="object 2213"/>
          <p:cNvSpPr/>
          <p:nvPr/>
        </p:nvSpPr>
        <p:spPr>
          <a:xfrm>
            <a:off x="8248520" y="1776126"/>
            <a:ext cx="12506" cy="46640"/>
          </a:xfrm>
          <a:custGeom>
            <a:avLst/>
            <a:gdLst/>
            <a:ahLst/>
            <a:cxnLst/>
            <a:rect l="l" t="t" r="r" b="b"/>
            <a:pathLst>
              <a:path w="12506" h="46640">
                <a:moveTo>
                  <a:pt x="248" y="33561"/>
                </a:moveTo>
                <a:lnTo>
                  <a:pt x="0" y="37509"/>
                </a:lnTo>
                <a:lnTo>
                  <a:pt x="0" y="40471"/>
                </a:lnTo>
                <a:lnTo>
                  <a:pt x="248" y="42938"/>
                </a:lnTo>
                <a:lnTo>
                  <a:pt x="992" y="45406"/>
                </a:lnTo>
                <a:lnTo>
                  <a:pt x="3472" y="46640"/>
                </a:lnTo>
                <a:lnTo>
                  <a:pt x="3472" y="43185"/>
                </a:lnTo>
                <a:lnTo>
                  <a:pt x="3968" y="43432"/>
                </a:lnTo>
                <a:lnTo>
                  <a:pt x="3720" y="42445"/>
                </a:lnTo>
                <a:lnTo>
                  <a:pt x="3472" y="40471"/>
                </a:lnTo>
                <a:lnTo>
                  <a:pt x="3472" y="37509"/>
                </a:lnTo>
                <a:lnTo>
                  <a:pt x="3720" y="34055"/>
                </a:lnTo>
                <a:lnTo>
                  <a:pt x="4216" y="30106"/>
                </a:lnTo>
                <a:lnTo>
                  <a:pt x="4960" y="25911"/>
                </a:lnTo>
                <a:lnTo>
                  <a:pt x="5952" y="21963"/>
                </a:lnTo>
                <a:lnTo>
                  <a:pt x="6944" y="17767"/>
                </a:lnTo>
                <a:lnTo>
                  <a:pt x="8184" y="13819"/>
                </a:lnTo>
                <a:lnTo>
                  <a:pt x="9176" y="10364"/>
                </a:lnTo>
                <a:lnTo>
                  <a:pt x="10168" y="7403"/>
                </a:lnTo>
                <a:lnTo>
                  <a:pt x="11408" y="5182"/>
                </a:lnTo>
                <a:lnTo>
                  <a:pt x="12400" y="3701"/>
                </a:lnTo>
                <a:lnTo>
                  <a:pt x="12152" y="3454"/>
                </a:lnTo>
                <a:lnTo>
                  <a:pt x="12152" y="0"/>
                </a:lnTo>
                <a:lnTo>
                  <a:pt x="9920" y="1233"/>
                </a:lnTo>
                <a:lnTo>
                  <a:pt x="8432" y="3208"/>
                </a:lnTo>
                <a:lnTo>
                  <a:pt x="7192" y="5922"/>
                </a:lnTo>
                <a:lnTo>
                  <a:pt x="5704" y="9377"/>
                </a:lnTo>
                <a:lnTo>
                  <a:pt x="4712" y="12832"/>
                </a:lnTo>
                <a:lnTo>
                  <a:pt x="3472" y="16780"/>
                </a:lnTo>
                <a:lnTo>
                  <a:pt x="2480" y="20975"/>
                </a:lnTo>
                <a:lnTo>
                  <a:pt x="1488" y="25417"/>
                </a:lnTo>
                <a:lnTo>
                  <a:pt x="744" y="29613"/>
                </a:lnTo>
                <a:lnTo>
                  <a:pt x="248" y="33561"/>
                </a:lnTo>
                <a:close/>
              </a:path>
            </a:pathLst>
          </a:custGeom>
          <a:solidFill>
            <a:srgbClr val="000000"/>
          </a:solidFill>
        </p:spPr>
        <p:txBody>
          <a:bodyPr wrap="square" lIns="0" tIns="0" rIns="0" bIns="0" rtlCol="0">
            <a:noAutofit/>
          </a:bodyPr>
          <a:lstStyle/>
          <a:p>
            <a:endParaRPr/>
          </a:p>
        </p:txBody>
      </p:sp>
      <p:sp>
        <p:nvSpPr>
          <p:cNvPr id="2214" name="object 2214"/>
          <p:cNvSpPr/>
          <p:nvPr/>
        </p:nvSpPr>
        <p:spPr>
          <a:xfrm>
            <a:off x="8260673" y="1776126"/>
            <a:ext cx="2976" cy="3948"/>
          </a:xfrm>
          <a:custGeom>
            <a:avLst/>
            <a:gdLst/>
            <a:ahLst/>
            <a:cxnLst/>
            <a:rect l="l" t="t" r="r" b="b"/>
            <a:pathLst>
              <a:path w="2976" h="3948">
                <a:moveTo>
                  <a:pt x="2976" y="2220"/>
                </a:moveTo>
                <a:lnTo>
                  <a:pt x="2480" y="987"/>
                </a:lnTo>
                <a:lnTo>
                  <a:pt x="2232" y="987"/>
                </a:lnTo>
                <a:lnTo>
                  <a:pt x="496" y="3454"/>
                </a:lnTo>
                <a:lnTo>
                  <a:pt x="248" y="3454"/>
                </a:lnTo>
                <a:lnTo>
                  <a:pt x="0" y="0"/>
                </a:lnTo>
                <a:lnTo>
                  <a:pt x="0" y="3454"/>
                </a:lnTo>
                <a:lnTo>
                  <a:pt x="354" y="3595"/>
                </a:lnTo>
                <a:lnTo>
                  <a:pt x="1240" y="3948"/>
                </a:lnTo>
                <a:lnTo>
                  <a:pt x="2480" y="3208"/>
                </a:lnTo>
                <a:lnTo>
                  <a:pt x="2976" y="2220"/>
                </a:lnTo>
                <a:close/>
              </a:path>
            </a:pathLst>
          </a:custGeom>
          <a:solidFill>
            <a:srgbClr val="000000"/>
          </a:solidFill>
        </p:spPr>
        <p:txBody>
          <a:bodyPr wrap="square" lIns="0" tIns="0" rIns="0" bIns="0" rtlCol="0">
            <a:noAutofit/>
          </a:bodyPr>
          <a:lstStyle/>
          <a:p>
            <a:endParaRPr/>
          </a:p>
        </p:txBody>
      </p:sp>
      <p:sp>
        <p:nvSpPr>
          <p:cNvPr id="2215" name="object 2215"/>
          <p:cNvSpPr/>
          <p:nvPr/>
        </p:nvSpPr>
        <p:spPr>
          <a:xfrm>
            <a:off x="8260922" y="1777115"/>
            <a:ext cx="43401" cy="36029"/>
          </a:xfrm>
          <a:custGeom>
            <a:avLst/>
            <a:gdLst/>
            <a:ahLst/>
            <a:cxnLst/>
            <a:rect l="l" t="t" r="r" b="b"/>
            <a:pathLst>
              <a:path w="43401" h="36029">
                <a:moveTo>
                  <a:pt x="42905" y="33314"/>
                </a:moveTo>
                <a:lnTo>
                  <a:pt x="1984" y="0"/>
                </a:lnTo>
                <a:lnTo>
                  <a:pt x="0" y="2467"/>
                </a:lnTo>
                <a:lnTo>
                  <a:pt x="40921" y="35782"/>
                </a:lnTo>
                <a:lnTo>
                  <a:pt x="42161" y="36029"/>
                </a:lnTo>
                <a:lnTo>
                  <a:pt x="43153" y="35535"/>
                </a:lnTo>
                <a:lnTo>
                  <a:pt x="43379" y="34413"/>
                </a:lnTo>
                <a:lnTo>
                  <a:pt x="42905" y="33314"/>
                </a:lnTo>
                <a:lnTo>
                  <a:pt x="40177" y="34055"/>
                </a:lnTo>
                <a:lnTo>
                  <a:pt x="42905" y="33314"/>
                </a:lnTo>
                <a:close/>
              </a:path>
            </a:pathLst>
          </a:custGeom>
          <a:solidFill>
            <a:srgbClr val="000000"/>
          </a:solidFill>
        </p:spPr>
        <p:txBody>
          <a:bodyPr wrap="square" lIns="0" tIns="0" rIns="0" bIns="0" rtlCol="0">
            <a:noAutofit/>
          </a:bodyPr>
          <a:lstStyle/>
          <a:p>
            <a:endParaRPr/>
          </a:p>
        </p:txBody>
      </p:sp>
      <p:sp>
        <p:nvSpPr>
          <p:cNvPr id="2216" name="object 2216"/>
          <p:cNvSpPr/>
          <p:nvPr/>
        </p:nvSpPr>
        <p:spPr>
          <a:xfrm>
            <a:off x="8298867" y="1811169"/>
            <a:ext cx="5704" cy="18508"/>
          </a:xfrm>
          <a:custGeom>
            <a:avLst/>
            <a:gdLst/>
            <a:ahLst/>
            <a:cxnLst/>
            <a:rect l="l" t="t" r="r" b="b"/>
            <a:pathLst>
              <a:path w="5704" h="18508">
                <a:moveTo>
                  <a:pt x="1984" y="17274"/>
                </a:moveTo>
                <a:lnTo>
                  <a:pt x="5704" y="987"/>
                </a:lnTo>
                <a:lnTo>
                  <a:pt x="2232" y="0"/>
                </a:lnTo>
                <a:lnTo>
                  <a:pt x="496" y="15053"/>
                </a:lnTo>
                <a:lnTo>
                  <a:pt x="0" y="18508"/>
                </a:lnTo>
                <a:lnTo>
                  <a:pt x="1240" y="18261"/>
                </a:lnTo>
                <a:lnTo>
                  <a:pt x="1984" y="17274"/>
                </a:lnTo>
                <a:close/>
              </a:path>
            </a:pathLst>
          </a:custGeom>
          <a:solidFill>
            <a:srgbClr val="000000"/>
          </a:solidFill>
        </p:spPr>
        <p:txBody>
          <a:bodyPr wrap="square" lIns="0" tIns="0" rIns="0" bIns="0" rtlCol="0">
            <a:noAutofit/>
          </a:bodyPr>
          <a:lstStyle/>
          <a:p>
            <a:endParaRPr/>
          </a:p>
        </p:txBody>
      </p:sp>
      <p:sp>
        <p:nvSpPr>
          <p:cNvPr id="2217" name="object 2217"/>
          <p:cNvSpPr/>
          <p:nvPr/>
        </p:nvSpPr>
        <p:spPr>
          <a:xfrm>
            <a:off x="8297379" y="1811169"/>
            <a:ext cx="3720" cy="18508"/>
          </a:xfrm>
          <a:custGeom>
            <a:avLst/>
            <a:gdLst/>
            <a:ahLst/>
            <a:cxnLst/>
            <a:rect l="l" t="t" r="r" b="b"/>
            <a:pathLst>
              <a:path w="3720" h="18508">
                <a:moveTo>
                  <a:pt x="1984" y="15053"/>
                </a:moveTo>
                <a:lnTo>
                  <a:pt x="3720" y="0"/>
                </a:lnTo>
                <a:lnTo>
                  <a:pt x="0" y="16287"/>
                </a:lnTo>
                <a:lnTo>
                  <a:pt x="248" y="17767"/>
                </a:lnTo>
                <a:lnTo>
                  <a:pt x="1488" y="18508"/>
                </a:lnTo>
                <a:lnTo>
                  <a:pt x="1984" y="15053"/>
                </a:lnTo>
                <a:close/>
              </a:path>
            </a:pathLst>
          </a:custGeom>
          <a:solidFill>
            <a:srgbClr val="000000"/>
          </a:solidFill>
        </p:spPr>
        <p:txBody>
          <a:bodyPr wrap="square" lIns="0" tIns="0" rIns="0" bIns="0" rtlCol="0">
            <a:noAutofit/>
          </a:bodyPr>
          <a:lstStyle/>
          <a:p>
            <a:endParaRPr/>
          </a:p>
        </p:txBody>
      </p:sp>
      <p:sp>
        <p:nvSpPr>
          <p:cNvPr id="2218" name="object 2218"/>
          <p:cNvSpPr/>
          <p:nvPr/>
        </p:nvSpPr>
        <p:spPr>
          <a:xfrm>
            <a:off x="8280514" y="1882487"/>
            <a:ext cx="7192" cy="9130"/>
          </a:xfrm>
          <a:custGeom>
            <a:avLst/>
            <a:gdLst/>
            <a:ahLst/>
            <a:cxnLst/>
            <a:rect l="l" t="t" r="r" b="b"/>
            <a:pathLst>
              <a:path w="7192" h="9130">
                <a:moveTo>
                  <a:pt x="0" y="8390"/>
                </a:moveTo>
                <a:lnTo>
                  <a:pt x="1984" y="9130"/>
                </a:lnTo>
                <a:lnTo>
                  <a:pt x="3968" y="8883"/>
                </a:lnTo>
                <a:lnTo>
                  <a:pt x="5456" y="7896"/>
                </a:lnTo>
                <a:lnTo>
                  <a:pt x="6696" y="6662"/>
                </a:lnTo>
                <a:lnTo>
                  <a:pt x="7192" y="4935"/>
                </a:lnTo>
                <a:lnTo>
                  <a:pt x="7192" y="3208"/>
                </a:lnTo>
                <a:lnTo>
                  <a:pt x="6448" y="1480"/>
                </a:lnTo>
                <a:lnTo>
                  <a:pt x="4960" y="0"/>
                </a:lnTo>
                <a:lnTo>
                  <a:pt x="0" y="8390"/>
                </a:lnTo>
                <a:close/>
              </a:path>
            </a:pathLst>
          </a:custGeom>
          <a:solidFill>
            <a:srgbClr val="FFFFFF"/>
          </a:solidFill>
        </p:spPr>
        <p:txBody>
          <a:bodyPr wrap="square" lIns="0" tIns="0" rIns="0" bIns="0" rtlCol="0">
            <a:noAutofit/>
          </a:bodyPr>
          <a:lstStyle/>
          <a:p>
            <a:endParaRPr/>
          </a:p>
        </p:txBody>
      </p:sp>
      <p:sp>
        <p:nvSpPr>
          <p:cNvPr id="2219" name="object 2219"/>
          <p:cNvSpPr/>
          <p:nvPr/>
        </p:nvSpPr>
        <p:spPr>
          <a:xfrm>
            <a:off x="8257202" y="1860277"/>
            <a:ext cx="28273" cy="30600"/>
          </a:xfrm>
          <a:custGeom>
            <a:avLst/>
            <a:gdLst/>
            <a:ahLst/>
            <a:cxnLst/>
            <a:rect l="l" t="t" r="r" b="b"/>
            <a:pathLst>
              <a:path w="28273" h="30600">
                <a:moveTo>
                  <a:pt x="744" y="7650"/>
                </a:moveTo>
                <a:lnTo>
                  <a:pt x="3224" y="11104"/>
                </a:lnTo>
                <a:lnTo>
                  <a:pt x="5456" y="14066"/>
                </a:lnTo>
                <a:lnTo>
                  <a:pt x="8184" y="17274"/>
                </a:lnTo>
                <a:lnTo>
                  <a:pt x="10664" y="20235"/>
                </a:lnTo>
                <a:lnTo>
                  <a:pt x="13640" y="23196"/>
                </a:lnTo>
                <a:lnTo>
                  <a:pt x="16616" y="25911"/>
                </a:lnTo>
                <a:lnTo>
                  <a:pt x="20088" y="28379"/>
                </a:lnTo>
                <a:lnTo>
                  <a:pt x="23313" y="30600"/>
                </a:lnTo>
                <a:lnTo>
                  <a:pt x="28273" y="22209"/>
                </a:lnTo>
                <a:lnTo>
                  <a:pt x="25545" y="20482"/>
                </a:lnTo>
                <a:lnTo>
                  <a:pt x="23065" y="18508"/>
                </a:lnTo>
                <a:lnTo>
                  <a:pt x="20584" y="16287"/>
                </a:lnTo>
                <a:lnTo>
                  <a:pt x="18104" y="13819"/>
                </a:lnTo>
                <a:lnTo>
                  <a:pt x="15624" y="10858"/>
                </a:lnTo>
                <a:lnTo>
                  <a:pt x="13392" y="8143"/>
                </a:lnTo>
                <a:lnTo>
                  <a:pt x="11160" y="5182"/>
                </a:lnTo>
                <a:lnTo>
                  <a:pt x="9424" y="2714"/>
                </a:lnTo>
                <a:lnTo>
                  <a:pt x="11160" y="5182"/>
                </a:lnTo>
                <a:lnTo>
                  <a:pt x="9176" y="2220"/>
                </a:lnTo>
                <a:lnTo>
                  <a:pt x="7688" y="740"/>
                </a:lnTo>
                <a:lnTo>
                  <a:pt x="5952" y="0"/>
                </a:lnTo>
                <a:lnTo>
                  <a:pt x="3968" y="0"/>
                </a:lnTo>
                <a:lnTo>
                  <a:pt x="2480" y="740"/>
                </a:lnTo>
                <a:lnTo>
                  <a:pt x="992" y="2220"/>
                </a:lnTo>
                <a:lnTo>
                  <a:pt x="0" y="3701"/>
                </a:lnTo>
                <a:lnTo>
                  <a:pt x="0" y="5675"/>
                </a:lnTo>
                <a:lnTo>
                  <a:pt x="744" y="7650"/>
                </a:lnTo>
                <a:close/>
              </a:path>
            </a:pathLst>
          </a:custGeom>
          <a:solidFill>
            <a:srgbClr val="FFFFFF"/>
          </a:solidFill>
        </p:spPr>
        <p:txBody>
          <a:bodyPr wrap="square" lIns="0" tIns="0" rIns="0" bIns="0" rtlCol="0">
            <a:noAutofit/>
          </a:bodyPr>
          <a:lstStyle/>
          <a:p>
            <a:endParaRPr/>
          </a:p>
        </p:txBody>
      </p:sp>
      <p:sp>
        <p:nvSpPr>
          <p:cNvPr id="2220" name="object 2220"/>
          <p:cNvSpPr/>
          <p:nvPr/>
        </p:nvSpPr>
        <p:spPr>
          <a:xfrm>
            <a:off x="8256209" y="1855835"/>
            <a:ext cx="10416" cy="11598"/>
          </a:xfrm>
          <a:custGeom>
            <a:avLst/>
            <a:gdLst/>
            <a:ahLst/>
            <a:cxnLst/>
            <a:rect l="l" t="t" r="r" b="b"/>
            <a:pathLst>
              <a:path w="10416" h="11598">
                <a:moveTo>
                  <a:pt x="1240" y="1974"/>
                </a:moveTo>
                <a:lnTo>
                  <a:pt x="0" y="5429"/>
                </a:lnTo>
                <a:lnTo>
                  <a:pt x="248" y="7896"/>
                </a:lnTo>
                <a:lnTo>
                  <a:pt x="744" y="9871"/>
                </a:lnTo>
                <a:lnTo>
                  <a:pt x="1488" y="11598"/>
                </a:lnTo>
                <a:lnTo>
                  <a:pt x="9259" y="7732"/>
                </a:lnTo>
                <a:lnTo>
                  <a:pt x="10416" y="7156"/>
                </a:lnTo>
                <a:lnTo>
                  <a:pt x="9920" y="6416"/>
                </a:lnTo>
                <a:lnTo>
                  <a:pt x="9672" y="5922"/>
                </a:lnTo>
                <a:lnTo>
                  <a:pt x="10168" y="3948"/>
                </a:lnTo>
                <a:lnTo>
                  <a:pt x="9424" y="2467"/>
                </a:lnTo>
                <a:lnTo>
                  <a:pt x="8184" y="987"/>
                </a:lnTo>
                <a:lnTo>
                  <a:pt x="6448" y="246"/>
                </a:lnTo>
                <a:lnTo>
                  <a:pt x="4712" y="0"/>
                </a:lnTo>
                <a:lnTo>
                  <a:pt x="2976" y="493"/>
                </a:lnTo>
                <a:lnTo>
                  <a:pt x="1240" y="1974"/>
                </a:lnTo>
                <a:close/>
              </a:path>
            </a:pathLst>
          </a:custGeom>
          <a:solidFill>
            <a:srgbClr val="FFFFFF"/>
          </a:solidFill>
        </p:spPr>
        <p:txBody>
          <a:bodyPr wrap="square" lIns="0" tIns="0" rIns="0" bIns="0" rtlCol="0">
            <a:noAutofit/>
          </a:bodyPr>
          <a:lstStyle/>
          <a:p>
            <a:endParaRPr/>
          </a:p>
        </p:txBody>
      </p:sp>
      <p:sp>
        <p:nvSpPr>
          <p:cNvPr id="2221" name="object 2221"/>
          <p:cNvSpPr/>
          <p:nvPr/>
        </p:nvSpPr>
        <p:spPr>
          <a:xfrm>
            <a:off x="8265881" y="1859783"/>
            <a:ext cx="744" cy="3208"/>
          </a:xfrm>
          <a:custGeom>
            <a:avLst/>
            <a:gdLst/>
            <a:ahLst/>
            <a:cxnLst/>
            <a:rect l="l" t="t" r="r" b="b"/>
            <a:pathLst>
              <a:path w="744" h="3208">
                <a:moveTo>
                  <a:pt x="330" y="2303"/>
                </a:moveTo>
                <a:lnTo>
                  <a:pt x="496" y="1974"/>
                </a:lnTo>
                <a:lnTo>
                  <a:pt x="496" y="0"/>
                </a:lnTo>
                <a:lnTo>
                  <a:pt x="0" y="1974"/>
                </a:lnTo>
                <a:lnTo>
                  <a:pt x="248" y="2467"/>
                </a:lnTo>
                <a:lnTo>
                  <a:pt x="744" y="3208"/>
                </a:lnTo>
                <a:lnTo>
                  <a:pt x="496" y="2467"/>
                </a:lnTo>
                <a:lnTo>
                  <a:pt x="330" y="2303"/>
                </a:lnTo>
                <a:close/>
              </a:path>
            </a:pathLst>
          </a:custGeom>
          <a:solidFill>
            <a:srgbClr val="FFFFFF"/>
          </a:solidFill>
        </p:spPr>
        <p:txBody>
          <a:bodyPr wrap="square" lIns="0" tIns="0" rIns="0" bIns="0" rtlCol="0">
            <a:noAutofit/>
          </a:bodyPr>
          <a:lstStyle/>
          <a:p>
            <a:endParaRPr/>
          </a:p>
        </p:txBody>
      </p:sp>
      <p:sp>
        <p:nvSpPr>
          <p:cNvPr id="2222" name="object 2222"/>
          <p:cNvSpPr/>
          <p:nvPr/>
        </p:nvSpPr>
        <p:spPr>
          <a:xfrm>
            <a:off x="8257450" y="1814871"/>
            <a:ext cx="41913" cy="48861"/>
          </a:xfrm>
          <a:custGeom>
            <a:avLst/>
            <a:gdLst/>
            <a:ahLst/>
            <a:cxnLst/>
            <a:rect l="l" t="t" r="r" b="b"/>
            <a:pathLst>
              <a:path w="41913" h="48861">
                <a:moveTo>
                  <a:pt x="37945" y="2961"/>
                </a:moveTo>
                <a:lnTo>
                  <a:pt x="33977" y="0"/>
                </a:lnTo>
                <a:lnTo>
                  <a:pt x="0" y="42938"/>
                </a:lnTo>
                <a:lnTo>
                  <a:pt x="7936" y="48861"/>
                </a:lnTo>
                <a:lnTo>
                  <a:pt x="41913" y="5922"/>
                </a:lnTo>
                <a:lnTo>
                  <a:pt x="37945" y="2961"/>
                </a:lnTo>
                <a:close/>
              </a:path>
            </a:pathLst>
          </a:custGeom>
          <a:solidFill>
            <a:srgbClr val="FFFFFF"/>
          </a:solidFill>
        </p:spPr>
        <p:txBody>
          <a:bodyPr wrap="square" lIns="0" tIns="0" rIns="0" bIns="0" rtlCol="0">
            <a:noAutofit/>
          </a:bodyPr>
          <a:lstStyle/>
          <a:p>
            <a:endParaRPr/>
          </a:p>
        </p:txBody>
      </p:sp>
      <p:sp>
        <p:nvSpPr>
          <p:cNvPr id="2223" name="object 2223"/>
          <p:cNvSpPr/>
          <p:nvPr/>
        </p:nvSpPr>
        <p:spPr>
          <a:xfrm>
            <a:off x="8291426" y="1812896"/>
            <a:ext cx="8928" cy="7896"/>
          </a:xfrm>
          <a:custGeom>
            <a:avLst/>
            <a:gdLst/>
            <a:ahLst/>
            <a:cxnLst/>
            <a:rect l="l" t="t" r="r" b="b"/>
            <a:pathLst>
              <a:path w="8928" h="7896">
                <a:moveTo>
                  <a:pt x="7936" y="7896"/>
                </a:moveTo>
                <a:lnTo>
                  <a:pt x="8928" y="5922"/>
                </a:lnTo>
                <a:lnTo>
                  <a:pt x="8928" y="3948"/>
                </a:lnTo>
                <a:lnTo>
                  <a:pt x="8184" y="2467"/>
                </a:lnTo>
                <a:lnTo>
                  <a:pt x="6944" y="987"/>
                </a:lnTo>
                <a:lnTo>
                  <a:pt x="5208" y="246"/>
                </a:lnTo>
                <a:lnTo>
                  <a:pt x="3472" y="0"/>
                </a:lnTo>
                <a:lnTo>
                  <a:pt x="1736" y="493"/>
                </a:lnTo>
                <a:lnTo>
                  <a:pt x="0" y="1974"/>
                </a:lnTo>
                <a:lnTo>
                  <a:pt x="7936" y="7896"/>
                </a:lnTo>
                <a:close/>
              </a:path>
            </a:pathLst>
          </a:custGeom>
          <a:solidFill>
            <a:srgbClr val="FFFFFF"/>
          </a:solidFill>
        </p:spPr>
        <p:txBody>
          <a:bodyPr wrap="square" lIns="0" tIns="0" rIns="0" bIns="0" rtlCol="0">
            <a:noAutofit/>
          </a:bodyPr>
          <a:lstStyle/>
          <a:p>
            <a:endParaRPr/>
          </a:p>
        </p:txBody>
      </p:sp>
      <p:sp>
        <p:nvSpPr>
          <p:cNvPr id="2224" name="object 2224"/>
          <p:cNvSpPr/>
          <p:nvPr/>
        </p:nvSpPr>
        <p:spPr>
          <a:xfrm>
            <a:off x="8334332" y="1860277"/>
            <a:ext cx="9176" cy="7156"/>
          </a:xfrm>
          <a:custGeom>
            <a:avLst/>
            <a:gdLst/>
            <a:ahLst/>
            <a:cxnLst/>
            <a:rect l="l" t="t" r="r" b="b"/>
            <a:pathLst>
              <a:path w="9176" h="7156">
                <a:moveTo>
                  <a:pt x="8432" y="7156"/>
                </a:moveTo>
                <a:lnTo>
                  <a:pt x="9176" y="5182"/>
                </a:lnTo>
                <a:lnTo>
                  <a:pt x="8928" y="3208"/>
                </a:lnTo>
                <a:lnTo>
                  <a:pt x="7936" y="1727"/>
                </a:lnTo>
                <a:lnTo>
                  <a:pt x="6696" y="493"/>
                </a:lnTo>
                <a:lnTo>
                  <a:pt x="4960" y="0"/>
                </a:lnTo>
                <a:lnTo>
                  <a:pt x="3224" y="0"/>
                </a:lnTo>
                <a:lnTo>
                  <a:pt x="1488" y="740"/>
                </a:lnTo>
                <a:lnTo>
                  <a:pt x="0" y="2220"/>
                </a:lnTo>
                <a:lnTo>
                  <a:pt x="8432" y="7156"/>
                </a:lnTo>
                <a:close/>
              </a:path>
            </a:pathLst>
          </a:custGeom>
          <a:solidFill>
            <a:srgbClr val="FFFFFF"/>
          </a:solidFill>
        </p:spPr>
        <p:txBody>
          <a:bodyPr wrap="square" lIns="0" tIns="0" rIns="0" bIns="0" rtlCol="0">
            <a:noAutofit/>
          </a:bodyPr>
          <a:lstStyle/>
          <a:p>
            <a:endParaRPr/>
          </a:p>
        </p:txBody>
      </p:sp>
      <p:sp>
        <p:nvSpPr>
          <p:cNvPr id="2225" name="object 2225"/>
          <p:cNvSpPr/>
          <p:nvPr/>
        </p:nvSpPr>
        <p:spPr>
          <a:xfrm>
            <a:off x="8312508" y="1862498"/>
            <a:ext cx="30257" cy="28872"/>
          </a:xfrm>
          <a:custGeom>
            <a:avLst/>
            <a:gdLst/>
            <a:ahLst/>
            <a:cxnLst/>
            <a:rect l="l" t="t" r="r" b="b"/>
            <a:pathLst>
              <a:path w="30257" h="28872">
                <a:moveTo>
                  <a:pt x="0" y="22950"/>
                </a:moveTo>
                <a:lnTo>
                  <a:pt x="0" y="24924"/>
                </a:lnTo>
                <a:lnTo>
                  <a:pt x="992" y="26404"/>
                </a:lnTo>
                <a:lnTo>
                  <a:pt x="2232" y="27885"/>
                </a:lnTo>
                <a:lnTo>
                  <a:pt x="3720" y="28872"/>
                </a:lnTo>
                <a:lnTo>
                  <a:pt x="5704" y="28872"/>
                </a:lnTo>
                <a:lnTo>
                  <a:pt x="7688" y="28132"/>
                </a:lnTo>
                <a:lnTo>
                  <a:pt x="10664" y="25911"/>
                </a:lnTo>
                <a:lnTo>
                  <a:pt x="13640" y="23690"/>
                </a:lnTo>
                <a:lnTo>
                  <a:pt x="16616" y="21222"/>
                </a:lnTo>
                <a:lnTo>
                  <a:pt x="19592" y="18261"/>
                </a:lnTo>
                <a:lnTo>
                  <a:pt x="22569" y="15300"/>
                </a:lnTo>
                <a:lnTo>
                  <a:pt x="25297" y="12338"/>
                </a:lnTo>
                <a:lnTo>
                  <a:pt x="27777" y="8637"/>
                </a:lnTo>
                <a:lnTo>
                  <a:pt x="30257" y="4935"/>
                </a:lnTo>
                <a:lnTo>
                  <a:pt x="21824" y="0"/>
                </a:lnTo>
                <a:lnTo>
                  <a:pt x="19840" y="3208"/>
                </a:lnTo>
                <a:lnTo>
                  <a:pt x="17360" y="5922"/>
                </a:lnTo>
                <a:lnTo>
                  <a:pt x="15128" y="8883"/>
                </a:lnTo>
                <a:lnTo>
                  <a:pt x="12648" y="11351"/>
                </a:lnTo>
                <a:lnTo>
                  <a:pt x="10168" y="13819"/>
                </a:lnTo>
                <a:lnTo>
                  <a:pt x="7688" y="15793"/>
                </a:lnTo>
                <a:lnTo>
                  <a:pt x="4712" y="18014"/>
                </a:lnTo>
                <a:lnTo>
                  <a:pt x="2728" y="19495"/>
                </a:lnTo>
                <a:lnTo>
                  <a:pt x="4712" y="18014"/>
                </a:lnTo>
                <a:lnTo>
                  <a:pt x="2232" y="19742"/>
                </a:lnTo>
                <a:lnTo>
                  <a:pt x="744" y="21222"/>
                </a:lnTo>
                <a:lnTo>
                  <a:pt x="0" y="22950"/>
                </a:lnTo>
                <a:close/>
              </a:path>
            </a:pathLst>
          </a:custGeom>
          <a:solidFill>
            <a:srgbClr val="FFFFFF"/>
          </a:solidFill>
        </p:spPr>
        <p:txBody>
          <a:bodyPr wrap="square" lIns="0" tIns="0" rIns="0" bIns="0" rtlCol="0">
            <a:noAutofit/>
          </a:bodyPr>
          <a:lstStyle/>
          <a:p>
            <a:endParaRPr/>
          </a:p>
        </p:txBody>
      </p:sp>
      <p:sp>
        <p:nvSpPr>
          <p:cNvPr id="2226" name="object 2226"/>
          <p:cNvSpPr/>
          <p:nvPr/>
        </p:nvSpPr>
        <p:spPr>
          <a:xfrm>
            <a:off x="8309283" y="1887670"/>
            <a:ext cx="3224" cy="10117"/>
          </a:xfrm>
          <a:custGeom>
            <a:avLst/>
            <a:gdLst/>
            <a:ahLst/>
            <a:cxnLst/>
            <a:rect l="l" t="t" r="r" b="b"/>
            <a:pathLst>
              <a:path w="3224" h="10117">
                <a:moveTo>
                  <a:pt x="3224" y="3701"/>
                </a:moveTo>
                <a:lnTo>
                  <a:pt x="248" y="0"/>
                </a:lnTo>
                <a:lnTo>
                  <a:pt x="248" y="246"/>
                </a:lnTo>
                <a:lnTo>
                  <a:pt x="3224" y="3701"/>
                </a:lnTo>
                <a:close/>
              </a:path>
              <a:path w="3224" h="10117">
                <a:moveTo>
                  <a:pt x="10416" y="3208"/>
                </a:moveTo>
                <a:lnTo>
                  <a:pt x="5952" y="-5675"/>
                </a:lnTo>
                <a:lnTo>
                  <a:pt x="6200" y="-5675"/>
                </a:lnTo>
                <a:lnTo>
                  <a:pt x="5952" y="-5675"/>
                </a:lnTo>
                <a:lnTo>
                  <a:pt x="7688" y="-5182"/>
                </a:lnTo>
                <a:lnTo>
                  <a:pt x="9672" y="-3208"/>
                </a:lnTo>
                <a:lnTo>
                  <a:pt x="8432" y="-5182"/>
                </a:lnTo>
                <a:lnTo>
                  <a:pt x="6944" y="-6169"/>
                </a:lnTo>
                <a:lnTo>
                  <a:pt x="5208" y="-6416"/>
                </a:lnTo>
                <a:lnTo>
                  <a:pt x="3224" y="-6169"/>
                </a:lnTo>
                <a:lnTo>
                  <a:pt x="1736" y="-5182"/>
                </a:lnTo>
                <a:lnTo>
                  <a:pt x="496" y="-3701"/>
                </a:lnTo>
                <a:lnTo>
                  <a:pt x="0" y="-1974"/>
                </a:lnTo>
                <a:lnTo>
                  <a:pt x="248" y="246"/>
                </a:lnTo>
                <a:lnTo>
                  <a:pt x="248" y="0"/>
                </a:lnTo>
                <a:lnTo>
                  <a:pt x="3224" y="3701"/>
                </a:lnTo>
                <a:lnTo>
                  <a:pt x="6944" y="4195"/>
                </a:lnTo>
                <a:lnTo>
                  <a:pt x="8680" y="3701"/>
                </a:lnTo>
                <a:lnTo>
                  <a:pt x="10416" y="3208"/>
                </a:lnTo>
                <a:close/>
              </a:path>
            </a:pathLst>
          </a:custGeom>
          <a:solidFill>
            <a:srgbClr val="FFFFFF"/>
          </a:solidFill>
        </p:spPr>
        <p:txBody>
          <a:bodyPr wrap="square" lIns="0" tIns="0" rIns="0" bIns="0" rtlCol="0">
            <a:noAutofit/>
          </a:bodyPr>
          <a:lstStyle/>
          <a:p>
            <a:endParaRPr/>
          </a:p>
        </p:txBody>
      </p:sp>
      <p:sp>
        <p:nvSpPr>
          <p:cNvPr id="2227" name="object 2227"/>
          <p:cNvSpPr/>
          <p:nvPr/>
        </p:nvSpPr>
        <p:spPr>
          <a:xfrm>
            <a:off x="8291179" y="1825728"/>
            <a:ext cx="27777" cy="61940"/>
          </a:xfrm>
          <a:custGeom>
            <a:avLst/>
            <a:gdLst/>
            <a:ahLst/>
            <a:cxnLst/>
            <a:rect l="l" t="t" r="r" b="b"/>
            <a:pathLst>
              <a:path w="27777" h="61940">
                <a:moveTo>
                  <a:pt x="4712" y="1480"/>
                </a:moveTo>
                <a:lnTo>
                  <a:pt x="0" y="2961"/>
                </a:lnTo>
                <a:lnTo>
                  <a:pt x="18352" y="61940"/>
                </a:lnTo>
                <a:lnTo>
                  <a:pt x="27777" y="58979"/>
                </a:lnTo>
                <a:lnTo>
                  <a:pt x="9424" y="0"/>
                </a:lnTo>
                <a:lnTo>
                  <a:pt x="4712" y="1480"/>
                </a:lnTo>
                <a:close/>
              </a:path>
            </a:pathLst>
          </a:custGeom>
          <a:solidFill>
            <a:srgbClr val="FFFFFF"/>
          </a:solidFill>
        </p:spPr>
        <p:txBody>
          <a:bodyPr wrap="square" lIns="0" tIns="0" rIns="0" bIns="0" rtlCol="0">
            <a:noAutofit/>
          </a:bodyPr>
          <a:lstStyle/>
          <a:p>
            <a:endParaRPr/>
          </a:p>
        </p:txBody>
      </p:sp>
      <p:sp>
        <p:nvSpPr>
          <p:cNvPr id="2228" name="object 2228"/>
          <p:cNvSpPr/>
          <p:nvPr/>
        </p:nvSpPr>
        <p:spPr>
          <a:xfrm>
            <a:off x="8290930" y="1822274"/>
            <a:ext cx="9672" cy="6416"/>
          </a:xfrm>
          <a:custGeom>
            <a:avLst/>
            <a:gdLst/>
            <a:ahLst/>
            <a:cxnLst/>
            <a:rect l="l" t="t" r="r" b="b"/>
            <a:pathLst>
              <a:path w="9672" h="6416">
                <a:moveTo>
                  <a:pt x="9672" y="3454"/>
                </a:moveTo>
                <a:lnTo>
                  <a:pt x="8680" y="1480"/>
                </a:lnTo>
                <a:lnTo>
                  <a:pt x="7192" y="493"/>
                </a:lnTo>
                <a:lnTo>
                  <a:pt x="5208" y="0"/>
                </a:lnTo>
                <a:lnTo>
                  <a:pt x="3472" y="246"/>
                </a:lnTo>
                <a:lnTo>
                  <a:pt x="1736" y="1233"/>
                </a:lnTo>
                <a:lnTo>
                  <a:pt x="496" y="2467"/>
                </a:lnTo>
                <a:lnTo>
                  <a:pt x="0" y="4195"/>
                </a:lnTo>
                <a:lnTo>
                  <a:pt x="248" y="6416"/>
                </a:lnTo>
                <a:lnTo>
                  <a:pt x="9672" y="3454"/>
                </a:lnTo>
                <a:close/>
              </a:path>
            </a:pathLst>
          </a:custGeom>
          <a:solidFill>
            <a:srgbClr val="FFFFFF"/>
          </a:solidFill>
        </p:spPr>
        <p:txBody>
          <a:bodyPr wrap="square" lIns="0" tIns="0" rIns="0" bIns="0" rtlCol="0">
            <a:noAutofit/>
          </a:bodyPr>
          <a:lstStyle/>
          <a:p>
            <a:endParaRPr/>
          </a:p>
        </p:txBody>
      </p:sp>
      <p:sp>
        <p:nvSpPr>
          <p:cNvPr id="2229" name="object 2229"/>
          <p:cNvSpPr/>
          <p:nvPr/>
        </p:nvSpPr>
        <p:spPr>
          <a:xfrm>
            <a:off x="8336068" y="1779336"/>
            <a:ext cx="9424" cy="6909"/>
          </a:xfrm>
          <a:custGeom>
            <a:avLst/>
            <a:gdLst/>
            <a:ahLst/>
            <a:cxnLst/>
            <a:rect l="l" t="t" r="r" b="b"/>
            <a:pathLst>
              <a:path w="9424" h="6909">
                <a:moveTo>
                  <a:pt x="9424" y="2961"/>
                </a:moveTo>
                <a:lnTo>
                  <a:pt x="8184" y="1233"/>
                </a:lnTo>
                <a:lnTo>
                  <a:pt x="6696" y="246"/>
                </a:lnTo>
                <a:lnTo>
                  <a:pt x="4960" y="0"/>
                </a:lnTo>
                <a:lnTo>
                  <a:pt x="3224" y="493"/>
                </a:lnTo>
                <a:lnTo>
                  <a:pt x="1488" y="1480"/>
                </a:lnTo>
                <a:lnTo>
                  <a:pt x="496" y="2961"/>
                </a:lnTo>
                <a:lnTo>
                  <a:pt x="0" y="4688"/>
                </a:lnTo>
                <a:lnTo>
                  <a:pt x="496" y="6909"/>
                </a:lnTo>
                <a:lnTo>
                  <a:pt x="9424" y="2961"/>
                </a:lnTo>
                <a:close/>
              </a:path>
            </a:pathLst>
          </a:custGeom>
          <a:solidFill>
            <a:srgbClr val="FFFFFF"/>
          </a:solidFill>
        </p:spPr>
        <p:txBody>
          <a:bodyPr wrap="square" lIns="0" tIns="0" rIns="0" bIns="0" rtlCol="0">
            <a:noAutofit/>
          </a:bodyPr>
          <a:lstStyle/>
          <a:p>
            <a:endParaRPr/>
          </a:p>
        </p:txBody>
      </p:sp>
      <p:sp>
        <p:nvSpPr>
          <p:cNvPr id="2230" name="object 2230"/>
          <p:cNvSpPr/>
          <p:nvPr/>
        </p:nvSpPr>
        <p:spPr>
          <a:xfrm>
            <a:off x="8336564" y="1782296"/>
            <a:ext cx="8928" cy="36522"/>
          </a:xfrm>
          <a:custGeom>
            <a:avLst/>
            <a:gdLst/>
            <a:ahLst/>
            <a:cxnLst/>
            <a:rect l="l" t="t" r="r" b="b"/>
            <a:pathLst>
              <a:path w="8928" h="36522">
                <a:moveTo>
                  <a:pt x="8928" y="0"/>
                </a:moveTo>
                <a:lnTo>
                  <a:pt x="0" y="3948"/>
                </a:lnTo>
                <a:lnTo>
                  <a:pt x="1240" y="7650"/>
                </a:lnTo>
                <a:lnTo>
                  <a:pt x="2728" y="11598"/>
                </a:lnTo>
                <a:lnTo>
                  <a:pt x="3968" y="15546"/>
                </a:lnTo>
                <a:lnTo>
                  <a:pt x="4960" y="19742"/>
                </a:lnTo>
                <a:lnTo>
                  <a:pt x="5704" y="24184"/>
                </a:lnTo>
                <a:lnTo>
                  <a:pt x="6448" y="28379"/>
                </a:lnTo>
                <a:lnTo>
                  <a:pt x="6944" y="32574"/>
                </a:lnTo>
                <a:lnTo>
                  <a:pt x="7440" y="36522"/>
                </a:lnTo>
                <a:lnTo>
                  <a:pt x="8928" y="0"/>
                </a:lnTo>
                <a:close/>
              </a:path>
            </a:pathLst>
          </a:custGeom>
          <a:solidFill>
            <a:srgbClr val="FFFFFF"/>
          </a:solidFill>
        </p:spPr>
        <p:txBody>
          <a:bodyPr wrap="square" lIns="0" tIns="0" rIns="0" bIns="0" rtlCol="0">
            <a:noAutofit/>
          </a:bodyPr>
          <a:lstStyle/>
          <a:p>
            <a:endParaRPr/>
          </a:p>
        </p:txBody>
      </p:sp>
      <p:sp>
        <p:nvSpPr>
          <p:cNvPr id="2231" name="object 2231"/>
          <p:cNvSpPr/>
          <p:nvPr/>
        </p:nvSpPr>
        <p:spPr>
          <a:xfrm>
            <a:off x="8343509" y="1782297"/>
            <a:ext cx="10416" cy="41211"/>
          </a:xfrm>
          <a:custGeom>
            <a:avLst/>
            <a:gdLst/>
            <a:ahLst/>
            <a:cxnLst/>
            <a:rect l="l" t="t" r="r" b="b"/>
            <a:pathLst>
              <a:path w="10416" h="41211">
                <a:moveTo>
                  <a:pt x="10416" y="36029"/>
                </a:moveTo>
                <a:lnTo>
                  <a:pt x="9920" y="31587"/>
                </a:lnTo>
                <a:lnTo>
                  <a:pt x="9424" y="26898"/>
                </a:lnTo>
                <a:lnTo>
                  <a:pt x="8680" y="22209"/>
                </a:lnTo>
                <a:lnTo>
                  <a:pt x="7440" y="17767"/>
                </a:lnTo>
                <a:lnTo>
                  <a:pt x="6448" y="13079"/>
                </a:lnTo>
                <a:lnTo>
                  <a:pt x="5208" y="8637"/>
                </a:lnTo>
                <a:lnTo>
                  <a:pt x="3720" y="4195"/>
                </a:lnTo>
                <a:lnTo>
                  <a:pt x="1984" y="0"/>
                </a:lnTo>
                <a:lnTo>
                  <a:pt x="496" y="36522"/>
                </a:lnTo>
                <a:lnTo>
                  <a:pt x="0" y="32574"/>
                </a:lnTo>
                <a:lnTo>
                  <a:pt x="496" y="37016"/>
                </a:lnTo>
                <a:lnTo>
                  <a:pt x="992" y="38990"/>
                </a:lnTo>
                <a:lnTo>
                  <a:pt x="2232" y="40471"/>
                </a:lnTo>
                <a:lnTo>
                  <a:pt x="3968" y="41211"/>
                </a:lnTo>
                <a:lnTo>
                  <a:pt x="5952" y="41211"/>
                </a:lnTo>
                <a:lnTo>
                  <a:pt x="7688" y="40964"/>
                </a:lnTo>
                <a:lnTo>
                  <a:pt x="9176" y="39730"/>
                </a:lnTo>
                <a:lnTo>
                  <a:pt x="10168" y="38250"/>
                </a:lnTo>
                <a:lnTo>
                  <a:pt x="10416" y="36029"/>
                </a:lnTo>
                <a:close/>
              </a:path>
            </a:pathLst>
          </a:custGeom>
          <a:solidFill>
            <a:srgbClr val="FFFFFF"/>
          </a:solidFill>
        </p:spPr>
        <p:txBody>
          <a:bodyPr wrap="square" lIns="0" tIns="0" rIns="0" bIns="0" rtlCol="0">
            <a:noAutofit/>
          </a:bodyPr>
          <a:lstStyle/>
          <a:p>
            <a:endParaRPr/>
          </a:p>
        </p:txBody>
      </p:sp>
      <p:sp>
        <p:nvSpPr>
          <p:cNvPr id="2232" name="object 2232"/>
          <p:cNvSpPr/>
          <p:nvPr/>
        </p:nvSpPr>
        <p:spPr>
          <a:xfrm>
            <a:off x="8344005" y="1818820"/>
            <a:ext cx="1488" cy="987"/>
          </a:xfrm>
          <a:custGeom>
            <a:avLst/>
            <a:gdLst/>
            <a:ahLst/>
            <a:cxnLst/>
            <a:rect l="l" t="t" r="r" b="b"/>
            <a:pathLst>
              <a:path w="1488" h="987">
                <a:moveTo>
                  <a:pt x="0" y="0"/>
                </a:moveTo>
                <a:lnTo>
                  <a:pt x="0" y="987"/>
                </a:lnTo>
                <a:lnTo>
                  <a:pt x="190" y="873"/>
                </a:lnTo>
                <a:lnTo>
                  <a:pt x="496" y="493"/>
                </a:lnTo>
                <a:lnTo>
                  <a:pt x="1488" y="0"/>
                </a:lnTo>
                <a:lnTo>
                  <a:pt x="0" y="0"/>
                </a:lnTo>
                <a:close/>
              </a:path>
            </a:pathLst>
          </a:custGeom>
          <a:solidFill>
            <a:srgbClr val="FFFFFF"/>
          </a:solidFill>
        </p:spPr>
        <p:txBody>
          <a:bodyPr wrap="square" lIns="0" tIns="0" rIns="0" bIns="0" rtlCol="0">
            <a:noAutofit/>
          </a:bodyPr>
          <a:lstStyle/>
          <a:p>
            <a:endParaRPr/>
          </a:p>
        </p:txBody>
      </p:sp>
      <p:sp>
        <p:nvSpPr>
          <p:cNvPr id="2233" name="object 2233"/>
          <p:cNvSpPr/>
          <p:nvPr/>
        </p:nvSpPr>
        <p:spPr>
          <a:xfrm>
            <a:off x="8343013" y="1818326"/>
            <a:ext cx="10912" cy="9377"/>
          </a:xfrm>
          <a:custGeom>
            <a:avLst/>
            <a:gdLst/>
            <a:ahLst/>
            <a:cxnLst/>
            <a:rect l="l" t="t" r="r" b="b"/>
            <a:pathLst>
              <a:path w="10912" h="9377">
                <a:moveTo>
                  <a:pt x="10912" y="493"/>
                </a:moveTo>
                <a:lnTo>
                  <a:pt x="2645" y="493"/>
                </a:lnTo>
                <a:lnTo>
                  <a:pt x="3472" y="0"/>
                </a:lnTo>
                <a:lnTo>
                  <a:pt x="2480" y="493"/>
                </a:lnTo>
                <a:lnTo>
                  <a:pt x="1488" y="987"/>
                </a:lnTo>
                <a:lnTo>
                  <a:pt x="1182" y="1366"/>
                </a:lnTo>
                <a:lnTo>
                  <a:pt x="992" y="1604"/>
                </a:lnTo>
                <a:lnTo>
                  <a:pt x="496" y="2220"/>
                </a:lnTo>
                <a:lnTo>
                  <a:pt x="0" y="3948"/>
                </a:lnTo>
                <a:lnTo>
                  <a:pt x="0" y="5675"/>
                </a:lnTo>
                <a:lnTo>
                  <a:pt x="744" y="7403"/>
                </a:lnTo>
                <a:lnTo>
                  <a:pt x="1984" y="8637"/>
                </a:lnTo>
                <a:lnTo>
                  <a:pt x="992" y="1727"/>
                </a:lnTo>
                <a:lnTo>
                  <a:pt x="1984" y="8637"/>
                </a:lnTo>
                <a:lnTo>
                  <a:pt x="3720" y="9377"/>
                </a:lnTo>
                <a:lnTo>
                  <a:pt x="5952" y="9377"/>
                </a:lnTo>
                <a:lnTo>
                  <a:pt x="9424" y="6909"/>
                </a:lnTo>
                <a:lnTo>
                  <a:pt x="10416" y="4688"/>
                </a:lnTo>
                <a:lnTo>
                  <a:pt x="10912" y="2220"/>
                </a:lnTo>
                <a:lnTo>
                  <a:pt x="10912" y="493"/>
                </a:lnTo>
                <a:close/>
              </a:path>
            </a:pathLst>
          </a:custGeom>
          <a:solidFill>
            <a:srgbClr val="FFFFFF"/>
          </a:solidFill>
        </p:spPr>
        <p:txBody>
          <a:bodyPr wrap="square" lIns="0" tIns="0" rIns="0" bIns="0" rtlCol="0">
            <a:noAutofit/>
          </a:bodyPr>
          <a:lstStyle/>
          <a:p>
            <a:endParaRPr/>
          </a:p>
        </p:txBody>
      </p:sp>
      <p:sp>
        <p:nvSpPr>
          <p:cNvPr id="2234" name="object 2234"/>
          <p:cNvSpPr/>
          <p:nvPr/>
        </p:nvSpPr>
        <p:spPr>
          <a:xfrm>
            <a:off x="8301595" y="1818079"/>
            <a:ext cx="46874" cy="16533"/>
          </a:xfrm>
          <a:custGeom>
            <a:avLst/>
            <a:gdLst/>
            <a:ahLst/>
            <a:cxnLst/>
            <a:rect l="l" t="t" r="r" b="b"/>
            <a:pathLst>
              <a:path w="46874" h="16533">
                <a:moveTo>
                  <a:pt x="744" y="11598"/>
                </a:moveTo>
                <a:lnTo>
                  <a:pt x="1488" y="16533"/>
                </a:lnTo>
                <a:lnTo>
                  <a:pt x="46874" y="9871"/>
                </a:lnTo>
                <a:lnTo>
                  <a:pt x="45386" y="0"/>
                </a:lnTo>
                <a:lnTo>
                  <a:pt x="0" y="6662"/>
                </a:lnTo>
                <a:lnTo>
                  <a:pt x="744" y="11598"/>
                </a:lnTo>
                <a:close/>
              </a:path>
            </a:pathLst>
          </a:custGeom>
          <a:solidFill>
            <a:srgbClr val="FFFFFF"/>
          </a:solidFill>
        </p:spPr>
        <p:txBody>
          <a:bodyPr wrap="square" lIns="0" tIns="0" rIns="0" bIns="0" rtlCol="0">
            <a:noAutofit/>
          </a:bodyPr>
          <a:lstStyle/>
          <a:p>
            <a:endParaRPr/>
          </a:p>
        </p:txBody>
      </p:sp>
      <p:sp>
        <p:nvSpPr>
          <p:cNvPr id="2235" name="object 2235"/>
          <p:cNvSpPr/>
          <p:nvPr/>
        </p:nvSpPr>
        <p:spPr>
          <a:xfrm>
            <a:off x="8297627" y="1824742"/>
            <a:ext cx="5456" cy="9871"/>
          </a:xfrm>
          <a:custGeom>
            <a:avLst/>
            <a:gdLst/>
            <a:ahLst/>
            <a:cxnLst/>
            <a:rect l="l" t="t" r="r" b="b"/>
            <a:pathLst>
              <a:path w="5456" h="9871">
                <a:moveTo>
                  <a:pt x="3968" y="0"/>
                </a:moveTo>
                <a:lnTo>
                  <a:pt x="1984" y="740"/>
                </a:lnTo>
                <a:lnTo>
                  <a:pt x="496" y="1974"/>
                </a:lnTo>
                <a:lnTo>
                  <a:pt x="0" y="3701"/>
                </a:lnTo>
                <a:lnTo>
                  <a:pt x="0" y="5675"/>
                </a:lnTo>
                <a:lnTo>
                  <a:pt x="496" y="7403"/>
                </a:lnTo>
                <a:lnTo>
                  <a:pt x="1488" y="8883"/>
                </a:lnTo>
                <a:lnTo>
                  <a:pt x="3224" y="9871"/>
                </a:lnTo>
                <a:lnTo>
                  <a:pt x="5456" y="9871"/>
                </a:lnTo>
                <a:lnTo>
                  <a:pt x="3968" y="0"/>
                </a:lnTo>
                <a:close/>
              </a:path>
            </a:pathLst>
          </a:custGeom>
          <a:solidFill>
            <a:srgbClr val="FFFFFF"/>
          </a:solidFill>
        </p:spPr>
        <p:txBody>
          <a:bodyPr wrap="square" lIns="0" tIns="0" rIns="0" bIns="0" rtlCol="0">
            <a:noAutofit/>
          </a:bodyPr>
          <a:lstStyle/>
          <a:p>
            <a:endParaRPr/>
          </a:p>
        </p:txBody>
      </p:sp>
      <p:sp>
        <p:nvSpPr>
          <p:cNvPr id="2236" name="object 2236"/>
          <p:cNvSpPr/>
          <p:nvPr/>
        </p:nvSpPr>
        <p:spPr>
          <a:xfrm>
            <a:off x="8282250" y="1750955"/>
            <a:ext cx="6448" cy="9624"/>
          </a:xfrm>
          <a:custGeom>
            <a:avLst/>
            <a:gdLst/>
            <a:ahLst/>
            <a:cxnLst/>
            <a:rect l="l" t="t" r="r" b="b"/>
            <a:pathLst>
              <a:path w="6448" h="9624">
                <a:moveTo>
                  <a:pt x="3472" y="0"/>
                </a:moveTo>
                <a:lnTo>
                  <a:pt x="1488" y="987"/>
                </a:lnTo>
                <a:lnTo>
                  <a:pt x="496" y="2467"/>
                </a:lnTo>
                <a:lnTo>
                  <a:pt x="0" y="4441"/>
                </a:lnTo>
                <a:lnTo>
                  <a:pt x="248" y="6169"/>
                </a:lnTo>
                <a:lnTo>
                  <a:pt x="1240" y="7896"/>
                </a:lnTo>
                <a:lnTo>
                  <a:pt x="2480" y="9130"/>
                </a:lnTo>
                <a:lnTo>
                  <a:pt x="4216" y="9624"/>
                </a:lnTo>
                <a:lnTo>
                  <a:pt x="6448" y="9377"/>
                </a:lnTo>
                <a:lnTo>
                  <a:pt x="3472" y="0"/>
                </a:lnTo>
                <a:close/>
              </a:path>
            </a:pathLst>
          </a:custGeom>
          <a:solidFill>
            <a:srgbClr val="FFFFFF"/>
          </a:solidFill>
        </p:spPr>
        <p:txBody>
          <a:bodyPr wrap="square" lIns="0" tIns="0" rIns="0" bIns="0" rtlCol="0">
            <a:noAutofit/>
          </a:bodyPr>
          <a:lstStyle/>
          <a:p>
            <a:endParaRPr/>
          </a:p>
        </p:txBody>
      </p:sp>
      <p:sp>
        <p:nvSpPr>
          <p:cNvPr id="2237" name="object 2237"/>
          <p:cNvSpPr/>
          <p:nvPr/>
        </p:nvSpPr>
        <p:spPr>
          <a:xfrm>
            <a:off x="8285723" y="1748982"/>
            <a:ext cx="32241" cy="11351"/>
          </a:xfrm>
          <a:custGeom>
            <a:avLst/>
            <a:gdLst/>
            <a:ahLst/>
            <a:cxnLst/>
            <a:rect l="l" t="t" r="r" b="b"/>
            <a:pathLst>
              <a:path w="32241" h="11351">
                <a:moveTo>
                  <a:pt x="11408" y="9871"/>
                </a:moveTo>
                <a:lnTo>
                  <a:pt x="14384" y="9871"/>
                </a:lnTo>
                <a:lnTo>
                  <a:pt x="17608" y="10117"/>
                </a:lnTo>
                <a:lnTo>
                  <a:pt x="20584" y="10364"/>
                </a:lnTo>
                <a:lnTo>
                  <a:pt x="23313" y="10858"/>
                </a:lnTo>
                <a:lnTo>
                  <a:pt x="26289" y="11351"/>
                </a:lnTo>
                <a:lnTo>
                  <a:pt x="28521" y="11351"/>
                </a:lnTo>
                <a:lnTo>
                  <a:pt x="30257" y="10611"/>
                </a:lnTo>
                <a:lnTo>
                  <a:pt x="31497" y="9377"/>
                </a:lnTo>
                <a:lnTo>
                  <a:pt x="32241" y="7650"/>
                </a:lnTo>
                <a:lnTo>
                  <a:pt x="32241" y="5922"/>
                </a:lnTo>
                <a:lnTo>
                  <a:pt x="31993" y="4195"/>
                </a:lnTo>
                <a:lnTo>
                  <a:pt x="30753" y="2961"/>
                </a:lnTo>
                <a:lnTo>
                  <a:pt x="28769" y="1974"/>
                </a:lnTo>
                <a:lnTo>
                  <a:pt x="25297" y="987"/>
                </a:lnTo>
                <a:lnTo>
                  <a:pt x="25297" y="11104"/>
                </a:lnTo>
                <a:lnTo>
                  <a:pt x="25297" y="987"/>
                </a:lnTo>
                <a:lnTo>
                  <a:pt x="21576" y="493"/>
                </a:lnTo>
                <a:lnTo>
                  <a:pt x="18104" y="246"/>
                </a:lnTo>
                <a:lnTo>
                  <a:pt x="14880" y="0"/>
                </a:lnTo>
                <a:lnTo>
                  <a:pt x="10912" y="0"/>
                </a:lnTo>
                <a:lnTo>
                  <a:pt x="7192" y="246"/>
                </a:lnTo>
                <a:lnTo>
                  <a:pt x="3720" y="1233"/>
                </a:lnTo>
                <a:lnTo>
                  <a:pt x="0" y="1974"/>
                </a:lnTo>
                <a:lnTo>
                  <a:pt x="2976" y="11351"/>
                </a:lnTo>
                <a:lnTo>
                  <a:pt x="5704" y="10611"/>
                </a:lnTo>
                <a:lnTo>
                  <a:pt x="8680" y="10117"/>
                </a:lnTo>
                <a:lnTo>
                  <a:pt x="11408" y="9871"/>
                </a:lnTo>
                <a:close/>
              </a:path>
            </a:pathLst>
          </a:custGeom>
          <a:solidFill>
            <a:srgbClr val="FFFFFF"/>
          </a:solidFill>
        </p:spPr>
        <p:txBody>
          <a:bodyPr wrap="square" lIns="0" tIns="0" rIns="0" bIns="0" rtlCol="0">
            <a:noAutofit/>
          </a:bodyPr>
          <a:lstStyle/>
          <a:p>
            <a:endParaRPr/>
          </a:p>
        </p:txBody>
      </p:sp>
      <p:sp>
        <p:nvSpPr>
          <p:cNvPr id="2238" name="object 2238"/>
          <p:cNvSpPr/>
          <p:nvPr/>
        </p:nvSpPr>
        <p:spPr>
          <a:xfrm>
            <a:off x="8311119" y="1751202"/>
            <a:ext cx="9297" cy="12092"/>
          </a:xfrm>
          <a:custGeom>
            <a:avLst/>
            <a:gdLst/>
            <a:ahLst/>
            <a:cxnLst/>
            <a:rect l="l" t="t" r="r" b="b"/>
            <a:pathLst>
              <a:path w="9297" h="12092">
                <a:moveTo>
                  <a:pt x="1884" y="11351"/>
                </a:moveTo>
                <a:lnTo>
                  <a:pt x="3372" y="12092"/>
                </a:lnTo>
                <a:lnTo>
                  <a:pt x="5109" y="12092"/>
                </a:lnTo>
                <a:lnTo>
                  <a:pt x="6845" y="11598"/>
                </a:lnTo>
                <a:lnTo>
                  <a:pt x="8333" y="10364"/>
                </a:lnTo>
                <a:lnTo>
                  <a:pt x="9077" y="8390"/>
                </a:lnTo>
                <a:lnTo>
                  <a:pt x="9297" y="8171"/>
                </a:lnTo>
                <a:lnTo>
                  <a:pt x="8829" y="4441"/>
                </a:lnTo>
                <a:lnTo>
                  <a:pt x="7093" y="2220"/>
                </a:lnTo>
                <a:lnTo>
                  <a:pt x="6101" y="1233"/>
                </a:lnTo>
                <a:lnTo>
                  <a:pt x="4364" y="0"/>
                </a:lnTo>
                <a:lnTo>
                  <a:pt x="0" y="8686"/>
                </a:lnTo>
                <a:lnTo>
                  <a:pt x="148" y="9130"/>
                </a:lnTo>
                <a:lnTo>
                  <a:pt x="396" y="10117"/>
                </a:lnTo>
                <a:lnTo>
                  <a:pt x="1884" y="11351"/>
                </a:lnTo>
                <a:close/>
              </a:path>
            </a:pathLst>
          </a:custGeom>
          <a:solidFill>
            <a:srgbClr val="FFFFFF"/>
          </a:solidFill>
        </p:spPr>
        <p:txBody>
          <a:bodyPr wrap="square" lIns="0" tIns="0" rIns="0" bIns="0" rtlCol="0">
            <a:noAutofit/>
          </a:bodyPr>
          <a:lstStyle/>
          <a:p>
            <a:endParaRPr/>
          </a:p>
        </p:txBody>
      </p:sp>
      <p:sp>
        <p:nvSpPr>
          <p:cNvPr id="2239" name="object 2239"/>
          <p:cNvSpPr/>
          <p:nvPr/>
        </p:nvSpPr>
        <p:spPr>
          <a:xfrm>
            <a:off x="8310524" y="1757618"/>
            <a:ext cx="49" cy="246"/>
          </a:xfrm>
          <a:custGeom>
            <a:avLst/>
            <a:gdLst/>
            <a:ahLst/>
            <a:cxnLst/>
            <a:rect l="l" t="t" r="r" b="b"/>
            <a:pathLst>
              <a:path w="49" h="246">
                <a:moveTo>
                  <a:pt x="49" y="197"/>
                </a:moveTo>
                <a:lnTo>
                  <a:pt x="0" y="0"/>
                </a:lnTo>
                <a:lnTo>
                  <a:pt x="0" y="246"/>
                </a:lnTo>
                <a:close/>
              </a:path>
            </a:pathLst>
          </a:custGeom>
          <a:solidFill>
            <a:srgbClr val="FFFFFF"/>
          </a:solidFill>
        </p:spPr>
        <p:txBody>
          <a:bodyPr wrap="square" lIns="0" tIns="0" rIns="0" bIns="0" rtlCol="0">
            <a:noAutofit/>
          </a:bodyPr>
          <a:lstStyle/>
          <a:p>
            <a:endParaRPr/>
          </a:p>
        </p:txBody>
      </p:sp>
      <p:sp>
        <p:nvSpPr>
          <p:cNvPr id="2240" name="object 2240"/>
          <p:cNvSpPr/>
          <p:nvPr/>
        </p:nvSpPr>
        <p:spPr>
          <a:xfrm>
            <a:off x="8320417" y="1759346"/>
            <a:ext cx="27" cy="246"/>
          </a:xfrm>
          <a:custGeom>
            <a:avLst/>
            <a:gdLst/>
            <a:ahLst/>
            <a:cxnLst/>
            <a:rect l="l" t="t" r="r" b="b"/>
            <a:pathLst>
              <a:path w="27" h="246">
                <a:moveTo>
                  <a:pt x="27" y="0"/>
                </a:moveTo>
                <a:lnTo>
                  <a:pt x="27" y="246"/>
                </a:lnTo>
                <a:lnTo>
                  <a:pt x="27" y="0"/>
                </a:lnTo>
                <a:close/>
              </a:path>
            </a:pathLst>
          </a:custGeom>
          <a:solidFill>
            <a:srgbClr val="FFFFFF"/>
          </a:solidFill>
        </p:spPr>
        <p:txBody>
          <a:bodyPr wrap="square" lIns="0" tIns="0" rIns="0" bIns="0" rtlCol="0">
            <a:noAutofit/>
          </a:bodyPr>
          <a:lstStyle/>
          <a:p>
            <a:endParaRPr/>
          </a:p>
        </p:txBody>
      </p:sp>
      <p:sp>
        <p:nvSpPr>
          <p:cNvPr id="2241" name="object 2241"/>
          <p:cNvSpPr/>
          <p:nvPr/>
        </p:nvSpPr>
        <p:spPr>
          <a:xfrm>
            <a:off x="8310573" y="1757619"/>
            <a:ext cx="198" cy="987"/>
          </a:xfrm>
          <a:custGeom>
            <a:avLst/>
            <a:gdLst/>
            <a:ahLst/>
            <a:cxnLst/>
            <a:rect l="l" t="t" r="r" b="b"/>
            <a:pathLst>
              <a:path w="198" h="987">
                <a:moveTo>
                  <a:pt x="198" y="0"/>
                </a:moveTo>
                <a:lnTo>
                  <a:pt x="0" y="197"/>
                </a:lnTo>
                <a:lnTo>
                  <a:pt x="198" y="987"/>
                </a:lnTo>
                <a:lnTo>
                  <a:pt x="198" y="0"/>
                </a:lnTo>
                <a:close/>
              </a:path>
            </a:pathLst>
          </a:custGeom>
          <a:solidFill>
            <a:srgbClr val="FFFFFF"/>
          </a:solidFill>
        </p:spPr>
        <p:txBody>
          <a:bodyPr wrap="square" lIns="0" tIns="0" rIns="0" bIns="0" rtlCol="0">
            <a:noAutofit/>
          </a:bodyPr>
          <a:lstStyle/>
          <a:p>
            <a:endParaRPr/>
          </a:p>
        </p:txBody>
      </p:sp>
      <p:sp>
        <p:nvSpPr>
          <p:cNvPr id="2242" name="object 2242"/>
          <p:cNvSpPr/>
          <p:nvPr/>
        </p:nvSpPr>
        <p:spPr>
          <a:xfrm>
            <a:off x="8310771" y="1758605"/>
            <a:ext cx="744" cy="2714"/>
          </a:xfrm>
          <a:custGeom>
            <a:avLst/>
            <a:gdLst/>
            <a:ahLst/>
            <a:cxnLst/>
            <a:rect l="l" t="t" r="r" b="b"/>
            <a:pathLst>
              <a:path w="744" h="2714">
                <a:moveTo>
                  <a:pt x="248" y="1480"/>
                </a:moveTo>
                <a:lnTo>
                  <a:pt x="347" y="1283"/>
                </a:lnTo>
                <a:lnTo>
                  <a:pt x="248" y="987"/>
                </a:lnTo>
                <a:lnTo>
                  <a:pt x="0" y="0"/>
                </a:lnTo>
                <a:lnTo>
                  <a:pt x="0" y="1233"/>
                </a:lnTo>
                <a:lnTo>
                  <a:pt x="744" y="2714"/>
                </a:lnTo>
                <a:lnTo>
                  <a:pt x="496" y="1727"/>
                </a:lnTo>
                <a:lnTo>
                  <a:pt x="347" y="1283"/>
                </a:lnTo>
                <a:lnTo>
                  <a:pt x="248" y="1480"/>
                </a:lnTo>
                <a:close/>
              </a:path>
            </a:pathLst>
          </a:custGeom>
          <a:solidFill>
            <a:srgbClr val="FFFFFF"/>
          </a:solidFill>
        </p:spPr>
        <p:txBody>
          <a:bodyPr wrap="square" lIns="0" tIns="0" rIns="0" bIns="0" rtlCol="0">
            <a:noAutofit/>
          </a:bodyPr>
          <a:lstStyle/>
          <a:p>
            <a:endParaRPr/>
          </a:p>
        </p:txBody>
      </p:sp>
      <p:sp>
        <p:nvSpPr>
          <p:cNvPr id="2243" name="object 2243"/>
          <p:cNvSpPr/>
          <p:nvPr/>
        </p:nvSpPr>
        <p:spPr>
          <a:xfrm>
            <a:off x="8301099" y="1757865"/>
            <a:ext cx="19344" cy="64408"/>
          </a:xfrm>
          <a:custGeom>
            <a:avLst/>
            <a:gdLst/>
            <a:ahLst/>
            <a:cxnLst/>
            <a:rect l="l" t="t" r="r" b="b"/>
            <a:pathLst>
              <a:path w="19344" h="64408">
                <a:moveTo>
                  <a:pt x="4960" y="63668"/>
                </a:moveTo>
                <a:lnTo>
                  <a:pt x="9920" y="64408"/>
                </a:lnTo>
                <a:lnTo>
                  <a:pt x="19344" y="1480"/>
                </a:lnTo>
                <a:lnTo>
                  <a:pt x="9424" y="0"/>
                </a:lnTo>
                <a:lnTo>
                  <a:pt x="0" y="62927"/>
                </a:lnTo>
                <a:lnTo>
                  <a:pt x="4960" y="63668"/>
                </a:lnTo>
                <a:close/>
              </a:path>
            </a:pathLst>
          </a:custGeom>
          <a:solidFill>
            <a:srgbClr val="FFFFFF"/>
          </a:solidFill>
        </p:spPr>
        <p:txBody>
          <a:bodyPr wrap="square" lIns="0" tIns="0" rIns="0" bIns="0" rtlCol="0">
            <a:noAutofit/>
          </a:bodyPr>
          <a:lstStyle/>
          <a:p>
            <a:endParaRPr/>
          </a:p>
        </p:txBody>
      </p:sp>
      <p:sp>
        <p:nvSpPr>
          <p:cNvPr id="2244" name="object 2244"/>
          <p:cNvSpPr/>
          <p:nvPr/>
        </p:nvSpPr>
        <p:spPr>
          <a:xfrm>
            <a:off x="8301099" y="1820794"/>
            <a:ext cx="9920" cy="5429"/>
          </a:xfrm>
          <a:custGeom>
            <a:avLst/>
            <a:gdLst/>
            <a:ahLst/>
            <a:cxnLst/>
            <a:rect l="l" t="t" r="r" b="b"/>
            <a:pathLst>
              <a:path w="9920" h="5429">
                <a:moveTo>
                  <a:pt x="0" y="0"/>
                </a:moveTo>
                <a:lnTo>
                  <a:pt x="0" y="2220"/>
                </a:lnTo>
                <a:lnTo>
                  <a:pt x="992" y="3948"/>
                </a:lnTo>
                <a:lnTo>
                  <a:pt x="2480" y="4935"/>
                </a:lnTo>
                <a:lnTo>
                  <a:pt x="4216" y="5429"/>
                </a:lnTo>
                <a:lnTo>
                  <a:pt x="6200" y="5429"/>
                </a:lnTo>
                <a:lnTo>
                  <a:pt x="7936" y="4935"/>
                </a:lnTo>
                <a:lnTo>
                  <a:pt x="9176" y="3454"/>
                </a:lnTo>
                <a:lnTo>
                  <a:pt x="9920" y="1480"/>
                </a:lnTo>
                <a:lnTo>
                  <a:pt x="0" y="0"/>
                </a:lnTo>
                <a:close/>
              </a:path>
            </a:pathLst>
          </a:custGeom>
          <a:solidFill>
            <a:srgbClr val="FFFFFF"/>
          </a:solidFill>
        </p:spPr>
        <p:txBody>
          <a:bodyPr wrap="square" lIns="0" tIns="0" rIns="0" bIns="0" rtlCol="0">
            <a:noAutofit/>
          </a:bodyPr>
          <a:lstStyle/>
          <a:p>
            <a:endParaRPr/>
          </a:p>
        </p:txBody>
      </p:sp>
      <p:sp>
        <p:nvSpPr>
          <p:cNvPr id="2245" name="object 2245"/>
          <p:cNvSpPr/>
          <p:nvPr/>
        </p:nvSpPr>
        <p:spPr>
          <a:xfrm>
            <a:off x="8246536" y="1818820"/>
            <a:ext cx="9920" cy="4935"/>
          </a:xfrm>
          <a:custGeom>
            <a:avLst/>
            <a:gdLst/>
            <a:ahLst/>
            <a:cxnLst/>
            <a:rect l="l" t="t" r="r" b="b"/>
            <a:pathLst>
              <a:path w="9920" h="4935">
                <a:moveTo>
                  <a:pt x="0" y="0"/>
                </a:moveTo>
                <a:lnTo>
                  <a:pt x="248" y="2220"/>
                </a:lnTo>
                <a:lnTo>
                  <a:pt x="1488" y="3701"/>
                </a:lnTo>
                <a:lnTo>
                  <a:pt x="2976" y="4688"/>
                </a:lnTo>
                <a:lnTo>
                  <a:pt x="4712" y="4935"/>
                </a:lnTo>
                <a:lnTo>
                  <a:pt x="6696" y="4935"/>
                </a:lnTo>
                <a:lnTo>
                  <a:pt x="8184" y="3948"/>
                </a:lnTo>
                <a:lnTo>
                  <a:pt x="9424" y="2467"/>
                </a:lnTo>
                <a:lnTo>
                  <a:pt x="9920" y="493"/>
                </a:lnTo>
                <a:lnTo>
                  <a:pt x="0" y="0"/>
                </a:lnTo>
                <a:close/>
              </a:path>
            </a:pathLst>
          </a:custGeom>
          <a:solidFill>
            <a:srgbClr val="FFFFFF"/>
          </a:solidFill>
        </p:spPr>
        <p:txBody>
          <a:bodyPr wrap="square" lIns="0" tIns="0" rIns="0" bIns="0" rtlCol="0">
            <a:noAutofit/>
          </a:bodyPr>
          <a:lstStyle/>
          <a:p>
            <a:endParaRPr/>
          </a:p>
        </p:txBody>
      </p:sp>
      <p:sp>
        <p:nvSpPr>
          <p:cNvPr id="2246" name="object 2246"/>
          <p:cNvSpPr/>
          <p:nvPr/>
        </p:nvSpPr>
        <p:spPr>
          <a:xfrm>
            <a:off x="8246536" y="1779336"/>
            <a:ext cx="17856" cy="39977"/>
          </a:xfrm>
          <a:custGeom>
            <a:avLst/>
            <a:gdLst/>
            <a:ahLst/>
            <a:cxnLst/>
            <a:rect l="l" t="t" r="r" b="b"/>
            <a:pathLst>
              <a:path w="17856" h="39977">
                <a:moveTo>
                  <a:pt x="11656" y="27145"/>
                </a:moveTo>
                <a:lnTo>
                  <a:pt x="12400" y="22456"/>
                </a:lnTo>
                <a:lnTo>
                  <a:pt x="13392" y="18508"/>
                </a:lnTo>
                <a:lnTo>
                  <a:pt x="14880" y="14312"/>
                </a:lnTo>
                <a:lnTo>
                  <a:pt x="16120" y="10364"/>
                </a:lnTo>
                <a:lnTo>
                  <a:pt x="17608" y="6662"/>
                </a:lnTo>
                <a:lnTo>
                  <a:pt x="17856" y="4441"/>
                </a:lnTo>
                <a:lnTo>
                  <a:pt x="17360" y="2714"/>
                </a:lnTo>
                <a:lnTo>
                  <a:pt x="17112" y="7403"/>
                </a:lnTo>
                <a:lnTo>
                  <a:pt x="16120" y="1233"/>
                </a:lnTo>
                <a:lnTo>
                  <a:pt x="14632" y="246"/>
                </a:lnTo>
                <a:lnTo>
                  <a:pt x="12648" y="0"/>
                </a:lnTo>
                <a:lnTo>
                  <a:pt x="10912" y="246"/>
                </a:lnTo>
                <a:lnTo>
                  <a:pt x="9424" y="1233"/>
                </a:lnTo>
                <a:lnTo>
                  <a:pt x="8184" y="3208"/>
                </a:lnTo>
                <a:lnTo>
                  <a:pt x="6696" y="7403"/>
                </a:lnTo>
                <a:lnTo>
                  <a:pt x="5456" y="11351"/>
                </a:lnTo>
                <a:lnTo>
                  <a:pt x="3968" y="16040"/>
                </a:lnTo>
                <a:lnTo>
                  <a:pt x="2976" y="20482"/>
                </a:lnTo>
                <a:lnTo>
                  <a:pt x="1736" y="25171"/>
                </a:lnTo>
                <a:lnTo>
                  <a:pt x="992" y="29859"/>
                </a:lnTo>
                <a:lnTo>
                  <a:pt x="248" y="34795"/>
                </a:lnTo>
                <a:lnTo>
                  <a:pt x="0" y="39484"/>
                </a:lnTo>
                <a:lnTo>
                  <a:pt x="9920" y="39977"/>
                </a:lnTo>
                <a:lnTo>
                  <a:pt x="8680" y="2467"/>
                </a:lnTo>
                <a:lnTo>
                  <a:pt x="9920" y="39977"/>
                </a:lnTo>
                <a:lnTo>
                  <a:pt x="10168" y="35782"/>
                </a:lnTo>
                <a:lnTo>
                  <a:pt x="10912" y="31340"/>
                </a:lnTo>
                <a:lnTo>
                  <a:pt x="11656" y="27145"/>
                </a:lnTo>
                <a:close/>
              </a:path>
            </a:pathLst>
          </a:custGeom>
          <a:solidFill>
            <a:srgbClr val="FFFFFF"/>
          </a:solidFill>
        </p:spPr>
        <p:txBody>
          <a:bodyPr wrap="square" lIns="0" tIns="0" rIns="0" bIns="0" rtlCol="0">
            <a:noAutofit/>
          </a:bodyPr>
          <a:lstStyle/>
          <a:p>
            <a:endParaRPr/>
          </a:p>
        </p:txBody>
      </p:sp>
      <p:sp>
        <p:nvSpPr>
          <p:cNvPr id="2247" name="object 2247"/>
          <p:cNvSpPr/>
          <p:nvPr/>
        </p:nvSpPr>
        <p:spPr>
          <a:xfrm>
            <a:off x="8262657" y="1780569"/>
            <a:ext cx="1240" cy="6169"/>
          </a:xfrm>
          <a:custGeom>
            <a:avLst/>
            <a:gdLst/>
            <a:ahLst/>
            <a:cxnLst/>
            <a:rect l="l" t="t" r="r" b="b"/>
            <a:pathLst>
              <a:path w="1240" h="6169">
                <a:moveTo>
                  <a:pt x="992" y="6169"/>
                </a:moveTo>
                <a:lnTo>
                  <a:pt x="1240" y="1480"/>
                </a:lnTo>
                <a:lnTo>
                  <a:pt x="0" y="0"/>
                </a:lnTo>
                <a:lnTo>
                  <a:pt x="992" y="6169"/>
                </a:lnTo>
                <a:close/>
              </a:path>
            </a:pathLst>
          </a:custGeom>
          <a:solidFill>
            <a:srgbClr val="FFFFFF"/>
          </a:solidFill>
        </p:spPr>
        <p:txBody>
          <a:bodyPr wrap="square" lIns="0" tIns="0" rIns="0" bIns="0" rtlCol="0">
            <a:noAutofit/>
          </a:bodyPr>
          <a:lstStyle/>
          <a:p>
            <a:endParaRPr/>
          </a:p>
        </p:txBody>
      </p:sp>
      <p:sp>
        <p:nvSpPr>
          <p:cNvPr id="2248" name="object 2248"/>
          <p:cNvSpPr/>
          <p:nvPr/>
        </p:nvSpPr>
        <p:spPr>
          <a:xfrm>
            <a:off x="8255217" y="1776868"/>
            <a:ext cx="9920" cy="10117"/>
          </a:xfrm>
          <a:custGeom>
            <a:avLst/>
            <a:gdLst/>
            <a:ahLst/>
            <a:cxnLst/>
            <a:rect l="l" t="t" r="r" b="b"/>
            <a:pathLst>
              <a:path w="9920" h="10117">
                <a:moveTo>
                  <a:pt x="7748" y="9470"/>
                </a:moveTo>
                <a:lnTo>
                  <a:pt x="6944" y="9871"/>
                </a:lnTo>
                <a:lnTo>
                  <a:pt x="3968" y="9130"/>
                </a:lnTo>
                <a:lnTo>
                  <a:pt x="5952" y="10117"/>
                </a:lnTo>
                <a:lnTo>
                  <a:pt x="7936" y="10117"/>
                </a:lnTo>
                <a:lnTo>
                  <a:pt x="8432" y="9871"/>
                </a:lnTo>
                <a:lnTo>
                  <a:pt x="8928" y="8883"/>
                </a:lnTo>
                <a:lnTo>
                  <a:pt x="9920" y="1233"/>
                </a:lnTo>
                <a:lnTo>
                  <a:pt x="5456" y="0"/>
                </a:lnTo>
                <a:lnTo>
                  <a:pt x="1984" y="1974"/>
                </a:lnTo>
                <a:lnTo>
                  <a:pt x="496" y="3701"/>
                </a:lnTo>
                <a:lnTo>
                  <a:pt x="0" y="4935"/>
                </a:lnTo>
                <a:lnTo>
                  <a:pt x="7748" y="9470"/>
                </a:lnTo>
                <a:close/>
              </a:path>
            </a:pathLst>
          </a:custGeom>
          <a:solidFill>
            <a:srgbClr val="FFFFFF"/>
          </a:solidFill>
        </p:spPr>
        <p:txBody>
          <a:bodyPr wrap="square" lIns="0" tIns="0" rIns="0" bIns="0" rtlCol="0">
            <a:noAutofit/>
          </a:bodyPr>
          <a:lstStyle/>
          <a:p>
            <a:endParaRPr/>
          </a:p>
        </p:txBody>
      </p:sp>
      <p:sp>
        <p:nvSpPr>
          <p:cNvPr id="2249" name="object 2249"/>
          <p:cNvSpPr/>
          <p:nvPr/>
        </p:nvSpPr>
        <p:spPr>
          <a:xfrm>
            <a:off x="8263649" y="1785998"/>
            <a:ext cx="992" cy="740"/>
          </a:xfrm>
          <a:custGeom>
            <a:avLst/>
            <a:gdLst/>
            <a:ahLst/>
            <a:cxnLst/>
            <a:rect l="l" t="t" r="r" b="b"/>
            <a:pathLst>
              <a:path w="992" h="740">
                <a:moveTo>
                  <a:pt x="992" y="246"/>
                </a:moveTo>
                <a:lnTo>
                  <a:pt x="496" y="0"/>
                </a:lnTo>
                <a:lnTo>
                  <a:pt x="0" y="740"/>
                </a:lnTo>
                <a:lnTo>
                  <a:pt x="992" y="246"/>
                </a:lnTo>
                <a:close/>
              </a:path>
            </a:pathLst>
          </a:custGeom>
          <a:solidFill>
            <a:srgbClr val="FFFFFF"/>
          </a:solidFill>
        </p:spPr>
        <p:txBody>
          <a:bodyPr wrap="square" lIns="0" tIns="0" rIns="0" bIns="0" rtlCol="0">
            <a:noAutofit/>
          </a:bodyPr>
          <a:lstStyle/>
          <a:p>
            <a:endParaRPr/>
          </a:p>
        </p:txBody>
      </p:sp>
      <p:sp>
        <p:nvSpPr>
          <p:cNvPr id="2250" name="object 2250"/>
          <p:cNvSpPr/>
          <p:nvPr/>
        </p:nvSpPr>
        <p:spPr>
          <a:xfrm>
            <a:off x="8263649" y="1778102"/>
            <a:ext cx="3472" cy="8637"/>
          </a:xfrm>
          <a:custGeom>
            <a:avLst/>
            <a:gdLst/>
            <a:ahLst/>
            <a:cxnLst/>
            <a:rect l="l" t="t" r="r" b="b"/>
            <a:pathLst>
              <a:path w="3472" h="8637">
                <a:moveTo>
                  <a:pt x="0" y="8637"/>
                </a:moveTo>
                <a:lnTo>
                  <a:pt x="496" y="7896"/>
                </a:lnTo>
                <a:lnTo>
                  <a:pt x="992" y="8143"/>
                </a:lnTo>
                <a:lnTo>
                  <a:pt x="2480" y="6909"/>
                </a:lnTo>
                <a:lnTo>
                  <a:pt x="3224" y="5182"/>
                </a:lnTo>
                <a:lnTo>
                  <a:pt x="3472" y="3454"/>
                </a:lnTo>
                <a:lnTo>
                  <a:pt x="2976" y="1727"/>
                </a:lnTo>
                <a:lnTo>
                  <a:pt x="1488" y="0"/>
                </a:lnTo>
                <a:lnTo>
                  <a:pt x="496" y="7650"/>
                </a:lnTo>
                <a:lnTo>
                  <a:pt x="0" y="8637"/>
                </a:lnTo>
                <a:close/>
              </a:path>
            </a:pathLst>
          </a:custGeom>
          <a:solidFill>
            <a:srgbClr val="FFFFFF"/>
          </a:solidFill>
        </p:spPr>
        <p:txBody>
          <a:bodyPr wrap="square" lIns="0" tIns="0" rIns="0" bIns="0" rtlCol="0">
            <a:noAutofit/>
          </a:bodyPr>
          <a:lstStyle/>
          <a:p>
            <a:endParaRPr/>
          </a:p>
        </p:txBody>
      </p:sp>
      <p:sp>
        <p:nvSpPr>
          <p:cNvPr id="2251" name="object 2251"/>
          <p:cNvSpPr/>
          <p:nvPr/>
        </p:nvSpPr>
        <p:spPr>
          <a:xfrm>
            <a:off x="8258937" y="1778347"/>
            <a:ext cx="45882" cy="39730"/>
          </a:xfrm>
          <a:custGeom>
            <a:avLst/>
            <a:gdLst/>
            <a:ahLst/>
            <a:cxnLst/>
            <a:rect l="l" t="t" r="r" b="b"/>
            <a:pathLst>
              <a:path w="45882" h="39730">
                <a:moveTo>
                  <a:pt x="42657" y="36029"/>
                </a:moveTo>
                <a:lnTo>
                  <a:pt x="45882" y="32327"/>
                </a:lnTo>
                <a:lnTo>
                  <a:pt x="6448" y="0"/>
                </a:lnTo>
                <a:lnTo>
                  <a:pt x="0" y="7403"/>
                </a:lnTo>
                <a:lnTo>
                  <a:pt x="39433" y="39730"/>
                </a:lnTo>
                <a:lnTo>
                  <a:pt x="42657" y="36029"/>
                </a:lnTo>
                <a:close/>
              </a:path>
            </a:pathLst>
          </a:custGeom>
          <a:solidFill>
            <a:srgbClr val="FFFFFF"/>
          </a:solidFill>
        </p:spPr>
        <p:txBody>
          <a:bodyPr wrap="square" lIns="0" tIns="0" rIns="0" bIns="0" rtlCol="0">
            <a:noAutofit/>
          </a:bodyPr>
          <a:lstStyle/>
          <a:p>
            <a:endParaRPr/>
          </a:p>
        </p:txBody>
      </p:sp>
      <p:sp>
        <p:nvSpPr>
          <p:cNvPr id="2252" name="object 2252"/>
          <p:cNvSpPr/>
          <p:nvPr/>
        </p:nvSpPr>
        <p:spPr>
          <a:xfrm>
            <a:off x="8298371" y="1810676"/>
            <a:ext cx="8184" cy="8637"/>
          </a:xfrm>
          <a:custGeom>
            <a:avLst/>
            <a:gdLst/>
            <a:ahLst/>
            <a:cxnLst/>
            <a:rect l="l" t="t" r="r" b="b"/>
            <a:pathLst>
              <a:path w="8184" h="8637">
                <a:moveTo>
                  <a:pt x="0" y="7403"/>
                </a:moveTo>
                <a:lnTo>
                  <a:pt x="1984" y="8390"/>
                </a:lnTo>
                <a:lnTo>
                  <a:pt x="3720" y="8637"/>
                </a:lnTo>
                <a:lnTo>
                  <a:pt x="5456" y="7896"/>
                </a:lnTo>
                <a:lnTo>
                  <a:pt x="6944" y="6909"/>
                </a:lnTo>
                <a:lnTo>
                  <a:pt x="7936" y="5182"/>
                </a:lnTo>
                <a:lnTo>
                  <a:pt x="8184" y="3454"/>
                </a:lnTo>
                <a:lnTo>
                  <a:pt x="7688" y="1727"/>
                </a:lnTo>
                <a:lnTo>
                  <a:pt x="6448" y="0"/>
                </a:lnTo>
                <a:lnTo>
                  <a:pt x="0" y="7403"/>
                </a:lnTo>
                <a:close/>
              </a:path>
            </a:pathLst>
          </a:custGeom>
          <a:solidFill>
            <a:srgbClr val="FFFFFF"/>
          </a:solidFill>
        </p:spPr>
        <p:txBody>
          <a:bodyPr wrap="square" lIns="0" tIns="0" rIns="0" bIns="0" rtlCol="0">
            <a:noAutofit/>
          </a:bodyPr>
          <a:lstStyle/>
          <a:p>
            <a:endParaRPr/>
          </a:p>
        </p:txBody>
      </p:sp>
      <p:sp>
        <p:nvSpPr>
          <p:cNvPr id="2253" name="object 2253"/>
          <p:cNvSpPr/>
          <p:nvPr/>
        </p:nvSpPr>
        <p:spPr>
          <a:xfrm>
            <a:off x="8251496" y="1784518"/>
            <a:ext cx="7936" cy="34795"/>
          </a:xfrm>
          <a:custGeom>
            <a:avLst/>
            <a:gdLst/>
            <a:ahLst/>
            <a:cxnLst/>
            <a:rect l="l" t="t" r="r" b="b"/>
            <a:pathLst>
              <a:path w="7936" h="34795">
                <a:moveTo>
                  <a:pt x="248" y="30846"/>
                </a:moveTo>
                <a:lnTo>
                  <a:pt x="0" y="34795"/>
                </a:lnTo>
                <a:lnTo>
                  <a:pt x="992" y="30353"/>
                </a:lnTo>
                <a:lnTo>
                  <a:pt x="1736" y="26158"/>
                </a:lnTo>
                <a:lnTo>
                  <a:pt x="2728" y="21716"/>
                </a:lnTo>
                <a:lnTo>
                  <a:pt x="3472" y="17274"/>
                </a:lnTo>
                <a:lnTo>
                  <a:pt x="4464" y="12832"/>
                </a:lnTo>
                <a:lnTo>
                  <a:pt x="5456" y="8637"/>
                </a:lnTo>
                <a:lnTo>
                  <a:pt x="6448" y="4195"/>
                </a:lnTo>
                <a:lnTo>
                  <a:pt x="7936" y="0"/>
                </a:lnTo>
                <a:lnTo>
                  <a:pt x="6448" y="3948"/>
                </a:lnTo>
                <a:lnTo>
                  <a:pt x="4960" y="8143"/>
                </a:lnTo>
                <a:lnTo>
                  <a:pt x="3720" y="12832"/>
                </a:lnTo>
                <a:lnTo>
                  <a:pt x="2480" y="17274"/>
                </a:lnTo>
                <a:lnTo>
                  <a:pt x="1488" y="21963"/>
                </a:lnTo>
                <a:lnTo>
                  <a:pt x="744" y="26651"/>
                </a:lnTo>
                <a:lnTo>
                  <a:pt x="248" y="30846"/>
                </a:lnTo>
                <a:close/>
              </a:path>
            </a:pathLst>
          </a:custGeom>
          <a:solidFill>
            <a:srgbClr val="FFFFFF"/>
          </a:solidFill>
        </p:spPr>
        <p:txBody>
          <a:bodyPr wrap="square" lIns="0" tIns="0" rIns="0" bIns="0" rtlCol="0">
            <a:noAutofit/>
          </a:bodyPr>
          <a:lstStyle/>
          <a:p>
            <a:endParaRPr/>
          </a:p>
        </p:txBody>
      </p:sp>
      <p:sp>
        <p:nvSpPr>
          <p:cNvPr id="2254" name="object 2254"/>
          <p:cNvSpPr/>
          <p:nvPr/>
        </p:nvSpPr>
        <p:spPr>
          <a:xfrm>
            <a:off x="8287211" y="1753917"/>
            <a:ext cx="26041" cy="1974"/>
          </a:xfrm>
          <a:custGeom>
            <a:avLst/>
            <a:gdLst/>
            <a:ahLst/>
            <a:cxnLst/>
            <a:rect l="l" t="t" r="r" b="b"/>
            <a:pathLst>
              <a:path w="26041" h="1974">
                <a:moveTo>
                  <a:pt x="3224" y="1974"/>
                </a:moveTo>
                <a:lnTo>
                  <a:pt x="6448" y="1727"/>
                </a:lnTo>
                <a:lnTo>
                  <a:pt x="9672" y="1480"/>
                </a:lnTo>
                <a:lnTo>
                  <a:pt x="12896" y="1233"/>
                </a:lnTo>
                <a:lnTo>
                  <a:pt x="19344" y="1233"/>
                </a:lnTo>
                <a:lnTo>
                  <a:pt x="22817" y="1480"/>
                </a:lnTo>
                <a:lnTo>
                  <a:pt x="26041" y="1974"/>
                </a:lnTo>
                <a:lnTo>
                  <a:pt x="22817" y="1233"/>
                </a:lnTo>
                <a:lnTo>
                  <a:pt x="19592" y="493"/>
                </a:lnTo>
                <a:lnTo>
                  <a:pt x="16120" y="246"/>
                </a:lnTo>
                <a:lnTo>
                  <a:pt x="12648" y="0"/>
                </a:lnTo>
                <a:lnTo>
                  <a:pt x="9176" y="246"/>
                </a:lnTo>
                <a:lnTo>
                  <a:pt x="5704" y="493"/>
                </a:lnTo>
                <a:lnTo>
                  <a:pt x="2728" y="1233"/>
                </a:lnTo>
                <a:lnTo>
                  <a:pt x="0" y="1974"/>
                </a:lnTo>
                <a:lnTo>
                  <a:pt x="3224" y="1974"/>
                </a:lnTo>
                <a:close/>
              </a:path>
            </a:pathLst>
          </a:custGeom>
          <a:solidFill>
            <a:srgbClr val="FFFFFF"/>
          </a:solidFill>
        </p:spPr>
        <p:txBody>
          <a:bodyPr wrap="square" lIns="0" tIns="0" rIns="0" bIns="0" rtlCol="0">
            <a:noAutofit/>
          </a:bodyPr>
          <a:lstStyle/>
          <a:p>
            <a:endParaRPr/>
          </a:p>
        </p:txBody>
      </p:sp>
      <p:sp>
        <p:nvSpPr>
          <p:cNvPr id="2255" name="object 2255"/>
          <p:cNvSpPr/>
          <p:nvPr/>
        </p:nvSpPr>
        <p:spPr>
          <a:xfrm>
            <a:off x="8262161" y="1865213"/>
            <a:ext cx="20832" cy="21469"/>
          </a:xfrm>
          <a:custGeom>
            <a:avLst/>
            <a:gdLst/>
            <a:ahLst/>
            <a:cxnLst/>
            <a:rect l="l" t="t" r="r" b="b"/>
            <a:pathLst>
              <a:path w="20832" h="21469">
                <a:moveTo>
                  <a:pt x="0" y="0"/>
                </a:moveTo>
                <a:lnTo>
                  <a:pt x="2232" y="3208"/>
                </a:lnTo>
                <a:lnTo>
                  <a:pt x="4712" y="6662"/>
                </a:lnTo>
                <a:lnTo>
                  <a:pt x="7192" y="9624"/>
                </a:lnTo>
                <a:lnTo>
                  <a:pt x="10168" y="12832"/>
                </a:lnTo>
                <a:lnTo>
                  <a:pt x="12896" y="15546"/>
                </a:lnTo>
                <a:lnTo>
                  <a:pt x="15624" y="18014"/>
                </a:lnTo>
                <a:lnTo>
                  <a:pt x="18352" y="19988"/>
                </a:lnTo>
                <a:lnTo>
                  <a:pt x="20832" y="21469"/>
                </a:lnTo>
                <a:lnTo>
                  <a:pt x="18104" y="18754"/>
                </a:lnTo>
                <a:lnTo>
                  <a:pt x="15624" y="16287"/>
                </a:lnTo>
                <a:lnTo>
                  <a:pt x="12896" y="13819"/>
                </a:lnTo>
                <a:lnTo>
                  <a:pt x="10168" y="11351"/>
                </a:lnTo>
                <a:lnTo>
                  <a:pt x="7688" y="8883"/>
                </a:lnTo>
                <a:lnTo>
                  <a:pt x="4960" y="6169"/>
                </a:lnTo>
                <a:lnTo>
                  <a:pt x="2480" y="3208"/>
                </a:lnTo>
                <a:lnTo>
                  <a:pt x="0" y="0"/>
                </a:lnTo>
                <a:close/>
              </a:path>
            </a:pathLst>
          </a:custGeom>
          <a:solidFill>
            <a:srgbClr val="FFFFFF"/>
          </a:solidFill>
        </p:spPr>
        <p:txBody>
          <a:bodyPr wrap="square" lIns="0" tIns="0" rIns="0" bIns="0" rtlCol="0">
            <a:noAutofit/>
          </a:bodyPr>
          <a:lstStyle/>
          <a:p>
            <a:endParaRPr/>
          </a:p>
        </p:txBody>
      </p:sp>
      <p:sp>
        <p:nvSpPr>
          <p:cNvPr id="2256" name="object 2256"/>
          <p:cNvSpPr/>
          <p:nvPr/>
        </p:nvSpPr>
        <p:spPr>
          <a:xfrm>
            <a:off x="8341029" y="1784517"/>
            <a:ext cx="7936" cy="34548"/>
          </a:xfrm>
          <a:custGeom>
            <a:avLst/>
            <a:gdLst/>
            <a:ahLst/>
            <a:cxnLst/>
            <a:rect l="l" t="t" r="r" b="b"/>
            <a:pathLst>
              <a:path w="7936" h="34548">
                <a:moveTo>
                  <a:pt x="0" y="0"/>
                </a:moveTo>
                <a:lnTo>
                  <a:pt x="992" y="4195"/>
                </a:lnTo>
                <a:lnTo>
                  <a:pt x="2232" y="8637"/>
                </a:lnTo>
                <a:lnTo>
                  <a:pt x="3224" y="12832"/>
                </a:lnTo>
                <a:lnTo>
                  <a:pt x="4464" y="17027"/>
                </a:lnTo>
                <a:lnTo>
                  <a:pt x="5456" y="21222"/>
                </a:lnTo>
                <a:lnTo>
                  <a:pt x="6448" y="25664"/>
                </a:lnTo>
                <a:lnTo>
                  <a:pt x="7192" y="30106"/>
                </a:lnTo>
                <a:lnTo>
                  <a:pt x="7936" y="34548"/>
                </a:lnTo>
                <a:lnTo>
                  <a:pt x="7440" y="30106"/>
                </a:lnTo>
                <a:lnTo>
                  <a:pt x="6944" y="25417"/>
                </a:lnTo>
                <a:lnTo>
                  <a:pt x="6200" y="20729"/>
                </a:lnTo>
                <a:lnTo>
                  <a:pt x="5208" y="16040"/>
                </a:lnTo>
                <a:lnTo>
                  <a:pt x="3968" y="11598"/>
                </a:lnTo>
                <a:lnTo>
                  <a:pt x="2728" y="7156"/>
                </a:lnTo>
                <a:lnTo>
                  <a:pt x="1488" y="3454"/>
                </a:lnTo>
                <a:lnTo>
                  <a:pt x="0" y="0"/>
                </a:lnTo>
                <a:close/>
              </a:path>
            </a:pathLst>
          </a:custGeom>
          <a:solidFill>
            <a:srgbClr val="FFFFFF"/>
          </a:solidFill>
        </p:spPr>
        <p:txBody>
          <a:bodyPr wrap="square" lIns="0" tIns="0" rIns="0" bIns="0" rtlCol="0">
            <a:noAutofit/>
          </a:bodyPr>
          <a:lstStyle/>
          <a:p>
            <a:endParaRPr/>
          </a:p>
        </p:txBody>
      </p:sp>
      <p:sp>
        <p:nvSpPr>
          <p:cNvPr id="2257" name="object 2257"/>
          <p:cNvSpPr/>
          <p:nvPr/>
        </p:nvSpPr>
        <p:spPr>
          <a:xfrm>
            <a:off x="8317467" y="1865213"/>
            <a:ext cx="20832" cy="21469"/>
          </a:xfrm>
          <a:custGeom>
            <a:avLst/>
            <a:gdLst/>
            <a:ahLst/>
            <a:cxnLst/>
            <a:rect l="l" t="t" r="r" b="b"/>
            <a:pathLst>
              <a:path w="20832" h="21469">
                <a:moveTo>
                  <a:pt x="8184" y="14066"/>
                </a:moveTo>
                <a:lnTo>
                  <a:pt x="5704" y="16533"/>
                </a:lnTo>
                <a:lnTo>
                  <a:pt x="2976" y="19248"/>
                </a:lnTo>
                <a:lnTo>
                  <a:pt x="0" y="21469"/>
                </a:lnTo>
                <a:lnTo>
                  <a:pt x="2976" y="19495"/>
                </a:lnTo>
                <a:lnTo>
                  <a:pt x="5704" y="17274"/>
                </a:lnTo>
                <a:lnTo>
                  <a:pt x="8680" y="14806"/>
                </a:lnTo>
                <a:lnTo>
                  <a:pt x="11656" y="11845"/>
                </a:lnTo>
                <a:lnTo>
                  <a:pt x="14384" y="9130"/>
                </a:lnTo>
                <a:lnTo>
                  <a:pt x="16864" y="5922"/>
                </a:lnTo>
                <a:lnTo>
                  <a:pt x="19096" y="2961"/>
                </a:lnTo>
                <a:lnTo>
                  <a:pt x="20832" y="0"/>
                </a:lnTo>
                <a:lnTo>
                  <a:pt x="18352" y="2714"/>
                </a:lnTo>
                <a:lnTo>
                  <a:pt x="15872" y="5429"/>
                </a:lnTo>
                <a:lnTo>
                  <a:pt x="13392" y="8390"/>
                </a:lnTo>
                <a:lnTo>
                  <a:pt x="10912" y="11104"/>
                </a:lnTo>
                <a:lnTo>
                  <a:pt x="8184" y="14066"/>
                </a:lnTo>
                <a:close/>
              </a:path>
            </a:pathLst>
          </a:custGeom>
          <a:solidFill>
            <a:srgbClr val="FFFFFF"/>
          </a:solidFill>
        </p:spPr>
        <p:txBody>
          <a:bodyPr wrap="square" lIns="0" tIns="0" rIns="0" bIns="0" rtlCol="0">
            <a:noAutofit/>
          </a:bodyPr>
          <a:lstStyle/>
          <a:p>
            <a:endParaRPr/>
          </a:p>
        </p:txBody>
      </p:sp>
      <p:sp>
        <p:nvSpPr>
          <p:cNvPr id="2258" name="object 2258"/>
          <p:cNvSpPr/>
          <p:nvPr/>
        </p:nvSpPr>
        <p:spPr>
          <a:xfrm>
            <a:off x="8260426" y="1863486"/>
            <a:ext cx="23313" cy="24677"/>
          </a:xfrm>
          <a:custGeom>
            <a:avLst/>
            <a:gdLst/>
            <a:ahLst/>
            <a:cxnLst/>
            <a:rect l="l" t="t" r="r" b="b"/>
            <a:pathLst>
              <a:path w="23313" h="24677">
                <a:moveTo>
                  <a:pt x="744" y="246"/>
                </a:moveTo>
                <a:lnTo>
                  <a:pt x="0" y="1233"/>
                </a:lnTo>
                <a:lnTo>
                  <a:pt x="248" y="2714"/>
                </a:lnTo>
                <a:lnTo>
                  <a:pt x="2480" y="5922"/>
                </a:lnTo>
                <a:lnTo>
                  <a:pt x="4960" y="9377"/>
                </a:lnTo>
                <a:lnTo>
                  <a:pt x="7688" y="12585"/>
                </a:lnTo>
                <a:lnTo>
                  <a:pt x="10664" y="15793"/>
                </a:lnTo>
                <a:lnTo>
                  <a:pt x="13392" y="18508"/>
                </a:lnTo>
                <a:lnTo>
                  <a:pt x="16368" y="20975"/>
                </a:lnTo>
                <a:lnTo>
                  <a:pt x="19096" y="23196"/>
                </a:lnTo>
                <a:lnTo>
                  <a:pt x="21824" y="24677"/>
                </a:lnTo>
                <a:lnTo>
                  <a:pt x="23313" y="21716"/>
                </a:lnTo>
                <a:lnTo>
                  <a:pt x="21080" y="20235"/>
                </a:lnTo>
                <a:lnTo>
                  <a:pt x="18352" y="18508"/>
                </a:lnTo>
                <a:lnTo>
                  <a:pt x="15872" y="16040"/>
                </a:lnTo>
                <a:lnTo>
                  <a:pt x="13144" y="13325"/>
                </a:lnTo>
                <a:lnTo>
                  <a:pt x="10168" y="10117"/>
                </a:lnTo>
                <a:lnTo>
                  <a:pt x="7936" y="7403"/>
                </a:lnTo>
                <a:lnTo>
                  <a:pt x="5456" y="3948"/>
                </a:lnTo>
                <a:lnTo>
                  <a:pt x="3224" y="740"/>
                </a:lnTo>
                <a:lnTo>
                  <a:pt x="1984" y="0"/>
                </a:lnTo>
                <a:lnTo>
                  <a:pt x="744" y="246"/>
                </a:lnTo>
                <a:close/>
              </a:path>
            </a:pathLst>
          </a:custGeom>
          <a:solidFill>
            <a:srgbClr val="FFFFFF"/>
          </a:solidFill>
        </p:spPr>
        <p:txBody>
          <a:bodyPr wrap="square" lIns="0" tIns="0" rIns="0" bIns="0" rtlCol="0">
            <a:noAutofit/>
          </a:bodyPr>
          <a:lstStyle/>
          <a:p>
            <a:endParaRPr/>
          </a:p>
        </p:txBody>
      </p:sp>
      <p:sp>
        <p:nvSpPr>
          <p:cNvPr id="2259" name="object 2259"/>
          <p:cNvSpPr/>
          <p:nvPr/>
        </p:nvSpPr>
        <p:spPr>
          <a:xfrm>
            <a:off x="8281754" y="1885202"/>
            <a:ext cx="1984" cy="2923"/>
          </a:xfrm>
          <a:custGeom>
            <a:avLst/>
            <a:gdLst/>
            <a:ahLst/>
            <a:cxnLst/>
            <a:rect l="l" t="t" r="r" b="b"/>
            <a:pathLst>
              <a:path w="1984" h="2923">
                <a:moveTo>
                  <a:pt x="523" y="2923"/>
                </a:moveTo>
                <a:lnTo>
                  <a:pt x="1984" y="0"/>
                </a:lnTo>
                <a:lnTo>
                  <a:pt x="0" y="2714"/>
                </a:lnTo>
                <a:lnTo>
                  <a:pt x="523" y="2923"/>
                </a:lnTo>
                <a:close/>
              </a:path>
            </a:pathLst>
          </a:custGeom>
          <a:solidFill>
            <a:srgbClr val="FFFFFF"/>
          </a:solidFill>
        </p:spPr>
        <p:txBody>
          <a:bodyPr wrap="square" lIns="0" tIns="0" rIns="0" bIns="0" rtlCol="0">
            <a:noAutofit/>
          </a:bodyPr>
          <a:lstStyle/>
          <a:p>
            <a:endParaRPr/>
          </a:p>
        </p:txBody>
      </p:sp>
      <p:sp>
        <p:nvSpPr>
          <p:cNvPr id="2260" name="object 2260"/>
          <p:cNvSpPr/>
          <p:nvPr/>
        </p:nvSpPr>
        <p:spPr>
          <a:xfrm>
            <a:off x="8260674" y="1864225"/>
            <a:ext cx="24057" cy="24184"/>
          </a:xfrm>
          <a:custGeom>
            <a:avLst/>
            <a:gdLst/>
            <a:ahLst/>
            <a:cxnLst/>
            <a:rect l="l" t="t" r="r" b="b"/>
            <a:pathLst>
              <a:path w="24057" h="24184">
                <a:moveTo>
                  <a:pt x="10416" y="8637"/>
                </a:moveTo>
                <a:lnTo>
                  <a:pt x="7688" y="5922"/>
                </a:lnTo>
                <a:lnTo>
                  <a:pt x="5208" y="3208"/>
                </a:lnTo>
                <a:lnTo>
                  <a:pt x="2976" y="0"/>
                </a:lnTo>
                <a:lnTo>
                  <a:pt x="0" y="1974"/>
                </a:lnTo>
                <a:lnTo>
                  <a:pt x="2728" y="5182"/>
                </a:lnTo>
                <a:lnTo>
                  <a:pt x="5208" y="8390"/>
                </a:lnTo>
                <a:lnTo>
                  <a:pt x="7936" y="11104"/>
                </a:lnTo>
                <a:lnTo>
                  <a:pt x="10416" y="13572"/>
                </a:lnTo>
                <a:lnTo>
                  <a:pt x="13144" y="16040"/>
                </a:lnTo>
                <a:lnTo>
                  <a:pt x="15872" y="18508"/>
                </a:lnTo>
                <a:lnTo>
                  <a:pt x="18352" y="20975"/>
                </a:lnTo>
                <a:lnTo>
                  <a:pt x="21080" y="23690"/>
                </a:lnTo>
                <a:lnTo>
                  <a:pt x="23065" y="20975"/>
                </a:lnTo>
                <a:lnTo>
                  <a:pt x="21604" y="23899"/>
                </a:lnTo>
                <a:lnTo>
                  <a:pt x="22321" y="24184"/>
                </a:lnTo>
                <a:lnTo>
                  <a:pt x="23561" y="23443"/>
                </a:lnTo>
                <a:lnTo>
                  <a:pt x="24057" y="22456"/>
                </a:lnTo>
                <a:lnTo>
                  <a:pt x="23561" y="21222"/>
                </a:lnTo>
                <a:lnTo>
                  <a:pt x="20832" y="18508"/>
                </a:lnTo>
                <a:lnTo>
                  <a:pt x="18352" y="16040"/>
                </a:lnTo>
                <a:lnTo>
                  <a:pt x="15624" y="13572"/>
                </a:lnTo>
                <a:lnTo>
                  <a:pt x="12896" y="11104"/>
                </a:lnTo>
                <a:lnTo>
                  <a:pt x="10416" y="8637"/>
                </a:lnTo>
                <a:close/>
              </a:path>
            </a:pathLst>
          </a:custGeom>
          <a:solidFill>
            <a:srgbClr val="FFFFFF"/>
          </a:solidFill>
        </p:spPr>
        <p:txBody>
          <a:bodyPr wrap="square" lIns="0" tIns="0" rIns="0" bIns="0" rtlCol="0">
            <a:noAutofit/>
          </a:bodyPr>
          <a:lstStyle/>
          <a:p>
            <a:endParaRPr/>
          </a:p>
        </p:txBody>
      </p:sp>
      <p:sp>
        <p:nvSpPr>
          <p:cNvPr id="2261" name="object 2261"/>
          <p:cNvSpPr/>
          <p:nvPr/>
        </p:nvSpPr>
        <p:spPr>
          <a:xfrm>
            <a:off x="8315732" y="1864473"/>
            <a:ext cx="24057" cy="23937"/>
          </a:xfrm>
          <a:custGeom>
            <a:avLst/>
            <a:gdLst/>
            <a:ahLst/>
            <a:cxnLst/>
            <a:rect l="l" t="t" r="r" b="b"/>
            <a:pathLst>
              <a:path w="24057" h="23937">
                <a:moveTo>
                  <a:pt x="21080" y="0"/>
                </a:moveTo>
                <a:lnTo>
                  <a:pt x="19344" y="2714"/>
                </a:lnTo>
                <a:lnTo>
                  <a:pt x="17112" y="5675"/>
                </a:lnTo>
                <a:lnTo>
                  <a:pt x="14880" y="8637"/>
                </a:lnTo>
                <a:lnTo>
                  <a:pt x="12152" y="11351"/>
                </a:lnTo>
                <a:lnTo>
                  <a:pt x="9176" y="14312"/>
                </a:lnTo>
                <a:lnTo>
                  <a:pt x="6448" y="16780"/>
                </a:lnTo>
                <a:lnTo>
                  <a:pt x="3720" y="18754"/>
                </a:lnTo>
                <a:lnTo>
                  <a:pt x="744" y="20729"/>
                </a:lnTo>
                <a:lnTo>
                  <a:pt x="0" y="21963"/>
                </a:lnTo>
                <a:lnTo>
                  <a:pt x="248" y="23196"/>
                </a:lnTo>
                <a:lnTo>
                  <a:pt x="1240" y="23937"/>
                </a:lnTo>
                <a:lnTo>
                  <a:pt x="2728" y="23690"/>
                </a:lnTo>
                <a:lnTo>
                  <a:pt x="5704" y="21716"/>
                </a:lnTo>
                <a:lnTo>
                  <a:pt x="8432" y="19248"/>
                </a:lnTo>
                <a:lnTo>
                  <a:pt x="11656" y="16780"/>
                </a:lnTo>
                <a:lnTo>
                  <a:pt x="14632" y="13819"/>
                </a:lnTo>
                <a:lnTo>
                  <a:pt x="17360" y="11104"/>
                </a:lnTo>
                <a:lnTo>
                  <a:pt x="20088" y="7650"/>
                </a:lnTo>
                <a:lnTo>
                  <a:pt x="22321" y="4688"/>
                </a:lnTo>
                <a:lnTo>
                  <a:pt x="24057" y="1480"/>
                </a:lnTo>
                <a:lnTo>
                  <a:pt x="21080" y="0"/>
                </a:lnTo>
                <a:close/>
              </a:path>
            </a:pathLst>
          </a:custGeom>
          <a:solidFill>
            <a:srgbClr val="FFFFFF"/>
          </a:solidFill>
        </p:spPr>
        <p:txBody>
          <a:bodyPr wrap="square" lIns="0" tIns="0" rIns="0" bIns="0" rtlCol="0">
            <a:noAutofit/>
          </a:bodyPr>
          <a:lstStyle/>
          <a:p>
            <a:endParaRPr/>
          </a:p>
        </p:txBody>
      </p:sp>
      <p:sp>
        <p:nvSpPr>
          <p:cNvPr id="2262" name="object 2262"/>
          <p:cNvSpPr/>
          <p:nvPr/>
        </p:nvSpPr>
        <p:spPr>
          <a:xfrm>
            <a:off x="8334580" y="1863979"/>
            <a:ext cx="2480" cy="2714"/>
          </a:xfrm>
          <a:custGeom>
            <a:avLst/>
            <a:gdLst/>
            <a:ahLst/>
            <a:cxnLst/>
            <a:rect l="l" t="t" r="r" b="b"/>
            <a:pathLst>
              <a:path w="2480" h="2714">
                <a:moveTo>
                  <a:pt x="2232" y="493"/>
                </a:moveTo>
                <a:lnTo>
                  <a:pt x="2480" y="0"/>
                </a:lnTo>
                <a:lnTo>
                  <a:pt x="0" y="2714"/>
                </a:lnTo>
                <a:lnTo>
                  <a:pt x="2232" y="493"/>
                </a:lnTo>
                <a:close/>
              </a:path>
            </a:pathLst>
          </a:custGeom>
          <a:solidFill>
            <a:srgbClr val="FFFFFF"/>
          </a:solidFill>
        </p:spPr>
        <p:txBody>
          <a:bodyPr wrap="square" lIns="0" tIns="0" rIns="0" bIns="0" rtlCol="0">
            <a:noAutofit/>
          </a:bodyPr>
          <a:lstStyle/>
          <a:p>
            <a:endParaRPr/>
          </a:p>
        </p:txBody>
      </p:sp>
      <p:sp>
        <p:nvSpPr>
          <p:cNvPr id="2263" name="object 2263"/>
          <p:cNvSpPr/>
          <p:nvPr/>
        </p:nvSpPr>
        <p:spPr>
          <a:xfrm>
            <a:off x="8316476" y="1863486"/>
            <a:ext cx="23561" cy="24677"/>
          </a:xfrm>
          <a:custGeom>
            <a:avLst/>
            <a:gdLst/>
            <a:ahLst/>
            <a:cxnLst/>
            <a:rect l="l" t="t" r="r" b="b"/>
            <a:pathLst>
              <a:path w="23561" h="24677">
                <a:moveTo>
                  <a:pt x="23274" y="2439"/>
                </a:moveTo>
                <a:lnTo>
                  <a:pt x="23561" y="1727"/>
                </a:lnTo>
                <a:lnTo>
                  <a:pt x="23065" y="493"/>
                </a:lnTo>
                <a:lnTo>
                  <a:pt x="21824" y="0"/>
                </a:lnTo>
                <a:lnTo>
                  <a:pt x="20584" y="493"/>
                </a:lnTo>
                <a:lnTo>
                  <a:pt x="20336" y="987"/>
                </a:lnTo>
                <a:lnTo>
                  <a:pt x="18104" y="3208"/>
                </a:lnTo>
                <a:lnTo>
                  <a:pt x="15624" y="5922"/>
                </a:lnTo>
                <a:lnTo>
                  <a:pt x="13144" y="8883"/>
                </a:lnTo>
                <a:lnTo>
                  <a:pt x="10664" y="11598"/>
                </a:lnTo>
                <a:lnTo>
                  <a:pt x="7936" y="14559"/>
                </a:lnTo>
                <a:lnTo>
                  <a:pt x="5456" y="17027"/>
                </a:lnTo>
                <a:lnTo>
                  <a:pt x="2728" y="19742"/>
                </a:lnTo>
                <a:lnTo>
                  <a:pt x="0" y="21716"/>
                </a:lnTo>
                <a:lnTo>
                  <a:pt x="1984" y="24677"/>
                </a:lnTo>
                <a:lnTo>
                  <a:pt x="5208" y="22209"/>
                </a:lnTo>
                <a:lnTo>
                  <a:pt x="7936" y="19495"/>
                </a:lnTo>
                <a:lnTo>
                  <a:pt x="10416" y="17027"/>
                </a:lnTo>
                <a:lnTo>
                  <a:pt x="13144" y="14066"/>
                </a:lnTo>
                <a:lnTo>
                  <a:pt x="15624" y="11351"/>
                </a:lnTo>
                <a:lnTo>
                  <a:pt x="18104" y="8390"/>
                </a:lnTo>
                <a:lnTo>
                  <a:pt x="20584" y="5675"/>
                </a:lnTo>
                <a:lnTo>
                  <a:pt x="23065" y="2961"/>
                </a:lnTo>
                <a:lnTo>
                  <a:pt x="23274" y="2439"/>
                </a:lnTo>
                <a:close/>
              </a:path>
            </a:pathLst>
          </a:custGeom>
          <a:solidFill>
            <a:srgbClr val="FFFFFF"/>
          </a:solidFill>
        </p:spPr>
        <p:txBody>
          <a:bodyPr wrap="square" lIns="0" tIns="0" rIns="0" bIns="0" rtlCol="0">
            <a:noAutofit/>
          </a:bodyPr>
          <a:lstStyle/>
          <a:p>
            <a:endParaRPr/>
          </a:p>
        </p:txBody>
      </p:sp>
      <p:sp>
        <p:nvSpPr>
          <p:cNvPr id="2264" name="object 2264"/>
          <p:cNvSpPr/>
          <p:nvPr/>
        </p:nvSpPr>
        <p:spPr>
          <a:xfrm>
            <a:off x="8339540" y="1783777"/>
            <a:ext cx="11160" cy="37016"/>
          </a:xfrm>
          <a:custGeom>
            <a:avLst/>
            <a:gdLst/>
            <a:ahLst/>
            <a:cxnLst/>
            <a:rect l="l" t="t" r="r" b="b"/>
            <a:pathLst>
              <a:path w="11160" h="37016">
                <a:moveTo>
                  <a:pt x="11160" y="35288"/>
                </a:moveTo>
                <a:lnTo>
                  <a:pt x="11134" y="35043"/>
                </a:lnTo>
                <a:lnTo>
                  <a:pt x="10664" y="30600"/>
                </a:lnTo>
                <a:lnTo>
                  <a:pt x="10168" y="25911"/>
                </a:lnTo>
                <a:lnTo>
                  <a:pt x="9424" y="21222"/>
                </a:lnTo>
                <a:lnTo>
                  <a:pt x="8432" y="16287"/>
                </a:lnTo>
                <a:lnTo>
                  <a:pt x="7192" y="11845"/>
                </a:lnTo>
                <a:lnTo>
                  <a:pt x="5952" y="7403"/>
                </a:lnTo>
                <a:lnTo>
                  <a:pt x="4712" y="3701"/>
                </a:lnTo>
                <a:lnTo>
                  <a:pt x="2976" y="0"/>
                </a:lnTo>
                <a:lnTo>
                  <a:pt x="0" y="1480"/>
                </a:lnTo>
                <a:lnTo>
                  <a:pt x="1240" y="4688"/>
                </a:lnTo>
                <a:lnTo>
                  <a:pt x="2480" y="8390"/>
                </a:lnTo>
                <a:lnTo>
                  <a:pt x="3720" y="12832"/>
                </a:lnTo>
                <a:lnTo>
                  <a:pt x="4960" y="17274"/>
                </a:lnTo>
                <a:lnTo>
                  <a:pt x="5952" y="21716"/>
                </a:lnTo>
                <a:lnTo>
                  <a:pt x="6696" y="26404"/>
                </a:lnTo>
                <a:lnTo>
                  <a:pt x="7192" y="31093"/>
                </a:lnTo>
                <a:lnTo>
                  <a:pt x="7688" y="35288"/>
                </a:lnTo>
                <a:lnTo>
                  <a:pt x="7784" y="35528"/>
                </a:lnTo>
                <a:lnTo>
                  <a:pt x="8184" y="36522"/>
                </a:lnTo>
                <a:lnTo>
                  <a:pt x="9424" y="37016"/>
                </a:lnTo>
                <a:lnTo>
                  <a:pt x="10664" y="36522"/>
                </a:lnTo>
                <a:lnTo>
                  <a:pt x="11160" y="35288"/>
                </a:lnTo>
                <a:close/>
              </a:path>
            </a:pathLst>
          </a:custGeom>
          <a:solidFill>
            <a:srgbClr val="FFFFFF"/>
          </a:solidFill>
        </p:spPr>
        <p:txBody>
          <a:bodyPr wrap="square" lIns="0" tIns="0" rIns="0" bIns="0" rtlCol="0">
            <a:noAutofit/>
          </a:bodyPr>
          <a:lstStyle/>
          <a:p>
            <a:endParaRPr/>
          </a:p>
        </p:txBody>
      </p:sp>
      <p:sp>
        <p:nvSpPr>
          <p:cNvPr id="2265" name="object 2265"/>
          <p:cNvSpPr/>
          <p:nvPr/>
        </p:nvSpPr>
        <p:spPr>
          <a:xfrm>
            <a:off x="8339540" y="1782790"/>
            <a:ext cx="3224" cy="2467"/>
          </a:xfrm>
          <a:custGeom>
            <a:avLst/>
            <a:gdLst/>
            <a:ahLst/>
            <a:cxnLst/>
            <a:rect l="l" t="t" r="r" b="b"/>
            <a:pathLst>
              <a:path w="3224" h="2467">
                <a:moveTo>
                  <a:pt x="2976" y="987"/>
                </a:moveTo>
                <a:lnTo>
                  <a:pt x="0" y="2467"/>
                </a:lnTo>
                <a:lnTo>
                  <a:pt x="3224" y="1233"/>
                </a:lnTo>
                <a:lnTo>
                  <a:pt x="2480" y="246"/>
                </a:lnTo>
                <a:lnTo>
                  <a:pt x="1240" y="0"/>
                </a:lnTo>
                <a:lnTo>
                  <a:pt x="2976" y="987"/>
                </a:lnTo>
                <a:close/>
              </a:path>
            </a:pathLst>
          </a:custGeom>
          <a:solidFill>
            <a:srgbClr val="FFFFFF"/>
          </a:solidFill>
        </p:spPr>
        <p:txBody>
          <a:bodyPr wrap="square" lIns="0" tIns="0" rIns="0" bIns="0" rtlCol="0">
            <a:noAutofit/>
          </a:bodyPr>
          <a:lstStyle/>
          <a:p>
            <a:endParaRPr/>
          </a:p>
        </p:txBody>
      </p:sp>
      <p:sp>
        <p:nvSpPr>
          <p:cNvPr id="2266" name="object 2266"/>
          <p:cNvSpPr/>
          <p:nvPr/>
        </p:nvSpPr>
        <p:spPr>
          <a:xfrm>
            <a:off x="8339292" y="1782789"/>
            <a:ext cx="11408" cy="36522"/>
          </a:xfrm>
          <a:custGeom>
            <a:avLst/>
            <a:gdLst/>
            <a:ahLst/>
            <a:cxnLst/>
            <a:rect l="l" t="t" r="r" b="b"/>
            <a:pathLst>
              <a:path w="11408" h="36522">
                <a:moveTo>
                  <a:pt x="1488" y="0"/>
                </a:moveTo>
                <a:lnTo>
                  <a:pt x="248" y="740"/>
                </a:lnTo>
                <a:lnTo>
                  <a:pt x="0" y="2220"/>
                </a:lnTo>
                <a:lnTo>
                  <a:pt x="992" y="6416"/>
                </a:lnTo>
                <a:lnTo>
                  <a:pt x="2232" y="10858"/>
                </a:lnTo>
                <a:lnTo>
                  <a:pt x="3224" y="15053"/>
                </a:lnTo>
                <a:lnTo>
                  <a:pt x="4464" y="19248"/>
                </a:lnTo>
                <a:lnTo>
                  <a:pt x="5456" y="23443"/>
                </a:lnTo>
                <a:lnTo>
                  <a:pt x="6448" y="27638"/>
                </a:lnTo>
                <a:lnTo>
                  <a:pt x="7192" y="32080"/>
                </a:lnTo>
                <a:lnTo>
                  <a:pt x="7936" y="36522"/>
                </a:lnTo>
                <a:lnTo>
                  <a:pt x="11408" y="36029"/>
                </a:lnTo>
                <a:lnTo>
                  <a:pt x="10664" y="31587"/>
                </a:lnTo>
                <a:lnTo>
                  <a:pt x="9920" y="27145"/>
                </a:lnTo>
                <a:lnTo>
                  <a:pt x="8928" y="22456"/>
                </a:lnTo>
                <a:lnTo>
                  <a:pt x="7936" y="18261"/>
                </a:lnTo>
                <a:lnTo>
                  <a:pt x="6696" y="14066"/>
                </a:lnTo>
                <a:lnTo>
                  <a:pt x="5704" y="9871"/>
                </a:lnTo>
                <a:lnTo>
                  <a:pt x="4464" y="5429"/>
                </a:lnTo>
                <a:lnTo>
                  <a:pt x="3472" y="1233"/>
                </a:lnTo>
                <a:lnTo>
                  <a:pt x="248" y="2467"/>
                </a:lnTo>
                <a:lnTo>
                  <a:pt x="3224" y="987"/>
                </a:lnTo>
                <a:lnTo>
                  <a:pt x="1488" y="0"/>
                </a:lnTo>
                <a:close/>
              </a:path>
            </a:pathLst>
          </a:custGeom>
          <a:solidFill>
            <a:srgbClr val="FFFFFF"/>
          </a:solidFill>
        </p:spPr>
        <p:txBody>
          <a:bodyPr wrap="square" lIns="0" tIns="0" rIns="0" bIns="0" rtlCol="0">
            <a:noAutofit/>
          </a:bodyPr>
          <a:lstStyle/>
          <a:p>
            <a:endParaRPr/>
          </a:p>
        </p:txBody>
      </p:sp>
      <p:sp>
        <p:nvSpPr>
          <p:cNvPr id="2267" name="object 2267"/>
          <p:cNvSpPr/>
          <p:nvPr/>
        </p:nvSpPr>
        <p:spPr>
          <a:xfrm>
            <a:off x="8286715" y="1752190"/>
            <a:ext cx="28273" cy="5429"/>
          </a:xfrm>
          <a:custGeom>
            <a:avLst/>
            <a:gdLst/>
            <a:ahLst/>
            <a:cxnLst/>
            <a:rect l="l" t="t" r="r" b="b"/>
            <a:pathLst>
              <a:path w="28273" h="5429">
                <a:moveTo>
                  <a:pt x="0" y="1974"/>
                </a:moveTo>
                <a:lnTo>
                  <a:pt x="992" y="5429"/>
                </a:lnTo>
                <a:lnTo>
                  <a:pt x="3720" y="4688"/>
                </a:lnTo>
                <a:lnTo>
                  <a:pt x="6448" y="3948"/>
                </a:lnTo>
                <a:lnTo>
                  <a:pt x="9672" y="3701"/>
                </a:lnTo>
                <a:lnTo>
                  <a:pt x="13144" y="3454"/>
                </a:lnTo>
                <a:lnTo>
                  <a:pt x="16616" y="3701"/>
                </a:lnTo>
                <a:lnTo>
                  <a:pt x="19840" y="3948"/>
                </a:lnTo>
                <a:lnTo>
                  <a:pt x="22817" y="4688"/>
                </a:lnTo>
                <a:lnTo>
                  <a:pt x="26041" y="5429"/>
                </a:lnTo>
                <a:lnTo>
                  <a:pt x="26785" y="1974"/>
                </a:lnTo>
                <a:lnTo>
                  <a:pt x="26298" y="5386"/>
                </a:lnTo>
                <a:lnTo>
                  <a:pt x="27529" y="5182"/>
                </a:lnTo>
                <a:lnTo>
                  <a:pt x="28273" y="3948"/>
                </a:lnTo>
                <a:lnTo>
                  <a:pt x="28025" y="2714"/>
                </a:lnTo>
                <a:lnTo>
                  <a:pt x="27033" y="1974"/>
                </a:lnTo>
                <a:lnTo>
                  <a:pt x="23809" y="1233"/>
                </a:lnTo>
                <a:lnTo>
                  <a:pt x="20336" y="493"/>
                </a:lnTo>
                <a:lnTo>
                  <a:pt x="16616" y="246"/>
                </a:lnTo>
                <a:lnTo>
                  <a:pt x="13144" y="0"/>
                </a:lnTo>
                <a:lnTo>
                  <a:pt x="9672" y="246"/>
                </a:lnTo>
                <a:lnTo>
                  <a:pt x="5952" y="493"/>
                </a:lnTo>
                <a:lnTo>
                  <a:pt x="2728" y="1233"/>
                </a:lnTo>
                <a:lnTo>
                  <a:pt x="0" y="1974"/>
                </a:lnTo>
                <a:close/>
              </a:path>
            </a:pathLst>
          </a:custGeom>
          <a:solidFill>
            <a:srgbClr val="FFFFFF"/>
          </a:solidFill>
        </p:spPr>
        <p:txBody>
          <a:bodyPr wrap="square" lIns="0" tIns="0" rIns="0" bIns="0" rtlCol="0">
            <a:noAutofit/>
          </a:bodyPr>
          <a:lstStyle/>
          <a:p>
            <a:endParaRPr/>
          </a:p>
        </p:txBody>
      </p:sp>
      <p:sp>
        <p:nvSpPr>
          <p:cNvPr id="2268" name="object 2268"/>
          <p:cNvSpPr/>
          <p:nvPr/>
        </p:nvSpPr>
        <p:spPr>
          <a:xfrm>
            <a:off x="8312755" y="1754163"/>
            <a:ext cx="744" cy="3454"/>
          </a:xfrm>
          <a:custGeom>
            <a:avLst/>
            <a:gdLst/>
            <a:ahLst/>
            <a:cxnLst/>
            <a:rect l="l" t="t" r="r" b="b"/>
            <a:pathLst>
              <a:path w="744" h="3454">
                <a:moveTo>
                  <a:pt x="257" y="3412"/>
                </a:moveTo>
                <a:lnTo>
                  <a:pt x="744" y="0"/>
                </a:lnTo>
                <a:lnTo>
                  <a:pt x="0" y="3454"/>
                </a:lnTo>
                <a:lnTo>
                  <a:pt x="257" y="3412"/>
                </a:lnTo>
                <a:close/>
              </a:path>
            </a:pathLst>
          </a:custGeom>
          <a:solidFill>
            <a:srgbClr val="FFFFFF"/>
          </a:solidFill>
        </p:spPr>
        <p:txBody>
          <a:bodyPr wrap="square" lIns="0" tIns="0" rIns="0" bIns="0" rtlCol="0">
            <a:noAutofit/>
          </a:bodyPr>
          <a:lstStyle/>
          <a:p>
            <a:endParaRPr/>
          </a:p>
        </p:txBody>
      </p:sp>
      <p:sp>
        <p:nvSpPr>
          <p:cNvPr id="2269" name="object 2269"/>
          <p:cNvSpPr/>
          <p:nvPr/>
        </p:nvSpPr>
        <p:spPr>
          <a:xfrm>
            <a:off x="8285475" y="1753424"/>
            <a:ext cx="28025" cy="4195"/>
          </a:xfrm>
          <a:custGeom>
            <a:avLst/>
            <a:gdLst/>
            <a:ahLst/>
            <a:cxnLst/>
            <a:rect l="l" t="t" r="r" b="b"/>
            <a:pathLst>
              <a:path w="28025" h="4195">
                <a:moveTo>
                  <a:pt x="496" y="3701"/>
                </a:moveTo>
                <a:lnTo>
                  <a:pt x="1736" y="4195"/>
                </a:lnTo>
                <a:lnTo>
                  <a:pt x="4960" y="4195"/>
                </a:lnTo>
                <a:lnTo>
                  <a:pt x="8432" y="3948"/>
                </a:lnTo>
                <a:lnTo>
                  <a:pt x="11656" y="3701"/>
                </a:lnTo>
                <a:lnTo>
                  <a:pt x="14632" y="3454"/>
                </a:lnTo>
                <a:lnTo>
                  <a:pt x="21080" y="3454"/>
                </a:lnTo>
                <a:lnTo>
                  <a:pt x="24305" y="3701"/>
                </a:lnTo>
                <a:lnTo>
                  <a:pt x="27529" y="4195"/>
                </a:lnTo>
                <a:lnTo>
                  <a:pt x="28025" y="740"/>
                </a:lnTo>
                <a:lnTo>
                  <a:pt x="24801" y="246"/>
                </a:lnTo>
                <a:lnTo>
                  <a:pt x="21080" y="0"/>
                </a:lnTo>
                <a:lnTo>
                  <a:pt x="14632" y="0"/>
                </a:lnTo>
                <a:lnTo>
                  <a:pt x="11160" y="246"/>
                </a:lnTo>
                <a:lnTo>
                  <a:pt x="7936" y="493"/>
                </a:lnTo>
                <a:lnTo>
                  <a:pt x="4960" y="740"/>
                </a:lnTo>
                <a:lnTo>
                  <a:pt x="1736" y="740"/>
                </a:lnTo>
                <a:lnTo>
                  <a:pt x="1266" y="927"/>
                </a:lnTo>
                <a:lnTo>
                  <a:pt x="496" y="1233"/>
                </a:lnTo>
                <a:lnTo>
                  <a:pt x="0" y="2467"/>
                </a:lnTo>
                <a:lnTo>
                  <a:pt x="496" y="3701"/>
                </a:lnTo>
                <a:close/>
              </a:path>
            </a:pathLst>
          </a:custGeom>
          <a:solidFill>
            <a:srgbClr val="FFFFFF"/>
          </a:solidFill>
        </p:spPr>
        <p:txBody>
          <a:bodyPr wrap="square" lIns="0" tIns="0" rIns="0" bIns="0" rtlCol="0">
            <a:noAutofit/>
          </a:bodyPr>
          <a:lstStyle/>
          <a:p>
            <a:endParaRPr/>
          </a:p>
        </p:txBody>
      </p:sp>
      <p:sp>
        <p:nvSpPr>
          <p:cNvPr id="2270" name="object 2270"/>
          <p:cNvSpPr/>
          <p:nvPr/>
        </p:nvSpPr>
        <p:spPr>
          <a:xfrm>
            <a:off x="8249760" y="1782789"/>
            <a:ext cx="11160" cy="36522"/>
          </a:xfrm>
          <a:custGeom>
            <a:avLst/>
            <a:gdLst/>
            <a:ahLst/>
            <a:cxnLst/>
            <a:rect l="l" t="t" r="r" b="b"/>
            <a:pathLst>
              <a:path w="11160" h="36522">
                <a:moveTo>
                  <a:pt x="3472" y="36522"/>
                </a:moveTo>
                <a:lnTo>
                  <a:pt x="3720" y="32821"/>
                </a:lnTo>
                <a:lnTo>
                  <a:pt x="4216" y="28625"/>
                </a:lnTo>
                <a:lnTo>
                  <a:pt x="4960" y="23937"/>
                </a:lnTo>
                <a:lnTo>
                  <a:pt x="5952" y="19495"/>
                </a:lnTo>
                <a:lnTo>
                  <a:pt x="7192" y="15053"/>
                </a:lnTo>
                <a:lnTo>
                  <a:pt x="8432" y="10364"/>
                </a:lnTo>
                <a:lnTo>
                  <a:pt x="9920" y="6169"/>
                </a:lnTo>
                <a:lnTo>
                  <a:pt x="11160" y="2467"/>
                </a:lnTo>
                <a:lnTo>
                  <a:pt x="11160" y="1233"/>
                </a:lnTo>
                <a:lnTo>
                  <a:pt x="10416" y="246"/>
                </a:lnTo>
                <a:lnTo>
                  <a:pt x="9176" y="0"/>
                </a:lnTo>
                <a:lnTo>
                  <a:pt x="8184" y="987"/>
                </a:lnTo>
                <a:lnTo>
                  <a:pt x="8062" y="1282"/>
                </a:lnTo>
                <a:lnTo>
                  <a:pt x="6448" y="5182"/>
                </a:lnTo>
                <a:lnTo>
                  <a:pt x="4960" y="9377"/>
                </a:lnTo>
                <a:lnTo>
                  <a:pt x="3720" y="14066"/>
                </a:lnTo>
                <a:lnTo>
                  <a:pt x="2480" y="18508"/>
                </a:lnTo>
                <a:lnTo>
                  <a:pt x="1488" y="23443"/>
                </a:lnTo>
                <a:lnTo>
                  <a:pt x="744" y="28132"/>
                </a:lnTo>
                <a:lnTo>
                  <a:pt x="248" y="32327"/>
                </a:lnTo>
                <a:lnTo>
                  <a:pt x="0" y="36522"/>
                </a:lnTo>
                <a:lnTo>
                  <a:pt x="3472" y="36522"/>
                </a:lnTo>
                <a:close/>
              </a:path>
            </a:pathLst>
          </a:custGeom>
          <a:solidFill>
            <a:srgbClr val="FFFFFF"/>
          </a:solidFill>
        </p:spPr>
        <p:txBody>
          <a:bodyPr wrap="square" lIns="0" tIns="0" rIns="0" bIns="0" rtlCol="0">
            <a:noAutofit/>
          </a:bodyPr>
          <a:lstStyle/>
          <a:p>
            <a:endParaRPr/>
          </a:p>
        </p:txBody>
      </p:sp>
      <p:sp>
        <p:nvSpPr>
          <p:cNvPr id="2271" name="object 2271"/>
          <p:cNvSpPr/>
          <p:nvPr/>
        </p:nvSpPr>
        <p:spPr>
          <a:xfrm>
            <a:off x="8252489" y="1784023"/>
            <a:ext cx="8680" cy="35288"/>
          </a:xfrm>
          <a:custGeom>
            <a:avLst/>
            <a:gdLst/>
            <a:ahLst/>
            <a:cxnLst/>
            <a:rect l="l" t="t" r="r" b="b"/>
            <a:pathLst>
              <a:path w="8680" h="35288">
                <a:moveTo>
                  <a:pt x="0" y="21963"/>
                </a:moveTo>
                <a:lnTo>
                  <a:pt x="744" y="35288"/>
                </a:lnTo>
                <a:lnTo>
                  <a:pt x="1736" y="31093"/>
                </a:lnTo>
                <a:lnTo>
                  <a:pt x="2480" y="26898"/>
                </a:lnTo>
                <a:lnTo>
                  <a:pt x="3472" y="22456"/>
                </a:lnTo>
                <a:lnTo>
                  <a:pt x="4216" y="18014"/>
                </a:lnTo>
                <a:lnTo>
                  <a:pt x="5208" y="13819"/>
                </a:lnTo>
                <a:lnTo>
                  <a:pt x="6200" y="9624"/>
                </a:lnTo>
                <a:lnTo>
                  <a:pt x="7192" y="5182"/>
                </a:lnTo>
                <a:lnTo>
                  <a:pt x="8680" y="987"/>
                </a:lnTo>
                <a:lnTo>
                  <a:pt x="5208" y="0"/>
                </a:lnTo>
                <a:lnTo>
                  <a:pt x="3720" y="4195"/>
                </a:lnTo>
                <a:lnTo>
                  <a:pt x="2728" y="8637"/>
                </a:lnTo>
                <a:lnTo>
                  <a:pt x="1736" y="12832"/>
                </a:lnTo>
                <a:lnTo>
                  <a:pt x="744" y="17521"/>
                </a:lnTo>
                <a:lnTo>
                  <a:pt x="0" y="21963"/>
                </a:lnTo>
                <a:close/>
              </a:path>
            </a:pathLst>
          </a:custGeom>
          <a:solidFill>
            <a:srgbClr val="FFFFFF"/>
          </a:solidFill>
        </p:spPr>
        <p:txBody>
          <a:bodyPr wrap="square" lIns="0" tIns="0" rIns="0" bIns="0" rtlCol="0">
            <a:noAutofit/>
          </a:bodyPr>
          <a:lstStyle/>
          <a:p>
            <a:endParaRPr/>
          </a:p>
        </p:txBody>
      </p:sp>
      <p:sp>
        <p:nvSpPr>
          <p:cNvPr id="2272" name="object 2272"/>
          <p:cNvSpPr/>
          <p:nvPr/>
        </p:nvSpPr>
        <p:spPr>
          <a:xfrm>
            <a:off x="8249760" y="1805987"/>
            <a:ext cx="4464" cy="15053"/>
          </a:xfrm>
          <a:custGeom>
            <a:avLst/>
            <a:gdLst/>
            <a:ahLst/>
            <a:cxnLst/>
            <a:rect l="l" t="t" r="r" b="b"/>
            <a:pathLst>
              <a:path w="4464" h="15053">
                <a:moveTo>
                  <a:pt x="3472" y="13325"/>
                </a:moveTo>
                <a:lnTo>
                  <a:pt x="2728" y="0"/>
                </a:lnTo>
                <a:lnTo>
                  <a:pt x="1736" y="4441"/>
                </a:lnTo>
                <a:lnTo>
                  <a:pt x="992" y="8637"/>
                </a:lnTo>
                <a:lnTo>
                  <a:pt x="0" y="12832"/>
                </a:lnTo>
                <a:lnTo>
                  <a:pt x="84" y="13337"/>
                </a:lnTo>
                <a:lnTo>
                  <a:pt x="248" y="14312"/>
                </a:lnTo>
                <a:lnTo>
                  <a:pt x="1488" y="15053"/>
                </a:lnTo>
                <a:lnTo>
                  <a:pt x="2728" y="14806"/>
                </a:lnTo>
                <a:lnTo>
                  <a:pt x="3472" y="13819"/>
                </a:lnTo>
                <a:lnTo>
                  <a:pt x="4464" y="9130"/>
                </a:lnTo>
                <a:lnTo>
                  <a:pt x="3472" y="13325"/>
                </a:lnTo>
                <a:close/>
              </a:path>
            </a:pathLst>
          </a:custGeom>
          <a:solidFill>
            <a:srgbClr val="FFFFFF"/>
          </a:solidFill>
        </p:spPr>
        <p:txBody>
          <a:bodyPr wrap="square" lIns="0" tIns="0" rIns="0" bIns="0" rtlCol="0">
            <a:noAutofit/>
          </a:bodyPr>
          <a:lstStyle/>
          <a:p>
            <a:endParaRPr/>
          </a:p>
        </p:txBody>
      </p:sp>
      <p:sp>
        <p:nvSpPr>
          <p:cNvPr id="2273" name="object 2273"/>
          <p:cNvSpPr/>
          <p:nvPr/>
        </p:nvSpPr>
        <p:spPr>
          <a:xfrm>
            <a:off x="8286715" y="1800065"/>
            <a:ext cx="27529" cy="38743"/>
          </a:xfrm>
          <a:custGeom>
            <a:avLst/>
            <a:gdLst/>
            <a:ahLst/>
            <a:cxnLst/>
            <a:rect l="l" t="t" r="r" b="b"/>
            <a:pathLst>
              <a:path w="27529" h="38743">
                <a:moveTo>
                  <a:pt x="13640" y="0"/>
                </a:moveTo>
                <a:lnTo>
                  <a:pt x="10912" y="493"/>
                </a:lnTo>
                <a:lnTo>
                  <a:pt x="8432" y="1480"/>
                </a:lnTo>
                <a:lnTo>
                  <a:pt x="5952" y="3208"/>
                </a:lnTo>
                <a:lnTo>
                  <a:pt x="3968" y="5675"/>
                </a:lnTo>
                <a:lnTo>
                  <a:pt x="2232" y="8390"/>
                </a:lnTo>
                <a:lnTo>
                  <a:pt x="992" y="11845"/>
                </a:lnTo>
                <a:lnTo>
                  <a:pt x="248" y="15300"/>
                </a:lnTo>
                <a:lnTo>
                  <a:pt x="0" y="19248"/>
                </a:lnTo>
                <a:lnTo>
                  <a:pt x="248" y="23196"/>
                </a:lnTo>
                <a:lnTo>
                  <a:pt x="992" y="26898"/>
                </a:lnTo>
                <a:lnTo>
                  <a:pt x="2232" y="30106"/>
                </a:lnTo>
                <a:lnTo>
                  <a:pt x="3968" y="33067"/>
                </a:lnTo>
                <a:lnTo>
                  <a:pt x="5952" y="35535"/>
                </a:lnTo>
                <a:lnTo>
                  <a:pt x="8432" y="37263"/>
                </a:lnTo>
                <a:lnTo>
                  <a:pt x="10912" y="38250"/>
                </a:lnTo>
                <a:lnTo>
                  <a:pt x="13640" y="38743"/>
                </a:lnTo>
                <a:lnTo>
                  <a:pt x="16368" y="38250"/>
                </a:lnTo>
                <a:lnTo>
                  <a:pt x="19096" y="37263"/>
                </a:lnTo>
                <a:lnTo>
                  <a:pt x="21328" y="35535"/>
                </a:lnTo>
                <a:lnTo>
                  <a:pt x="23561" y="33067"/>
                </a:lnTo>
                <a:lnTo>
                  <a:pt x="25049" y="30106"/>
                </a:lnTo>
                <a:lnTo>
                  <a:pt x="26537" y="26898"/>
                </a:lnTo>
                <a:lnTo>
                  <a:pt x="27281" y="23196"/>
                </a:lnTo>
                <a:lnTo>
                  <a:pt x="27529" y="19248"/>
                </a:lnTo>
                <a:lnTo>
                  <a:pt x="27281" y="15300"/>
                </a:lnTo>
                <a:lnTo>
                  <a:pt x="26537" y="11845"/>
                </a:lnTo>
                <a:lnTo>
                  <a:pt x="25049" y="8390"/>
                </a:lnTo>
                <a:lnTo>
                  <a:pt x="23561" y="5675"/>
                </a:lnTo>
                <a:lnTo>
                  <a:pt x="21328" y="3208"/>
                </a:lnTo>
                <a:lnTo>
                  <a:pt x="19096" y="1480"/>
                </a:lnTo>
                <a:lnTo>
                  <a:pt x="16368" y="493"/>
                </a:lnTo>
                <a:lnTo>
                  <a:pt x="13640" y="0"/>
                </a:lnTo>
                <a:close/>
              </a:path>
            </a:pathLst>
          </a:custGeom>
          <a:solidFill>
            <a:srgbClr val="000000"/>
          </a:solidFill>
        </p:spPr>
        <p:txBody>
          <a:bodyPr wrap="square" lIns="0" tIns="0" rIns="0" bIns="0" rtlCol="0">
            <a:noAutofit/>
          </a:bodyPr>
          <a:lstStyle/>
          <a:p>
            <a:endParaRPr/>
          </a:p>
        </p:txBody>
      </p:sp>
      <p:sp>
        <p:nvSpPr>
          <p:cNvPr id="2274" name="object 2274"/>
          <p:cNvSpPr/>
          <p:nvPr/>
        </p:nvSpPr>
        <p:spPr>
          <a:xfrm>
            <a:off x="8300355" y="1798337"/>
            <a:ext cx="15624" cy="20975"/>
          </a:xfrm>
          <a:custGeom>
            <a:avLst/>
            <a:gdLst/>
            <a:ahLst/>
            <a:cxnLst/>
            <a:rect l="l" t="t" r="r" b="b"/>
            <a:pathLst>
              <a:path w="15624" h="20975">
                <a:moveTo>
                  <a:pt x="0" y="0"/>
                </a:moveTo>
                <a:lnTo>
                  <a:pt x="0" y="3454"/>
                </a:lnTo>
                <a:lnTo>
                  <a:pt x="2232" y="3948"/>
                </a:lnTo>
                <a:lnTo>
                  <a:pt x="4712" y="4688"/>
                </a:lnTo>
                <a:lnTo>
                  <a:pt x="6448" y="6169"/>
                </a:lnTo>
                <a:lnTo>
                  <a:pt x="8432" y="8390"/>
                </a:lnTo>
                <a:lnTo>
                  <a:pt x="9920" y="10858"/>
                </a:lnTo>
                <a:lnTo>
                  <a:pt x="11160" y="14066"/>
                </a:lnTo>
                <a:lnTo>
                  <a:pt x="11904" y="17274"/>
                </a:lnTo>
                <a:lnTo>
                  <a:pt x="12152" y="20975"/>
                </a:lnTo>
                <a:lnTo>
                  <a:pt x="15624" y="20975"/>
                </a:lnTo>
                <a:lnTo>
                  <a:pt x="15376" y="16780"/>
                </a:lnTo>
                <a:lnTo>
                  <a:pt x="14632" y="13079"/>
                </a:lnTo>
                <a:lnTo>
                  <a:pt x="12896" y="9377"/>
                </a:lnTo>
                <a:lnTo>
                  <a:pt x="11408" y="6416"/>
                </a:lnTo>
                <a:lnTo>
                  <a:pt x="8928" y="3701"/>
                </a:lnTo>
                <a:lnTo>
                  <a:pt x="6200" y="1727"/>
                </a:lnTo>
                <a:lnTo>
                  <a:pt x="3224" y="493"/>
                </a:lnTo>
                <a:lnTo>
                  <a:pt x="0" y="0"/>
                </a:lnTo>
                <a:close/>
              </a:path>
            </a:pathLst>
          </a:custGeom>
          <a:solidFill>
            <a:srgbClr val="000000"/>
          </a:solidFill>
        </p:spPr>
        <p:txBody>
          <a:bodyPr wrap="square" lIns="0" tIns="0" rIns="0" bIns="0" rtlCol="0">
            <a:noAutofit/>
          </a:bodyPr>
          <a:lstStyle/>
          <a:p>
            <a:endParaRPr/>
          </a:p>
        </p:txBody>
      </p:sp>
      <p:sp>
        <p:nvSpPr>
          <p:cNvPr id="2275" name="object 2275"/>
          <p:cNvSpPr/>
          <p:nvPr/>
        </p:nvSpPr>
        <p:spPr>
          <a:xfrm>
            <a:off x="8300355" y="1819312"/>
            <a:ext cx="15624" cy="21222"/>
          </a:xfrm>
          <a:custGeom>
            <a:avLst/>
            <a:gdLst/>
            <a:ahLst/>
            <a:cxnLst/>
            <a:rect l="l" t="t" r="r" b="b"/>
            <a:pathLst>
              <a:path w="15624" h="21222">
                <a:moveTo>
                  <a:pt x="0" y="17767"/>
                </a:moveTo>
                <a:lnTo>
                  <a:pt x="0" y="21222"/>
                </a:lnTo>
                <a:lnTo>
                  <a:pt x="3224" y="20729"/>
                </a:lnTo>
                <a:lnTo>
                  <a:pt x="6200" y="19495"/>
                </a:lnTo>
                <a:lnTo>
                  <a:pt x="8928" y="17521"/>
                </a:lnTo>
                <a:lnTo>
                  <a:pt x="11408" y="14806"/>
                </a:lnTo>
                <a:lnTo>
                  <a:pt x="12896" y="11598"/>
                </a:lnTo>
                <a:lnTo>
                  <a:pt x="14632" y="8143"/>
                </a:lnTo>
                <a:lnTo>
                  <a:pt x="15376" y="4195"/>
                </a:lnTo>
                <a:lnTo>
                  <a:pt x="15624" y="0"/>
                </a:lnTo>
                <a:lnTo>
                  <a:pt x="12152" y="0"/>
                </a:lnTo>
                <a:lnTo>
                  <a:pt x="11904" y="3701"/>
                </a:lnTo>
                <a:lnTo>
                  <a:pt x="11160" y="7156"/>
                </a:lnTo>
                <a:lnTo>
                  <a:pt x="9920" y="10117"/>
                </a:lnTo>
                <a:lnTo>
                  <a:pt x="8432" y="12832"/>
                </a:lnTo>
                <a:lnTo>
                  <a:pt x="6448" y="15053"/>
                </a:lnTo>
                <a:lnTo>
                  <a:pt x="4712" y="16533"/>
                </a:lnTo>
                <a:lnTo>
                  <a:pt x="2232" y="17274"/>
                </a:lnTo>
                <a:lnTo>
                  <a:pt x="0" y="17767"/>
                </a:lnTo>
                <a:close/>
              </a:path>
            </a:pathLst>
          </a:custGeom>
          <a:solidFill>
            <a:srgbClr val="000000"/>
          </a:solidFill>
        </p:spPr>
        <p:txBody>
          <a:bodyPr wrap="square" lIns="0" tIns="0" rIns="0" bIns="0" rtlCol="0">
            <a:noAutofit/>
          </a:bodyPr>
          <a:lstStyle/>
          <a:p>
            <a:endParaRPr/>
          </a:p>
        </p:txBody>
      </p:sp>
      <p:sp>
        <p:nvSpPr>
          <p:cNvPr id="2276" name="object 2276"/>
          <p:cNvSpPr/>
          <p:nvPr/>
        </p:nvSpPr>
        <p:spPr>
          <a:xfrm>
            <a:off x="8284978" y="1819312"/>
            <a:ext cx="15376" cy="21222"/>
          </a:xfrm>
          <a:custGeom>
            <a:avLst/>
            <a:gdLst/>
            <a:ahLst/>
            <a:cxnLst/>
            <a:rect l="l" t="t" r="r" b="b"/>
            <a:pathLst>
              <a:path w="15376" h="21222">
                <a:moveTo>
                  <a:pt x="4464" y="7156"/>
                </a:moveTo>
                <a:lnTo>
                  <a:pt x="3720" y="3701"/>
                </a:lnTo>
                <a:lnTo>
                  <a:pt x="3472" y="0"/>
                </a:lnTo>
                <a:lnTo>
                  <a:pt x="0" y="0"/>
                </a:lnTo>
                <a:lnTo>
                  <a:pt x="248" y="4195"/>
                </a:lnTo>
                <a:lnTo>
                  <a:pt x="992" y="8143"/>
                </a:lnTo>
                <a:lnTo>
                  <a:pt x="2480" y="11598"/>
                </a:lnTo>
                <a:lnTo>
                  <a:pt x="4216" y="14806"/>
                </a:lnTo>
                <a:lnTo>
                  <a:pt x="6448" y="17521"/>
                </a:lnTo>
                <a:lnTo>
                  <a:pt x="9424" y="19495"/>
                </a:lnTo>
                <a:lnTo>
                  <a:pt x="12152" y="20729"/>
                </a:lnTo>
                <a:lnTo>
                  <a:pt x="15376" y="21222"/>
                </a:lnTo>
                <a:lnTo>
                  <a:pt x="15376" y="17767"/>
                </a:lnTo>
                <a:lnTo>
                  <a:pt x="13144" y="17274"/>
                </a:lnTo>
                <a:lnTo>
                  <a:pt x="10912" y="16533"/>
                </a:lnTo>
                <a:lnTo>
                  <a:pt x="8928" y="15053"/>
                </a:lnTo>
                <a:lnTo>
                  <a:pt x="7192" y="12832"/>
                </a:lnTo>
                <a:lnTo>
                  <a:pt x="5456" y="10117"/>
                </a:lnTo>
                <a:lnTo>
                  <a:pt x="4464" y="7156"/>
                </a:lnTo>
                <a:close/>
              </a:path>
            </a:pathLst>
          </a:custGeom>
          <a:solidFill>
            <a:srgbClr val="000000"/>
          </a:solidFill>
        </p:spPr>
        <p:txBody>
          <a:bodyPr wrap="square" lIns="0" tIns="0" rIns="0" bIns="0" rtlCol="0">
            <a:noAutofit/>
          </a:bodyPr>
          <a:lstStyle/>
          <a:p>
            <a:endParaRPr/>
          </a:p>
        </p:txBody>
      </p:sp>
      <p:sp>
        <p:nvSpPr>
          <p:cNvPr id="2277" name="object 2277"/>
          <p:cNvSpPr/>
          <p:nvPr/>
        </p:nvSpPr>
        <p:spPr>
          <a:xfrm>
            <a:off x="8284978" y="1798337"/>
            <a:ext cx="15376" cy="20975"/>
          </a:xfrm>
          <a:custGeom>
            <a:avLst/>
            <a:gdLst/>
            <a:ahLst/>
            <a:cxnLst/>
            <a:rect l="l" t="t" r="r" b="b"/>
            <a:pathLst>
              <a:path w="15376" h="20975">
                <a:moveTo>
                  <a:pt x="4216" y="6416"/>
                </a:moveTo>
                <a:lnTo>
                  <a:pt x="2480" y="9377"/>
                </a:lnTo>
                <a:lnTo>
                  <a:pt x="992" y="13079"/>
                </a:lnTo>
                <a:lnTo>
                  <a:pt x="248" y="16780"/>
                </a:lnTo>
                <a:lnTo>
                  <a:pt x="0" y="20975"/>
                </a:lnTo>
                <a:lnTo>
                  <a:pt x="3472" y="20975"/>
                </a:lnTo>
                <a:lnTo>
                  <a:pt x="3720" y="17274"/>
                </a:lnTo>
                <a:lnTo>
                  <a:pt x="4464" y="14066"/>
                </a:lnTo>
                <a:lnTo>
                  <a:pt x="5456" y="10858"/>
                </a:lnTo>
                <a:lnTo>
                  <a:pt x="7192" y="8390"/>
                </a:lnTo>
                <a:lnTo>
                  <a:pt x="8928" y="6169"/>
                </a:lnTo>
                <a:lnTo>
                  <a:pt x="10912" y="4688"/>
                </a:lnTo>
                <a:lnTo>
                  <a:pt x="13144" y="3948"/>
                </a:lnTo>
                <a:lnTo>
                  <a:pt x="15376" y="3454"/>
                </a:lnTo>
                <a:lnTo>
                  <a:pt x="15376" y="0"/>
                </a:lnTo>
                <a:lnTo>
                  <a:pt x="12152" y="493"/>
                </a:lnTo>
                <a:lnTo>
                  <a:pt x="9424" y="1727"/>
                </a:lnTo>
                <a:lnTo>
                  <a:pt x="6448" y="3701"/>
                </a:lnTo>
                <a:lnTo>
                  <a:pt x="4216" y="6416"/>
                </a:lnTo>
                <a:close/>
              </a:path>
            </a:pathLst>
          </a:custGeom>
          <a:solidFill>
            <a:srgbClr val="000000"/>
          </a:solidFill>
        </p:spPr>
        <p:txBody>
          <a:bodyPr wrap="square" lIns="0" tIns="0" rIns="0" bIns="0" rtlCol="0">
            <a:noAutofit/>
          </a:bodyPr>
          <a:lstStyle/>
          <a:p>
            <a:endParaRPr/>
          </a:p>
        </p:txBody>
      </p:sp>
      <p:sp>
        <p:nvSpPr>
          <p:cNvPr id="2278" name="object 2278"/>
          <p:cNvSpPr/>
          <p:nvPr/>
        </p:nvSpPr>
        <p:spPr>
          <a:xfrm>
            <a:off x="8287707" y="1801545"/>
            <a:ext cx="25545" cy="13819"/>
          </a:xfrm>
          <a:custGeom>
            <a:avLst/>
            <a:gdLst/>
            <a:ahLst/>
            <a:cxnLst/>
            <a:rect l="l" t="t" r="r" b="b"/>
            <a:pathLst>
              <a:path w="25545" h="13819">
                <a:moveTo>
                  <a:pt x="2232" y="8390"/>
                </a:moveTo>
                <a:lnTo>
                  <a:pt x="0" y="13819"/>
                </a:lnTo>
                <a:lnTo>
                  <a:pt x="2976" y="8637"/>
                </a:lnTo>
                <a:lnTo>
                  <a:pt x="6200" y="5182"/>
                </a:lnTo>
                <a:lnTo>
                  <a:pt x="9672" y="3454"/>
                </a:lnTo>
                <a:lnTo>
                  <a:pt x="13144" y="2961"/>
                </a:lnTo>
                <a:lnTo>
                  <a:pt x="16616" y="3701"/>
                </a:lnTo>
                <a:lnTo>
                  <a:pt x="19840" y="5922"/>
                </a:lnTo>
                <a:lnTo>
                  <a:pt x="23065" y="9377"/>
                </a:lnTo>
                <a:lnTo>
                  <a:pt x="25545" y="13819"/>
                </a:lnTo>
                <a:lnTo>
                  <a:pt x="22817" y="7403"/>
                </a:lnTo>
                <a:lnTo>
                  <a:pt x="19592" y="2961"/>
                </a:lnTo>
                <a:lnTo>
                  <a:pt x="15872" y="493"/>
                </a:lnTo>
                <a:lnTo>
                  <a:pt x="12152" y="0"/>
                </a:lnTo>
                <a:lnTo>
                  <a:pt x="8432" y="1480"/>
                </a:lnTo>
                <a:lnTo>
                  <a:pt x="4960" y="4195"/>
                </a:lnTo>
                <a:lnTo>
                  <a:pt x="2232" y="8390"/>
                </a:lnTo>
                <a:close/>
              </a:path>
            </a:pathLst>
          </a:custGeom>
          <a:solidFill>
            <a:srgbClr val="FFFFFF"/>
          </a:solidFill>
        </p:spPr>
        <p:txBody>
          <a:bodyPr wrap="square" lIns="0" tIns="0" rIns="0" bIns="0" rtlCol="0">
            <a:noAutofit/>
          </a:bodyPr>
          <a:lstStyle/>
          <a:p>
            <a:endParaRPr/>
          </a:p>
        </p:txBody>
      </p:sp>
      <p:sp>
        <p:nvSpPr>
          <p:cNvPr id="2279" name="object 2279"/>
          <p:cNvSpPr/>
          <p:nvPr/>
        </p:nvSpPr>
        <p:spPr>
          <a:xfrm>
            <a:off x="8285971" y="1799817"/>
            <a:ext cx="29017" cy="17274"/>
          </a:xfrm>
          <a:custGeom>
            <a:avLst/>
            <a:gdLst/>
            <a:ahLst/>
            <a:cxnLst/>
            <a:rect l="l" t="t" r="r" b="b"/>
            <a:pathLst>
              <a:path w="29017" h="17274">
                <a:moveTo>
                  <a:pt x="3472" y="16040"/>
                </a:moveTo>
                <a:lnTo>
                  <a:pt x="5456" y="10858"/>
                </a:lnTo>
                <a:lnTo>
                  <a:pt x="7936" y="7156"/>
                </a:lnTo>
                <a:lnTo>
                  <a:pt x="11160" y="4688"/>
                </a:lnTo>
                <a:lnTo>
                  <a:pt x="14136" y="3454"/>
                </a:lnTo>
                <a:lnTo>
                  <a:pt x="16864" y="3701"/>
                </a:lnTo>
                <a:lnTo>
                  <a:pt x="20088" y="5922"/>
                </a:lnTo>
                <a:lnTo>
                  <a:pt x="23065" y="9871"/>
                </a:lnTo>
                <a:lnTo>
                  <a:pt x="25545" y="16040"/>
                </a:lnTo>
                <a:lnTo>
                  <a:pt x="26289" y="17027"/>
                </a:lnTo>
                <a:lnTo>
                  <a:pt x="27777" y="17274"/>
                </a:lnTo>
                <a:lnTo>
                  <a:pt x="28769" y="16533"/>
                </a:lnTo>
                <a:lnTo>
                  <a:pt x="29017" y="15053"/>
                </a:lnTo>
                <a:lnTo>
                  <a:pt x="25793" y="16287"/>
                </a:lnTo>
                <a:lnTo>
                  <a:pt x="28769" y="14806"/>
                </a:lnTo>
                <a:lnTo>
                  <a:pt x="29017" y="15053"/>
                </a:lnTo>
                <a:lnTo>
                  <a:pt x="26041" y="8390"/>
                </a:lnTo>
                <a:lnTo>
                  <a:pt x="22569" y="3454"/>
                </a:lnTo>
                <a:lnTo>
                  <a:pt x="18352" y="740"/>
                </a:lnTo>
                <a:lnTo>
                  <a:pt x="13640" y="0"/>
                </a:lnTo>
                <a:lnTo>
                  <a:pt x="9176" y="1727"/>
                </a:lnTo>
                <a:lnTo>
                  <a:pt x="5456" y="4688"/>
                </a:lnTo>
                <a:lnTo>
                  <a:pt x="2480" y="9377"/>
                </a:lnTo>
                <a:lnTo>
                  <a:pt x="0" y="15053"/>
                </a:lnTo>
                <a:lnTo>
                  <a:pt x="3472" y="16040"/>
                </a:lnTo>
                <a:close/>
              </a:path>
            </a:pathLst>
          </a:custGeom>
          <a:solidFill>
            <a:srgbClr val="FFFFFF"/>
          </a:solidFill>
        </p:spPr>
        <p:txBody>
          <a:bodyPr wrap="square" lIns="0" tIns="0" rIns="0" bIns="0" rtlCol="0">
            <a:noAutofit/>
          </a:bodyPr>
          <a:lstStyle/>
          <a:p>
            <a:endParaRPr/>
          </a:p>
        </p:txBody>
      </p:sp>
      <p:sp>
        <p:nvSpPr>
          <p:cNvPr id="2280" name="object 2280"/>
          <p:cNvSpPr/>
          <p:nvPr/>
        </p:nvSpPr>
        <p:spPr>
          <a:xfrm>
            <a:off x="8311763" y="1814623"/>
            <a:ext cx="3224" cy="1480"/>
          </a:xfrm>
          <a:custGeom>
            <a:avLst/>
            <a:gdLst/>
            <a:ahLst/>
            <a:cxnLst/>
            <a:rect l="l" t="t" r="r" b="b"/>
            <a:pathLst>
              <a:path w="3224" h="1480">
                <a:moveTo>
                  <a:pt x="2976" y="0"/>
                </a:moveTo>
                <a:lnTo>
                  <a:pt x="0" y="1480"/>
                </a:lnTo>
                <a:lnTo>
                  <a:pt x="3224" y="246"/>
                </a:lnTo>
                <a:lnTo>
                  <a:pt x="2976" y="0"/>
                </a:lnTo>
                <a:close/>
              </a:path>
            </a:pathLst>
          </a:custGeom>
          <a:solidFill>
            <a:srgbClr val="FFFFFF"/>
          </a:solidFill>
        </p:spPr>
        <p:txBody>
          <a:bodyPr wrap="square" lIns="0" tIns="0" rIns="0" bIns="0" rtlCol="0">
            <a:noAutofit/>
          </a:bodyPr>
          <a:lstStyle/>
          <a:p>
            <a:endParaRPr/>
          </a:p>
        </p:txBody>
      </p:sp>
      <p:sp>
        <p:nvSpPr>
          <p:cNvPr id="2281" name="object 2281"/>
          <p:cNvSpPr/>
          <p:nvPr/>
        </p:nvSpPr>
        <p:spPr>
          <a:xfrm>
            <a:off x="8286219" y="1802778"/>
            <a:ext cx="28521" cy="14312"/>
          </a:xfrm>
          <a:custGeom>
            <a:avLst/>
            <a:gdLst/>
            <a:ahLst/>
            <a:cxnLst/>
            <a:rect l="l" t="t" r="r" b="b"/>
            <a:pathLst>
              <a:path w="28521" h="14312">
                <a:moveTo>
                  <a:pt x="0" y="13079"/>
                </a:moveTo>
                <a:lnTo>
                  <a:pt x="744" y="14066"/>
                </a:lnTo>
                <a:lnTo>
                  <a:pt x="1984" y="14312"/>
                </a:lnTo>
                <a:lnTo>
                  <a:pt x="2976" y="13325"/>
                </a:lnTo>
                <a:lnTo>
                  <a:pt x="3143" y="13048"/>
                </a:lnTo>
                <a:lnTo>
                  <a:pt x="5952" y="8390"/>
                </a:lnTo>
                <a:lnTo>
                  <a:pt x="8680" y="5429"/>
                </a:lnTo>
                <a:lnTo>
                  <a:pt x="11656" y="3948"/>
                </a:lnTo>
                <a:lnTo>
                  <a:pt x="14632" y="3454"/>
                </a:lnTo>
                <a:lnTo>
                  <a:pt x="17360" y="3948"/>
                </a:lnTo>
                <a:lnTo>
                  <a:pt x="20088" y="5922"/>
                </a:lnTo>
                <a:lnTo>
                  <a:pt x="23065" y="9130"/>
                </a:lnTo>
                <a:lnTo>
                  <a:pt x="25545" y="13325"/>
                </a:lnTo>
                <a:lnTo>
                  <a:pt x="28521" y="11845"/>
                </a:lnTo>
                <a:lnTo>
                  <a:pt x="26041" y="7156"/>
                </a:lnTo>
                <a:lnTo>
                  <a:pt x="22569" y="3454"/>
                </a:lnTo>
                <a:lnTo>
                  <a:pt x="18848" y="987"/>
                </a:lnTo>
                <a:lnTo>
                  <a:pt x="14632" y="0"/>
                </a:lnTo>
                <a:lnTo>
                  <a:pt x="10664" y="493"/>
                </a:lnTo>
                <a:lnTo>
                  <a:pt x="6696" y="2467"/>
                </a:lnTo>
                <a:lnTo>
                  <a:pt x="2976" y="6416"/>
                </a:lnTo>
                <a:lnTo>
                  <a:pt x="0" y="11845"/>
                </a:lnTo>
                <a:lnTo>
                  <a:pt x="0" y="13079"/>
                </a:lnTo>
                <a:close/>
              </a:path>
            </a:pathLst>
          </a:custGeom>
          <a:solidFill>
            <a:srgbClr val="FFFFFF"/>
          </a:solidFill>
        </p:spPr>
        <p:txBody>
          <a:bodyPr wrap="square" lIns="0" tIns="0" rIns="0" bIns="0" rtlCol="0">
            <a:noAutofit/>
          </a:bodyPr>
          <a:lstStyle/>
          <a:p>
            <a:endParaRPr/>
          </a:p>
        </p:txBody>
      </p:sp>
      <p:sp>
        <p:nvSpPr>
          <p:cNvPr id="2282" name="object 2282"/>
          <p:cNvSpPr/>
          <p:nvPr/>
        </p:nvSpPr>
        <p:spPr>
          <a:xfrm>
            <a:off x="8268361" y="1826222"/>
            <a:ext cx="8432" cy="11598"/>
          </a:xfrm>
          <a:custGeom>
            <a:avLst/>
            <a:gdLst/>
            <a:ahLst/>
            <a:cxnLst/>
            <a:rect l="l" t="t" r="r" b="b"/>
            <a:pathLst>
              <a:path w="8432" h="11598">
                <a:moveTo>
                  <a:pt x="0" y="5675"/>
                </a:moveTo>
                <a:lnTo>
                  <a:pt x="248" y="7896"/>
                </a:lnTo>
                <a:lnTo>
                  <a:pt x="1240" y="9871"/>
                </a:lnTo>
                <a:lnTo>
                  <a:pt x="2728" y="11104"/>
                </a:lnTo>
                <a:lnTo>
                  <a:pt x="4216" y="11598"/>
                </a:lnTo>
                <a:lnTo>
                  <a:pt x="5704" y="11104"/>
                </a:lnTo>
                <a:lnTo>
                  <a:pt x="7192" y="9871"/>
                </a:lnTo>
                <a:lnTo>
                  <a:pt x="8184" y="7896"/>
                </a:lnTo>
                <a:lnTo>
                  <a:pt x="8432" y="5675"/>
                </a:lnTo>
                <a:lnTo>
                  <a:pt x="8184" y="3454"/>
                </a:lnTo>
                <a:lnTo>
                  <a:pt x="7192" y="1727"/>
                </a:lnTo>
                <a:lnTo>
                  <a:pt x="5704" y="493"/>
                </a:lnTo>
                <a:lnTo>
                  <a:pt x="4216" y="0"/>
                </a:lnTo>
                <a:lnTo>
                  <a:pt x="2728" y="493"/>
                </a:lnTo>
                <a:lnTo>
                  <a:pt x="1240" y="1727"/>
                </a:lnTo>
                <a:lnTo>
                  <a:pt x="248" y="3454"/>
                </a:lnTo>
                <a:lnTo>
                  <a:pt x="0" y="5675"/>
                </a:lnTo>
                <a:close/>
              </a:path>
            </a:pathLst>
          </a:custGeom>
          <a:solidFill>
            <a:srgbClr val="404040"/>
          </a:solidFill>
        </p:spPr>
        <p:txBody>
          <a:bodyPr wrap="square" lIns="0" tIns="0" rIns="0" bIns="0" rtlCol="0">
            <a:noAutofit/>
          </a:bodyPr>
          <a:lstStyle/>
          <a:p>
            <a:endParaRPr/>
          </a:p>
        </p:txBody>
      </p:sp>
      <p:sp>
        <p:nvSpPr>
          <p:cNvPr id="2283" name="object 2283"/>
          <p:cNvSpPr/>
          <p:nvPr/>
        </p:nvSpPr>
        <p:spPr>
          <a:xfrm>
            <a:off x="8295890" y="1853861"/>
            <a:ext cx="8184" cy="11598"/>
          </a:xfrm>
          <a:custGeom>
            <a:avLst/>
            <a:gdLst/>
            <a:ahLst/>
            <a:cxnLst/>
            <a:rect l="l" t="t" r="r" b="b"/>
            <a:pathLst>
              <a:path w="8184" h="11598">
                <a:moveTo>
                  <a:pt x="0" y="5675"/>
                </a:moveTo>
                <a:lnTo>
                  <a:pt x="248" y="7896"/>
                </a:lnTo>
                <a:lnTo>
                  <a:pt x="1240" y="9871"/>
                </a:lnTo>
                <a:lnTo>
                  <a:pt x="2480" y="11104"/>
                </a:lnTo>
                <a:lnTo>
                  <a:pt x="3968" y="11598"/>
                </a:lnTo>
                <a:lnTo>
                  <a:pt x="5456" y="11104"/>
                </a:lnTo>
                <a:lnTo>
                  <a:pt x="6944" y="9871"/>
                </a:lnTo>
                <a:lnTo>
                  <a:pt x="7936" y="7896"/>
                </a:lnTo>
                <a:lnTo>
                  <a:pt x="8184" y="5675"/>
                </a:lnTo>
                <a:lnTo>
                  <a:pt x="7936" y="3454"/>
                </a:lnTo>
                <a:lnTo>
                  <a:pt x="6944" y="1727"/>
                </a:lnTo>
                <a:lnTo>
                  <a:pt x="5456" y="493"/>
                </a:lnTo>
                <a:lnTo>
                  <a:pt x="3968" y="0"/>
                </a:lnTo>
                <a:lnTo>
                  <a:pt x="2480" y="493"/>
                </a:lnTo>
                <a:lnTo>
                  <a:pt x="1240" y="1727"/>
                </a:lnTo>
                <a:lnTo>
                  <a:pt x="248" y="3454"/>
                </a:lnTo>
                <a:lnTo>
                  <a:pt x="0" y="5675"/>
                </a:lnTo>
                <a:close/>
              </a:path>
            </a:pathLst>
          </a:custGeom>
          <a:solidFill>
            <a:srgbClr val="404040"/>
          </a:solidFill>
        </p:spPr>
        <p:txBody>
          <a:bodyPr wrap="square" lIns="0" tIns="0" rIns="0" bIns="0" rtlCol="0">
            <a:noAutofit/>
          </a:bodyPr>
          <a:lstStyle/>
          <a:p>
            <a:endParaRPr/>
          </a:p>
        </p:txBody>
      </p:sp>
      <p:sp>
        <p:nvSpPr>
          <p:cNvPr id="2284" name="object 2284"/>
          <p:cNvSpPr/>
          <p:nvPr/>
        </p:nvSpPr>
        <p:spPr>
          <a:xfrm>
            <a:off x="8323916" y="1827703"/>
            <a:ext cx="8184" cy="11598"/>
          </a:xfrm>
          <a:custGeom>
            <a:avLst/>
            <a:gdLst/>
            <a:ahLst/>
            <a:cxnLst/>
            <a:rect l="l" t="t" r="r" b="b"/>
            <a:pathLst>
              <a:path w="8184" h="11598">
                <a:moveTo>
                  <a:pt x="0" y="5675"/>
                </a:moveTo>
                <a:lnTo>
                  <a:pt x="248" y="7896"/>
                </a:lnTo>
                <a:lnTo>
                  <a:pt x="1240" y="9871"/>
                </a:lnTo>
                <a:lnTo>
                  <a:pt x="2480" y="11104"/>
                </a:lnTo>
                <a:lnTo>
                  <a:pt x="3968" y="11598"/>
                </a:lnTo>
                <a:lnTo>
                  <a:pt x="5456" y="11104"/>
                </a:lnTo>
                <a:lnTo>
                  <a:pt x="6944" y="9871"/>
                </a:lnTo>
                <a:lnTo>
                  <a:pt x="7936" y="7896"/>
                </a:lnTo>
                <a:lnTo>
                  <a:pt x="8184" y="5675"/>
                </a:lnTo>
                <a:lnTo>
                  <a:pt x="7936" y="3454"/>
                </a:lnTo>
                <a:lnTo>
                  <a:pt x="6944" y="1727"/>
                </a:lnTo>
                <a:lnTo>
                  <a:pt x="5456" y="493"/>
                </a:lnTo>
                <a:lnTo>
                  <a:pt x="3968" y="0"/>
                </a:lnTo>
                <a:lnTo>
                  <a:pt x="2480" y="493"/>
                </a:lnTo>
                <a:lnTo>
                  <a:pt x="1240" y="1727"/>
                </a:lnTo>
                <a:lnTo>
                  <a:pt x="248" y="3454"/>
                </a:lnTo>
                <a:lnTo>
                  <a:pt x="0" y="5675"/>
                </a:lnTo>
                <a:close/>
              </a:path>
            </a:pathLst>
          </a:custGeom>
          <a:solidFill>
            <a:srgbClr val="404040"/>
          </a:solidFill>
        </p:spPr>
        <p:txBody>
          <a:bodyPr wrap="square" lIns="0" tIns="0" rIns="0" bIns="0" rtlCol="0">
            <a:noAutofit/>
          </a:bodyPr>
          <a:lstStyle/>
          <a:p>
            <a:endParaRPr/>
          </a:p>
        </p:txBody>
      </p:sp>
      <p:sp>
        <p:nvSpPr>
          <p:cNvPr id="2285" name="object 2285"/>
          <p:cNvSpPr/>
          <p:nvPr/>
        </p:nvSpPr>
        <p:spPr>
          <a:xfrm>
            <a:off x="8313499" y="1781062"/>
            <a:ext cx="8184" cy="11598"/>
          </a:xfrm>
          <a:custGeom>
            <a:avLst/>
            <a:gdLst/>
            <a:ahLst/>
            <a:cxnLst/>
            <a:rect l="l" t="t" r="r" b="b"/>
            <a:pathLst>
              <a:path w="8184" h="11598">
                <a:moveTo>
                  <a:pt x="0" y="5675"/>
                </a:moveTo>
                <a:lnTo>
                  <a:pt x="248" y="7896"/>
                </a:lnTo>
                <a:lnTo>
                  <a:pt x="1240" y="9871"/>
                </a:lnTo>
                <a:lnTo>
                  <a:pt x="2728" y="11104"/>
                </a:lnTo>
                <a:lnTo>
                  <a:pt x="4216" y="11598"/>
                </a:lnTo>
                <a:lnTo>
                  <a:pt x="5704" y="11104"/>
                </a:lnTo>
                <a:lnTo>
                  <a:pt x="6944" y="9871"/>
                </a:lnTo>
                <a:lnTo>
                  <a:pt x="7936" y="7896"/>
                </a:lnTo>
                <a:lnTo>
                  <a:pt x="8184" y="5675"/>
                </a:lnTo>
                <a:lnTo>
                  <a:pt x="7936" y="3454"/>
                </a:lnTo>
                <a:lnTo>
                  <a:pt x="6944" y="1727"/>
                </a:lnTo>
                <a:lnTo>
                  <a:pt x="5704" y="493"/>
                </a:lnTo>
                <a:lnTo>
                  <a:pt x="4216" y="0"/>
                </a:lnTo>
                <a:lnTo>
                  <a:pt x="2728" y="493"/>
                </a:lnTo>
                <a:lnTo>
                  <a:pt x="1240" y="1727"/>
                </a:lnTo>
                <a:lnTo>
                  <a:pt x="248" y="3454"/>
                </a:lnTo>
                <a:lnTo>
                  <a:pt x="0" y="5675"/>
                </a:lnTo>
                <a:close/>
              </a:path>
            </a:pathLst>
          </a:custGeom>
          <a:solidFill>
            <a:srgbClr val="404040"/>
          </a:solidFill>
        </p:spPr>
        <p:txBody>
          <a:bodyPr wrap="square" lIns="0" tIns="0" rIns="0" bIns="0" rtlCol="0">
            <a:noAutofit/>
          </a:bodyPr>
          <a:lstStyle/>
          <a:p>
            <a:endParaRPr/>
          </a:p>
        </p:txBody>
      </p:sp>
      <p:sp>
        <p:nvSpPr>
          <p:cNvPr id="2286" name="object 2286"/>
          <p:cNvSpPr/>
          <p:nvPr/>
        </p:nvSpPr>
        <p:spPr>
          <a:xfrm>
            <a:off x="8279522" y="1780816"/>
            <a:ext cx="8184" cy="11845"/>
          </a:xfrm>
          <a:custGeom>
            <a:avLst/>
            <a:gdLst/>
            <a:ahLst/>
            <a:cxnLst/>
            <a:rect l="l" t="t" r="r" b="b"/>
            <a:pathLst>
              <a:path w="8184" h="11845">
                <a:moveTo>
                  <a:pt x="0" y="5922"/>
                </a:moveTo>
                <a:lnTo>
                  <a:pt x="248" y="8143"/>
                </a:lnTo>
                <a:lnTo>
                  <a:pt x="1240" y="10117"/>
                </a:lnTo>
                <a:lnTo>
                  <a:pt x="2480" y="11351"/>
                </a:lnTo>
                <a:lnTo>
                  <a:pt x="3968" y="11845"/>
                </a:lnTo>
                <a:lnTo>
                  <a:pt x="5456" y="11351"/>
                </a:lnTo>
                <a:lnTo>
                  <a:pt x="6944" y="10117"/>
                </a:lnTo>
                <a:lnTo>
                  <a:pt x="7936" y="8143"/>
                </a:lnTo>
                <a:lnTo>
                  <a:pt x="8184" y="5922"/>
                </a:lnTo>
                <a:lnTo>
                  <a:pt x="7936" y="3701"/>
                </a:lnTo>
                <a:lnTo>
                  <a:pt x="6944" y="1727"/>
                </a:lnTo>
                <a:lnTo>
                  <a:pt x="5456" y="493"/>
                </a:lnTo>
                <a:lnTo>
                  <a:pt x="3968" y="0"/>
                </a:lnTo>
                <a:lnTo>
                  <a:pt x="2480" y="493"/>
                </a:lnTo>
                <a:lnTo>
                  <a:pt x="1240" y="1727"/>
                </a:lnTo>
                <a:lnTo>
                  <a:pt x="248" y="3701"/>
                </a:lnTo>
                <a:lnTo>
                  <a:pt x="0" y="5922"/>
                </a:lnTo>
                <a:close/>
              </a:path>
            </a:pathLst>
          </a:custGeom>
          <a:solidFill>
            <a:srgbClr val="404040"/>
          </a:solidFill>
        </p:spPr>
        <p:txBody>
          <a:bodyPr wrap="square" lIns="0" tIns="0" rIns="0" bIns="0" rtlCol="0">
            <a:noAutofit/>
          </a:bodyPr>
          <a:lstStyle/>
          <a:p>
            <a:endParaRPr/>
          </a:p>
        </p:txBody>
      </p:sp>
      <p:sp>
        <p:nvSpPr>
          <p:cNvPr id="2287" name="object 2287"/>
          <p:cNvSpPr/>
          <p:nvPr/>
        </p:nvSpPr>
        <p:spPr>
          <a:xfrm>
            <a:off x="8272577" y="1824496"/>
            <a:ext cx="5952" cy="7403"/>
          </a:xfrm>
          <a:custGeom>
            <a:avLst/>
            <a:gdLst/>
            <a:ahLst/>
            <a:cxnLst/>
            <a:rect l="l" t="t" r="r" b="b"/>
            <a:pathLst>
              <a:path w="5952" h="7403">
                <a:moveTo>
                  <a:pt x="496" y="3701"/>
                </a:moveTo>
                <a:lnTo>
                  <a:pt x="1736" y="4441"/>
                </a:lnTo>
                <a:lnTo>
                  <a:pt x="2232" y="5675"/>
                </a:lnTo>
                <a:lnTo>
                  <a:pt x="2480" y="7403"/>
                </a:lnTo>
                <a:lnTo>
                  <a:pt x="5952" y="7403"/>
                </a:lnTo>
                <a:lnTo>
                  <a:pt x="5704" y="4688"/>
                </a:lnTo>
                <a:lnTo>
                  <a:pt x="4216" y="2467"/>
                </a:lnTo>
                <a:lnTo>
                  <a:pt x="2480" y="740"/>
                </a:lnTo>
                <a:lnTo>
                  <a:pt x="0" y="0"/>
                </a:lnTo>
                <a:lnTo>
                  <a:pt x="0" y="3454"/>
                </a:lnTo>
                <a:lnTo>
                  <a:pt x="496" y="3701"/>
                </a:lnTo>
                <a:close/>
              </a:path>
            </a:pathLst>
          </a:custGeom>
          <a:solidFill>
            <a:srgbClr val="000000"/>
          </a:solidFill>
        </p:spPr>
        <p:txBody>
          <a:bodyPr wrap="square" lIns="0" tIns="0" rIns="0" bIns="0" rtlCol="0">
            <a:noAutofit/>
          </a:bodyPr>
          <a:lstStyle/>
          <a:p>
            <a:endParaRPr/>
          </a:p>
        </p:txBody>
      </p:sp>
      <p:sp>
        <p:nvSpPr>
          <p:cNvPr id="2288" name="object 2288"/>
          <p:cNvSpPr/>
          <p:nvPr/>
        </p:nvSpPr>
        <p:spPr>
          <a:xfrm>
            <a:off x="8272577" y="1831898"/>
            <a:ext cx="5952" cy="7650"/>
          </a:xfrm>
          <a:custGeom>
            <a:avLst/>
            <a:gdLst/>
            <a:ahLst/>
            <a:cxnLst/>
            <a:rect l="l" t="t" r="r" b="b"/>
            <a:pathLst>
              <a:path w="5952" h="7650">
                <a:moveTo>
                  <a:pt x="5704" y="2714"/>
                </a:moveTo>
                <a:lnTo>
                  <a:pt x="5952" y="0"/>
                </a:lnTo>
                <a:lnTo>
                  <a:pt x="2480" y="0"/>
                </a:lnTo>
                <a:lnTo>
                  <a:pt x="2232" y="1727"/>
                </a:lnTo>
                <a:lnTo>
                  <a:pt x="1488" y="3208"/>
                </a:lnTo>
                <a:lnTo>
                  <a:pt x="496" y="3948"/>
                </a:lnTo>
                <a:lnTo>
                  <a:pt x="0" y="4195"/>
                </a:lnTo>
                <a:lnTo>
                  <a:pt x="0" y="7650"/>
                </a:lnTo>
                <a:lnTo>
                  <a:pt x="2480" y="6909"/>
                </a:lnTo>
                <a:lnTo>
                  <a:pt x="4464" y="5182"/>
                </a:lnTo>
                <a:lnTo>
                  <a:pt x="5704" y="2714"/>
                </a:lnTo>
                <a:close/>
              </a:path>
            </a:pathLst>
          </a:custGeom>
          <a:solidFill>
            <a:srgbClr val="000000"/>
          </a:solidFill>
        </p:spPr>
        <p:txBody>
          <a:bodyPr wrap="square" lIns="0" tIns="0" rIns="0" bIns="0" rtlCol="0">
            <a:noAutofit/>
          </a:bodyPr>
          <a:lstStyle/>
          <a:p>
            <a:endParaRPr/>
          </a:p>
        </p:txBody>
      </p:sp>
      <p:sp>
        <p:nvSpPr>
          <p:cNvPr id="2289" name="object 2289"/>
          <p:cNvSpPr/>
          <p:nvPr/>
        </p:nvSpPr>
        <p:spPr>
          <a:xfrm>
            <a:off x="8266625" y="1831898"/>
            <a:ext cx="5952" cy="7650"/>
          </a:xfrm>
          <a:custGeom>
            <a:avLst/>
            <a:gdLst/>
            <a:ahLst/>
            <a:cxnLst/>
            <a:rect l="l" t="t" r="r" b="b"/>
            <a:pathLst>
              <a:path w="5952" h="7650">
                <a:moveTo>
                  <a:pt x="5952" y="7650"/>
                </a:moveTo>
                <a:lnTo>
                  <a:pt x="5952" y="4195"/>
                </a:lnTo>
                <a:lnTo>
                  <a:pt x="5456" y="3948"/>
                </a:lnTo>
                <a:lnTo>
                  <a:pt x="4464" y="3208"/>
                </a:lnTo>
                <a:lnTo>
                  <a:pt x="3720" y="1727"/>
                </a:lnTo>
                <a:lnTo>
                  <a:pt x="3472" y="0"/>
                </a:lnTo>
                <a:lnTo>
                  <a:pt x="0" y="0"/>
                </a:lnTo>
                <a:lnTo>
                  <a:pt x="248" y="2714"/>
                </a:lnTo>
                <a:lnTo>
                  <a:pt x="1488" y="5182"/>
                </a:lnTo>
                <a:lnTo>
                  <a:pt x="3472" y="6909"/>
                </a:lnTo>
                <a:lnTo>
                  <a:pt x="5952" y="7650"/>
                </a:lnTo>
                <a:close/>
              </a:path>
            </a:pathLst>
          </a:custGeom>
          <a:solidFill>
            <a:srgbClr val="000000"/>
          </a:solidFill>
        </p:spPr>
        <p:txBody>
          <a:bodyPr wrap="square" lIns="0" tIns="0" rIns="0" bIns="0" rtlCol="0">
            <a:noAutofit/>
          </a:bodyPr>
          <a:lstStyle/>
          <a:p>
            <a:endParaRPr/>
          </a:p>
        </p:txBody>
      </p:sp>
      <p:sp>
        <p:nvSpPr>
          <p:cNvPr id="2290" name="object 2290"/>
          <p:cNvSpPr/>
          <p:nvPr/>
        </p:nvSpPr>
        <p:spPr>
          <a:xfrm>
            <a:off x="8266625" y="1824496"/>
            <a:ext cx="5952" cy="7403"/>
          </a:xfrm>
          <a:custGeom>
            <a:avLst/>
            <a:gdLst/>
            <a:ahLst/>
            <a:cxnLst/>
            <a:rect l="l" t="t" r="r" b="b"/>
            <a:pathLst>
              <a:path w="5952" h="7403">
                <a:moveTo>
                  <a:pt x="5952" y="0"/>
                </a:moveTo>
                <a:lnTo>
                  <a:pt x="3472" y="740"/>
                </a:lnTo>
                <a:lnTo>
                  <a:pt x="1736" y="2467"/>
                </a:lnTo>
                <a:lnTo>
                  <a:pt x="248" y="4688"/>
                </a:lnTo>
                <a:lnTo>
                  <a:pt x="0" y="7403"/>
                </a:lnTo>
                <a:lnTo>
                  <a:pt x="3472" y="7403"/>
                </a:lnTo>
                <a:lnTo>
                  <a:pt x="3720" y="5675"/>
                </a:lnTo>
                <a:lnTo>
                  <a:pt x="4216" y="4441"/>
                </a:lnTo>
                <a:lnTo>
                  <a:pt x="5456" y="3701"/>
                </a:lnTo>
                <a:lnTo>
                  <a:pt x="5952" y="3454"/>
                </a:lnTo>
                <a:lnTo>
                  <a:pt x="5952" y="0"/>
                </a:lnTo>
                <a:close/>
              </a:path>
            </a:pathLst>
          </a:custGeom>
          <a:solidFill>
            <a:srgbClr val="000000"/>
          </a:solidFill>
        </p:spPr>
        <p:txBody>
          <a:bodyPr wrap="square" lIns="0" tIns="0" rIns="0" bIns="0" rtlCol="0">
            <a:noAutofit/>
          </a:bodyPr>
          <a:lstStyle/>
          <a:p>
            <a:endParaRPr/>
          </a:p>
        </p:txBody>
      </p:sp>
      <p:sp>
        <p:nvSpPr>
          <p:cNvPr id="2291" name="object 2291"/>
          <p:cNvSpPr/>
          <p:nvPr/>
        </p:nvSpPr>
        <p:spPr>
          <a:xfrm>
            <a:off x="8299859" y="1852134"/>
            <a:ext cx="5952" cy="7403"/>
          </a:xfrm>
          <a:custGeom>
            <a:avLst/>
            <a:gdLst/>
            <a:ahLst/>
            <a:cxnLst/>
            <a:rect l="l" t="t" r="r" b="b"/>
            <a:pathLst>
              <a:path w="5952" h="7403">
                <a:moveTo>
                  <a:pt x="496" y="3701"/>
                </a:moveTo>
                <a:lnTo>
                  <a:pt x="1736" y="4441"/>
                </a:lnTo>
                <a:lnTo>
                  <a:pt x="2232" y="5675"/>
                </a:lnTo>
                <a:lnTo>
                  <a:pt x="2480" y="7403"/>
                </a:lnTo>
                <a:lnTo>
                  <a:pt x="5952" y="7403"/>
                </a:lnTo>
                <a:lnTo>
                  <a:pt x="5704" y="4688"/>
                </a:lnTo>
                <a:lnTo>
                  <a:pt x="4216" y="2467"/>
                </a:lnTo>
                <a:lnTo>
                  <a:pt x="2480" y="740"/>
                </a:lnTo>
                <a:lnTo>
                  <a:pt x="0" y="0"/>
                </a:lnTo>
                <a:lnTo>
                  <a:pt x="0" y="3454"/>
                </a:lnTo>
                <a:lnTo>
                  <a:pt x="496" y="3701"/>
                </a:lnTo>
                <a:close/>
              </a:path>
            </a:pathLst>
          </a:custGeom>
          <a:solidFill>
            <a:srgbClr val="000000"/>
          </a:solidFill>
        </p:spPr>
        <p:txBody>
          <a:bodyPr wrap="square" lIns="0" tIns="0" rIns="0" bIns="0" rtlCol="0">
            <a:noAutofit/>
          </a:bodyPr>
          <a:lstStyle/>
          <a:p>
            <a:endParaRPr/>
          </a:p>
        </p:txBody>
      </p:sp>
      <p:sp>
        <p:nvSpPr>
          <p:cNvPr id="2292" name="object 2292"/>
          <p:cNvSpPr/>
          <p:nvPr/>
        </p:nvSpPr>
        <p:spPr>
          <a:xfrm>
            <a:off x="8299859" y="1859537"/>
            <a:ext cx="5952" cy="7650"/>
          </a:xfrm>
          <a:custGeom>
            <a:avLst/>
            <a:gdLst/>
            <a:ahLst/>
            <a:cxnLst/>
            <a:rect l="l" t="t" r="r" b="b"/>
            <a:pathLst>
              <a:path w="5952" h="7650">
                <a:moveTo>
                  <a:pt x="5704" y="2714"/>
                </a:moveTo>
                <a:lnTo>
                  <a:pt x="5952" y="0"/>
                </a:lnTo>
                <a:lnTo>
                  <a:pt x="2480" y="0"/>
                </a:lnTo>
                <a:lnTo>
                  <a:pt x="2232" y="1727"/>
                </a:lnTo>
                <a:lnTo>
                  <a:pt x="1488" y="3208"/>
                </a:lnTo>
                <a:lnTo>
                  <a:pt x="496" y="3948"/>
                </a:lnTo>
                <a:lnTo>
                  <a:pt x="0" y="4195"/>
                </a:lnTo>
                <a:lnTo>
                  <a:pt x="0" y="7650"/>
                </a:lnTo>
                <a:lnTo>
                  <a:pt x="2480" y="6909"/>
                </a:lnTo>
                <a:lnTo>
                  <a:pt x="4464" y="5182"/>
                </a:lnTo>
                <a:lnTo>
                  <a:pt x="5704" y="2714"/>
                </a:lnTo>
                <a:close/>
              </a:path>
            </a:pathLst>
          </a:custGeom>
          <a:solidFill>
            <a:srgbClr val="000000"/>
          </a:solidFill>
        </p:spPr>
        <p:txBody>
          <a:bodyPr wrap="square" lIns="0" tIns="0" rIns="0" bIns="0" rtlCol="0">
            <a:noAutofit/>
          </a:bodyPr>
          <a:lstStyle/>
          <a:p>
            <a:endParaRPr/>
          </a:p>
        </p:txBody>
      </p:sp>
      <p:sp>
        <p:nvSpPr>
          <p:cNvPr id="2293" name="object 2293"/>
          <p:cNvSpPr/>
          <p:nvPr/>
        </p:nvSpPr>
        <p:spPr>
          <a:xfrm>
            <a:off x="8294154" y="1859537"/>
            <a:ext cx="5704" cy="7650"/>
          </a:xfrm>
          <a:custGeom>
            <a:avLst/>
            <a:gdLst/>
            <a:ahLst/>
            <a:cxnLst/>
            <a:rect l="l" t="t" r="r" b="b"/>
            <a:pathLst>
              <a:path w="5704" h="7650">
                <a:moveTo>
                  <a:pt x="5704" y="7650"/>
                </a:moveTo>
                <a:lnTo>
                  <a:pt x="5704" y="4195"/>
                </a:lnTo>
                <a:lnTo>
                  <a:pt x="5208" y="3948"/>
                </a:lnTo>
                <a:lnTo>
                  <a:pt x="4464" y="3208"/>
                </a:lnTo>
                <a:lnTo>
                  <a:pt x="3720" y="1727"/>
                </a:lnTo>
                <a:lnTo>
                  <a:pt x="3472" y="0"/>
                </a:lnTo>
                <a:lnTo>
                  <a:pt x="0" y="0"/>
                </a:lnTo>
                <a:lnTo>
                  <a:pt x="248" y="2714"/>
                </a:lnTo>
                <a:lnTo>
                  <a:pt x="1488" y="5182"/>
                </a:lnTo>
                <a:lnTo>
                  <a:pt x="3224" y="6909"/>
                </a:lnTo>
                <a:lnTo>
                  <a:pt x="5704" y="7650"/>
                </a:lnTo>
                <a:close/>
              </a:path>
            </a:pathLst>
          </a:custGeom>
          <a:solidFill>
            <a:srgbClr val="000000"/>
          </a:solidFill>
        </p:spPr>
        <p:txBody>
          <a:bodyPr wrap="square" lIns="0" tIns="0" rIns="0" bIns="0" rtlCol="0">
            <a:noAutofit/>
          </a:bodyPr>
          <a:lstStyle/>
          <a:p>
            <a:endParaRPr/>
          </a:p>
        </p:txBody>
      </p:sp>
      <p:sp>
        <p:nvSpPr>
          <p:cNvPr id="2294" name="object 2294"/>
          <p:cNvSpPr/>
          <p:nvPr/>
        </p:nvSpPr>
        <p:spPr>
          <a:xfrm>
            <a:off x="8294154" y="1852134"/>
            <a:ext cx="5704" cy="7403"/>
          </a:xfrm>
          <a:custGeom>
            <a:avLst/>
            <a:gdLst/>
            <a:ahLst/>
            <a:cxnLst/>
            <a:rect l="l" t="t" r="r" b="b"/>
            <a:pathLst>
              <a:path w="5704" h="7403">
                <a:moveTo>
                  <a:pt x="5704" y="0"/>
                </a:moveTo>
                <a:lnTo>
                  <a:pt x="3224" y="740"/>
                </a:lnTo>
                <a:lnTo>
                  <a:pt x="1488" y="2467"/>
                </a:lnTo>
                <a:lnTo>
                  <a:pt x="248" y="4688"/>
                </a:lnTo>
                <a:lnTo>
                  <a:pt x="0" y="7403"/>
                </a:lnTo>
                <a:lnTo>
                  <a:pt x="3472" y="7403"/>
                </a:lnTo>
                <a:lnTo>
                  <a:pt x="3720" y="5675"/>
                </a:lnTo>
                <a:lnTo>
                  <a:pt x="4464" y="4441"/>
                </a:lnTo>
                <a:lnTo>
                  <a:pt x="5208" y="3701"/>
                </a:lnTo>
                <a:lnTo>
                  <a:pt x="5704" y="3454"/>
                </a:lnTo>
                <a:lnTo>
                  <a:pt x="5704" y="0"/>
                </a:lnTo>
                <a:close/>
              </a:path>
            </a:pathLst>
          </a:custGeom>
          <a:solidFill>
            <a:srgbClr val="000000"/>
          </a:solidFill>
        </p:spPr>
        <p:txBody>
          <a:bodyPr wrap="square" lIns="0" tIns="0" rIns="0" bIns="0" rtlCol="0">
            <a:noAutofit/>
          </a:bodyPr>
          <a:lstStyle/>
          <a:p>
            <a:endParaRPr/>
          </a:p>
        </p:txBody>
      </p:sp>
      <p:sp>
        <p:nvSpPr>
          <p:cNvPr id="2295" name="object 2295"/>
          <p:cNvSpPr/>
          <p:nvPr/>
        </p:nvSpPr>
        <p:spPr>
          <a:xfrm>
            <a:off x="8327884" y="1825976"/>
            <a:ext cx="5952" cy="7403"/>
          </a:xfrm>
          <a:custGeom>
            <a:avLst/>
            <a:gdLst/>
            <a:ahLst/>
            <a:cxnLst/>
            <a:rect l="l" t="t" r="r" b="b"/>
            <a:pathLst>
              <a:path w="5952" h="7403">
                <a:moveTo>
                  <a:pt x="496" y="3701"/>
                </a:moveTo>
                <a:lnTo>
                  <a:pt x="1736" y="4441"/>
                </a:lnTo>
                <a:lnTo>
                  <a:pt x="2232" y="5675"/>
                </a:lnTo>
                <a:lnTo>
                  <a:pt x="2480" y="7403"/>
                </a:lnTo>
                <a:lnTo>
                  <a:pt x="5952" y="7403"/>
                </a:lnTo>
                <a:lnTo>
                  <a:pt x="5704" y="4688"/>
                </a:lnTo>
                <a:lnTo>
                  <a:pt x="4216" y="2467"/>
                </a:lnTo>
                <a:lnTo>
                  <a:pt x="2480" y="740"/>
                </a:lnTo>
                <a:lnTo>
                  <a:pt x="0" y="0"/>
                </a:lnTo>
                <a:lnTo>
                  <a:pt x="0" y="3454"/>
                </a:lnTo>
                <a:lnTo>
                  <a:pt x="496" y="3701"/>
                </a:lnTo>
                <a:close/>
              </a:path>
            </a:pathLst>
          </a:custGeom>
          <a:solidFill>
            <a:srgbClr val="000000"/>
          </a:solidFill>
        </p:spPr>
        <p:txBody>
          <a:bodyPr wrap="square" lIns="0" tIns="0" rIns="0" bIns="0" rtlCol="0">
            <a:noAutofit/>
          </a:bodyPr>
          <a:lstStyle/>
          <a:p>
            <a:endParaRPr/>
          </a:p>
        </p:txBody>
      </p:sp>
      <p:sp>
        <p:nvSpPr>
          <p:cNvPr id="2296" name="object 2296"/>
          <p:cNvSpPr/>
          <p:nvPr/>
        </p:nvSpPr>
        <p:spPr>
          <a:xfrm>
            <a:off x="8327884" y="1833378"/>
            <a:ext cx="5952" cy="7650"/>
          </a:xfrm>
          <a:custGeom>
            <a:avLst/>
            <a:gdLst/>
            <a:ahLst/>
            <a:cxnLst/>
            <a:rect l="l" t="t" r="r" b="b"/>
            <a:pathLst>
              <a:path w="5952" h="7650">
                <a:moveTo>
                  <a:pt x="5704" y="2714"/>
                </a:moveTo>
                <a:lnTo>
                  <a:pt x="5952" y="0"/>
                </a:lnTo>
                <a:lnTo>
                  <a:pt x="2480" y="0"/>
                </a:lnTo>
                <a:lnTo>
                  <a:pt x="2232" y="1727"/>
                </a:lnTo>
                <a:lnTo>
                  <a:pt x="1488" y="3208"/>
                </a:lnTo>
                <a:lnTo>
                  <a:pt x="496" y="3948"/>
                </a:lnTo>
                <a:lnTo>
                  <a:pt x="0" y="4195"/>
                </a:lnTo>
                <a:lnTo>
                  <a:pt x="0" y="7650"/>
                </a:lnTo>
                <a:lnTo>
                  <a:pt x="2480" y="6909"/>
                </a:lnTo>
                <a:lnTo>
                  <a:pt x="4464" y="5182"/>
                </a:lnTo>
                <a:lnTo>
                  <a:pt x="5704" y="2714"/>
                </a:lnTo>
                <a:close/>
              </a:path>
            </a:pathLst>
          </a:custGeom>
          <a:solidFill>
            <a:srgbClr val="000000"/>
          </a:solidFill>
        </p:spPr>
        <p:txBody>
          <a:bodyPr wrap="square" lIns="0" tIns="0" rIns="0" bIns="0" rtlCol="0">
            <a:noAutofit/>
          </a:bodyPr>
          <a:lstStyle/>
          <a:p>
            <a:endParaRPr/>
          </a:p>
        </p:txBody>
      </p:sp>
      <p:sp>
        <p:nvSpPr>
          <p:cNvPr id="2297" name="object 2297"/>
          <p:cNvSpPr/>
          <p:nvPr/>
        </p:nvSpPr>
        <p:spPr>
          <a:xfrm>
            <a:off x="8322180" y="1833378"/>
            <a:ext cx="5704" cy="7650"/>
          </a:xfrm>
          <a:custGeom>
            <a:avLst/>
            <a:gdLst/>
            <a:ahLst/>
            <a:cxnLst/>
            <a:rect l="l" t="t" r="r" b="b"/>
            <a:pathLst>
              <a:path w="5704" h="7650">
                <a:moveTo>
                  <a:pt x="5704" y="7650"/>
                </a:moveTo>
                <a:lnTo>
                  <a:pt x="5704" y="4195"/>
                </a:lnTo>
                <a:lnTo>
                  <a:pt x="5208" y="3948"/>
                </a:lnTo>
                <a:lnTo>
                  <a:pt x="4464" y="3208"/>
                </a:lnTo>
                <a:lnTo>
                  <a:pt x="3720" y="1727"/>
                </a:lnTo>
                <a:lnTo>
                  <a:pt x="3472" y="0"/>
                </a:lnTo>
                <a:lnTo>
                  <a:pt x="0" y="0"/>
                </a:lnTo>
                <a:lnTo>
                  <a:pt x="248" y="2714"/>
                </a:lnTo>
                <a:lnTo>
                  <a:pt x="1488" y="5182"/>
                </a:lnTo>
                <a:lnTo>
                  <a:pt x="3224" y="6909"/>
                </a:lnTo>
                <a:lnTo>
                  <a:pt x="5704" y="7650"/>
                </a:lnTo>
                <a:close/>
              </a:path>
            </a:pathLst>
          </a:custGeom>
          <a:solidFill>
            <a:srgbClr val="000000"/>
          </a:solidFill>
        </p:spPr>
        <p:txBody>
          <a:bodyPr wrap="square" lIns="0" tIns="0" rIns="0" bIns="0" rtlCol="0">
            <a:noAutofit/>
          </a:bodyPr>
          <a:lstStyle/>
          <a:p>
            <a:endParaRPr/>
          </a:p>
        </p:txBody>
      </p:sp>
      <p:sp>
        <p:nvSpPr>
          <p:cNvPr id="2298" name="object 2298"/>
          <p:cNvSpPr/>
          <p:nvPr/>
        </p:nvSpPr>
        <p:spPr>
          <a:xfrm>
            <a:off x="8322180" y="1825976"/>
            <a:ext cx="5704" cy="7403"/>
          </a:xfrm>
          <a:custGeom>
            <a:avLst/>
            <a:gdLst/>
            <a:ahLst/>
            <a:cxnLst/>
            <a:rect l="l" t="t" r="r" b="b"/>
            <a:pathLst>
              <a:path w="5704" h="7403">
                <a:moveTo>
                  <a:pt x="5704" y="0"/>
                </a:moveTo>
                <a:lnTo>
                  <a:pt x="3224" y="740"/>
                </a:lnTo>
                <a:lnTo>
                  <a:pt x="1488" y="2467"/>
                </a:lnTo>
                <a:lnTo>
                  <a:pt x="248" y="4688"/>
                </a:lnTo>
                <a:lnTo>
                  <a:pt x="0" y="7403"/>
                </a:lnTo>
                <a:lnTo>
                  <a:pt x="3472" y="7403"/>
                </a:lnTo>
                <a:lnTo>
                  <a:pt x="3720" y="5675"/>
                </a:lnTo>
                <a:lnTo>
                  <a:pt x="4464" y="4441"/>
                </a:lnTo>
                <a:lnTo>
                  <a:pt x="5208" y="3701"/>
                </a:lnTo>
                <a:lnTo>
                  <a:pt x="5704" y="3454"/>
                </a:lnTo>
                <a:lnTo>
                  <a:pt x="5704" y="0"/>
                </a:lnTo>
                <a:close/>
              </a:path>
            </a:pathLst>
          </a:custGeom>
          <a:solidFill>
            <a:srgbClr val="000000"/>
          </a:solidFill>
        </p:spPr>
        <p:txBody>
          <a:bodyPr wrap="square" lIns="0" tIns="0" rIns="0" bIns="0" rtlCol="0">
            <a:noAutofit/>
          </a:bodyPr>
          <a:lstStyle/>
          <a:p>
            <a:endParaRPr/>
          </a:p>
        </p:txBody>
      </p:sp>
      <p:sp>
        <p:nvSpPr>
          <p:cNvPr id="2299" name="object 2299"/>
          <p:cNvSpPr/>
          <p:nvPr/>
        </p:nvSpPr>
        <p:spPr>
          <a:xfrm>
            <a:off x="8317715" y="1779336"/>
            <a:ext cx="5704" cy="7403"/>
          </a:xfrm>
          <a:custGeom>
            <a:avLst/>
            <a:gdLst/>
            <a:ahLst/>
            <a:cxnLst/>
            <a:rect l="l" t="t" r="r" b="b"/>
            <a:pathLst>
              <a:path w="5704" h="7403">
                <a:moveTo>
                  <a:pt x="496" y="3701"/>
                </a:moveTo>
                <a:lnTo>
                  <a:pt x="1240" y="4441"/>
                </a:lnTo>
                <a:lnTo>
                  <a:pt x="1984" y="5675"/>
                </a:lnTo>
                <a:lnTo>
                  <a:pt x="2232" y="7403"/>
                </a:lnTo>
                <a:lnTo>
                  <a:pt x="5704" y="7403"/>
                </a:lnTo>
                <a:lnTo>
                  <a:pt x="5456" y="4688"/>
                </a:lnTo>
                <a:lnTo>
                  <a:pt x="4216" y="2467"/>
                </a:lnTo>
                <a:lnTo>
                  <a:pt x="2480" y="740"/>
                </a:lnTo>
                <a:lnTo>
                  <a:pt x="0" y="0"/>
                </a:lnTo>
                <a:lnTo>
                  <a:pt x="0" y="3454"/>
                </a:lnTo>
                <a:lnTo>
                  <a:pt x="496" y="3701"/>
                </a:lnTo>
                <a:close/>
              </a:path>
            </a:pathLst>
          </a:custGeom>
          <a:solidFill>
            <a:srgbClr val="000000"/>
          </a:solidFill>
        </p:spPr>
        <p:txBody>
          <a:bodyPr wrap="square" lIns="0" tIns="0" rIns="0" bIns="0" rtlCol="0">
            <a:noAutofit/>
          </a:bodyPr>
          <a:lstStyle/>
          <a:p>
            <a:endParaRPr/>
          </a:p>
        </p:txBody>
      </p:sp>
      <p:sp>
        <p:nvSpPr>
          <p:cNvPr id="2300" name="object 2300"/>
          <p:cNvSpPr/>
          <p:nvPr/>
        </p:nvSpPr>
        <p:spPr>
          <a:xfrm>
            <a:off x="8317715" y="1786738"/>
            <a:ext cx="5704" cy="7650"/>
          </a:xfrm>
          <a:custGeom>
            <a:avLst/>
            <a:gdLst/>
            <a:ahLst/>
            <a:cxnLst/>
            <a:rect l="l" t="t" r="r" b="b"/>
            <a:pathLst>
              <a:path w="5704" h="7650">
                <a:moveTo>
                  <a:pt x="5704" y="0"/>
                </a:moveTo>
                <a:lnTo>
                  <a:pt x="2232" y="0"/>
                </a:lnTo>
                <a:lnTo>
                  <a:pt x="1984" y="1727"/>
                </a:lnTo>
                <a:lnTo>
                  <a:pt x="1240" y="3208"/>
                </a:lnTo>
                <a:lnTo>
                  <a:pt x="496" y="3948"/>
                </a:lnTo>
                <a:lnTo>
                  <a:pt x="0" y="4195"/>
                </a:lnTo>
                <a:lnTo>
                  <a:pt x="0" y="7650"/>
                </a:lnTo>
                <a:lnTo>
                  <a:pt x="2480" y="6909"/>
                </a:lnTo>
                <a:lnTo>
                  <a:pt x="4216" y="5182"/>
                </a:lnTo>
                <a:lnTo>
                  <a:pt x="5456" y="2714"/>
                </a:lnTo>
                <a:lnTo>
                  <a:pt x="5704" y="0"/>
                </a:lnTo>
                <a:close/>
              </a:path>
            </a:pathLst>
          </a:custGeom>
          <a:solidFill>
            <a:srgbClr val="000000"/>
          </a:solidFill>
        </p:spPr>
        <p:txBody>
          <a:bodyPr wrap="square" lIns="0" tIns="0" rIns="0" bIns="0" rtlCol="0">
            <a:noAutofit/>
          </a:bodyPr>
          <a:lstStyle/>
          <a:p>
            <a:endParaRPr/>
          </a:p>
        </p:txBody>
      </p:sp>
      <p:sp>
        <p:nvSpPr>
          <p:cNvPr id="2301" name="object 2301"/>
          <p:cNvSpPr/>
          <p:nvPr/>
        </p:nvSpPr>
        <p:spPr>
          <a:xfrm>
            <a:off x="8311763" y="1786738"/>
            <a:ext cx="5952" cy="7650"/>
          </a:xfrm>
          <a:custGeom>
            <a:avLst/>
            <a:gdLst/>
            <a:ahLst/>
            <a:cxnLst/>
            <a:rect l="l" t="t" r="r" b="b"/>
            <a:pathLst>
              <a:path w="5952" h="7650">
                <a:moveTo>
                  <a:pt x="5952" y="7650"/>
                </a:moveTo>
                <a:lnTo>
                  <a:pt x="5952" y="4195"/>
                </a:lnTo>
                <a:lnTo>
                  <a:pt x="5456" y="3948"/>
                </a:lnTo>
                <a:lnTo>
                  <a:pt x="4464" y="3208"/>
                </a:lnTo>
                <a:lnTo>
                  <a:pt x="3720" y="1727"/>
                </a:lnTo>
                <a:lnTo>
                  <a:pt x="3472" y="0"/>
                </a:lnTo>
                <a:lnTo>
                  <a:pt x="0" y="0"/>
                </a:lnTo>
                <a:lnTo>
                  <a:pt x="248" y="2714"/>
                </a:lnTo>
                <a:lnTo>
                  <a:pt x="1488" y="5182"/>
                </a:lnTo>
                <a:lnTo>
                  <a:pt x="3472" y="6909"/>
                </a:lnTo>
                <a:lnTo>
                  <a:pt x="5952" y="7650"/>
                </a:lnTo>
                <a:close/>
              </a:path>
            </a:pathLst>
          </a:custGeom>
          <a:solidFill>
            <a:srgbClr val="000000"/>
          </a:solidFill>
        </p:spPr>
        <p:txBody>
          <a:bodyPr wrap="square" lIns="0" tIns="0" rIns="0" bIns="0" rtlCol="0">
            <a:noAutofit/>
          </a:bodyPr>
          <a:lstStyle/>
          <a:p>
            <a:endParaRPr/>
          </a:p>
        </p:txBody>
      </p:sp>
      <p:sp>
        <p:nvSpPr>
          <p:cNvPr id="2302" name="object 2302"/>
          <p:cNvSpPr/>
          <p:nvPr/>
        </p:nvSpPr>
        <p:spPr>
          <a:xfrm>
            <a:off x="8311763" y="1779336"/>
            <a:ext cx="5952" cy="7403"/>
          </a:xfrm>
          <a:custGeom>
            <a:avLst/>
            <a:gdLst/>
            <a:ahLst/>
            <a:cxnLst/>
            <a:rect l="l" t="t" r="r" b="b"/>
            <a:pathLst>
              <a:path w="5952" h="7403">
                <a:moveTo>
                  <a:pt x="5952" y="0"/>
                </a:moveTo>
                <a:lnTo>
                  <a:pt x="3472" y="740"/>
                </a:lnTo>
                <a:lnTo>
                  <a:pt x="1736" y="2467"/>
                </a:lnTo>
                <a:lnTo>
                  <a:pt x="248" y="4688"/>
                </a:lnTo>
                <a:lnTo>
                  <a:pt x="0" y="7403"/>
                </a:lnTo>
                <a:lnTo>
                  <a:pt x="3472" y="7403"/>
                </a:lnTo>
                <a:lnTo>
                  <a:pt x="3720" y="5675"/>
                </a:lnTo>
                <a:lnTo>
                  <a:pt x="4216" y="4441"/>
                </a:lnTo>
                <a:lnTo>
                  <a:pt x="5456" y="3701"/>
                </a:lnTo>
                <a:lnTo>
                  <a:pt x="5952" y="3454"/>
                </a:lnTo>
                <a:lnTo>
                  <a:pt x="5952" y="0"/>
                </a:lnTo>
                <a:close/>
              </a:path>
            </a:pathLst>
          </a:custGeom>
          <a:solidFill>
            <a:srgbClr val="000000"/>
          </a:solidFill>
        </p:spPr>
        <p:txBody>
          <a:bodyPr wrap="square" lIns="0" tIns="0" rIns="0" bIns="0" rtlCol="0">
            <a:noAutofit/>
          </a:bodyPr>
          <a:lstStyle/>
          <a:p>
            <a:endParaRPr/>
          </a:p>
        </p:txBody>
      </p:sp>
      <p:sp>
        <p:nvSpPr>
          <p:cNvPr id="2303" name="object 2303"/>
          <p:cNvSpPr/>
          <p:nvPr/>
        </p:nvSpPr>
        <p:spPr>
          <a:xfrm>
            <a:off x="8283490" y="1779088"/>
            <a:ext cx="5952" cy="7650"/>
          </a:xfrm>
          <a:custGeom>
            <a:avLst/>
            <a:gdLst/>
            <a:ahLst/>
            <a:cxnLst/>
            <a:rect l="l" t="t" r="r" b="b"/>
            <a:pathLst>
              <a:path w="5952" h="7650">
                <a:moveTo>
                  <a:pt x="496" y="3701"/>
                </a:moveTo>
                <a:lnTo>
                  <a:pt x="1488" y="4441"/>
                </a:lnTo>
                <a:lnTo>
                  <a:pt x="2232" y="5922"/>
                </a:lnTo>
                <a:lnTo>
                  <a:pt x="2480" y="7650"/>
                </a:lnTo>
                <a:lnTo>
                  <a:pt x="5952" y="7650"/>
                </a:lnTo>
                <a:lnTo>
                  <a:pt x="5704" y="4935"/>
                </a:lnTo>
                <a:lnTo>
                  <a:pt x="4464" y="2467"/>
                </a:lnTo>
                <a:lnTo>
                  <a:pt x="2480" y="740"/>
                </a:lnTo>
                <a:lnTo>
                  <a:pt x="0" y="0"/>
                </a:lnTo>
                <a:lnTo>
                  <a:pt x="0" y="3454"/>
                </a:lnTo>
                <a:lnTo>
                  <a:pt x="496" y="3701"/>
                </a:lnTo>
                <a:close/>
              </a:path>
            </a:pathLst>
          </a:custGeom>
          <a:solidFill>
            <a:srgbClr val="000000"/>
          </a:solidFill>
        </p:spPr>
        <p:txBody>
          <a:bodyPr wrap="square" lIns="0" tIns="0" rIns="0" bIns="0" rtlCol="0">
            <a:noAutofit/>
          </a:bodyPr>
          <a:lstStyle/>
          <a:p>
            <a:endParaRPr/>
          </a:p>
        </p:txBody>
      </p:sp>
      <p:sp>
        <p:nvSpPr>
          <p:cNvPr id="2304" name="object 2304"/>
          <p:cNvSpPr/>
          <p:nvPr/>
        </p:nvSpPr>
        <p:spPr>
          <a:xfrm>
            <a:off x="8283490" y="1786738"/>
            <a:ext cx="5952" cy="7650"/>
          </a:xfrm>
          <a:custGeom>
            <a:avLst/>
            <a:gdLst/>
            <a:ahLst/>
            <a:cxnLst/>
            <a:rect l="l" t="t" r="r" b="b"/>
            <a:pathLst>
              <a:path w="5952" h="7650">
                <a:moveTo>
                  <a:pt x="5704" y="2714"/>
                </a:moveTo>
                <a:lnTo>
                  <a:pt x="5952" y="0"/>
                </a:lnTo>
                <a:lnTo>
                  <a:pt x="2480" y="0"/>
                </a:lnTo>
                <a:lnTo>
                  <a:pt x="2232" y="1727"/>
                </a:lnTo>
                <a:lnTo>
                  <a:pt x="1488" y="3208"/>
                </a:lnTo>
                <a:lnTo>
                  <a:pt x="496" y="3948"/>
                </a:lnTo>
                <a:lnTo>
                  <a:pt x="0" y="4195"/>
                </a:lnTo>
                <a:lnTo>
                  <a:pt x="0" y="7650"/>
                </a:lnTo>
                <a:lnTo>
                  <a:pt x="2480" y="6909"/>
                </a:lnTo>
                <a:lnTo>
                  <a:pt x="4464" y="5182"/>
                </a:lnTo>
                <a:lnTo>
                  <a:pt x="5704" y="2714"/>
                </a:lnTo>
                <a:close/>
              </a:path>
            </a:pathLst>
          </a:custGeom>
          <a:solidFill>
            <a:srgbClr val="000000"/>
          </a:solidFill>
        </p:spPr>
        <p:txBody>
          <a:bodyPr wrap="square" lIns="0" tIns="0" rIns="0" bIns="0" rtlCol="0">
            <a:noAutofit/>
          </a:bodyPr>
          <a:lstStyle/>
          <a:p>
            <a:endParaRPr/>
          </a:p>
        </p:txBody>
      </p:sp>
      <p:sp>
        <p:nvSpPr>
          <p:cNvPr id="2305" name="object 2305"/>
          <p:cNvSpPr/>
          <p:nvPr/>
        </p:nvSpPr>
        <p:spPr>
          <a:xfrm>
            <a:off x="8277786" y="1786738"/>
            <a:ext cx="5704" cy="7650"/>
          </a:xfrm>
          <a:custGeom>
            <a:avLst/>
            <a:gdLst/>
            <a:ahLst/>
            <a:cxnLst/>
            <a:rect l="l" t="t" r="r" b="b"/>
            <a:pathLst>
              <a:path w="5704" h="7650">
                <a:moveTo>
                  <a:pt x="5704" y="7650"/>
                </a:moveTo>
                <a:lnTo>
                  <a:pt x="5704" y="4195"/>
                </a:lnTo>
                <a:lnTo>
                  <a:pt x="5208" y="3948"/>
                </a:lnTo>
                <a:lnTo>
                  <a:pt x="4464" y="3208"/>
                </a:lnTo>
                <a:lnTo>
                  <a:pt x="3720" y="1727"/>
                </a:lnTo>
                <a:lnTo>
                  <a:pt x="3472" y="0"/>
                </a:lnTo>
                <a:lnTo>
                  <a:pt x="0" y="0"/>
                </a:lnTo>
                <a:lnTo>
                  <a:pt x="248" y="2714"/>
                </a:lnTo>
                <a:lnTo>
                  <a:pt x="1488" y="5182"/>
                </a:lnTo>
                <a:lnTo>
                  <a:pt x="3224" y="6909"/>
                </a:lnTo>
                <a:lnTo>
                  <a:pt x="5704" y="7650"/>
                </a:lnTo>
                <a:close/>
              </a:path>
            </a:pathLst>
          </a:custGeom>
          <a:solidFill>
            <a:srgbClr val="000000"/>
          </a:solidFill>
        </p:spPr>
        <p:txBody>
          <a:bodyPr wrap="square" lIns="0" tIns="0" rIns="0" bIns="0" rtlCol="0">
            <a:noAutofit/>
          </a:bodyPr>
          <a:lstStyle/>
          <a:p>
            <a:endParaRPr/>
          </a:p>
        </p:txBody>
      </p:sp>
      <p:sp>
        <p:nvSpPr>
          <p:cNvPr id="2306" name="object 2306"/>
          <p:cNvSpPr/>
          <p:nvPr/>
        </p:nvSpPr>
        <p:spPr>
          <a:xfrm>
            <a:off x="8277786" y="1779088"/>
            <a:ext cx="5704" cy="7650"/>
          </a:xfrm>
          <a:custGeom>
            <a:avLst/>
            <a:gdLst/>
            <a:ahLst/>
            <a:cxnLst/>
            <a:rect l="l" t="t" r="r" b="b"/>
            <a:pathLst>
              <a:path w="5704" h="7650">
                <a:moveTo>
                  <a:pt x="5704" y="0"/>
                </a:moveTo>
                <a:lnTo>
                  <a:pt x="3224" y="740"/>
                </a:lnTo>
                <a:lnTo>
                  <a:pt x="1488" y="2467"/>
                </a:lnTo>
                <a:lnTo>
                  <a:pt x="248" y="4935"/>
                </a:lnTo>
                <a:lnTo>
                  <a:pt x="0" y="7650"/>
                </a:lnTo>
                <a:lnTo>
                  <a:pt x="3472" y="7650"/>
                </a:lnTo>
                <a:lnTo>
                  <a:pt x="3720" y="5922"/>
                </a:lnTo>
                <a:lnTo>
                  <a:pt x="4464" y="4441"/>
                </a:lnTo>
                <a:lnTo>
                  <a:pt x="5208" y="3701"/>
                </a:lnTo>
                <a:lnTo>
                  <a:pt x="5704" y="3454"/>
                </a:lnTo>
                <a:lnTo>
                  <a:pt x="5704" y="0"/>
                </a:lnTo>
                <a:close/>
              </a:path>
            </a:pathLst>
          </a:custGeom>
          <a:solidFill>
            <a:srgbClr val="000000"/>
          </a:solidFill>
        </p:spPr>
        <p:txBody>
          <a:bodyPr wrap="square" lIns="0" tIns="0" rIns="0" bIns="0" rtlCol="0">
            <a:noAutofit/>
          </a:bodyPr>
          <a:lstStyle/>
          <a:p>
            <a:endParaRPr/>
          </a:p>
        </p:txBody>
      </p:sp>
      <p:sp>
        <p:nvSpPr>
          <p:cNvPr id="2307" name="object 2307"/>
          <p:cNvSpPr/>
          <p:nvPr/>
        </p:nvSpPr>
        <p:spPr>
          <a:xfrm>
            <a:off x="8269353" y="1826470"/>
            <a:ext cx="6200" cy="8637"/>
          </a:xfrm>
          <a:custGeom>
            <a:avLst/>
            <a:gdLst/>
            <a:ahLst/>
            <a:cxnLst/>
            <a:rect l="l" t="t" r="r" b="b"/>
            <a:pathLst>
              <a:path w="6200" h="8637">
                <a:moveTo>
                  <a:pt x="0" y="4195"/>
                </a:moveTo>
                <a:lnTo>
                  <a:pt x="248" y="5922"/>
                </a:lnTo>
                <a:lnTo>
                  <a:pt x="992" y="7403"/>
                </a:lnTo>
                <a:lnTo>
                  <a:pt x="1984" y="8390"/>
                </a:lnTo>
                <a:lnTo>
                  <a:pt x="3224" y="8637"/>
                </a:lnTo>
                <a:lnTo>
                  <a:pt x="4216" y="8390"/>
                </a:lnTo>
                <a:lnTo>
                  <a:pt x="5208" y="7403"/>
                </a:lnTo>
                <a:lnTo>
                  <a:pt x="5952" y="5922"/>
                </a:lnTo>
                <a:lnTo>
                  <a:pt x="6200" y="4195"/>
                </a:lnTo>
                <a:lnTo>
                  <a:pt x="5952" y="2714"/>
                </a:lnTo>
                <a:lnTo>
                  <a:pt x="5208" y="1233"/>
                </a:lnTo>
                <a:lnTo>
                  <a:pt x="4216" y="246"/>
                </a:lnTo>
                <a:lnTo>
                  <a:pt x="3224" y="0"/>
                </a:lnTo>
                <a:lnTo>
                  <a:pt x="1984" y="246"/>
                </a:lnTo>
                <a:lnTo>
                  <a:pt x="992" y="1233"/>
                </a:lnTo>
                <a:lnTo>
                  <a:pt x="248" y="2714"/>
                </a:lnTo>
                <a:lnTo>
                  <a:pt x="0" y="4195"/>
                </a:lnTo>
                <a:close/>
              </a:path>
            </a:pathLst>
          </a:custGeom>
          <a:solidFill>
            <a:srgbClr val="FFFFFF"/>
          </a:solidFill>
        </p:spPr>
        <p:txBody>
          <a:bodyPr wrap="square" lIns="0" tIns="0" rIns="0" bIns="0" rtlCol="0">
            <a:noAutofit/>
          </a:bodyPr>
          <a:lstStyle/>
          <a:p>
            <a:endParaRPr/>
          </a:p>
        </p:txBody>
      </p:sp>
      <p:sp>
        <p:nvSpPr>
          <p:cNvPr id="2308" name="object 2308"/>
          <p:cNvSpPr/>
          <p:nvPr/>
        </p:nvSpPr>
        <p:spPr>
          <a:xfrm>
            <a:off x="8296883" y="1854109"/>
            <a:ext cx="5952" cy="8637"/>
          </a:xfrm>
          <a:custGeom>
            <a:avLst/>
            <a:gdLst/>
            <a:ahLst/>
            <a:cxnLst/>
            <a:rect l="l" t="t" r="r" b="b"/>
            <a:pathLst>
              <a:path w="5952" h="8637">
                <a:moveTo>
                  <a:pt x="0" y="4195"/>
                </a:moveTo>
                <a:lnTo>
                  <a:pt x="248" y="5922"/>
                </a:lnTo>
                <a:lnTo>
                  <a:pt x="744" y="7403"/>
                </a:lnTo>
                <a:lnTo>
                  <a:pt x="1736" y="8390"/>
                </a:lnTo>
                <a:lnTo>
                  <a:pt x="2976" y="8637"/>
                </a:lnTo>
                <a:lnTo>
                  <a:pt x="4216" y="8390"/>
                </a:lnTo>
                <a:lnTo>
                  <a:pt x="5208" y="7403"/>
                </a:lnTo>
                <a:lnTo>
                  <a:pt x="5704" y="5922"/>
                </a:lnTo>
                <a:lnTo>
                  <a:pt x="5952" y="4195"/>
                </a:lnTo>
                <a:lnTo>
                  <a:pt x="5704" y="2714"/>
                </a:lnTo>
                <a:lnTo>
                  <a:pt x="5208" y="1233"/>
                </a:lnTo>
                <a:lnTo>
                  <a:pt x="4216" y="246"/>
                </a:lnTo>
                <a:lnTo>
                  <a:pt x="2976" y="0"/>
                </a:lnTo>
                <a:lnTo>
                  <a:pt x="1736" y="246"/>
                </a:lnTo>
                <a:lnTo>
                  <a:pt x="744" y="1233"/>
                </a:lnTo>
                <a:lnTo>
                  <a:pt x="248" y="2714"/>
                </a:lnTo>
                <a:lnTo>
                  <a:pt x="0" y="4195"/>
                </a:lnTo>
                <a:close/>
              </a:path>
            </a:pathLst>
          </a:custGeom>
          <a:solidFill>
            <a:srgbClr val="FFFFFF"/>
          </a:solidFill>
        </p:spPr>
        <p:txBody>
          <a:bodyPr wrap="square" lIns="0" tIns="0" rIns="0" bIns="0" rtlCol="0">
            <a:noAutofit/>
          </a:bodyPr>
          <a:lstStyle/>
          <a:p>
            <a:endParaRPr/>
          </a:p>
        </p:txBody>
      </p:sp>
      <p:sp>
        <p:nvSpPr>
          <p:cNvPr id="2309" name="object 2309"/>
          <p:cNvSpPr/>
          <p:nvPr/>
        </p:nvSpPr>
        <p:spPr>
          <a:xfrm>
            <a:off x="8324908" y="1827950"/>
            <a:ext cx="5952" cy="8637"/>
          </a:xfrm>
          <a:custGeom>
            <a:avLst/>
            <a:gdLst/>
            <a:ahLst/>
            <a:cxnLst/>
            <a:rect l="l" t="t" r="r" b="b"/>
            <a:pathLst>
              <a:path w="5952" h="8637">
                <a:moveTo>
                  <a:pt x="0" y="4195"/>
                </a:moveTo>
                <a:lnTo>
                  <a:pt x="248" y="5922"/>
                </a:lnTo>
                <a:lnTo>
                  <a:pt x="744" y="7403"/>
                </a:lnTo>
                <a:lnTo>
                  <a:pt x="1736" y="8390"/>
                </a:lnTo>
                <a:lnTo>
                  <a:pt x="2976" y="8637"/>
                </a:lnTo>
                <a:lnTo>
                  <a:pt x="4216" y="8390"/>
                </a:lnTo>
                <a:lnTo>
                  <a:pt x="5208" y="7403"/>
                </a:lnTo>
                <a:lnTo>
                  <a:pt x="5704" y="5922"/>
                </a:lnTo>
                <a:lnTo>
                  <a:pt x="5952" y="4195"/>
                </a:lnTo>
                <a:lnTo>
                  <a:pt x="5704" y="2714"/>
                </a:lnTo>
                <a:lnTo>
                  <a:pt x="5208" y="1233"/>
                </a:lnTo>
                <a:lnTo>
                  <a:pt x="4216" y="246"/>
                </a:lnTo>
                <a:lnTo>
                  <a:pt x="2976" y="0"/>
                </a:lnTo>
                <a:lnTo>
                  <a:pt x="1736" y="246"/>
                </a:lnTo>
                <a:lnTo>
                  <a:pt x="744" y="1233"/>
                </a:lnTo>
                <a:lnTo>
                  <a:pt x="248" y="2714"/>
                </a:lnTo>
                <a:lnTo>
                  <a:pt x="0" y="4195"/>
                </a:lnTo>
                <a:close/>
              </a:path>
            </a:pathLst>
          </a:custGeom>
          <a:solidFill>
            <a:srgbClr val="FFFFFF"/>
          </a:solidFill>
        </p:spPr>
        <p:txBody>
          <a:bodyPr wrap="square" lIns="0" tIns="0" rIns="0" bIns="0" rtlCol="0">
            <a:noAutofit/>
          </a:bodyPr>
          <a:lstStyle/>
          <a:p>
            <a:endParaRPr/>
          </a:p>
        </p:txBody>
      </p:sp>
      <p:sp>
        <p:nvSpPr>
          <p:cNvPr id="2310" name="object 2310"/>
          <p:cNvSpPr/>
          <p:nvPr/>
        </p:nvSpPr>
        <p:spPr>
          <a:xfrm>
            <a:off x="8314491" y="1781310"/>
            <a:ext cx="6200" cy="8637"/>
          </a:xfrm>
          <a:custGeom>
            <a:avLst/>
            <a:gdLst/>
            <a:ahLst/>
            <a:cxnLst/>
            <a:rect l="l" t="t" r="r" b="b"/>
            <a:pathLst>
              <a:path w="6200" h="8637">
                <a:moveTo>
                  <a:pt x="0" y="4195"/>
                </a:moveTo>
                <a:lnTo>
                  <a:pt x="248" y="5922"/>
                </a:lnTo>
                <a:lnTo>
                  <a:pt x="992" y="7403"/>
                </a:lnTo>
                <a:lnTo>
                  <a:pt x="1984" y="8390"/>
                </a:lnTo>
                <a:lnTo>
                  <a:pt x="2976" y="8637"/>
                </a:lnTo>
                <a:lnTo>
                  <a:pt x="4216" y="8390"/>
                </a:lnTo>
                <a:lnTo>
                  <a:pt x="5208" y="7403"/>
                </a:lnTo>
                <a:lnTo>
                  <a:pt x="5952" y="5922"/>
                </a:lnTo>
                <a:lnTo>
                  <a:pt x="6200" y="4195"/>
                </a:lnTo>
                <a:lnTo>
                  <a:pt x="5952" y="2467"/>
                </a:lnTo>
                <a:lnTo>
                  <a:pt x="5208" y="1233"/>
                </a:lnTo>
                <a:lnTo>
                  <a:pt x="4216" y="246"/>
                </a:lnTo>
                <a:lnTo>
                  <a:pt x="2976" y="0"/>
                </a:lnTo>
                <a:lnTo>
                  <a:pt x="1984" y="246"/>
                </a:lnTo>
                <a:lnTo>
                  <a:pt x="992" y="1233"/>
                </a:lnTo>
                <a:lnTo>
                  <a:pt x="248" y="2467"/>
                </a:lnTo>
                <a:lnTo>
                  <a:pt x="0" y="4195"/>
                </a:lnTo>
                <a:close/>
              </a:path>
            </a:pathLst>
          </a:custGeom>
          <a:solidFill>
            <a:srgbClr val="FFFFFF"/>
          </a:solidFill>
        </p:spPr>
        <p:txBody>
          <a:bodyPr wrap="square" lIns="0" tIns="0" rIns="0" bIns="0" rtlCol="0">
            <a:noAutofit/>
          </a:bodyPr>
          <a:lstStyle/>
          <a:p>
            <a:endParaRPr/>
          </a:p>
        </p:txBody>
      </p:sp>
      <p:sp>
        <p:nvSpPr>
          <p:cNvPr id="2311" name="object 2311"/>
          <p:cNvSpPr/>
          <p:nvPr/>
        </p:nvSpPr>
        <p:spPr>
          <a:xfrm>
            <a:off x="8280514" y="1781063"/>
            <a:ext cx="5952" cy="8637"/>
          </a:xfrm>
          <a:custGeom>
            <a:avLst/>
            <a:gdLst/>
            <a:ahLst/>
            <a:cxnLst/>
            <a:rect l="l" t="t" r="r" b="b"/>
            <a:pathLst>
              <a:path w="5952" h="8637">
                <a:moveTo>
                  <a:pt x="0" y="4441"/>
                </a:moveTo>
                <a:lnTo>
                  <a:pt x="248" y="6169"/>
                </a:lnTo>
                <a:lnTo>
                  <a:pt x="744" y="7403"/>
                </a:lnTo>
                <a:lnTo>
                  <a:pt x="1736" y="8390"/>
                </a:lnTo>
                <a:lnTo>
                  <a:pt x="2976" y="8637"/>
                </a:lnTo>
                <a:lnTo>
                  <a:pt x="4216" y="8390"/>
                </a:lnTo>
                <a:lnTo>
                  <a:pt x="5208" y="7403"/>
                </a:lnTo>
                <a:lnTo>
                  <a:pt x="5704" y="6169"/>
                </a:lnTo>
                <a:lnTo>
                  <a:pt x="5952" y="4441"/>
                </a:lnTo>
                <a:lnTo>
                  <a:pt x="5704" y="2714"/>
                </a:lnTo>
                <a:lnTo>
                  <a:pt x="5208" y="1233"/>
                </a:lnTo>
                <a:lnTo>
                  <a:pt x="4216" y="246"/>
                </a:lnTo>
                <a:lnTo>
                  <a:pt x="2976" y="0"/>
                </a:lnTo>
                <a:lnTo>
                  <a:pt x="1736" y="246"/>
                </a:lnTo>
                <a:lnTo>
                  <a:pt x="744" y="1233"/>
                </a:lnTo>
                <a:lnTo>
                  <a:pt x="248" y="2714"/>
                </a:lnTo>
                <a:lnTo>
                  <a:pt x="0" y="4441"/>
                </a:lnTo>
                <a:close/>
              </a:path>
            </a:pathLst>
          </a:custGeom>
          <a:solidFill>
            <a:srgbClr val="FFFFFF"/>
          </a:solidFill>
        </p:spPr>
        <p:txBody>
          <a:bodyPr wrap="square" lIns="0" tIns="0" rIns="0" bIns="0" rtlCol="0">
            <a:noAutofit/>
          </a:bodyPr>
          <a:lstStyle/>
          <a:p>
            <a:endParaRPr/>
          </a:p>
        </p:txBody>
      </p:sp>
      <p:sp>
        <p:nvSpPr>
          <p:cNvPr id="2312" name="object 2312"/>
          <p:cNvSpPr/>
          <p:nvPr/>
        </p:nvSpPr>
        <p:spPr>
          <a:xfrm>
            <a:off x="8272577" y="1824741"/>
            <a:ext cx="4712" cy="5922"/>
          </a:xfrm>
          <a:custGeom>
            <a:avLst/>
            <a:gdLst/>
            <a:ahLst/>
            <a:cxnLst/>
            <a:rect l="l" t="t" r="r" b="b"/>
            <a:pathLst>
              <a:path w="4712" h="5922">
                <a:moveTo>
                  <a:pt x="4712" y="5922"/>
                </a:moveTo>
                <a:lnTo>
                  <a:pt x="4464" y="3948"/>
                </a:lnTo>
                <a:lnTo>
                  <a:pt x="3472" y="1974"/>
                </a:lnTo>
                <a:lnTo>
                  <a:pt x="1984" y="493"/>
                </a:lnTo>
                <a:lnTo>
                  <a:pt x="0" y="0"/>
                </a:lnTo>
                <a:lnTo>
                  <a:pt x="0" y="3454"/>
                </a:lnTo>
                <a:lnTo>
                  <a:pt x="496" y="3948"/>
                </a:lnTo>
                <a:lnTo>
                  <a:pt x="992" y="4935"/>
                </a:lnTo>
                <a:lnTo>
                  <a:pt x="1240" y="5922"/>
                </a:lnTo>
                <a:lnTo>
                  <a:pt x="4712" y="5922"/>
                </a:lnTo>
                <a:close/>
              </a:path>
            </a:pathLst>
          </a:custGeom>
          <a:solidFill>
            <a:srgbClr val="FFFFFF"/>
          </a:solidFill>
        </p:spPr>
        <p:txBody>
          <a:bodyPr wrap="square" lIns="0" tIns="0" rIns="0" bIns="0" rtlCol="0">
            <a:noAutofit/>
          </a:bodyPr>
          <a:lstStyle/>
          <a:p>
            <a:endParaRPr/>
          </a:p>
        </p:txBody>
      </p:sp>
      <p:sp>
        <p:nvSpPr>
          <p:cNvPr id="2313" name="object 2313"/>
          <p:cNvSpPr/>
          <p:nvPr/>
        </p:nvSpPr>
        <p:spPr>
          <a:xfrm>
            <a:off x="8272577" y="1830665"/>
            <a:ext cx="4712" cy="6169"/>
          </a:xfrm>
          <a:custGeom>
            <a:avLst/>
            <a:gdLst/>
            <a:ahLst/>
            <a:cxnLst/>
            <a:rect l="l" t="t" r="r" b="b"/>
            <a:pathLst>
              <a:path w="4712" h="6169">
                <a:moveTo>
                  <a:pt x="0" y="6169"/>
                </a:moveTo>
                <a:lnTo>
                  <a:pt x="1984" y="5675"/>
                </a:lnTo>
                <a:lnTo>
                  <a:pt x="3472" y="4195"/>
                </a:lnTo>
                <a:lnTo>
                  <a:pt x="4464" y="2220"/>
                </a:lnTo>
                <a:lnTo>
                  <a:pt x="4712" y="0"/>
                </a:lnTo>
                <a:lnTo>
                  <a:pt x="1240" y="0"/>
                </a:lnTo>
                <a:lnTo>
                  <a:pt x="992" y="1233"/>
                </a:lnTo>
                <a:lnTo>
                  <a:pt x="496" y="2220"/>
                </a:lnTo>
                <a:lnTo>
                  <a:pt x="0" y="2714"/>
                </a:lnTo>
                <a:lnTo>
                  <a:pt x="0" y="6169"/>
                </a:lnTo>
                <a:close/>
              </a:path>
            </a:pathLst>
          </a:custGeom>
          <a:solidFill>
            <a:srgbClr val="FFFFFF"/>
          </a:solidFill>
        </p:spPr>
        <p:txBody>
          <a:bodyPr wrap="square" lIns="0" tIns="0" rIns="0" bIns="0" rtlCol="0">
            <a:noAutofit/>
          </a:bodyPr>
          <a:lstStyle/>
          <a:p>
            <a:endParaRPr/>
          </a:p>
        </p:txBody>
      </p:sp>
      <p:sp>
        <p:nvSpPr>
          <p:cNvPr id="2314" name="object 2314"/>
          <p:cNvSpPr/>
          <p:nvPr/>
        </p:nvSpPr>
        <p:spPr>
          <a:xfrm>
            <a:off x="8267617" y="1830665"/>
            <a:ext cx="4960" cy="6169"/>
          </a:xfrm>
          <a:custGeom>
            <a:avLst/>
            <a:gdLst/>
            <a:ahLst/>
            <a:cxnLst/>
            <a:rect l="l" t="t" r="r" b="b"/>
            <a:pathLst>
              <a:path w="4960" h="6169">
                <a:moveTo>
                  <a:pt x="4960" y="6169"/>
                </a:moveTo>
                <a:lnTo>
                  <a:pt x="4960" y="2714"/>
                </a:lnTo>
                <a:lnTo>
                  <a:pt x="4464" y="2714"/>
                </a:lnTo>
                <a:lnTo>
                  <a:pt x="4216" y="2220"/>
                </a:lnTo>
                <a:lnTo>
                  <a:pt x="3720" y="1233"/>
                </a:lnTo>
                <a:lnTo>
                  <a:pt x="3472" y="0"/>
                </a:lnTo>
                <a:lnTo>
                  <a:pt x="0" y="0"/>
                </a:lnTo>
                <a:lnTo>
                  <a:pt x="248" y="2220"/>
                </a:lnTo>
                <a:lnTo>
                  <a:pt x="1240" y="4195"/>
                </a:lnTo>
                <a:lnTo>
                  <a:pt x="2976" y="5675"/>
                </a:lnTo>
                <a:lnTo>
                  <a:pt x="4960" y="6169"/>
                </a:lnTo>
                <a:close/>
              </a:path>
            </a:pathLst>
          </a:custGeom>
          <a:solidFill>
            <a:srgbClr val="FFFFFF"/>
          </a:solidFill>
        </p:spPr>
        <p:txBody>
          <a:bodyPr wrap="square" lIns="0" tIns="0" rIns="0" bIns="0" rtlCol="0">
            <a:noAutofit/>
          </a:bodyPr>
          <a:lstStyle/>
          <a:p>
            <a:endParaRPr/>
          </a:p>
        </p:txBody>
      </p:sp>
      <p:sp>
        <p:nvSpPr>
          <p:cNvPr id="2315" name="object 2315"/>
          <p:cNvSpPr/>
          <p:nvPr/>
        </p:nvSpPr>
        <p:spPr>
          <a:xfrm>
            <a:off x="8267617" y="1824741"/>
            <a:ext cx="4960" cy="5922"/>
          </a:xfrm>
          <a:custGeom>
            <a:avLst/>
            <a:gdLst/>
            <a:ahLst/>
            <a:cxnLst/>
            <a:rect l="l" t="t" r="r" b="b"/>
            <a:pathLst>
              <a:path w="4960" h="5922">
                <a:moveTo>
                  <a:pt x="4960" y="0"/>
                </a:moveTo>
                <a:lnTo>
                  <a:pt x="2976" y="493"/>
                </a:lnTo>
                <a:lnTo>
                  <a:pt x="1240" y="1974"/>
                </a:lnTo>
                <a:lnTo>
                  <a:pt x="248" y="3948"/>
                </a:lnTo>
                <a:lnTo>
                  <a:pt x="0" y="5922"/>
                </a:lnTo>
                <a:lnTo>
                  <a:pt x="3472" y="5922"/>
                </a:lnTo>
                <a:lnTo>
                  <a:pt x="3720" y="4935"/>
                </a:lnTo>
                <a:lnTo>
                  <a:pt x="4216" y="3948"/>
                </a:lnTo>
                <a:lnTo>
                  <a:pt x="4464" y="3454"/>
                </a:lnTo>
                <a:lnTo>
                  <a:pt x="4960" y="3454"/>
                </a:lnTo>
                <a:lnTo>
                  <a:pt x="4960" y="0"/>
                </a:lnTo>
                <a:close/>
              </a:path>
            </a:pathLst>
          </a:custGeom>
          <a:solidFill>
            <a:srgbClr val="FFFFFF"/>
          </a:solidFill>
        </p:spPr>
        <p:txBody>
          <a:bodyPr wrap="square" lIns="0" tIns="0" rIns="0" bIns="0" rtlCol="0">
            <a:noAutofit/>
          </a:bodyPr>
          <a:lstStyle/>
          <a:p>
            <a:endParaRPr/>
          </a:p>
        </p:txBody>
      </p:sp>
      <p:sp>
        <p:nvSpPr>
          <p:cNvPr id="2316" name="object 2316"/>
          <p:cNvSpPr/>
          <p:nvPr/>
        </p:nvSpPr>
        <p:spPr>
          <a:xfrm>
            <a:off x="8299859" y="1852380"/>
            <a:ext cx="4712" cy="5922"/>
          </a:xfrm>
          <a:custGeom>
            <a:avLst/>
            <a:gdLst/>
            <a:ahLst/>
            <a:cxnLst/>
            <a:rect l="l" t="t" r="r" b="b"/>
            <a:pathLst>
              <a:path w="4712" h="5922">
                <a:moveTo>
                  <a:pt x="496" y="3454"/>
                </a:moveTo>
                <a:lnTo>
                  <a:pt x="744" y="3948"/>
                </a:lnTo>
                <a:lnTo>
                  <a:pt x="992" y="4935"/>
                </a:lnTo>
                <a:lnTo>
                  <a:pt x="1240" y="5922"/>
                </a:lnTo>
                <a:lnTo>
                  <a:pt x="4712" y="5922"/>
                </a:lnTo>
                <a:lnTo>
                  <a:pt x="4464" y="3948"/>
                </a:lnTo>
                <a:lnTo>
                  <a:pt x="3720" y="1974"/>
                </a:lnTo>
                <a:lnTo>
                  <a:pt x="1984" y="493"/>
                </a:lnTo>
                <a:lnTo>
                  <a:pt x="0" y="0"/>
                </a:lnTo>
                <a:lnTo>
                  <a:pt x="0" y="3454"/>
                </a:lnTo>
                <a:lnTo>
                  <a:pt x="496" y="3454"/>
                </a:lnTo>
                <a:close/>
              </a:path>
            </a:pathLst>
          </a:custGeom>
          <a:solidFill>
            <a:srgbClr val="FFFFFF"/>
          </a:solidFill>
        </p:spPr>
        <p:txBody>
          <a:bodyPr wrap="square" lIns="0" tIns="0" rIns="0" bIns="0" rtlCol="0">
            <a:noAutofit/>
          </a:bodyPr>
          <a:lstStyle/>
          <a:p>
            <a:endParaRPr/>
          </a:p>
        </p:txBody>
      </p:sp>
      <p:sp>
        <p:nvSpPr>
          <p:cNvPr id="2317" name="object 2317"/>
          <p:cNvSpPr/>
          <p:nvPr/>
        </p:nvSpPr>
        <p:spPr>
          <a:xfrm>
            <a:off x="8299859" y="1858304"/>
            <a:ext cx="4712" cy="6169"/>
          </a:xfrm>
          <a:custGeom>
            <a:avLst/>
            <a:gdLst/>
            <a:ahLst/>
            <a:cxnLst/>
            <a:rect l="l" t="t" r="r" b="b"/>
            <a:pathLst>
              <a:path w="4712" h="6169">
                <a:moveTo>
                  <a:pt x="0" y="6169"/>
                </a:moveTo>
                <a:lnTo>
                  <a:pt x="1984" y="5675"/>
                </a:lnTo>
                <a:lnTo>
                  <a:pt x="3720" y="4195"/>
                </a:lnTo>
                <a:lnTo>
                  <a:pt x="4464" y="2220"/>
                </a:lnTo>
                <a:lnTo>
                  <a:pt x="4712" y="0"/>
                </a:lnTo>
                <a:lnTo>
                  <a:pt x="1240" y="0"/>
                </a:lnTo>
                <a:lnTo>
                  <a:pt x="992" y="1233"/>
                </a:lnTo>
                <a:lnTo>
                  <a:pt x="744" y="2220"/>
                </a:lnTo>
                <a:lnTo>
                  <a:pt x="496" y="2714"/>
                </a:lnTo>
                <a:lnTo>
                  <a:pt x="0" y="2714"/>
                </a:lnTo>
                <a:lnTo>
                  <a:pt x="0" y="6169"/>
                </a:lnTo>
                <a:close/>
              </a:path>
            </a:pathLst>
          </a:custGeom>
          <a:solidFill>
            <a:srgbClr val="FFFFFF"/>
          </a:solidFill>
        </p:spPr>
        <p:txBody>
          <a:bodyPr wrap="square" lIns="0" tIns="0" rIns="0" bIns="0" rtlCol="0">
            <a:noAutofit/>
          </a:bodyPr>
          <a:lstStyle/>
          <a:p>
            <a:endParaRPr/>
          </a:p>
        </p:txBody>
      </p:sp>
      <p:sp>
        <p:nvSpPr>
          <p:cNvPr id="2318" name="object 2318"/>
          <p:cNvSpPr/>
          <p:nvPr/>
        </p:nvSpPr>
        <p:spPr>
          <a:xfrm>
            <a:off x="8295146" y="1858304"/>
            <a:ext cx="4712" cy="6169"/>
          </a:xfrm>
          <a:custGeom>
            <a:avLst/>
            <a:gdLst/>
            <a:ahLst/>
            <a:cxnLst/>
            <a:rect l="l" t="t" r="r" b="b"/>
            <a:pathLst>
              <a:path w="4712" h="6169">
                <a:moveTo>
                  <a:pt x="4712" y="6169"/>
                </a:moveTo>
                <a:lnTo>
                  <a:pt x="4712" y="2714"/>
                </a:lnTo>
                <a:lnTo>
                  <a:pt x="4216" y="2714"/>
                </a:lnTo>
                <a:lnTo>
                  <a:pt x="3968" y="2220"/>
                </a:lnTo>
                <a:lnTo>
                  <a:pt x="3720" y="1233"/>
                </a:lnTo>
                <a:lnTo>
                  <a:pt x="3472" y="0"/>
                </a:lnTo>
                <a:lnTo>
                  <a:pt x="0" y="0"/>
                </a:lnTo>
                <a:lnTo>
                  <a:pt x="248" y="2220"/>
                </a:lnTo>
                <a:lnTo>
                  <a:pt x="992" y="4195"/>
                </a:lnTo>
                <a:lnTo>
                  <a:pt x="2728" y="5675"/>
                </a:lnTo>
                <a:lnTo>
                  <a:pt x="4712" y="6169"/>
                </a:lnTo>
                <a:close/>
              </a:path>
            </a:pathLst>
          </a:custGeom>
          <a:solidFill>
            <a:srgbClr val="FFFFFF"/>
          </a:solidFill>
        </p:spPr>
        <p:txBody>
          <a:bodyPr wrap="square" lIns="0" tIns="0" rIns="0" bIns="0" rtlCol="0">
            <a:noAutofit/>
          </a:bodyPr>
          <a:lstStyle/>
          <a:p>
            <a:endParaRPr/>
          </a:p>
        </p:txBody>
      </p:sp>
      <p:sp>
        <p:nvSpPr>
          <p:cNvPr id="2319" name="object 2319"/>
          <p:cNvSpPr/>
          <p:nvPr/>
        </p:nvSpPr>
        <p:spPr>
          <a:xfrm>
            <a:off x="8295146" y="1852380"/>
            <a:ext cx="4712" cy="5922"/>
          </a:xfrm>
          <a:custGeom>
            <a:avLst/>
            <a:gdLst/>
            <a:ahLst/>
            <a:cxnLst/>
            <a:rect l="l" t="t" r="r" b="b"/>
            <a:pathLst>
              <a:path w="4712" h="5922">
                <a:moveTo>
                  <a:pt x="4712" y="0"/>
                </a:moveTo>
                <a:lnTo>
                  <a:pt x="2728" y="493"/>
                </a:lnTo>
                <a:lnTo>
                  <a:pt x="992" y="1974"/>
                </a:lnTo>
                <a:lnTo>
                  <a:pt x="248" y="3948"/>
                </a:lnTo>
                <a:lnTo>
                  <a:pt x="0" y="5922"/>
                </a:lnTo>
                <a:lnTo>
                  <a:pt x="3472" y="5922"/>
                </a:lnTo>
                <a:lnTo>
                  <a:pt x="3720" y="4935"/>
                </a:lnTo>
                <a:lnTo>
                  <a:pt x="3968" y="3948"/>
                </a:lnTo>
                <a:lnTo>
                  <a:pt x="4216" y="3454"/>
                </a:lnTo>
                <a:lnTo>
                  <a:pt x="4712" y="3454"/>
                </a:lnTo>
                <a:lnTo>
                  <a:pt x="4712" y="0"/>
                </a:lnTo>
                <a:close/>
              </a:path>
            </a:pathLst>
          </a:custGeom>
          <a:solidFill>
            <a:srgbClr val="FFFFFF"/>
          </a:solidFill>
        </p:spPr>
        <p:txBody>
          <a:bodyPr wrap="square" lIns="0" tIns="0" rIns="0" bIns="0" rtlCol="0">
            <a:noAutofit/>
          </a:bodyPr>
          <a:lstStyle/>
          <a:p>
            <a:endParaRPr/>
          </a:p>
        </p:txBody>
      </p:sp>
      <p:sp>
        <p:nvSpPr>
          <p:cNvPr id="2320" name="object 2320"/>
          <p:cNvSpPr/>
          <p:nvPr/>
        </p:nvSpPr>
        <p:spPr>
          <a:xfrm>
            <a:off x="8327884" y="1826222"/>
            <a:ext cx="4712" cy="5922"/>
          </a:xfrm>
          <a:custGeom>
            <a:avLst/>
            <a:gdLst/>
            <a:ahLst/>
            <a:cxnLst/>
            <a:rect l="l" t="t" r="r" b="b"/>
            <a:pathLst>
              <a:path w="4712" h="5922">
                <a:moveTo>
                  <a:pt x="496" y="3454"/>
                </a:moveTo>
                <a:lnTo>
                  <a:pt x="744" y="3948"/>
                </a:lnTo>
                <a:lnTo>
                  <a:pt x="992" y="4935"/>
                </a:lnTo>
                <a:lnTo>
                  <a:pt x="1240" y="5922"/>
                </a:lnTo>
                <a:lnTo>
                  <a:pt x="4712" y="5922"/>
                </a:lnTo>
                <a:lnTo>
                  <a:pt x="4464" y="3948"/>
                </a:lnTo>
                <a:lnTo>
                  <a:pt x="3720" y="1974"/>
                </a:lnTo>
                <a:lnTo>
                  <a:pt x="1984" y="493"/>
                </a:lnTo>
                <a:lnTo>
                  <a:pt x="0" y="0"/>
                </a:lnTo>
                <a:lnTo>
                  <a:pt x="0" y="3454"/>
                </a:lnTo>
                <a:lnTo>
                  <a:pt x="496" y="3454"/>
                </a:lnTo>
                <a:close/>
              </a:path>
            </a:pathLst>
          </a:custGeom>
          <a:solidFill>
            <a:srgbClr val="FFFFFF"/>
          </a:solidFill>
        </p:spPr>
        <p:txBody>
          <a:bodyPr wrap="square" lIns="0" tIns="0" rIns="0" bIns="0" rtlCol="0">
            <a:noAutofit/>
          </a:bodyPr>
          <a:lstStyle/>
          <a:p>
            <a:endParaRPr/>
          </a:p>
        </p:txBody>
      </p:sp>
      <p:sp>
        <p:nvSpPr>
          <p:cNvPr id="2321" name="object 2321"/>
          <p:cNvSpPr/>
          <p:nvPr/>
        </p:nvSpPr>
        <p:spPr>
          <a:xfrm>
            <a:off x="8327884" y="1832146"/>
            <a:ext cx="4712" cy="6169"/>
          </a:xfrm>
          <a:custGeom>
            <a:avLst/>
            <a:gdLst/>
            <a:ahLst/>
            <a:cxnLst/>
            <a:rect l="l" t="t" r="r" b="b"/>
            <a:pathLst>
              <a:path w="4712" h="6169">
                <a:moveTo>
                  <a:pt x="0" y="6169"/>
                </a:moveTo>
                <a:lnTo>
                  <a:pt x="1984" y="5675"/>
                </a:lnTo>
                <a:lnTo>
                  <a:pt x="3720" y="4195"/>
                </a:lnTo>
                <a:lnTo>
                  <a:pt x="4464" y="2220"/>
                </a:lnTo>
                <a:lnTo>
                  <a:pt x="4712" y="0"/>
                </a:lnTo>
                <a:lnTo>
                  <a:pt x="1240" y="0"/>
                </a:lnTo>
                <a:lnTo>
                  <a:pt x="992" y="1233"/>
                </a:lnTo>
                <a:lnTo>
                  <a:pt x="744" y="2220"/>
                </a:lnTo>
                <a:lnTo>
                  <a:pt x="496" y="2714"/>
                </a:lnTo>
                <a:lnTo>
                  <a:pt x="0" y="2714"/>
                </a:lnTo>
                <a:lnTo>
                  <a:pt x="0" y="6169"/>
                </a:lnTo>
                <a:close/>
              </a:path>
            </a:pathLst>
          </a:custGeom>
          <a:solidFill>
            <a:srgbClr val="FFFFFF"/>
          </a:solidFill>
        </p:spPr>
        <p:txBody>
          <a:bodyPr wrap="square" lIns="0" tIns="0" rIns="0" bIns="0" rtlCol="0">
            <a:noAutofit/>
          </a:bodyPr>
          <a:lstStyle/>
          <a:p>
            <a:endParaRPr/>
          </a:p>
        </p:txBody>
      </p:sp>
      <p:sp>
        <p:nvSpPr>
          <p:cNvPr id="2322" name="object 2322"/>
          <p:cNvSpPr/>
          <p:nvPr/>
        </p:nvSpPr>
        <p:spPr>
          <a:xfrm>
            <a:off x="8323172" y="1832146"/>
            <a:ext cx="4712" cy="6169"/>
          </a:xfrm>
          <a:custGeom>
            <a:avLst/>
            <a:gdLst/>
            <a:ahLst/>
            <a:cxnLst/>
            <a:rect l="l" t="t" r="r" b="b"/>
            <a:pathLst>
              <a:path w="4712" h="6169">
                <a:moveTo>
                  <a:pt x="4712" y="6169"/>
                </a:moveTo>
                <a:lnTo>
                  <a:pt x="4712" y="2714"/>
                </a:lnTo>
                <a:lnTo>
                  <a:pt x="4216" y="2714"/>
                </a:lnTo>
                <a:lnTo>
                  <a:pt x="3968" y="2220"/>
                </a:lnTo>
                <a:lnTo>
                  <a:pt x="3720" y="1233"/>
                </a:lnTo>
                <a:lnTo>
                  <a:pt x="3472" y="0"/>
                </a:lnTo>
                <a:lnTo>
                  <a:pt x="0" y="0"/>
                </a:lnTo>
                <a:lnTo>
                  <a:pt x="248" y="2220"/>
                </a:lnTo>
                <a:lnTo>
                  <a:pt x="992" y="4195"/>
                </a:lnTo>
                <a:lnTo>
                  <a:pt x="2728" y="5675"/>
                </a:lnTo>
                <a:lnTo>
                  <a:pt x="4712" y="6169"/>
                </a:lnTo>
                <a:close/>
              </a:path>
            </a:pathLst>
          </a:custGeom>
          <a:solidFill>
            <a:srgbClr val="FFFFFF"/>
          </a:solidFill>
        </p:spPr>
        <p:txBody>
          <a:bodyPr wrap="square" lIns="0" tIns="0" rIns="0" bIns="0" rtlCol="0">
            <a:noAutofit/>
          </a:bodyPr>
          <a:lstStyle/>
          <a:p>
            <a:endParaRPr/>
          </a:p>
        </p:txBody>
      </p:sp>
      <p:sp>
        <p:nvSpPr>
          <p:cNvPr id="2323" name="object 2323"/>
          <p:cNvSpPr/>
          <p:nvPr/>
        </p:nvSpPr>
        <p:spPr>
          <a:xfrm>
            <a:off x="8323172" y="1826222"/>
            <a:ext cx="4712" cy="5922"/>
          </a:xfrm>
          <a:custGeom>
            <a:avLst/>
            <a:gdLst/>
            <a:ahLst/>
            <a:cxnLst/>
            <a:rect l="l" t="t" r="r" b="b"/>
            <a:pathLst>
              <a:path w="4712" h="5922">
                <a:moveTo>
                  <a:pt x="4712" y="0"/>
                </a:moveTo>
                <a:lnTo>
                  <a:pt x="2728" y="493"/>
                </a:lnTo>
                <a:lnTo>
                  <a:pt x="992" y="1974"/>
                </a:lnTo>
                <a:lnTo>
                  <a:pt x="248" y="3948"/>
                </a:lnTo>
                <a:lnTo>
                  <a:pt x="0" y="5922"/>
                </a:lnTo>
                <a:lnTo>
                  <a:pt x="3472" y="5922"/>
                </a:lnTo>
                <a:lnTo>
                  <a:pt x="3720" y="4935"/>
                </a:lnTo>
                <a:lnTo>
                  <a:pt x="3968" y="3948"/>
                </a:lnTo>
                <a:lnTo>
                  <a:pt x="4216" y="3454"/>
                </a:lnTo>
                <a:lnTo>
                  <a:pt x="4712" y="3454"/>
                </a:lnTo>
                <a:lnTo>
                  <a:pt x="4712" y="0"/>
                </a:lnTo>
                <a:close/>
              </a:path>
            </a:pathLst>
          </a:custGeom>
          <a:solidFill>
            <a:srgbClr val="FFFFFF"/>
          </a:solidFill>
        </p:spPr>
        <p:txBody>
          <a:bodyPr wrap="square" lIns="0" tIns="0" rIns="0" bIns="0" rtlCol="0">
            <a:noAutofit/>
          </a:bodyPr>
          <a:lstStyle/>
          <a:p>
            <a:endParaRPr/>
          </a:p>
        </p:txBody>
      </p:sp>
      <p:sp>
        <p:nvSpPr>
          <p:cNvPr id="2324" name="object 2324"/>
          <p:cNvSpPr/>
          <p:nvPr/>
        </p:nvSpPr>
        <p:spPr>
          <a:xfrm>
            <a:off x="8317467" y="1779581"/>
            <a:ext cx="4960" cy="5922"/>
          </a:xfrm>
          <a:custGeom>
            <a:avLst/>
            <a:gdLst/>
            <a:ahLst/>
            <a:cxnLst/>
            <a:rect l="l" t="t" r="r" b="b"/>
            <a:pathLst>
              <a:path w="4960" h="5922">
                <a:moveTo>
                  <a:pt x="496" y="3454"/>
                </a:moveTo>
                <a:lnTo>
                  <a:pt x="744" y="3948"/>
                </a:lnTo>
                <a:lnTo>
                  <a:pt x="1240" y="4688"/>
                </a:lnTo>
                <a:lnTo>
                  <a:pt x="1488" y="5922"/>
                </a:lnTo>
                <a:lnTo>
                  <a:pt x="4960" y="5922"/>
                </a:lnTo>
                <a:lnTo>
                  <a:pt x="4712" y="3701"/>
                </a:lnTo>
                <a:lnTo>
                  <a:pt x="3720" y="1974"/>
                </a:lnTo>
                <a:lnTo>
                  <a:pt x="1984" y="493"/>
                </a:lnTo>
                <a:lnTo>
                  <a:pt x="0" y="0"/>
                </a:lnTo>
                <a:lnTo>
                  <a:pt x="0" y="3454"/>
                </a:lnTo>
                <a:lnTo>
                  <a:pt x="496" y="3454"/>
                </a:lnTo>
                <a:close/>
              </a:path>
            </a:pathLst>
          </a:custGeom>
          <a:solidFill>
            <a:srgbClr val="FFFFFF"/>
          </a:solidFill>
        </p:spPr>
        <p:txBody>
          <a:bodyPr wrap="square" lIns="0" tIns="0" rIns="0" bIns="0" rtlCol="0">
            <a:noAutofit/>
          </a:bodyPr>
          <a:lstStyle/>
          <a:p>
            <a:endParaRPr/>
          </a:p>
        </p:txBody>
      </p:sp>
      <p:sp>
        <p:nvSpPr>
          <p:cNvPr id="2325" name="object 2325"/>
          <p:cNvSpPr/>
          <p:nvPr/>
        </p:nvSpPr>
        <p:spPr>
          <a:xfrm>
            <a:off x="8317467" y="1785505"/>
            <a:ext cx="4960" cy="6169"/>
          </a:xfrm>
          <a:custGeom>
            <a:avLst/>
            <a:gdLst/>
            <a:ahLst/>
            <a:cxnLst/>
            <a:rect l="l" t="t" r="r" b="b"/>
            <a:pathLst>
              <a:path w="4960" h="6169">
                <a:moveTo>
                  <a:pt x="4960" y="0"/>
                </a:moveTo>
                <a:lnTo>
                  <a:pt x="1488" y="0"/>
                </a:lnTo>
                <a:lnTo>
                  <a:pt x="1240" y="1233"/>
                </a:lnTo>
                <a:lnTo>
                  <a:pt x="744" y="2220"/>
                </a:lnTo>
                <a:lnTo>
                  <a:pt x="496" y="2714"/>
                </a:lnTo>
                <a:lnTo>
                  <a:pt x="0" y="2714"/>
                </a:lnTo>
                <a:lnTo>
                  <a:pt x="0" y="6169"/>
                </a:lnTo>
                <a:lnTo>
                  <a:pt x="1984" y="5675"/>
                </a:lnTo>
                <a:lnTo>
                  <a:pt x="3720" y="4195"/>
                </a:lnTo>
                <a:lnTo>
                  <a:pt x="4712" y="2220"/>
                </a:lnTo>
                <a:lnTo>
                  <a:pt x="4960" y="0"/>
                </a:lnTo>
                <a:close/>
              </a:path>
            </a:pathLst>
          </a:custGeom>
          <a:solidFill>
            <a:srgbClr val="FFFFFF"/>
          </a:solidFill>
        </p:spPr>
        <p:txBody>
          <a:bodyPr wrap="square" lIns="0" tIns="0" rIns="0" bIns="0" rtlCol="0">
            <a:noAutofit/>
          </a:bodyPr>
          <a:lstStyle/>
          <a:p>
            <a:endParaRPr/>
          </a:p>
        </p:txBody>
      </p:sp>
      <p:sp>
        <p:nvSpPr>
          <p:cNvPr id="2326" name="object 2326"/>
          <p:cNvSpPr/>
          <p:nvPr/>
        </p:nvSpPr>
        <p:spPr>
          <a:xfrm>
            <a:off x="8312755" y="1785505"/>
            <a:ext cx="4712" cy="6169"/>
          </a:xfrm>
          <a:custGeom>
            <a:avLst/>
            <a:gdLst/>
            <a:ahLst/>
            <a:cxnLst/>
            <a:rect l="l" t="t" r="r" b="b"/>
            <a:pathLst>
              <a:path w="4712" h="6169">
                <a:moveTo>
                  <a:pt x="0" y="0"/>
                </a:moveTo>
                <a:lnTo>
                  <a:pt x="248" y="2220"/>
                </a:lnTo>
                <a:lnTo>
                  <a:pt x="1240" y="4195"/>
                </a:lnTo>
                <a:lnTo>
                  <a:pt x="2728" y="5675"/>
                </a:lnTo>
                <a:lnTo>
                  <a:pt x="4712" y="6169"/>
                </a:lnTo>
                <a:lnTo>
                  <a:pt x="4712" y="2714"/>
                </a:lnTo>
                <a:lnTo>
                  <a:pt x="4216" y="2220"/>
                </a:lnTo>
                <a:lnTo>
                  <a:pt x="3720" y="1233"/>
                </a:lnTo>
                <a:lnTo>
                  <a:pt x="3472" y="0"/>
                </a:lnTo>
                <a:lnTo>
                  <a:pt x="0" y="0"/>
                </a:lnTo>
                <a:close/>
              </a:path>
            </a:pathLst>
          </a:custGeom>
          <a:solidFill>
            <a:srgbClr val="FFFFFF"/>
          </a:solidFill>
        </p:spPr>
        <p:txBody>
          <a:bodyPr wrap="square" lIns="0" tIns="0" rIns="0" bIns="0" rtlCol="0">
            <a:noAutofit/>
          </a:bodyPr>
          <a:lstStyle/>
          <a:p>
            <a:endParaRPr/>
          </a:p>
        </p:txBody>
      </p:sp>
      <p:sp>
        <p:nvSpPr>
          <p:cNvPr id="2327" name="object 2327"/>
          <p:cNvSpPr/>
          <p:nvPr/>
        </p:nvSpPr>
        <p:spPr>
          <a:xfrm>
            <a:off x="8312755" y="1779581"/>
            <a:ext cx="4712" cy="5922"/>
          </a:xfrm>
          <a:custGeom>
            <a:avLst/>
            <a:gdLst/>
            <a:ahLst/>
            <a:cxnLst/>
            <a:rect l="l" t="t" r="r" b="b"/>
            <a:pathLst>
              <a:path w="4712" h="5922">
                <a:moveTo>
                  <a:pt x="1240" y="1974"/>
                </a:moveTo>
                <a:lnTo>
                  <a:pt x="248" y="3701"/>
                </a:lnTo>
                <a:lnTo>
                  <a:pt x="0" y="5922"/>
                </a:lnTo>
                <a:lnTo>
                  <a:pt x="3472" y="5922"/>
                </a:lnTo>
                <a:lnTo>
                  <a:pt x="3720" y="4688"/>
                </a:lnTo>
                <a:lnTo>
                  <a:pt x="4216" y="3948"/>
                </a:lnTo>
                <a:lnTo>
                  <a:pt x="4712" y="3454"/>
                </a:lnTo>
                <a:lnTo>
                  <a:pt x="4712" y="0"/>
                </a:lnTo>
                <a:lnTo>
                  <a:pt x="2728" y="493"/>
                </a:lnTo>
                <a:lnTo>
                  <a:pt x="1240" y="1974"/>
                </a:lnTo>
                <a:close/>
              </a:path>
            </a:pathLst>
          </a:custGeom>
          <a:solidFill>
            <a:srgbClr val="FFFFFF"/>
          </a:solidFill>
        </p:spPr>
        <p:txBody>
          <a:bodyPr wrap="square" lIns="0" tIns="0" rIns="0" bIns="0" rtlCol="0">
            <a:noAutofit/>
          </a:bodyPr>
          <a:lstStyle/>
          <a:p>
            <a:endParaRPr/>
          </a:p>
        </p:txBody>
      </p:sp>
      <p:sp>
        <p:nvSpPr>
          <p:cNvPr id="2328" name="object 2328"/>
          <p:cNvSpPr/>
          <p:nvPr/>
        </p:nvSpPr>
        <p:spPr>
          <a:xfrm>
            <a:off x="8283490" y="1779336"/>
            <a:ext cx="4712" cy="6169"/>
          </a:xfrm>
          <a:custGeom>
            <a:avLst/>
            <a:gdLst/>
            <a:ahLst/>
            <a:cxnLst/>
            <a:rect l="l" t="t" r="r" b="b"/>
            <a:pathLst>
              <a:path w="4712" h="6169">
                <a:moveTo>
                  <a:pt x="496" y="3454"/>
                </a:moveTo>
                <a:lnTo>
                  <a:pt x="744" y="3948"/>
                </a:lnTo>
                <a:lnTo>
                  <a:pt x="992" y="4935"/>
                </a:lnTo>
                <a:lnTo>
                  <a:pt x="1240" y="6169"/>
                </a:lnTo>
                <a:lnTo>
                  <a:pt x="4712" y="6169"/>
                </a:lnTo>
                <a:lnTo>
                  <a:pt x="4464" y="3948"/>
                </a:lnTo>
                <a:lnTo>
                  <a:pt x="3720" y="1974"/>
                </a:lnTo>
                <a:lnTo>
                  <a:pt x="1984" y="493"/>
                </a:lnTo>
                <a:lnTo>
                  <a:pt x="0" y="0"/>
                </a:lnTo>
                <a:lnTo>
                  <a:pt x="0" y="3454"/>
                </a:lnTo>
                <a:lnTo>
                  <a:pt x="496" y="3454"/>
                </a:lnTo>
                <a:close/>
              </a:path>
            </a:pathLst>
          </a:custGeom>
          <a:solidFill>
            <a:srgbClr val="FFFFFF"/>
          </a:solidFill>
        </p:spPr>
        <p:txBody>
          <a:bodyPr wrap="square" lIns="0" tIns="0" rIns="0" bIns="0" rtlCol="0">
            <a:noAutofit/>
          </a:bodyPr>
          <a:lstStyle/>
          <a:p>
            <a:endParaRPr/>
          </a:p>
        </p:txBody>
      </p:sp>
      <p:sp>
        <p:nvSpPr>
          <p:cNvPr id="2329" name="object 2329"/>
          <p:cNvSpPr/>
          <p:nvPr/>
        </p:nvSpPr>
        <p:spPr>
          <a:xfrm>
            <a:off x="8283490" y="1785504"/>
            <a:ext cx="4712" cy="5922"/>
          </a:xfrm>
          <a:custGeom>
            <a:avLst/>
            <a:gdLst/>
            <a:ahLst/>
            <a:cxnLst/>
            <a:rect l="l" t="t" r="r" b="b"/>
            <a:pathLst>
              <a:path w="4712" h="5922">
                <a:moveTo>
                  <a:pt x="4712" y="0"/>
                </a:moveTo>
                <a:lnTo>
                  <a:pt x="1240" y="0"/>
                </a:lnTo>
                <a:lnTo>
                  <a:pt x="992" y="1233"/>
                </a:lnTo>
                <a:lnTo>
                  <a:pt x="744" y="1974"/>
                </a:lnTo>
                <a:lnTo>
                  <a:pt x="496" y="2467"/>
                </a:lnTo>
                <a:lnTo>
                  <a:pt x="0" y="2467"/>
                </a:lnTo>
                <a:lnTo>
                  <a:pt x="0" y="5922"/>
                </a:lnTo>
                <a:lnTo>
                  <a:pt x="1984" y="5429"/>
                </a:lnTo>
                <a:lnTo>
                  <a:pt x="3720" y="3948"/>
                </a:lnTo>
                <a:lnTo>
                  <a:pt x="4464" y="2220"/>
                </a:lnTo>
                <a:lnTo>
                  <a:pt x="4712" y="0"/>
                </a:lnTo>
                <a:close/>
              </a:path>
            </a:pathLst>
          </a:custGeom>
          <a:solidFill>
            <a:srgbClr val="FFFFFF"/>
          </a:solidFill>
        </p:spPr>
        <p:txBody>
          <a:bodyPr wrap="square" lIns="0" tIns="0" rIns="0" bIns="0" rtlCol="0">
            <a:noAutofit/>
          </a:bodyPr>
          <a:lstStyle/>
          <a:p>
            <a:endParaRPr/>
          </a:p>
        </p:txBody>
      </p:sp>
      <p:sp>
        <p:nvSpPr>
          <p:cNvPr id="2330" name="object 2330"/>
          <p:cNvSpPr/>
          <p:nvPr/>
        </p:nvSpPr>
        <p:spPr>
          <a:xfrm>
            <a:off x="8278778" y="1785504"/>
            <a:ext cx="4712" cy="5922"/>
          </a:xfrm>
          <a:custGeom>
            <a:avLst/>
            <a:gdLst/>
            <a:ahLst/>
            <a:cxnLst/>
            <a:rect l="l" t="t" r="r" b="b"/>
            <a:pathLst>
              <a:path w="4712" h="5922">
                <a:moveTo>
                  <a:pt x="4712" y="5922"/>
                </a:moveTo>
                <a:lnTo>
                  <a:pt x="4712" y="2467"/>
                </a:lnTo>
                <a:lnTo>
                  <a:pt x="4216" y="2467"/>
                </a:lnTo>
                <a:lnTo>
                  <a:pt x="3968" y="1974"/>
                </a:lnTo>
                <a:lnTo>
                  <a:pt x="3720" y="1233"/>
                </a:lnTo>
                <a:lnTo>
                  <a:pt x="3472" y="0"/>
                </a:lnTo>
                <a:lnTo>
                  <a:pt x="0" y="0"/>
                </a:lnTo>
                <a:lnTo>
                  <a:pt x="248" y="2220"/>
                </a:lnTo>
                <a:lnTo>
                  <a:pt x="992" y="3948"/>
                </a:lnTo>
                <a:lnTo>
                  <a:pt x="2728" y="5429"/>
                </a:lnTo>
                <a:lnTo>
                  <a:pt x="4712" y="5922"/>
                </a:lnTo>
                <a:close/>
              </a:path>
            </a:pathLst>
          </a:custGeom>
          <a:solidFill>
            <a:srgbClr val="FFFFFF"/>
          </a:solidFill>
        </p:spPr>
        <p:txBody>
          <a:bodyPr wrap="square" lIns="0" tIns="0" rIns="0" bIns="0" rtlCol="0">
            <a:noAutofit/>
          </a:bodyPr>
          <a:lstStyle/>
          <a:p>
            <a:endParaRPr/>
          </a:p>
        </p:txBody>
      </p:sp>
      <p:sp>
        <p:nvSpPr>
          <p:cNvPr id="2331" name="object 2331"/>
          <p:cNvSpPr/>
          <p:nvPr/>
        </p:nvSpPr>
        <p:spPr>
          <a:xfrm>
            <a:off x="8278778" y="1779336"/>
            <a:ext cx="4712" cy="6169"/>
          </a:xfrm>
          <a:custGeom>
            <a:avLst/>
            <a:gdLst/>
            <a:ahLst/>
            <a:cxnLst/>
            <a:rect l="l" t="t" r="r" b="b"/>
            <a:pathLst>
              <a:path w="4712" h="6169">
                <a:moveTo>
                  <a:pt x="4712" y="0"/>
                </a:moveTo>
                <a:lnTo>
                  <a:pt x="2728" y="493"/>
                </a:lnTo>
                <a:lnTo>
                  <a:pt x="992" y="1974"/>
                </a:lnTo>
                <a:lnTo>
                  <a:pt x="248" y="3948"/>
                </a:lnTo>
                <a:lnTo>
                  <a:pt x="0" y="6169"/>
                </a:lnTo>
                <a:lnTo>
                  <a:pt x="3472" y="6169"/>
                </a:lnTo>
                <a:lnTo>
                  <a:pt x="3720" y="4935"/>
                </a:lnTo>
                <a:lnTo>
                  <a:pt x="3968" y="3948"/>
                </a:lnTo>
                <a:lnTo>
                  <a:pt x="4216" y="3454"/>
                </a:lnTo>
                <a:lnTo>
                  <a:pt x="4712" y="3454"/>
                </a:lnTo>
                <a:lnTo>
                  <a:pt x="4712" y="0"/>
                </a:lnTo>
                <a:close/>
              </a:path>
            </a:pathLst>
          </a:custGeom>
          <a:solidFill>
            <a:srgbClr val="FFFFFF"/>
          </a:solidFill>
        </p:spPr>
        <p:txBody>
          <a:bodyPr wrap="square" lIns="0" tIns="0" rIns="0" bIns="0" rtlCol="0">
            <a:noAutofit/>
          </a:bodyPr>
          <a:lstStyle/>
          <a:p>
            <a:endParaRPr/>
          </a:p>
        </p:txBody>
      </p:sp>
      <p:sp>
        <p:nvSpPr>
          <p:cNvPr id="2332" name="object 2332"/>
          <p:cNvSpPr/>
          <p:nvPr/>
        </p:nvSpPr>
        <p:spPr>
          <a:xfrm>
            <a:off x="8789433" y="1630283"/>
            <a:ext cx="152030" cy="212967"/>
          </a:xfrm>
          <a:custGeom>
            <a:avLst/>
            <a:gdLst/>
            <a:ahLst/>
            <a:cxnLst/>
            <a:rect l="l" t="t" r="r" b="b"/>
            <a:pathLst>
              <a:path w="152030" h="212967">
                <a:moveTo>
                  <a:pt x="18352" y="0"/>
                </a:moveTo>
                <a:lnTo>
                  <a:pt x="14632" y="246"/>
                </a:lnTo>
                <a:lnTo>
                  <a:pt x="11160" y="1480"/>
                </a:lnTo>
                <a:lnTo>
                  <a:pt x="3224" y="8143"/>
                </a:lnTo>
                <a:lnTo>
                  <a:pt x="0" y="18261"/>
                </a:lnTo>
                <a:lnTo>
                  <a:pt x="0" y="194705"/>
                </a:lnTo>
                <a:lnTo>
                  <a:pt x="1488" y="201862"/>
                </a:lnTo>
                <a:lnTo>
                  <a:pt x="8184" y="209759"/>
                </a:lnTo>
                <a:lnTo>
                  <a:pt x="18352" y="212967"/>
                </a:lnTo>
                <a:lnTo>
                  <a:pt x="133678" y="212967"/>
                </a:lnTo>
                <a:lnTo>
                  <a:pt x="140870" y="211486"/>
                </a:lnTo>
                <a:lnTo>
                  <a:pt x="148806" y="204823"/>
                </a:lnTo>
                <a:lnTo>
                  <a:pt x="152030" y="194705"/>
                </a:lnTo>
                <a:lnTo>
                  <a:pt x="152030" y="18261"/>
                </a:lnTo>
                <a:lnTo>
                  <a:pt x="150542" y="11104"/>
                </a:lnTo>
                <a:lnTo>
                  <a:pt x="143846" y="3208"/>
                </a:lnTo>
                <a:lnTo>
                  <a:pt x="133678" y="0"/>
                </a:lnTo>
                <a:lnTo>
                  <a:pt x="18352" y="0"/>
                </a:lnTo>
                <a:close/>
              </a:path>
            </a:pathLst>
          </a:custGeom>
          <a:solidFill>
            <a:srgbClr val="BEBEBE"/>
          </a:solidFill>
        </p:spPr>
        <p:txBody>
          <a:bodyPr wrap="square" lIns="0" tIns="0" rIns="0" bIns="0" rtlCol="0">
            <a:noAutofit/>
          </a:bodyPr>
          <a:lstStyle/>
          <a:p>
            <a:endParaRPr/>
          </a:p>
        </p:txBody>
      </p:sp>
      <p:sp>
        <p:nvSpPr>
          <p:cNvPr id="2333" name="object 2333"/>
          <p:cNvSpPr/>
          <p:nvPr/>
        </p:nvSpPr>
        <p:spPr>
          <a:xfrm>
            <a:off x="8807787" y="1630282"/>
            <a:ext cx="115325" cy="0"/>
          </a:xfrm>
          <a:custGeom>
            <a:avLst/>
            <a:gdLst/>
            <a:ahLst/>
            <a:cxnLst/>
            <a:rect l="l" t="t" r="r" b="b"/>
            <a:pathLst>
              <a:path w="115325">
                <a:moveTo>
                  <a:pt x="0" y="0"/>
                </a:moveTo>
                <a:lnTo>
                  <a:pt x="115325" y="0"/>
                </a:lnTo>
              </a:path>
            </a:pathLst>
          </a:custGeom>
          <a:ln w="3737">
            <a:solidFill>
              <a:srgbClr val="000000"/>
            </a:solidFill>
          </a:ln>
        </p:spPr>
        <p:txBody>
          <a:bodyPr wrap="square" lIns="0" tIns="0" rIns="0" bIns="0" rtlCol="0">
            <a:noAutofit/>
          </a:bodyPr>
          <a:lstStyle/>
          <a:p>
            <a:endParaRPr/>
          </a:p>
        </p:txBody>
      </p:sp>
      <p:sp>
        <p:nvSpPr>
          <p:cNvPr id="2334" name="object 2334"/>
          <p:cNvSpPr/>
          <p:nvPr/>
        </p:nvSpPr>
        <p:spPr>
          <a:xfrm>
            <a:off x="8923111" y="1629049"/>
            <a:ext cx="19592" cy="19495"/>
          </a:xfrm>
          <a:custGeom>
            <a:avLst/>
            <a:gdLst/>
            <a:ahLst/>
            <a:cxnLst/>
            <a:rect l="l" t="t" r="r" b="b"/>
            <a:pathLst>
              <a:path w="19592" h="19495">
                <a:moveTo>
                  <a:pt x="3472" y="2714"/>
                </a:moveTo>
                <a:lnTo>
                  <a:pt x="6696" y="3948"/>
                </a:lnTo>
                <a:lnTo>
                  <a:pt x="9424" y="5429"/>
                </a:lnTo>
                <a:lnTo>
                  <a:pt x="11904" y="7650"/>
                </a:lnTo>
                <a:lnTo>
                  <a:pt x="14136" y="10117"/>
                </a:lnTo>
                <a:lnTo>
                  <a:pt x="15624" y="12832"/>
                </a:lnTo>
                <a:lnTo>
                  <a:pt x="16864" y="16040"/>
                </a:lnTo>
                <a:lnTo>
                  <a:pt x="17112" y="19495"/>
                </a:lnTo>
                <a:lnTo>
                  <a:pt x="19592" y="19495"/>
                </a:lnTo>
                <a:lnTo>
                  <a:pt x="19344" y="15546"/>
                </a:lnTo>
                <a:lnTo>
                  <a:pt x="18104" y="11845"/>
                </a:lnTo>
                <a:lnTo>
                  <a:pt x="16120" y="8637"/>
                </a:lnTo>
                <a:lnTo>
                  <a:pt x="13888" y="5675"/>
                </a:lnTo>
                <a:lnTo>
                  <a:pt x="10912" y="3454"/>
                </a:lnTo>
                <a:lnTo>
                  <a:pt x="7688" y="1480"/>
                </a:lnTo>
                <a:lnTo>
                  <a:pt x="3968" y="246"/>
                </a:lnTo>
                <a:lnTo>
                  <a:pt x="0" y="0"/>
                </a:lnTo>
                <a:lnTo>
                  <a:pt x="0" y="2467"/>
                </a:lnTo>
                <a:lnTo>
                  <a:pt x="3472" y="2714"/>
                </a:lnTo>
                <a:close/>
              </a:path>
            </a:pathLst>
          </a:custGeom>
          <a:solidFill>
            <a:srgbClr val="000000"/>
          </a:solidFill>
        </p:spPr>
        <p:txBody>
          <a:bodyPr wrap="square" lIns="0" tIns="0" rIns="0" bIns="0" rtlCol="0">
            <a:noAutofit/>
          </a:bodyPr>
          <a:lstStyle/>
          <a:p>
            <a:endParaRPr/>
          </a:p>
        </p:txBody>
      </p:sp>
      <p:sp>
        <p:nvSpPr>
          <p:cNvPr id="2335" name="object 2335"/>
          <p:cNvSpPr/>
          <p:nvPr/>
        </p:nvSpPr>
        <p:spPr>
          <a:xfrm>
            <a:off x="8941464" y="1648543"/>
            <a:ext cx="0" cy="176444"/>
          </a:xfrm>
          <a:custGeom>
            <a:avLst/>
            <a:gdLst/>
            <a:ahLst/>
            <a:cxnLst/>
            <a:rect l="l" t="t" r="r" b="b"/>
            <a:pathLst>
              <a:path h="176444">
                <a:moveTo>
                  <a:pt x="0" y="0"/>
                </a:moveTo>
                <a:lnTo>
                  <a:pt x="0" y="176444"/>
                </a:lnTo>
              </a:path>
            </a:pathLst>
          </a:custGeom>
          <a:ln w="3750">
            <a:solidFill>
              <a:srgbClr val="000000"/>
            </a:solidFill>
          </a:ln>
        </p:spPr>
        <p:txBody>
          <a:bodyPr wrap="square" lIns="0" tIns="0" rIns="0" bIns="0" rtlCol="0">
            <a:noAutofit/>
          </a:bodyPr>
          <a:lstStyle/>
          <a:p>
            <a:endParaRPr/>
          </a:p>
        </p:txBody>
      </p:sp>
      <p:sp>
        <p:nvSpPr>
          <p:cNvPr id="2336" name="object 2336"/>
          <p:cNvSpPr/>
          <p:nvPr/>
        </p:nvSpPr>
        <p:spPr>
          <a:xfrm>
            <a:off x="8923111" y="1824989"/>
            <a:ext cx="19592" cy="19495"/>
          </a:xfrm>
          <a:custGeom>
            <a:avLst/>
            <a:gdLst/>
            <a:ahLst/>
            <a:cxnLst/>
            <a:rect l="l" t="t" r="r" b="b"/>
            <a:pathLst>
              <a:path w="19592" h="19495">
                <a:moveTo>
                  <a:pt x="3968" y="19248"/>
                </a:moveTo>
                <a:lnTo>
                  <a:pt x="7688" y="18014"/>
                </a:lnTo>
                <a:lnTo>
                  <a:pt x="10912" y="16040"/>
                </a:lnTo>
                <a:lnTo>
                  <a:pt x="13888" y="13819"/>
                </a:lnTo>
                <a:lnTo>
                  <a:pt x="16120" y="10858"/>
                </a:lnTo>
                <a:lnTo>
                  <a:pt x="18104" y="7650"/>
                </a:lnTo>
                <a:lnTo>
                  <a:pt x="19344" y="3948"/>
                </a:lnTo>
                <a:lnTo>
                  <a:pt x="19592" y="0"/>
                </a:lnTo>
                <a:lnTo>
                  <a:pt x="17112" y="0"/>
                </a:lnTo>
                <a:lnTo>
                  <a:pt x="16864" y="3454"/>
                </a:lnTo>
                <a:lnTo>
                  <a:pt x="15624" y="6662"/>
                </a:lnTo>
                <a:lnTo>
                  <a:pt x="14136" y="9377"/>
                </a:lnTo>
                <a:lnTo>
                  <a:pt x="11904" y="11845"/>
                </a:lnTo>
                <a:lnTo>
                  <a:pt x="9424" y="14066"/>
                </a:lnTo>
                <a:lnTo>
                  <a:pt x="6696" y="15546"/>
                </a:lnTo>
                <a:lnTo>
                  <a:pt x="3472" y="16780"/>
                </a:lnTo>
                <a:lnTo>
                  <a:pt x="0" y="17027"/>
                </a:lnTo>
                <a:lnTo>
                  <a:pt x="0" y="19495"/>
                </a:lnTo>
                <a:lnTo>
                  <a:pt x="3968" y="19248"/>
                </a:lnTo>
                <a:close/>
              </a:path>
            </a:pathLst>
          </a:custGeom>
          <a:solidFill>
            <a:srgbClr val="000000"/>
          </a:solidFill>
        </p:spPr>
        <p:txBody>
          <a:bodyPr wrap="square" lIns="0" tIns="0" rIns="0" bIns="0" rtlCol="0">
            <a:noAutofit/>
          </a:bodyPr>
          <a:lstStyle/>
          <a:p>
            <a:endParaRPr/>
          </a:p>
        </p:txBody>
      </p:sp>
      <p:sp>
        <p:nvSpPr>
          <p:cNvPr id="2337" name="object 2337"/>
          <p:cNvSpPr/>
          <p:nvPr/>
        </p:nvSpPr>
        <p:spPr>
          <a:xfrm>
            <a:off x="8807787" y="1843249"/>
            <a:ext cx="115325" cy="0"/>
          </a:xfrm>
          <a:custGeom>
            <a:avLst/>
            <a:gdLst/>
            <a:ahLst/>
            <a:cxnLst/>
            <a:rect l="l" t="t" r="r" b="b"/>
            <a:pathLst>
              <a:path w="115325">
                <a:moveTo>
                  <a:pt x="0" y="0"/>
                </a:moveTo>
                <a:lnTo>
                  <a:pt x="115325" y="0"/>
                </a:lnTo>
              </a:path>
            </a:pathLst>
          </a:custGeom>
          <a:ln w="3737">
            <a:solidFill>
              <a:srgbClr val="000000"/>
            </a:solidFill>
          </a:ln>
        </p:spPr>
        <p:txBody>
          <a:bodyPr wrap="square" lIns="0" tIns="0" rIns="0" bIns="0" rtlCol="0">
            <a:noAutofit/>
          </a:bodyPr>
          <a:lstStyle/>
          <a:p>
            <a:endParaRPr/>
          </a:p>
        </p:txBody>
      </p:sp>
      <p:sp>
        <p:nvSpPr>
          <p:cNvPr id="2338" name="object 2338"/>
          <p:cNvSpPr/>
          <p:nvPr/>
        </p:nvSpPr>
        <p:spPr>
          <a:xfrm>
            <a:off x="8788193" y="1824989"/>
            <a:ext cx="19592" cy="19495"/>
          </a:xfrm>
          <a:custGeom>
            <a:avLst/>
            <a:gdLst/>
            <a:ahLst/>
            <a:cxnLst/>
            <a:rect l="l" t="t" r="r" b="b"/>
            <a:pathLst>
              <a:path w="19592" h="19495">
                <a:moveTo>
                  <a:pt x="5456" y="9377"/>
                </a:moveTo>
                <a:lnTo>
                  <a:pt x="3968" y="6662"/>
                </a:lnTo>
                <a:lnTo>
                  <a:pt x="2728" y="3454"/>
                </a:lnTo>
                <a:lnTo>
                  <a:pt x="2480" y="0"/>
                </a:lnTo>
                <a:lnTo>
                  <a:pt x="0" y="0"/>
                </a:lnTo>
                <a:lnTo>
                  <a:pt x="248" y="3948"/>
                </a:lnTo>
                <a:lnTo>
                  <a:pt x="1488" y="7650"/>
                </a:lnTo>
                <a:lnTo>
                  <a:pt x="3472" y="10858"/>
                </a:lnTo>
                <a:lnTo>
                  <a:pt x="5704" y="13819"/>
                </a:lnTo>
                <a:lnTo>
                  <a:pt x="8680" y="16040"/>
                </a:lnTo>
                <a:lnTo>
                  <a:pt x="11904" y="18014"/>
                </a:lnTo>
                <a:lnTo>
                  <a:pt x="15624" y="19248"/>
                </a:lnTo>
                <a:lnTo>
                  <a:pt x="19592" y="19495"/>
                </a:lnTo>
                <a:lnTo>
                  <a:pt x="19592" y="17027"/>
                </a:lnTo>
                <a:lnTo>
                  <a:pt x="16120" y="16780"/>
                </a:lnTo>
                <a:lnTo>
                  <a:pt x="12896" y="15546"/>
                </a:lnTo>
                <a:lnTo>
                  <a:pt x="10168" y="14066"/>
                </a:lnTo>
                <a:lnTo>
                  <a:pt x="7688" y="11845"/>
                </a:lnTo>
                <a:lnTo>
                  <a:pt x="5456" y="9377"/>
                </a:lnTo>
                <a:close/>
              </a:path>
            </a:pathLst>
          </a:custGeom>
          <a:solidFill>
            <a:srgbClr val="000000"/>
          </a:solidFill>
        </p:spPr>
        <p:txBody>
          <a:bodyPr wrap="square" lIns="0" tIns="0" rIns="0" bIns="0" rtlCol="0">
            <a:noAutofit/>
          </a:bodyPr>
          <a:lstStyle/>
          <a:p>
            <a:endParaRPr/>
          </a:p>
        </p:txBody>
      </p:sp>
      <p:sp>
        <p:nvSpPr>
          <p:cNvPr id="2339" name="object 2339"/>
          <p:cNvSpPr/>
          <p:nvPr/>
        </p:nvSpPr>
        <p:spPr>
          <a:xfrm>
            <a:off x="8789433" y="1648543"/>
            <a:ext cx="0" cy="176444"/>
          </a:xfrm>
          <a:custGeom>
            <a:avLst/>
            <a:gdLst/>
            <a:ahLst/>
            <a:cxnLst/>
            <a:rect l="l" t="t" r="r" b="b"/>
            <a:pathLst>
              <a:path h="176444">
                <a:moveTo>
                  <a:pt x="0" y="0"/>
                </a:moveTo>
                <a:lnTo>
                  <a:pt x="0" y="176444"/>
                </a:lnTo>
              </a:path>
            </a:pathLst>
          </a:custGeom>
          <a:ln w="3750">
            <a:solidFill>
              <a:srgbClr val="000000"/>
            </a:solidFill>
          </a:ln>
        </p:spPr>
        <p:txBody>
          <a:bodyPr wrap="square" lIns="0" tIns="0" rIns="0" bIns="0" rtlCol="0">
            <a:noAutofit/>
          </a:bodyPr>
          <a:lstStyle/>
          <a:p>
            <a:endParaRPr/>
          </a:p>
        </p:txBody>
      </p:sp>
      <p:sp>
        <p:nvSpPr>
          <p:cNvPr id="2340" name="object 2340"/>
          <p:cNvSpPr/>
          <p:nvPr/>
        </p:nvSpPr>
        <p:spPr>
          <a:xfrm>
            <a:off x="8788193" y="1629049"/>
            <a:ext cx="19592" cy="19495"/>
          </a:xfrm>
          <a:custGeom>
            <a:avLst/>
            <a:gdLst/>
            <a:ahLst/>
            <a:cxnLst/>
            <a:rect l="l" t="t" r="r" b="b"/>
            <a:pathLst>
              <a:path w="19592" h="19495">
                <a:moveTo>
                  <a:pt x="2480" y="19495"/>
                </a:moveTo>
                <a:lnTo>
                  <a:pt x="2728" y="16040"/>
                </a:lnTo>
                <a:lnTo>
                  <a:pt x="3968" y="12832"/>
                </a:lnTo>
                <a:lnTo>
                  <a:pt x="5456" y="10117"/>
                </a:lnTo>
                <a:lnTo>
                  <a:pt x="7688" y="7650"/>
                </a:lnTo>
                <a:lnTo>
                  <a:pt x="10168" y="5429"/>
                </a:lnTo>
                <a:lnTo>
                  <a:pt x="12896" y="3948"/>
                </a:lnTo>
                <a:lnTo>
                  <a:pt x="16120" y="2714"/>
                </a:lnTo>
                <a:lnTo>
                  <a:pt x="19592" y="2467"/>
                </a:lnTo>
                <a:lnTo>
                  <a:pt x="19592" y="0"/>
                </a:lnTo>
                <a:lnTo>
                  <a:pt x="15624" y="246"/>
                </a:lnTo>
                <a:lnTo>
                  <a:pt x="11904" y="1480"/>
                </a:lnTo>
                <a:lnTo>
                  <a:pt x="8680" y="3454"/>
                </a:lnTo>
                <a:lnTo>
                  <a:pt x="5704" y="5675"/>
                </a:lnTo>
                <a:lnTo>
                  <a:pt x="3472" y="8637"/>
                </a:lnTo>
                <a:lnTo>
                  <a:pt x="1488" y="11845"/>
                </a:lnTo>
                <a:lnTo>
                  <a:pt x="248" y="15546"/>
                </a:lnTo>
                <a:lnTo>
                  <a:pt x="0" y="19495"/>
                </a:lnTo>
                <a:lnTo>
                  <a:pt x="2480" y="19495"/>
                </a:lnTo>
                <a:close/>
              </a:path>
            </a:pathLst>
          </a:custGeom>
          <a:solidFill>
            <a:srgbClr val="000000"/>
          </a:solidFill>
        </p:spPr>
        <p:txBody>
          <a:bodyPr wrap="square" lIns="0" tIns="0" rIns="0" bIns="0" rtlCol="0">
            <a:noAutofit/>
          </a:bodyPr>
          <a:lstStyle/>
          <a:p>
            <a:endParaRPr/>
          </a:p>
        </p:txBody>
      </p:sp>
      <p:sp>
        <p:nvSpPr>
          <p:cNvPr id="2341" name="object 2341"/>
          <p:cNvSpPr/>
          <p:nvPr/>
        </p:nvSpPr>
        <p:spPr>
          <a:xfrm>
            <a:off x="8788689" y="1656810"/>
            <a:ext cx="153518" cy="0"/>
          </a:xfrm>
          <a:custGeom>
            <a:avLst/>
            <a:gdLst/>
            <a:ahLst/>
            <a:cxnLst/>
            <a:rect l="l" t="t" r="r" b="b"/>
            <a:pathLst>
              <a:path w="153518">
                <a:moveTo>
                  <a:pt x="0" y="0"/>
                </a:moveTo>
                <a:lnTo>
                  <a:pt x="153518" y="0"/>
                </a:lnTo>
              </a:path>
            </a:pathLst>
          </a:custGeom>
          <a:ln w="56300">
            <a:solidFill>
              <a:srgbClr val="E4E4E4"/>
            </a:solidFill>
          </a:ln>
        </p:spPr>
        <p:txBody>
          <a:bodyPr wrap="square" lIns="0" tIns="0" rIns="0" bIns="0" rtlCol="0">
            <a:noAutofit/>
          </a:bodyPr>
          <a:lstStyle/>
          <a:p>
            <a:endParaRPr/>
          </a:p>
        </p:txBody>
      </p:sp>
      <p:sp>
        <p:nvSpPr>
          <p:cNvPr id="2342" name="object 2342"/>
          <p:cNvSpPr/>
          <p:nvPr/>
        </p:nvSpPr>
        <p:spPr>
          <a:xfrm>
            <a:off x="8788689" y="1628062"/>
            <a:ext cx="154758" cy="2467"/>
          </a:xfrm>
          <a:custGeom>
            <a:avLst/>
            <a:gdLst/>
            <a:ahLst/>
            <a:cxnLst/>
            <a:rect l="l" t="t" r="r" b="b"/>
            <a:pathLst>
              <a:path w="154758" h="2467">
                <a:moveTo>
                  <a:pt x="153518" y="0"/>
                </a:moveTo>
                <a:lnTo>
                  <a:pt x="0" y="0"/>
                </a:lnTo>
                <a:lnTo>
                  <a:pt x="0" y="2467"/>
                </a:lnTo>
                <a:lnTo>
                  <a:pt x="153518" y="2467"/>
                </a:lnTo>
                <a:lnTo>
                  <a:pt x="154262" y="1974"/>
                </a:lnTo>
                <a:lnTo>
                  <a:pt x="154758" y="1233"/>
                </a:lnTo>
                <a:lnTo>
                  <a:pt x="154262" y="493"/>
                </a:lnTo>
                <a:lnTo>
                  <a:pt x="153518" y="0"/>
                </a:lnTo>
                <a:lnTo>
                  <a:pt x="152278" y="1233"/>
                </a:lnTo>
                <a:lnTo>
                  <a:pt x="153518" y="0"/>
                </a:lnTo>
                <a:close/>
              </a:path>
            </a:pathLst>
          </a:custGeom>
          <a:solidFill>
            <a:srgbClr val="000000"/>
          </a:solidFill>
        </p:spPr>
        <p:txBody>
          <a:bodyPr wrap="square" lIns="0" tIns="0" rIns="0" bIns="0" rtlCol="0">
            <a:noAutofit/>
          </a:bodyPr>
          <a:lstStyle/>
          <a:p>
            <a:endParaRPr/>
          </a:p>
        </p:txBody>
      </p:sp>
      <p:sp>
        <p:nvSpPr>
          <p:cNvPr id="2343" name="object 2343"/>
          <p:cNvSpPr/>
          <p:nvPr/>
        </p:nvSpPr>
        <p:spPr>
          <a:xfrm>
            <a:off x="8940967" y="1629295"/>
            <a:ext cx="2480" cy="55894"/>
          </a:xfrm>
          <a:custGeom>
            <a:avLst/>
            <a:gdLst/>
            <a:ahLst/>
            <a:cxnLst/>
            <a:rect l="l" t="t" r="r" b="b"/>
            <a:pathLst>
              <a:path w="2480" h="55894">
                <a:moveTo>
                  <a:pt x="1984" y="55771"/>
                </a:moveTo>
                <a:lnTo>
                  <a:pt x="2480" y="55030"/>
                </a:lnTo>
                <a:lnTo>
                  <a:pt x="2480" y="0"/>
                </a:lnTo>
                <a:lnTo>
                  <a:pt x="0" y="0"/>
                </a:lnTo>
                <a:lnTo>
                  <a:pt x="0" y="55030"/>
                </a:lnTo>
                <a:lnTo>
                  <a:pt x="1240" y="53797"/>
                </a:lnTo>
                <a:lnTo>
                  <a:pt x="1612" y="55894"/>
                </a:lnTo>
                <a:lnTo>
                  <a:pt x="1984" y="55771"/>
                </a:lnTo>
                <a:close/>
              </a:path>
            </a:pathLst>
          </a:custGeom>
          <a:solidFill>
            <a:srgbClr val="000000"/>
          </a:solidFill>
        </p:spPr>
        <p:txBody>
          <a:bodyPr wrap="square" lIns="0" tIns="0" rIns="0" bIns="0" rtlCol="0">
            <a:noAutofit/>
          </a:bodyPr>
          <a:lstStyle/>
          <a:p>
            <a:endParaRPr/>
          </a:p>
        </p:txBody>
      </p:sp>
      <p:sp>
        <p:nvSpPr>
          <p:cNvPr id="2344" name="object 2344"/>
          <p:cNvSpPr/>
          <p:nvPr/>
        </p:nvSpPr>
        <p:spPr>
          <a:xfrm>
            <a:off x="8940967" y="1683092"/>
            <a:ext cx="1612" cy="2220"/>
          </a:xfrm>
          <a:custGeom>
            <a:avLst/>
            <a:gdLst/>
            <a:ahLst/>
            <a:cxnLst/>
            <a:rect l="l" t="t" r="r" b="b"/>
            <a:pathLst>
              <a:path w="1612" h="2220">
                <a:moveTo>
                  <a:pt x="1240" y="0"/>
                </a:moveTo>
                <a:lnTo>
                  <a:pt x="0" y="1233"/>
                </a:lnTo>
                <a:lnTo>
                  <a:pt x="496" y="1974"/>
                </a:lnTo>
                <a:lnTo>
                  <a:pt x="1240" y="2220"/>
                </a:lnTo>
                <a:lnTo>
                  <a:pt x="1612" y="2097"/>
                </a:lnTo>
                <a:lnTo>
                  <a:pt x="1240" y="0"/>
                </a:lnTo>
                <a:close/>
              </a:path>
            </a:pathLst>
          </a:custGeom>
          <a:solidFill>
            <a:srgbClr val="000000"/>
          </a:solidFill>
        </p:spPr>
        <p:txBody>
          <a:bodyPr wrap="square" lIns="0" tIns="0" rIns="0" bIns="0" rtlCol="0">
            <a:noAutofit/>
          </a:bodyPr>
          <a:lstStyle/>
          <a:p>
            <a:endParaRPr/>
          </a:p>
        </p:txBody>
      </p:sp>
      <p:sp>
        <p:nvSpPr>
          <p:cNvPr id="2345" name="object 2345"/>
          <p:cNvSpPr/>
          <p:nvPr/>
        </p:nvSpPr>
        <p:spPr>
          <a:xfrm>
            <a:off x="8788689" y="1684327"/>
            <a:ext cx="153518" cy="1233"/>
          </a:xfrm>
          <a:custGeom>
            <a:avLst/>
            <a:gdLst/>
            <a:ahLst/>
            <a:cxnLst/>
            <a:rect l="l" t="t" r="r" b="b"/>
            <a:pathLst>
              <a:path w="153518" h="1233">
                <a:moveTo>
                  <a:pt x="1240" y="0"/>
                </a:moveTo>
                <a:lnTo>
                  <a:pt x="0" y="1233"/>
                </a:lnTo>
                <a:lnTo>
                  <a:pt x="153518" y="1233"/>
                </a:lnTo>
                <a:lnTo>
                  <a:pt x="1240" y="0"/>
                </a:lnTo>
                <a:close/>
              </a:path>
            </a:pathLst>
          </a:custGeom>
          <a:solidFill>
            <a:srgbClr val="000000"/>
          </a:solidFill>
        </p:spPr>
        <p:txBody>
          <a:bodyPr wrap="square" lIns="0" tIns="0" rIns="0" bIns="0" rtlCol="0">
            <a:noAutofit/>
          </a:bodyPr>
          <a:lstStyle/>
          <a:p>
            <a:endParaRPr/>
          </a:p>
        </p:txBody>
      </p:sp>
      <p:sp>
        <p:nvSpPr>
          <p:cNvPr id="2346" name="object 2346"/>
          <p:cNvSpPr/>
          <p:nvPr/>
        </p:nvSpPr>
        <p:spPr>
          <a:xfrm>
            <a:off x="8787697" y="1683093"/>
            <a:ext cx="154510" cy="2467"/>
          </a:xfrm>
          <a:custGeom>
            <a:avLst/>
            <a:gdLst/>
            <a:ahLst/>
            <a:cxnLst/>
            <a:rect l="l" t="t" r="r" b="b"/>
            <a:pathLst>
              <a:path w="154510" h="2467">
                <a:moveTo>
                  <a:pt x="0" y="1233"/>
                </a:moveTo>
                <a:lnTo>
                  <a:pt x="124" y="1604"/>
                </a:lnTo>
                <a:lnTo>
                  <a:pt x="248" y="1974"/>
                </a:lnTo>
                <a:lnTo>
                  <a:pt x="992" y="2467"/>
                </a:lnTo>
                <a:lnTo>
                  <a:pt x="2232" y="1233"/>
                </a:lnTo>
                <a:lnTo>
                  <a:pt x="154510" y="2467"/>
                </a:lnTo>
                <a:lnTo>
                  <a:pt x="154510" y="0"/>
                </a:lnTo>
                <a:lnTo>
                  <a:pt x="992" y="0"/>
                </a:lnTo>
                <a:lnTo>
                  <a:pt x="248" y="493"/>
                </a:lnTo>
                <a:lnTo>
                  <a:pt x="0" y="1233"/>
                </a:lnTo>
                <a:close/>
              </a:path>
            </a:pathLst>
          </a:custGeom>
          <a:solidFill>
            <a:srgbClr val="000000"/>
          </a:solidFill>
        </p:spPr>
        <p:txBody>
          <a:bodyPr wrap="square" lIns="0" tIns="0" rIns="0" bIns="0" rtlCol="0">
            <a:noAutofit/>
          </a:bodyPr>
          <a:lstStyle/>
          <a:p>
            <a:endParaRPr/>
          </a:p>
        </p:txBody>
      </p:sp>
      <p:sp>
        <p:nvSpPr>
          <p:cNvPr id="2347" name="object 2347"/>
          <p:cNvSpPr/>
          <p:nvPr/>
        </p:nvSpPr>
        <p:spPr>
          <a:xfrm>
            <a:off x="8787449" y="1628061"/>
            <a:ext cx="2480" cy="56264"/>
          </a:xfrm>
          <a:custGeom>
            <a:avLst/>
            <a:gdLst/>
            <a:ahLst/>
            <a:cxnLst/>
            <a:rect l="l" t="t" r="r" b="b"/>
            <a:pathLst>
              <a:path w="2480" h="56264">
                <a:moveTo>
                  <a:pt x="1984" y="493"/>
                </a:moveTo>
                <a:lnTo>
                  <a:pt x="1240" y="0"/>
                </a:lnTo>
                <a:lnTo>
                  <a:pt x="1240" y="2467"/>
                </a:lnTo>
                <a:lnTo>
                  <a:pt x="0" y="1233"/>
                </a:lnTo>
                <a:lnTo>
                  <a:pt x="0" y="56264"/>
                </a:lnTo>
                <a:lnTo>
                  <a:pt x="2480" y="56264"/>
                </a:lnTo>
                <a:lnTo>
                  <a:pt x="2480" y="1233"/>
                </a:lnTo>
                <a:lnTo>
                  <a:pt x="1984" y="493"/>
                </a:lnTo>
                <a:close/>
              </a:path>
            </a:pathLst>
          </a:custGeom>
          <a:solidFill>
            <a:srgbClr val="000000"/>
          </a:solidFill>
        </p:spPr>
        <p:txBody>
          <a:bodyPr wrap="square" lIns="0" tIns="0" rIns="0" bIns="0" rtlCol="0">
            <a:noAutofit/>
          </a:bodyPr>
          <a:lstStyle/>
          <a:p>
            <a:endParaRPr/>
          </a:p>
        </p:txBody>
      </p:sp>
      <p:sp>
        <p:nvSpPr>
          <p:cNvPr id="2348" name="object 2348"/>
          <p:cNvSpPr/>
          <p:nvPr/>
        </p:nvSpPr>
        <p:spPr>
          <a:xfrm>
            <a:off x="8787449" y="1628062"/>
            <a:ext cx="1240" cy="2467"/>
          </a:xfrm>
          <a:custGeom>
            <a:avLst/>
            <a:gdLst/>
            <a:ahLst/>
            <a:cxnLst/>
            <a:rect l="l" t="t" r="r" b="b"/>
            <a:pathLst>
              <a:path w="1240" h="2467">
                <a:moveTo>
                  <a:pt x="1240" y="0"/>
                </a:moveTo>
                <a:lnTo>
                  <a:pt x="496" y="493"/>
                </a:lnTo>
                <a:lnTo>
                  <a:pt x="0" y="1233"/>
                </a:lnTo>
                <a:lnTo>
                  <a:pt x="1240" y="2467"/>
                </a:lnTo>
                <a:lnTo>
                  <a:pt x="1240" y="0"/>
                </a:lnTo>
                <a:close/>
              </a:path>
            </a:pathLst>
          </a:custGeom>
          <a:solidFill>
            <a:srgbClr val="000000"/>
          </a:solidFill>
        </p:spPr>
        <p:txBody>
          <a:bodyPr wrap="square" lIns="0" tIns="0" rIns="0" bIns="0" rtlCol="0">
            <a:noAutofit/>
          </a:bodyPr>
          <a:lstStyle/>
          <a:p>
            <a:endParaRPr/>
          </a:p>
        </p:txBody>
      </p:sp>
      <p:sp>
        <p:nvSpPr>
          <p:cNvPr id="2349" name="object 2349"/>
          <p:cNvSpPr/>
          <p:nvPr/>
        </p:nvSpPr>
        <p:spPr>
          <a:xfrm>
            <a:off x="8712797" y="1648050"/>
            <a:ext cx="155006" cy="249736"/>
          </a:xfrm>
          <a:custGeom>
            <a:avLst/>
            <a:gdLst/>
            <a:ahLst/>
            <a:cxnLst/>
            <a:rect l="l" t="t" r="r" b="b"/>
            <a:pathLst>
              <a:path w="155006" h="249736">
                <a:moveTo>
                  <a:pt x="77379" y="0"/>
                </a:moveTo>
                <a:lnTo>
                  <a:pt x="69443" y="740"/>
                </a:lnTo>
                <a:lnTo>
                  <a:pt x="61754" y="2467"/>
                </a:lnTo>
                <a:lnTo>
                  <a:pt x="47370" y="9871"/>
                </a:lnTo>
                <a:lnTo>
                  <a:pt x="40425" y="15053"/>
                </a:lnTo>
                <a:lnTo>
                  <a:pt x="34225" y="21469"/>
                </a:lnTo>
                <a:lnTo>
                  <a:pt x="28273" y="28625"/>
                </a:lnTo>
                <a:lnTo>
                  <a:pt x="22817" y="36522"/>
                </a:lnTo>
                <a:lnTo>
                  <a:pt x="17608" y="45406"/>
                </a:lnTo>
                <a:lnTo>
                  <a:pt x="13144" y="55030"/>
                </a:lnTo>
                <a:lnTo>
                  <a:pt x="9424" y="65395"/>
                </a:lnTo>
                <a:lnTo>
                  <a:pt x="6200" y="76253"/>
                </a:lnTo>
                <a:lnTo>
                  <a:pt x="3472" y="87852"/>
                </a:lnTo>
                <a:lnTo>
                  <a:pt x="1488" y="99697"/>
                </a:lnTo>
                <a:lnTo>
                  <a:pt x="496" y="112036"/>
                </a:lnTo>
                <a:lnTo>
                  <a:pt x="0" y="124868"/>
                </a:lnTo>
                <a:lnTo>
                  <a:pt x="496" y="137454"/>
                </a:lnTo>
                <a:lnTo>
                  <a:pt x="1488" y="150039"/>
                </a:lnTo>
                <a:lnTo>
                  <a:pt x="3472" y="161884"/>
                </a:lnTo>
                <a:lnTo>
                  <a:pt x="6200" y="173236"/>
                </a:lnTo>
                <a:lnTo>
                  <a:pt x="9424" y="184341"/>
                </a:lnTo>
                <a:lnTo>
                  <a:pt x="13144" y="194459"/>
                </a:lnTo>
                <a:lnTo>
                  <a:pt x="17608" y="204083"/>
                </a:lnTo>
                <a:lnTo>
                  <a:pt x="22817" y="212967"/>
                </a:lnTo>
                <a:lnTo>
                  <a:pt x="28273" y="221110"/>
                </a:lnTo>
                <a:lnTo>
                  <a:pt x="34225" y="228267"/>
                </a:lnTo>
                <a:lnTo>
                  <a:pt x="40425" y="234683"/>
                </a:lnTo>
                <a:lnTo>
                  <a:pt x="47370" y="239865"/>
                </a:lnTo>
                <a:lnTo>
                  <a:pt x="61754" y="247269"/>
                </a:lnTo>
                <a:lnTo>
                  <a:pt x="77379" y="249736"/>
                </a:lnTo>
                <a:lnTo>
                  <a:pt x="85315" y="248996"/>
                </a:lnTo>
                <a:lnTo>
                  <a:pt x="100444" y="244061"/>
                </a:lnTo>
                <a:lnTo>
                  <a:pt x="107636" y="239865"/>
                </a:lnTo>
                <a:lnTo>
                  <a:pt x="114333" y="234683"/>
                </a:lnTo>
                <a:lnTo>
                  <a:pt x="120781" y="228267"/>
                </a:lnTo>
                <a:lnTo>
                  <a:pt x="126733" y="221110"/>
                </a:lnTo>
                <a:lnTo>
                  <a:pt x="132189" y="212967"/>
                </a:lnTo>
                <a:lnTo>
                  <a:pt x="137398" y="204083"/>
                </a:lnTo>
                <a:lnTo>
                  <a:pt x="141862" y="194459"/>
                </a:lnTo>
                <a:lnTo>
                  <a:pt x="145582" y="184341"/>
                </a:lnTo>
                <a:lnTo>
                  <a:pt x="148806" y="173236"/>
                </a:lnTo>
                <a:lnTo>
                  <a:pt x="151534" y="161884"/>
                </a:lnTo>
                <a:lnTo>
                  <a:pt x="153518" y="150039"/>
                </a:lnTo>
                <a:lnTo>
                  <a:pt x="154510" y="137454"/>
                </a:lnTo>
                <a:lnTo>
                  <a:pt x="155006" y="124868"/>
                </a:lnTo>
                <a:lnTo>
                  <a:pt x="154510" y="112036"/>
                </a:lnTo>
                <a:lnTo>
                  <a:pt x="153518" y="99697"/>
                </a:lnTo>
                <a:lnTo>
                  <a:pt x="151534" y="87852"/>
                </a:lnTo>
                <a:lnTo>
                  <a:pt x="148806" y="76253"/>
                </a:lnTo>
                <a:lnTo>
                  <a:pt x="145582" y="65395"/>
                </a:lnTo>
                <a:lnTo>
                  <a:pt x="141862" y="55030"/>
                </a:lnTo>
                <a:lnTo>
                  <a:pt x="137398" y="45406"/>
                </a:lnTo>
                <a:lnTo>
                  <a:pt x="132189" y="36522"/>
                </a:lnTo>
                <a:lnTo>
                  <a:pt x="126733" y="28625"/>
                </a:lnTo>
                <a:lnTo>
                  <a:pt x="120781" y="21469"/>
                </a:lnTo>
                <a:lnTo>
                  <a:pt x="114333" y="15053"/>
                </a:lnTo>
                <a:lnTo>
                  <a:pt x="107636" y="9871"/>
                </a:lnTo>
                <a:lnTo>
                  <a:pt x="100444" y="5675"/>
                </a:lnTo>
                <a:lnTo>
                  <a:pt x="85315" y="740"/>
                </a:lnTo>
                <a:lnTo>
                  <a:pt x="77379" y="0"/>
                </a:lnTo>
                <a:close/>
              </a:path>
            </a:pathLst>
          </a:custGeom>
          <a:solidFill>
            <a:srgbClr val="000000"/>
          </a:solidFill>
        </p:spPr>
        <p:txBody>
          <a:bodyPr wrap="square" lIns="0" tIns="0" rIns="0" bIns="0" rtlCol="0">
            <a:noAutofit/>
          </a:bodyPr>
          <a:lstStyle/>
          <a:p>
            <a:endParaRPr/>
          </a:p>
        </p:txBody>
      </p:sp>
      <p:sp>
        <p:nvSpPr>
          <p:cNvPr id="2350" name="object 2350"/>
          <p:cNvSpPr/>
          <p:nvPr/>
        </p:nvSpPr>
        <p:spPr>
          <a:xfrm>
            <a:off x="8790178" y="1646324"/>
            <a:ext cx="79363" cy="126595"/>
          </a:xfrm>
          <a:custGeom>
            <a:avLst/>
            <a:gdLst/>
            <a:ahLst/>
            <a:cxnLst/>
            <a:rect l="l" t="t" r="r" b="b"/>
            <a:pathLst>
              <a:path w="79363" h="126595">
                <a:moveTo>
                  <a:pt x="0" y="0"/>
                </a:moveTo>
                <a:lnTo>
                  <a:pt x="0" y="3454"/>
                </a:lnTo>
                <a:lnTo>
                  <a:pt x="7688" y="4195"/>
                </a:lnTo>
                <a:lnTo>
                  <a:pt x="15128" y="5922"/>
                </a:lnTo>
                <a:lnTo>
                  <a:pt x="22321" y="8883"/>
                </a:lnTo>
                <a:lnTo>
                  <a:pt x="29265" y="13079"/>
                </a:lnTo>
                <a:lnTo>
                  <a:pt x="35713" y="18014"/>
                </a:lnTo>
                <a:lnTo>
                  <a:pt x="42161" y="24430"/>
                </a:lnTo>
                <a:lnTo>
                  <a:pt x="47866" y="31340"/>
                </a:lnTo>
                <a:lnTo>
                  <a:pt x="53322" y="39237"/>
                </a:lnTo>
                <a:lnTo>
                  <a:pt x="58530" y="47874"/>
                </a:lnTo>
                <a:lnTo>
                  <a:pt x="62994" y="57498"/>
                </a:lnTo>
                <a:lnTo>
                  <a:pt x="66466" y="67616"/>
                </a:lnTo>
                <a:lnTo>
                  <a:pt x="69691" y="78474"/>
                </a:lnTo>
                <a:lnTo>
                  <a:pt x="72419" y="89826"/>
                </a:lnTo>
                <a:lnTo>
                  <a:pt x="74403" y="101671"/>
                </a:lnTo>
                <a:lnTo>
                  <a:pt x="75395" y="113763"/>
                </a:lnTo>
                <a:lnTo>
                  <a:pt x="75891" y="126595"/>
                </a:lnTo>
                <a:lnTo>
                  <a:pt x="79363" y="126595"/>
                </a:lnTo>
                <a:lnTo>
                  <a:pt x="78867" y="113763"/>
                </a:lnTo>
                <a:lnTo>
                  <a:pt x="77875" y="101178"/>
                </a:lnTo>
                <a:lnTo>
                  <a:pt x="75891" y="89332"/>
                </a:lnTo>
                <a:lnTo>
                  <a:pt x="73163" y="77487"/>
                </a:lnTo>
                <a:lnTo>
                  <a:pt x="69939" y="66629"/>
                </a:lnTo>
                <a:lnTo>
                  <a:pt x="65970" y="56018"/>
                </a:lnTo>
                <a:lnTo>
                  <a:pt x="61506" y="46393"/>
                </a:lnTo>
                <a:lnTo>
                  <a:pt x="56298" y="37263"/>
                </a:lnTo>
                <a:lnTo>
                  <a:pt x="50842" y="29366"/>
                </a:lnTo>
                <a:lnTo>
                  <a:pt x="44642" y="21963"/>
                </a:lnTo>
                <a:lnTo>
                  <a:pt x="38193" y="15546"/>
                </a:lnTo>
                <a:lnTo>
                  <a:pt x="31249" y="10117"/>
                </a:lnTo>
                <a:lnTo>
                  <a:pt x="23809" y="5922"/>
                </a:lnTo>
                <a:lnTo>
                  <a:pt x="16120" y="2467"/>
                </a:lnTo>
                <a:lnTo>
                  <a:pt x="8184" y="740"/>
                </a:lnTo>
                <a:lnTo>
                  <a:pt x="0" y="0"/>
                </a:lnTo>
                <a:close/>
              </a:path>
            </a:pathLst>
          </a:custGeom>
          <a:solidFill>
            <a:srgbClr val="000000"/>
          </a:solidFill>
        </p:spPr>
        <p:txBody>
          <a:bodyPr wrap="square" lIns="0" tIns="0" rIns="0" bIns="0" rtlCol="0">
            <a:noAutofit/>
          </a:bodyPr>
          <a:lstStyle/>
          <a:p>
            <a:endParaRPr/>
          </a:p>
        </p:txBody>
      </p:sp>
      <p:sp>
        <p:nvSpPr>
          <p:cNvPr id="2351" name="object 2351"/>
          <p:cNvSpPr/>
          <p:nvPr/>
        </p:nvSpPr>
        <p:spPr>
          <a:xfrm>
            <a:off x="8790178" y="1772919"/>
            <a:ext cx="79363" cy="126595"/>
          </a:xfrm>
          <a:custGeom>
            <a:avLst/>
            <a:gdLst/>
            <a:ahLst/>
            <a:cxnLst/>
            <a:rect l="l" t="t" r="r" b="b"/>
            <a:pathLst>
              <a:path w="79363" h="126595">
                <a:moveTo>
                  <a:pt x="69939" y="59966"/>
                </a:moveTo>
                <a:lnTo>
                  <a:pt x="73163" y="48861"/>
                </a:lnTo>
                <a:lnTo>
                  <a:pt x="75891" y="37263"/>
                </a:lnTo>
                <a:lnTo>
                  <a:pt x="77875" y="25417"/>
                </a:lnTo>
                <a:lnTo>
                  <a:pt x="78867" y="12585"/>
                </a:lnTo>
                <a:lnTo>
                  <a:pt x="79363" y="0"/>
                </a:lnTo>
                <a:lnTo>
                  <a:pt x="75891" y="0"/>
                </a:lnTo>
                <a:lnTo>
                  <a:pt x="75395" y="12585"/>
                </a:lnTo>
                <a:lnTo>
                  <a:pt x="74403" y="24924"/>
                </a:lnTo>
                <a:lnTo>
                  <a:pt x="72419" y="36769"/>
                </a:lnTo>
                <a:lnTo>
                  <a:pt x="69691" y="47874"/>
                </a:lnTo>
                <a:lnTo>
                  <a:pt x="66466" y="58979"/>
                </a:lnTo>
                <a:lnTo>
                  <a:pt x="62994" y="68850"/>
                </a:lnTo>
                <a:lnTo>
                  <a:pt x="58530" y="78474"/>
                </a:lnTo>
                <a:lnTo>
                  <a:pt x="53322" y="87111"/>
                </a:lnTo>
                <a:lnTo>
                  <a:pt x="47866" y="95255"/>
                </a:lnTo>
                <a:lnTo>
                  <a:pt x="42161" y="102165"/>
                </a:lnTo>
                <a:lnTo>
                  <a:pt x="35713" y="108581"/>
                </a:lnTo>
                <a:lnTo>
                  <a:pt x="29265" y="113516"/>
                </a:lnTo>
                <a:lnTo>
                  <a:pt x="22321" y="117711"/>
                </a:lnTo>
                <a:lnTo>
                  <a:pt x="15128" y="120673"/>
                </a:lnTo>
                <a:lnTo>
                  <a:pt x="7688" y="122400"/>
                </a:lnTo>
                <a:lnTo>
                  <a:pt x="0" y="123141"/>
                </a:lnTo>
                <a:lnTo>
                  <a:pt x="0" y="126595"/>
                </a:lnTo>
                <a:lnTo>
                  <a:pt x="8184" y="125855"/>
                </a:lnTo>
                <a:lnTo>
                  <a:pt x="16120" y="124128"/>
                </a:lnTo>
                <a:lnTo>
                  <a:pt x="23809" y="120673"/>
                </a:lnTo>
                <a:lnTo>
                  <a:pt x="31249" y="116478"/>
                </a:lnTo>
                <a:lnTo>
                  <a:pt x="38193" y="111049"/>
                </a:lnTo>
                <a:lnTo>
                  <a:pt x="44642" y="104632"/>
                </a:lnTo>
                <a:lnTo>
                  <a:pt x="50842" y="97229"/>
                </a:lnTo>
                <a:lnTo>
                  <a:pt x="56298" y="89086"/>
                </a:lnTo>
                <a:lnTo>
                  <a:pt x="61506" y="79955"/>
                </a:lnTo>
                <a:lnTo>
                  <a:pt x="65970" y="70331"/>
                </a:lnTo>
                <a:lnTo>
                  <a:pt x="69939" y="59966"/>
                </a:lnTo>
                <a:close/>
              </a:path>
            </a:pathLst>
          </a:custGeom>
          <a:solidFill>
            <a:srgbClr val="000000"/>
          </a:solidFill>
        </p:spPr>
        <p:txBody>
          <a:bodyPr wrap="square" lIns="0" tIns="0" rIns="0" bIns="0" rtlCol="0">
            <a:noAutofit/>
          </a:bodyPr>
          <a:lstStyle/>
          <a:p>
            <a:endParaRPr/>
          </a:p>
        </p:txBody>
      </p:sp>
      <p:sp>
        <p:nvSpPr>
          <p:cNvPr id="2352" name="object 2352"/>
          <p:cNvSpPr/>
          <p:nvPr/>
        </p:nvSpPr>
        <p:spPr>
          <a:xfrm>
            <a:off x="8711062" y="1772919"/>
            <a:ext cx="79115" cy="126595"/>
          </a:xfrm>
          <a:custGeom>
            <a:avLst/>
            <a:gdLst/>
            <a:ahLst/>
            <a:cxnLst/>
            <a:rect l="l" t="t" r="r" b="b"/>
            <a:pathLst>
              <a:path w="79115" h="126595">
                <a:moveTo>
                  <a:pt x="496" y="12585"/>
                </a:moveTo>
                <a:lnTo>
                  <a:pt x="1488" y="25417"/>
                </a:lnTo>
                <a:lnTo>
                  <a:pt x="3472" y="37263"/>
                </a:lnTo>
                <a:lnTo>
                  <a:pt x="6200" y="48861"/>
                </a:lnTo>
                <a:lnTo>
                  <a:pt x="9424" y="59966"/>
                </a:lnTo>
                <a:lnTo>
                  <a:pt x="13392" y="70331"/>
                </a:lnTo>
                <a:lnTo>
                  <a:pt x="17856" y="79955"/>
                </a:lnTo>
                <a:lnTo>
                  <a:pt x="23065" y="89086"/>
                </a:lnTo>
                <a:lnTo>
                  <a:pt x="28521" y="97229"/>
                </a:lnTo>
                <a:lnTo>
                  <a:pt x="34721" y="104632"/>
                </a:lnTo>
                <a:lnTo>
                  <a:pt x="40921" y="111049"/>
                </a:lnTo>
                <a:lnTo>
                  <a:pt x="48114" y="116478"/>
                </a:lnTo>
                <a:lnTo>
                  <a:pt x="55306" y="120673"/>
                </a:lnTo>
                <a:lnTo>
                  <a:pt x="62994" y="124128"/>
                </a:lnTo>
                <a:lnTo>
                  <a:pt x="70931" y="125855"/>
                </a:lnTo>
                <a:lnTo>
                  <a:pt x="79115" y="126595"/>
                </a:lnTo>
                <a:lnTo>
                  <a:pt x="79115" y="123141"/>
                </a:lnTo>
                <a:lnTo>
                  <a:pt x="71427" y="122400"/>
                </a:lnTo>
                <a:lnTo>
                  <a:pt x="63986" y="120673"/>
                </a:lnTo>
                <a:lnTo>
                  <a:pt x="56794" y="117711"/>
                </a:lnTo>
                <a:lnTo>
                  <a:pt x="50098" y="113516"/>
                </a:lnTo>
                <a:lnTo>
                  <a:pt x="43401" y="108581"/>
                </a:lnTo>
                <a:lnTo>
                  <a:pt x="37201" y="102165"/>
                </a:lnTo>
                <a:lnTo>
                  <a:pt x="31497" y="95255"/>
                </a:lnTo>
                <a:lnTo>
                  <a:pt x="26041" y="87111"/>
                </a:lnTo>
                <a:lnTo>
                  <a:pt x="20832" y="78474"/>
                </a:lnTo>
                <a:lnTo>
                  <a:pt x="16368" y="68850"/>
                </a:lnTo>
                <a:lnTo>
                  <a:pt x="12896" y="58979"/>
                </a:lnTo>
                <a:lnTo>
                  <a:pt x="9672" y="47874"/>
                </a:lnTo>
                <a:lnTo>
                  <a:pt x="6944" y="36769"/>
                </a:lnTo>
                <a:lnTo>
                  <a:pt x="4960" y="24924"/>
                </a:lnTo>
                <a:lnTo>
                  <a:pt x="3968" y="12585"/>
                </a:lnTo>
                <a:lnTo>
                  <a:pt x="3472" y="0"/>
                </a:lnTo>
                <a:lnTo>
                  <a:pt x="0" y="0"/>
                </a:lnTo>
                <a:lnTo>
                  <a:pt x="496" y="12585"/>
                </a:lnTo>
                <a:close/>
              </a:path>
            </a:pathLst>
          </a:custGeom>
          <a:solidFill>
            <a:srgbClr val="000000"/>
          </a:solidFill>
        </p:spPr>
        <p:txBody>
          <a:bodyPr wrap="square" lIns="0" tIns="0" rIns="0" bIns="0" rtlCol="0">
            <a:noAutofit/>
          </a:bodyPr>
          <a:lstStyle/>
          <a:p>
            <a:endParaRPr/>
          </a:p>
        </p:txBody>
      </p:sp>
      <p:sp>
        <p:nvSpPr>
          <p:cNvPr id="2353" name="object 2353"/>
          <p:cNvSpPr/>
          <p:nvPr/>
        </p:nvSpPr>
        <p:spPr>
          <a:xfrm>
            <a:off x="8711062" y="1646324"/>
            <a:ext cx="79115" cy="126595"/>
          </a:xfrm>
          <a:custGeom>
            <a:avLst/>
            <a:gdLst/>
            <a:ahLst/>
            <a:cxnLst/>
            <a:rect l="l" t="t" r="r" b="b"/>
            <a:pathLst>
              <a:path w="79115" h="126595">
                <a:moveTo>
                  <a:pt x="3472" y="89332"/>
                </a:moveTo>
                <a:lnTo>
                  <a:pt x="1488" y="101178"/>
                </a:lnTo>
                <a:lnTo>
                  <a:pt x="496" y="113763"/>
                </a:lnTo>
                <a:lnTo>
                  <a:pt x="0" y="126595"/>
                </a:lnTo>
                <a:lnTo>
                  <a:pt x="3472" y="126595"/>
                </a:lnTo>
                <a:lnTo>
                  <a:pt x="3968" y="113763"/>
                </a:lnTo>
                <a:lnTo>
                  <a:pt x="4960" y="101671"/>
                </a:lnTo>
                <a:lnTo>
                  <a:pt x="6944" y="89826"/>
                </a:lnTo>
                <a:lnTo>
                  <a:pt x="9672" y="78474"/>
                </a:lnTo>
                <a:lnTo>
                  <a:pt x="12896" y="67616"/>
                </a:lnTo>
                <a:lnTo>
                  <a:pt x="16368" y="57498"/>
                </a:lnTo>
                <a:lnTo>
                  <a:pt x="20832" y="47874"/>
                </a:lnTo>
                <a:lnTo>
                  <a:pt x="26041" y="39237"/>
                </a:lnTo>
                <a:lnTo>
                  <a:pt x="31497" y="31340"/>
                </a:lnTo>
                <a:lnTo>
                  <a:pt x="37201" y="24430"/>
                </a:lnTo>
                <a:lnTo>
                  <a:pt x="43401" y="18014"/>
                </a:lnTo>
                <a:lnTo>
                  <a:pt x="50098" y="13079"/>
                </a:lnTo>
                <a:lnTo>
                  <a:pt x="56794" y="8883"/>
                </a:lnTo>
                <a:lnTo>
                  <a:pt x="63986" y="5922"/>
                </a:lnTo>
                <a:lnTo>
                  <a:pt x="71427" y="4195"/>
                </a:lnTo>
                <a:lnTo>
                  <a:pt x="79115" y="3454"/>
                </a:lnTo>
                <a:lnTo>
                  <a:pt x="79115" y="0"/>
                </a:lnTo>
                <a:lnTo>
                  <a:pt x="70931" y="740"/>
                </a:lnTo>
                <a:lnTo>
                  <a:pt x="62994" y="2467"/>
                </a:lnTo>
                <a:lnTo>
                  <a:pt x="55306" y="5922"/>
                </a:lnTo>
                <a:lnTo>
                  <a:pt x="48114" y="10117"/>
                </a:lnTo>
                <a:lnTo>
                  <a:pt x="40921" y="15546"/>
                </a:lnTo>
                <a:lnTo>
                  <a:pt x="34721" y="21963"/>
                </a:lnTo>
                <a:lnTo>
                  <a:pt x="28521" y="29366"/>
                </a:lnTo>
                <a:lnTo>
                  <a:pt x="23065" y="37263"/>
                </a:lnTo>
                <a:lnTo>
                  <a:pt x="17856" y="46393"/>
                </a:lnTo>
                <a:lnTo>
                  <a:pt x="13392" y="56018"/>
                </a:lnTo>
                <a:lnTo>
                  <a:pt x="9424" y="66629"/>
                </a:lnTo>
                <a:lnTo>
                  <a:pt x="6200" y="77487"/>
                </a:lnTo>
                <a:lnTo>
                  <a:pt x="3472" y="89332"/>
                </a:lnTo>
                <a:close/>
              </a:path>
            </a:pathLst>
          </a:custGeom>
          <a:solidFill>
            <a:srgbClr val="000000"/>
          </a:solidFill>
        </p:spPr>
        <p:txBody>
          <a:bodyPr wrap="square" lIns="0" tIns="0" rIns="0" bIns="0" rtlCol="0">
            <a:noAutofit/>
          </a:bodyPr>
          <a:lstStyle/>
          <a:p>
            <a:endParaRPr/>
          </a:p>
        </p:txBody>
      </p:sp>
      <p:sp>
        <p:nvSpPr>
          <p:cNvPr id="2354" name="object 2354"/>
          <p:cNvSpPr/>
          <p:nvPr/>
        </p:nvSpPr>
        <p:spPr>
          <a:xfrm>
            <a:off x="8790673" y="1888656"/>
            <a:ext cx="52578" cy="8390"/>
          </a:xfrm>
          <a:custGeom>
            <a:avLst/>
            <a:gdLst/>
            <a:ahLst/>
            <a:cxnLst/>
            <a:rect l="l" t="t" r="r" b="b"/>
            <a:pathLst>
              <a:path w="52578" h="8390">
                <a:moveTo>
                  <a:pt x="52578" y="8390"/>
                </a:moveTo>
                <a:lnTo>
                  <a:pt x="24801" y="0"/>
                </a:lnTo>
                <a:lnTo>
                  <a:pt x="0" y="8390"/>
                </a:lnTo>
                <a:lnTo>
                  <a:pt x="52578" y="8390"/>
                </a:lnTo>
                <a:close/>
              </a:path>
            </a:pathLst>
          </a:custGeom>
          <a:solidFill>
            <a:srgbClr val="000000"/>
          </a:solidFill>
        </p:spPr>
        <p:txBody>
          <a:bodyPr wrap="square" lIns="0" tIns="0" rIns="0" bIns="0" rtlCol="0">
            <a:noAutofit/>
          </a:bodyPr>
          <a:lstStyle/>
          <a:p>
            <a:endParaRPr/>
          </a:p>
        </p:txBody>
      </p:sp>
      <p:sp>
        <p:nvSpPr>
          <p:cNvPr id="2355" name="object 2355"/>
          <p:cNvSpPr/>
          <p:nvPr/>
        </p:nvSpPr>
        <p:spPr>
          <a:xfrm>
            <a:off x="8789185" y="1648298"/>
            <a:ext cx="51586" cy="8883"/>
          </a:xfrm>
          <a:custGeom>
            <a:avLst/>
            <a:gdLst/>
            <a:ahLst/>
            <a:cxnLst/>
            <a:rect l="l" t="t" r="r" b="b"/>
            <a:pathLst>
              <a:path w="51586" h="8883">
                <a:moveTo>
                  <a:pt x="51586" y="0"/>
                </a:moveTo>
                <a:lnTo>
                  <a:pt x="0" y="0"/>
                </a:lnTo>
                <a:lnTo>
                  <a:pt x="26289" y="8883"/>
                </a:lnTo>
                <a:lnTo>
                  <a:pt x="51586" y="0"/>
                </a:lnTo>
                <a:close/>
              </a:path>
            </a:pathLst>
          </a:custGeom>
          <a:solidFill>
            <a:srgbClr val="000000"/>
          </a:solidFill>
        </p:spPr>
        <p:txBody>
          <a:bodyPr wrap="square" lIns="0" tIns="0" rIns="0" bIns="0" rtlCol="0">
            <a:noAutofit/>
          </a:bodyPr>
          <a:lstStyle/>
          <a:p>
            <a:endParaRPr/>
          </a:p>
        </p:txBody>
      </p:sp>
      <p:sp>
        <p:nvSpPr>
          <p:cNvPr id="2356" name="object 2356"/>
          <p:cNvSpPr/>
          <p:nvPr/>
        </p:nvSpPr>
        <p:spPr>
          <a:xfrm>
            <a:off x="8789185" y="1647064"/>
            <a:ext cx="52826" cy="2467"/>
          </a:xfrm>
          <a:custGeom>
            <a:avLst/>
            <a:gdLst/>
            <a:ahLst/>
            <a:cxnLst/>
            <a:rect l="l" t="t" r="r" b="b"/>
            <a:pathLst>
              <a:path w="52826" h="2467">
                <a:moveTo>
                  <a:pt x="51090" y="0"/>
                </a:moveTo>
                <a:lnTo>
                  <a:pt x="0" y="0"/>
                </a:lnTo>
                <a:lnTo>
                  <a:pt x="0" y="2467"/>
                </a:lnTo>
                <a:lnTo>
                  <a:pt x="51586" y="2467"/>
                </a:lnTo>
                <a:lnTo>
                  <a:pt x="52024" y="2177"/>
                </a:lnTo>
                <a:lnTo>
                  <a:pt x="52330" y="1974"/>
                </a:lnTo>
                <a:lnTo>
                  <a:pt x="52826" y="1233"/>
                </a:lnTo>
                <a:lnTo>
                  <a:pt x="52330" y="493"/>
                </a:lnTo>
                <a:lnTo>
                  <a:pt x="51586" y="0"/>
                </a:lnTo>
                <a:lnTo>
                  <a:pt x="51090" y="0"/>
                </a:lnTo>
                <a:close/>
              </a:path>
            </a:pathLst>
          </a:custGeom>
          <a:solidFill>
            <a:srgbClr val="000000"/>
          </a:solidFill>
        </p:spPr>
        <p:txBody>
          <a:bodyPr wrap="square" lIns="0" tIns="0" rIns="0" bIns="0" rtlCol="0">
            <a:noAutofit/>
          </a:bodyPr>
          <a:lstStyle/>
          <a:p>
            <a:endParaRPr/>
          </a:p>
        </p:txBody>
      </p:sp>
      <p:sp>
        <p:nvSpPr>
          <p:cNvPr id="2357" name="object 2357"/>
          <p:cNvSpPr/>
          <p:nvPr/>
        </p:nvSpPr>
        <p:spPr>
          <a:xfrm>
            <a:off x="8814235" y="1647064"/>
            <a:ext cx="26041" cy="11351"/>
          </a:xfrm>
          <a:custGeom>
            <a:avLst/>
            <a:gdLst/>
            <a:ahLst/>
            <a:cxnLst/>
            <a:rect l="l" t="t" r="r" b="b"/>
            <a:pathLst>
              <a:path w="26041" h="11351">
                <a:moveTo>
                  <a:pt x="744" y="8883"/>
                </a:moveTo>
                <a:lnTo>
                  <a:pt x="0" y="9624"/>
                </a:lnTo>
                <a:lnTo>
                  <a:pt x="248" y="10364"/>
                </a:lnTo>
                <a:lnTo>
                  <a:pt x="744" y="11351"/>
                </a:lnTo>
                <a:lnTo>
                  <a:pt x="1736" y="11351"/>
                </a:lnTo>
                <a:lnTo>
                  <a:pt x="1736" y="8883"/>
                </a:lnTo>
                <a:lnTo>
                  <a:pt x="26041" y="0"/>
                </a:lnTo>
                <a:lnTo>
                  <a:pt x="744" y="8883"/>
                </a:lnTo>
                <a:close/>
              </a:path>
            </a:pathLst>
          </a:custGeom>
          <a:solidFill>
            <a:srgbClr val="000000"/>
          </a:solidFill>
        </p:spPr>
        <p:txBody>
          <a:bodyPr wrap="square" lIns="0" tIns="0" rIns="0" bIns="0" rtlCol="0">
            <a:noAutofit/>
          </a:bodyPr>
          <a:lstStyle/>
          <a:p>
            <a:endParaRPr/>
          </a:p>
        </p:txBody>
      </p:sp>
      <p:sp>
        <p:nvSpPr>
          <p:cNvPr id="2358" name="object 2358"/>
          <p:cNvSpPr/>
          <p:nvPr/>
        </p:nvSpPr>
        <p:spPr>
          <a:xfrm>
            <a:off x="8815971" y="1647064"/>
            <a:ext cx="25297" cy="11351"/>
          </a:xfrm>
          <a:custGeom>
            <a:avLst/>
            <a:gdLst/>
            <a:ahLst/>
            <a:cxnLst/>
            <a:rect l="l" t="t" r="r" b="b"/>
            <a:pathLst>
              <a:path w="25297" h="11351">
                <a:moveTo>
                  <a:pt x="0" y="8883"/>
                </a:moveTo>
                <a:lnTo>
                  <a:pt x="0" y="11351"/>
                </a:lnTo>
                <a:lnTo>
                  <a:pt x="25297" y="2467"/>
                </a:lnTo>
                <a:lnTo>
                  <a:pt x="24305" y="0"/>
                </a:lnTo>
                <a:lnTo>
                  <a:pt x="0" y="8883"/>
                </a:lnTo>
                <a:close/>
              </a:path>
            </a:pathLst>
          </a:custGeom>
          <a:solidFill>
            <a:srgbClr val="000000"/>
          </a:solidFill>
        </p:spPr>
        <p:txBody>
          <a:bodyPr wrap="square" lIns="0" tIns="0" rIns="0" bIns="0" rtlCol="0">
            <a:noAutofit/>
          </a:bodyPr>
          <a:lstStyle/>
          <a:p>
            <a:endParaRPr/>
          </a:p>
        </p:txBody>
      </p:sp>
      <p:sp>
        <p:nvSpPr>
          <p:cNvPr id="2359" name="object 2359"/>
          <p:cNvSpPr/>
          <p:nvPr/>
        </p:nvSpPr>
        <p:spPr>
          <a:xfrm>
            <a:off x="8787946" y="1647064"/>
            <a:ext cx="27033" cy="11351"/>
          </a:xfrm>
          <a:custGeom>
            <a:avLst/>
            <a:gdLst/>
            <a:ahLst/>
            <a:cxnLst/>
            <a:rect l="l" t="t" r="r" b="b"/>
            <a:pathLst>
              <a:path w="27033" h="11351">
                <a:moveTo>
                  <a:pt x="744" y="2467"/>
                </a:moveTo>
                <a:lnTo>
                  <a:pt x="27033" y="11351"/>
                </a:lnTo>
                <a:lnTo>
                  <a:pt x="1240" y="2467"/>
                </a:lnTo>
                <a:lnTo>
                  <a:pt x="1240" y="0"/>
                </a:lnTo>
                <a:lnTo>
                  <a:pt x="744" y="0"/>
                </a:lnTo>
                <a:lnTo>
                  <a:pt x="248" y="740"/>
                </a:lnTo>
                <a:lnTo>
                  <a:pt x="0" y="1727"/>
                </a:lnTo>
                <a:lnTo>
                  <a:pt x="744" y="2467"/>
                </a:lnTo>
                <a:close/>
              </a:path>
            </a:pathLst>
          </a:custGeom>
          <a:solidFill>
            <a:srgbClr val="000000"/>
          </a:solidFill>
        </p:spPr>
        <p:txBody>
          <a:bodyPr wrap="square" lIns="0" tIns="0" rIns="0" bIns="0" rtlCol="0">
            <a:noAutofit/>
          </a:bodyPr>
          <a:lstStyle/>
          <a:p>
            <a:endParaRPr/>
          </a:p>
        </p:txBody>
      </p:sp>
      <p:sp>
        <p:nvSpPr>
          <p:cNvPr id="2360" name="object 2360"/>
          <p:cNvSpPr/>
          <p:nvPr/>
        </p:nvSpPr>
        <p:spPr>
          <a:xfrm>
            <a:off x="8789186" y="1647064"/>
            <a:ext cx="26785" cy="11351"/>
          </a:xfrm>
          <a:custGeom>
            <a:avLst/>
            <a:gdLst/>
            <a:ahLst/>
            <a:cxnLst/>
            <a:rect l="l" t="t" r="r" b="b"/>
            <a:pathLst>
              <a:path w="26785" h="11351">
                <a:moveTo>
                  <a:pt x="496" y="0"/>
                </a:moveTo>
                <a:lnTo>
                  <a:pt x="0" y="0"/>
                </a:lnTo>
                <a:lnTo>
                  <a:pt x="0" y="2467"/>
                </a:lnTo>
                <a:lnTo>
                  <a:pt x="25793" y="11351"/>
                </a:lnTo>
                <a:lnTo>
                  <a:pt x="26785" y="8883"/>
                </a:lnTo>
                <a:lnTo>
                  <a:pt x="496" y="0"/>
                </a:lnTo>
                <a:close/>
              </a:path>
            </a:pathLst>
          </a:custGeom>
          <a:solidFill>
            <a:srgbClr val="000000"/>
          </a:solidFill>
        </p:spPr>
        <p:txBody>
          <a:bodyPr wrap="square" lIns="0" tIns="0" rIns="0" bIns="0" rtlCol="0">
            <a:noAutofit/>
          </a:bodyPr>
          <a:lstStyle/>
          <a:p>
            <a:endParaRPr/>
          </a:p>
        </p:txBody>
      </p:sp>
      <p:sp>
        <p:nvSpPr>
          <p:cNvPr id="2361" name="object 2361"/>
          <p:cNvSpPr/>
          <p:nvPr/>
        </p:nvSpPr>
        <p:spPr>
          <a:xfrm>
            <a:off x="8790673" y="1895814"/>
            <a:ext cx="53818" cy="2467"/>
          </a:xfrm>
          <a:custGeom>
            <a:avLst/>
            <a:gdLst/>
            <a:ahLst/>
            <a:cxnLst/>
            <a:rect l="l" t="t" r="r" b="b"/>
            <a:pathLst>
              <a:path w="53818" h="2467">
                <a:moveTo>
                  <a:pt x="53818" y="1233"/>
                </a:moveTo>
                <a:lnTo>
                  <a:pt x="53322" y="493"/>
                </a:lnTo>
                <a:lnTo>
                  <a:pt x="52810" y="154"/>
                </a:lnTo>
                <a:lnTo>
                  <a:pt x="52578" y="0"/>
                </a:lnTo>
                <a:lnTo>
                  <a:pt x="0" y="0"/>
                </a:lnTo>
                <a:lnTo>
                  <a:pt x="0" y="2467"/>
                </a:lnTo>
                <a:lnTo>
                  <a:pt x="52578" y="2467"/>
                </a:lnTo>
                <a:lnTo>
                  <a:pt x="53322" y="1974"/>
                </a:lnTo>
                <a:lnTo>
                  <a:pt x="53818" y="1233"/>
                </a:lnTo>
                <a:close/>
              </a:path>
            </a:pathLst>
          </a:custGeom>
          <a:solidFill>
            <a:srgbClr val="000000"/>
          </a:solidFill>
        </p:spPr>
        <p:txBody>
          <a:bodyPr wrap="square" lIns="0" tIns="0" rIns="0" bIns="0" rtlCol="0">
            <a:noAutofit/>
          </a:bodyPr>
          <a:lstStyle/>
          <a:p>
            <a:endParaRPr/>
          </a:p>
        </p:txBody>
      </p:sp>
      <p:sp>
        <p:nvSpPr>
          <p:cNvPr id="2362" name="object 2362"/>
          <p:cNvSpPr/>
          <p:nvPr/>
        </p:nvSpPr>
        <p:spPr>
          <a:xfrm>
            <a:off x="8815227" y="1889890"/>
            <a:ext cx="27777" cy="8390"/>
          </a:xfrm>
          <a:custGeom>
            <a:avLst/>
            <a:gdLst/>
            <a:ahLst/>
            <a:cxnLst/>
            <a:rect l="l" t="t" r="r" b="b"/>
            <a:pathLst>
              <a:path w="27777" h="8390">
                <a:moveTo>
                  <a:pt x="27777" y="8390"/>
                </a:moveTo>
                <a:lnTo>
                  <a:pt x="744" y="0"/>
                </a:lnTo>
                <a:lnTo>
                  <a:pt x="0" y="0"/>
                </a:lnTo>
                <a:lnTo>
                  <a:pt x="27777" y="8390"/>
                </a:lnTo>
                <a:close/>
              </a:path>
            </a:pathLst>
          </a:custGeom>
          <a:solidFill>
            <a:srgbClr val="000000"/>
          </a:solidFill>
        </p:spPr>
        <p:txBody>
          <a:bodyPr wrap="square" lIns="0" tIns="0" rIns="0" bIns="0" rtlCol="0">
            <a:noAutofit/>
          </a:bodyPr>
          <a:lstStyle/>
          <a:p>
            <a:endParaRPr/>
          </a:p>
        </p:txBody>
      </p:sp>
      <p:sp>
        <p:nvSpPr>
          <p:cNvPr id="2363" name="object 2363"/>
          <p:cNvSpPr/>
          <p:nvPr/>
        </p:nvSpPr>
        <p:spPr>
          <a:xfrm>
            <a:off x="8814483" y="1887422"/>
            <a:ext cx="29017" cy="10858"/>
          </a:xfrm>
          <a:custGeom>
            <a:avLst/>
            <a:gdLst/>
            <a:ahLst/>
            <a:cxnLst/>
            <a:rect l="l" t="t" r="r" b="b"/>
            <a:pathLst>
              <a:path w="29017" h="10858">
                <a:moveTo>
                  <a:pt x="28521" y="10858"/>
                </a:moveTo>
                <a:lnTo>
                  <a:pt x="29017" y="8390"/>
                </a:lnTo>
                <a:lnTo>
                  <a:pt x="1240" y="0"/>
                </a:lnTo>
                <a:lnTo>
                  <a:pt x="248" y="246"/>
                </a:lnTo>
                <a:lnTo>
                  <a:pt x="0" y="987"/>
                </a:lnTo>
                <a:lnTo>
                  <a:pt x="0" y="1974"/>
                </a:lnTo>
                <a:lnTo>
                  <a:pt x="744" y="2467"/>
                </a:lnTo>
                <a:lnTo>
                  <a:pt x="1488" y="2467"/>
                </a:lnTo>
                <a:lnTo>
                  <a:pt x="28521" y="10858"/>
                </a:lnTo>
                <a:close/>
              </a:path>
            </a:pathLst>
          </a:custGeom>
          <a:solidFill>
            <a:srgbClr val="000000"/>
          </a:solidFill>
        </p:spPr>
        <p:txBody>
          <a:bodyPr wrap="square" lIns="0" tIns="0" rIns="0" bIns="0" rtlCol="0">
            <a:noAutofit/>
          </a:bodyPr>
          <a:lstStyle/>
          <a:p>
            <a:endParaRPr/>
          </a:p>
        </p:txBody>
      </p:sp>
      <p:sp>
        <p:nvSpPr>
          <p:cNvPr id="2364" name="object 2364"/>
          <p:cNvSpPr/>
          <p:nvPr/>
        </p:nvSpPr>
        <p:spPr>
          <a:xfrm>
            <a:off x="8790178" y="1887422"/>
            <a:ext cx="24801" cy="8390"/>
          </a:xfrm>
          <a:custGeom>
            <a:avLst/>
            <a:gdLst/>
            <a:ahLst/>
            <a:cxnLst/>
            <a:rect l="l" t="t" r="r" b="b"/>
            <a:pathLst>
              <a:path w="24801" h="8390">
                <a:moveTo>
                  <a:pt x="0" y="8390"/>
                </a:moveTo>
                <a:lnTo>
                  <a:pt x="496" y="8390"/>
                </a:lnTo>
                <a:lnTo>
                  <a:pt x="24801" y="0"/>
                </a:lnTo>
                <a:lnTo>
                  <a:pt x="0" y="8390"/>
                </a:lnTo>
                <a:close/>
              </a:path>
            </a:pathLst>
          </a:custGeom>
          <a:solidFill>
            <a:srgbClr val="000000"/>
          </a:solidFill>
        </p:spPr>
        <p:txBody>
          <a:bodyPr wrap="square" lIns="0" tIns="0" rIns="0" bIns="0" rtlCol="0">
            <a:noAutofit/>
          </a:bodyPr>
          <a:lstStyle/>
          <a:p>
            <a:endParaRPr/>
          </a:p>
        </p:txBody>
      </p:sp>
      <p:sp>
        <p:nvSpPr>
          <p:cNvPr id="2365" name="object 2365"/>
          <p:cNvSpPr/>
          <p:nvPr/>
        </p:nvSpPr>
        <p:spPr>
          <a:xfrm>
            <a:off x="8789434" y="1887422"/>
            <a:ext cx="26537" cy="10858"/>
          </a:xfrm>
          <a:custGeom>
            <a:avLst/>
            <a:gdLst/>
            <a:ahLst/>
            <a:cxnLst/>
            <a:rect l="l" t="t" r="r" b="b"/>
            <a:pathLst>
              <a:path w="26537" h="10858">
                <a:moveTo>
                  <a:pt x="248" y="9871"/>
                </a:moveTo>
                <a:lnTo>
                  <a:pt x="744" y="10858"/>
                </a:lnTo>
                <a:lnTo>
                  <a:pt x="1736" y="10858"/>
                </a:lnTo>
                <a:lnTo>
                  <a:pt x="26537" y="2467"/>
                </a:lnTo>
                <a:lnTo>
                  <a:pt x="25545" y="0"/>
                </a:lnTo>
                <a:lnTo>
                  <a:pt x="1240" y="8390"/>
                </a:lnTo>
                <a:lnTo>
                  <a:pt x="744" y="8390"/>
                </a:lnTo>
                <a:lnTo>
                  <a:pt x="0" y="9130"/>
                </a:lnTo>
                <a:lnTo>
                  <a:pt x="248" y="9871"/>
                </a:lnTo>
                <a:close/>
              </a:path>
            </a:pathLst>
          </a:custGeom>
          <a:solidFill>
            <a:srgbClr val="000000"/>
          </a:solidFill>
        </p:spPr>
        <p:txBody>
          <a:bodyPr wrap="square" lIns="0" tIns="0" rIns="0" bIns="0" rtlCol="0">
            <a:noAutofit/>
          </a:bodyPr>
          <a:lstStyle/>
          <a:p>
            <a:endParaRPr/>
          </a:p>
        </p:txBody>
      </p:sp>
      <p:sp>
        <p:nvSpPr>
          <p:cNvPr id="2366" name="object 2366"/>
          <p:cNvSpPr/>
          <p:nvPr/>
        </p:nvSpPr>
        <p:spPr>
          <a:xfrm>
            <a:off x="8763888" y="1648050"/>
            <a:ext cx="155006" cy="249736"/>
          </a:xfrm>
          <a:custGeom>
            <a:avLst/>
            <a:gdLst/>
            <a:ahLst/>
            <a:cxnLst/>
            <a:rect l="l" t="t" r="r" b="b"/>
            <a:pathLst>
              <a:path w="155006" h="249736">
                <a:moveTo>
                  <a:pt x="77379" y="0"/>
                </a:moveTo>
                <a:lnTo>
                  <a:pt x="69443" y="740"/>
                </a:lnTo>
                <a:lnTo>
                  <a:pt x="61754" y="2467"/>
                </a:lnTo>
                <a:lnTo>
                  <a:pt x="47370" y="9871"/>
                </a:lnTo>
                <a:lnTo>
                  <a:pt x="40425" y="15053"/>
                </a:lnTo>
                <a:lnTo>
                  <a:pt x="34225" y="21469"/>
                </a:lnTo>
                <a:lnTo>
                  <a:pt x="28273" y="28625"/>
                </a:lnTo>
                <a:lnTo>
                  <a:pt x="22817" y="36522"/>
                </a:lnTo>
                <a:lnTo>
                  <a:pt x="17608" y="45406"/>
                </a:lnTo>
                <a:lnTo>
                  <a:pt x="13144" y="55030"/>
                </a:lnTo>
                <a:lnTo>
                  <a:pt x="9424" y="65395"/>
                </a:lnTo>
                <a:lnTo>
                  <a:pt x="6200" y="76253"/>
                </a:lnTo>
                <a:lnTo>
                  <a:pt x="3472" y="87852"/>
                </a:lnTo>
                <a:lnTo>
                  <a:pt x="1488" y="99697"/>
                </a:lnTo>
                <a:lnTo>
                  <a:pt x="496" y="112036"/>
                </a:lnTo>
                <a:lnTo>
                  <a:pt x="0" y="124868"/>
                </a:lnTo>
                <a:lnTo>
                  <a:pt x="496" y="137454"/>
                </a:lnTo>
                <a:lnTo>
                  <a:pt x="1488" y="150039"/>
                </a:lnTo>
                <a:lnTo>
                  <a:pt x="3472" y="161884"/>
                </a:lnTo>
                <a:lnTo>
                  <a:pt x="6200" y="173236"/>
                </a:lnTo>
                <a:lnTo>
                  <a:pt x="9424" y="184341"/>
                </a:lnTo>
                <a:lnTo>
                  <a:pt x="13144" y="194459"/>
                </a:lnTo>
                <a:lnTo>
                  <a:pt x="17608" y="204083"/>
                </a:lnTo>
                <a:lnTo>
                  <a:pt x="22817" y="212967"/>
                </a:lnTo>
                <a:lnTo>
                  <a:pt x="28273" y="221110"/>
                </a:lnTo>
                <a:lnTo>
                  <a:pt x="34225" y="228267"/>
                </a:lnTo>
                <a:lnTo>
                  <a:pt x="40425" y="234683"/>
                </a:lnTo>
                <a:lnTo>
                  <a:pt x="47370" y="239865"/>
                </a:lnTo>
                <a:lnTo>
                  <a:pt x="61754" y="247269"/>
                </a:lnTo>
                <a:lnTo>
                  <a:pt x="77379" y="249736"/>
                </a:lnTo>
                <a:lnTo>
                  <a:pt x="85315" y="248996"/>
                </a:lnTo>
                <a:lnTo>
                  <a:pt x="100444" y="244061"/>
                </a:lnTo>
                <a:lnTo>
                  <a:pt x="107636" y="239865"/>
                </a:lnTo>
                <a:lnTo>
                  <a:pt x="114333" y="234683"/>
                </a:lnTo>
                <a:lnTo>
                  <a:pt x="120781" y="228267"/>
                </a:lnTo>
                <a:lnTo>
                  <a:pt x="126733" y="221110"/>
                </a:lnTo>
                <a:lnTo>
                  <a:pt x="132189" y="212967"/>
                </a:lnTo>
                <a:lnTo>
                  <a:pt x="137398" y="204083"/>
                </a:lnTo>
                <a:lnTo>
                  <a:pt x="141862" y="194459"/>
                </a:lnTo>
                <a:lnTo>
                  <a:pt x="145582" y="184341"/>
                </a:lnTo>
                <a:lnTo>
                  <a:pt x="148806" y="173236"/>
                </a:lnTo>
                <a:lnTo>
                  <a:pt x="151534" y="161884"/>
                </a:lnTo>
                <a:lnTo>
                  <a:pt x="153518" y="150039"/>
                </a:lnTo>
                <a:lnTo>
                  <a:pt x="154510" y="137454"/>
                </a:lnTo>
                <a:lnTo>
                  <a:pt x="155006" y="124868"/>
                </a:lnTo>
                <a:lnTo>
                  <a:pt x="154510" y="112036"/>
                </a:lnTo>
                <a:lnTo>
                  <a:pt x="153518" y="99697"/>
                </a:lnTo>
                <a:lnTo>
                  <a:pt x="151534" y="87852"/>
                </a:lnTo>
                <a:lnTo>
                  <a:pt x="148806" y="76253"/>
                </a:lnTo>
                <a:lnTo>
                  <a:pt x="145582" y="65395"/>
                </a:lnTo>
                <a:lnTo>
                  <a:pt x="141862" y="55030"/>
                </a:lnTo>
                <a:lnTo>
                  <a:pt x="137398" y="45406"/>
                </a:lnTo>
                <a:lnTo>
                  <a:pt x="132189" y="36522"/>
                </a:lnTo>
                <a:lnTo>
                  <a:pt x="126733" y="28625"/>
                </a:lnTo>
                <a:lnTo>
                  <a:pt x="120781" y="21469"/>
                </a:lnTo>
                <a:lnTo>
                  <a:pt x="114333" y="15053"/>
                </a:lnTo>
                <a:lnTo>
                  <a:pt x="107636" y="9871"/>
                </a:lnTo>
                <a:lnTo>
                  <a:pt x="100444" y="5675"/>
                </a:lnTo>
                <a:lnTo>
                  <a:pt x="85315" y="740"/>
                </a:lnTo>
                <a:lnTo>
                  <a:pt x="77379" y="0"/>
                </a:lnTo>
                <a:close/>
              </a:path>
            </a:pathLst>
          </a:custGeom>
          <a:solidFill>
            <a:srgbClr val="000000"/>
          </a:solidFill>
        </p:spPr>
        <p:txBody>
          <a:bodyPr wrap="square" lIns="0" tIns="0" rIns="0" bIns="0" rtlCol="0">
            <a:noAutofit/>
          </a:bodyPr>
          <a:lstStyle/>
          <a:p>
            <a:endParaRPr/>
          </a:p>
        </p:txBody>
      </p:sp>
      <p:sp>
        <p:nvSpPr>
          <p:cNvPr id="2367" name="object 2367"/>
          <p:cNvSpPr/>
          <p:nvPr/>
        </p:nvSpPr>
        <p:spPr>
          <a:xfrm>
            <a:off x="8841268" y="1646324"/>
            <a:ext cx="79363" cy="126595"/>
          </a:xfrm>
          <a:custGeom>
            <a:avLst/>
            <a:gdLst/>
            <a:ahLst/>
            <a:cxnLst/>
            <a:rect l="l" t="t" r="r" b="b"/>
            <a:pathLst>
              <a:path w="79363" h="126595">
                <a:moveTo>
                  <a:pt x="0" y="0"/>
                </a:moveTo>
                <a:lnTo>
                  <a:pt x="0" y="3454"/>
                </a:lnTo>
                <a:lnTo>
                  <a:pt x="7688" y="4195"/>
                </a:lnTo>
                <a:lnTo>
                  <a:pt x="15128" y="5922"/>
                </a:lnTo>
                <a:lnTo>
                  <a:pt x="22321" y="8883"/>
                </a:lnTo>
                <a:lnTo>
                  <a:pt x="29265" y="13079"/>
                </a:lnTo>
                <a:lnTo>
                  <a:pt x="35713" y="18014"/>
                </a:lnTo>
                <a:lnTo>
                  <a:pt x="42161" y="24430"/>
                </a:lnTo>
                <a:lnTo>
                  <a:pt x="47866" y="31340"/>
                </a:lnTo>
                <a:lnTo>
                  <a:pt x="53322" y="39237"/>
                </a:lnTo>
                <a:lnTo>
                  <a:pt x="58530" y="47874"/>
                </a:lnTo>
                <a:lnTo>
                  <a:pt x="62994" y="57498"/>
                </a:lnTo>
                <a:lnTo>
                  <a:pt x="66466" y="67616"/>
                </a:lnTo>
                <a:lnTo>
                  <a:pt x="69691" y="78474"/>
                </a:lnTo>
                <a:lnTo>
                  <a:pt x="72419" y="89826"/>
                </a:lnTo>
                <a:lnTo>
                  <a:pt x="74403" y="101671"/>
                </a:lnTo>
                <a:lnTo>
                  <a:pt x="75395" y="113763"/>
                </a:lnTo>
                <a:lnTo>
                  <a:pt x="75891" y="126595"/>
                </a:lnTo>
                <a:lnTo>
                  <a:pt x="79363" y="126595"/>
                </a:lnTo>
                <a:lnTo>
                  <a:pt x="78867" y="113763"/>
                </a:lnTo>
                <a:lnTo>
                  <a:pt x="77875" y="101178"/>
                </a:lnTo>
                <a:lnTo>
                  <a:pt x="75891" y="89332"/>
                </a:lnTo>
                <a:lnTo>
                  <a:pt x="73163" y="77487"/>
                </a:lnTo>
                <a:lnTo>
                  <a:pt x="69939" y="66629"/>
                </a:lnTo>
                <a:lnTo>
                  <a:pt x="65970" y="56018"/>
                </a:lnTo>
                <a:lnTo>
                  <a:pt x="61506" y="46393"/>
                </a:lnTo>
                <a:lnTo>
                  <a:pt x="56298" y="37263"/>
                </a:lnTo>
                <a:lnTo>
                  <a:pt x="50842" y="29366"/>
                </a:lnTo>
                <a:lnTo>
                  <a:pt x="44642" y="21963"/>
                </a:lnTo>
                <a:lnTo>
                  <a:pt x="38193" y="15546"/>
                </a:lnTo>
                <a:lnTo>
                  <a:pt x="31249" y="10117"/>
                </a:lnTo>
                <a:lnTo>
                  <a:pt x="23809" y="5922"/>
                </a:lnTo>
                <a:lnTo>
                  <a:pt x="16120" y="2467"/>
                </a:lnTo>
                <a:lnTo>
                  <a:pt x="8184" y="740"/>
                </a:lnTo>
                <a:lnTo>
                  <a:pt x="0" y="0"/>
                </a:lnTo>
                <a:close/>
              </a:path>
            </a:pathLst>
          </a:custGeom>
          <a:solidFill>
            <a:srgbClr val="000000"/>
          </a:solidFill>
        </p:spPr>
        <p:txBody>
          <a:bodyPr wrap="square" lIns="0" tIns="0" rIns="0" bIns="0" rtlCol="0">
            <a:noAutofit/>
          </a:bodyPr>
          <a:lstStyle/>
          <a:p>
            <a:endParaRPr/>
          </a:p>
        </p:txBody>
      </p:sp>
      <p:sp>
        <p:nvSpPr>
          <p:cNvPr id="2368" name="object 2368"/>
          <p:cNvSpPr/>
          <p:nvPr/>
        </p:nvSpPr>
        <p:spPr>
          <a:xfrm>
            <a:off x="8841268" y="1772919"/>
            <a:ext cx="79363" cy="126595"/>
          </a:xfrm>
          <a:custGeom>
            <a:avLst/>
            <a:gdLst/>
            <a:ahLst/>
            <a:cxnLst/>
            <a:rect l="l" t="t" r="r" b="b"/>
            <a:pathLst>
              <a:path w="79363" h="126595">
                <a:moveTo>
                  <a:pt x="69939" y="59966"/>
                </a:moveTo>
                <a:lnTo>
                  <a:pt x="73163" y="48861"/>
                </a:lnTo>
                <a:lnTo>
                  <a:pt x="75891" y="37263"/>
                </a:lnTo>
                <a:lnTo>
                  <a:pt x="77875" y="25417"/>
                </a:lnTo>
                <a:lnTo>
                  <a:pt x="78867" y="12585"/>
                </a:lnTo>
                <a:lnTo>
                  <a:pt x="79363" y="0"/>
                </a:lnTo>
                <a:lnTo>
                  <a:pt x="75891" y="0"/>
                </a:lnTo>
                <a:lnTo>
                  <a:pt x="75395" y="12585"/>
                </a:lnTo>
                <a:lnTo>
                  <a:pt x="74403" y="24924"/>
                </a:lnTo>
                <a:lnTo>
                  <a:pt x="72419" y="36769"/>
                </a:lnTo>
                <a:lnTo>
                  <a:pt x="69691" y="47874"/>
                </a:lnTo>
                <a:lnTo>
                  <a:pt x="66466" y="58979"/>
                </a:lnTo>
                <a:lnTo>
                  <a:pt x="62994" y="68850"/>
                </a:lnTo>
                <a:lnTo>
                  <a:pt x="58530" y="78474"/>
                </a:lnTo>
                <a:lnTo>
                  <a:pt x="53322" y="87111"/>
                </a:lnTo>
                <a:lnTo>
                  <a:pt x="47866" y="95255"/>
                </a:lnTo>
                <a:lnTo>
                  <a:pt x="42161" y="102165"/>
                </a:lnTo>
                <a:lnTo>
                  <a:pt x="35713" y="108581"/>
                </a:lnTo>
                <a:lnTo>
                  <a:pt x="29265" y="113516"/>
                </a:lnTo>
                <a:lnTo>
                  <a:pt x="22321" y="117711"/>
                </a:lnTo>
                <a:lnTo>
                  <a:pt x="15128" y="120673"/>
                </a:lnTo>
                <a:lnTo>
                  <a:pt x="7688" y="122400"/>
                </a:lnTo>
                <a:lnTo>
                  <a:pt x="0" y="123141"/>
                </a:lnTo>
                <a:lnTo>
                  <a:pt x="0" y="126595"/>
                </a:lnTo>
                <a:lnTo>
                  <a:pt x="8184" y="125855"/>
                </a:lnTo>
                <a:lnTo>
                  <a:pt x="16120" y="124128"/>
                </a:lnTo>
                <a:lnTo>
                  <a:pt x="23809" y="120673"/>
                </a:lnTo>
                <a:lnTo>
                  <a:pt x="31249" y="116478"/>
                </a:lnTo>
                <a:lnTo>
                  <a:pt x="38193" y="111049"/>
                </a:lnTo>
                <a:lnTo>
                  <a:pt x="44642" y="104632"/>
                </a:lnTo>
                <a:lnTo>
                  <a:pt x="50842" y="97229"/>
                </a:lnTo>
                <a:lnTo>
                  <a:pt x="56298" y="89086"/>
                </a:lnTo>
                <a:lnTo>
                  <a:pt x="61506" y="79955"/>
                </a:lnTo>
                <a:lnTo>
                  <a:pt x="65970" y="70331"/>
                </a:lnTo>
                <a:lnTo>
                  <a:pt x="69939" y="59966"/>
                </a:lnTo>
                <a:close/>
              </a:path>
            </a:pathLst>
          </a:custGeom>
          <a:solidFill>
            <a:srgbClr val="000000"/>
          </a:solidFill>
        </p:spPr>
        <p:txBody>
          <a:bodyPr wrap="square" lIns="0" tIns="0" rIns="0" bIns="0" rtlCol="0">
            <a:noAutofit/>
          </a:bodyPr>
          <a:lstStyle/>
          <a:p>
            <a:endParaRPr/>
          </a:p>
        </p:txBody>
      </p:sp>
      <p:sp>
        <p:nvSpPr>
          <p:cNvPr id="2369" name="object 2369"/>
          <p:cNvSpPr/>
          <p:nvPr/>
        </p:nvSpPr>
        <p:spPr>
          <a:xfrm>
            <a:off x="8762152" y="1772919"/>
            <a:ext cx="79115" cy="126595"/>
          </a:xfrm>
          <a:custGeom>
            <a:avLst/>
            <a:gdLst/>
            <a:ahLst/>
            <a:cxnLst/>
            <a:rect l="l" t="t" r="r" b="b"/>
            <a:pathLst>
              <a:path w="79115" h="126595">
                <a:moveTo>
                  <a:pt x="496" y="12585"/>
                </a:moveTo>
                <a:lnTo>
                  <a:pt x="1488" y="25417"/>
                </a:lnTo>
                <a:lnTo>
                  <a:pt x="3472" y="37263"/>
                </a:lnTo>
                <a:lnTo>
                  <a:pt x="6200" y="48861"/>
                </a:lnTo>
                <a:lnTo>
                  <a:pt x="9424" y="59966"/>
                </a:lnTo>
                <a:lnTo>
                  <a:pt x="13392" y="70331"/>
                </a:lnTo>
                <a:lnTo>
                  <a:pt x="17856" y="79955"/>
                </a:lnTo>
                <a:lnTo>
                  <a:pt x="23065" y="89086"/>
                </a:lnTo>
                <a:lnTo>
                  <a:pt x="28521" y="97229"/>
                </a:lnTo>
                <a:lnTo>
                  <a:pt x="34721" y="104632"/>
                </a:lnTo>
                <a:lnTo>
                  <a:pt x="40921" y="111049"/>
                </a:lnTo>
                <a:lnTo>
                  <a:pt x="48114" y="116478"/>
                </a:lnTo>
                <a:lnTo>
                  <a:pt x="55306" y="120673"/>
                </a:lnTo>
                <a:lnTo>
                  <a:pt x="62994" y="124128"/>
                </a:lnTo>
                <a:lnTo>
                  <a:pt x="70931" y="125855"/>
                </a:lnTo>
                <a:lnTo>
                  <a:pt x="79115" y="126595"/>
                </a:lnTo>
                <a:lnTo>
                  <a:pt x="79115" y="123141"/>
                </a:lnTo>
                <a:lnTo>
                  <a:pt x="71427" y="122400"/>
                </a:lnTo>
                <a:lnTo>
                  <a:pt x="63986" y="120673"/>
                </a:lnTo>
                <a:lnTo>
                  <a:pt x="56794" y="117711"/>
                </a:lnTo>
                <a:lnTo>
                  <a:pt x="50098" y="113516"/>
                </a:lnTo>
                <a:lnTo>
                  <a:pt x="43401" y="108581"/>
                </a:lnTo>
                <a:lnTo>
                  <a:pt x="37201" y="102165"/>
                </a:lnTo>
                <a:lnTo>
                  <a:pt x="31497" y="95255"/>
                </a:lnTo>
                <a:lnTo>
                  <a:pt x="26041" y="87111"/>
                </a:lnTo>
                <a:lnTo>
                  <a:pt x="20832" y="78474"/>
                </a:lnTo>
                <a:lnTo>
                  <a:pt x="16368" y="68850"/>
                </a:lnTo>
                <a:lnTo>
                  <a:pt x="12896" y="58979"/>
                </a:lnTo>
                <a:lnTo>
                  <a:pt x="9672" y="47874"/>
                </a:lnTo>
                <a:lnTo>
                  <a:pt x="6944" y="36769"/>
                </a:lnTo>
                <a:lnTo>
                  <a:pt x="4960" y="24924"/>
                </a:lnTo>
                <a:lnTo>
                  <a:pt x="3968" y="12585"/>
                </a:lnTo>
                <a:lnTo>
                  <a:pt x="3472" y="0"/>
                </a:lnTo>
                <a:lnTo>
                  <a:pt x="0" y="0"/>
                </a:lnTo>
                <a:lnTo>
                  <a:pt x="496" y="12585"/>
                </a:lnTo>
                <a:close/>
              </a:path>
            </a:pathLst>
          </a:custGeom>
          <a:solidFill>
            <a:srgbClr val="000000"/>
          </a:solidFill>
        </p:spPr>
        <p:txBody>
          <a:bodyPr wrap="square" lIns="0" tIns="0" rIns="0" bIns="0" rtlCol="0">
            <a:noAutofit/>
          </a:bodyPr>
          <a:lstStyle/>
          <a:p>
            <a:endParaRPr/>
          </a:p>
        </p:txBody>
      </p:sp>
      <p:sp>
        <p:nvSpPr>
          <p:cNvPr id="2370" name="object 2370"/>
          <p:cNvSpPr/>
          <p:nvPr/>
        </p:nvSpPr>
        <p:spPr>
          <a:xfrm>
            <a:off x="8762152" y="1646324"/>
            <a:ext cx="79115" cy="126595"/>
          </a:xfrm>
          <a:custGeom>
            <a:avLst/>
            <a:gdLst/>
            <a:ahLst/>
            <a:cxnLst/>
            <a:rect l="l" t="t" r="r" b="b"/>
            <a:pathLst>
              <a:path w="79115" h="126595">
                <a:moveTo>
                  <a:pt x="3472" y="89332"/>
                </a:moveTo>
                <a:lnTo>
                  <a:pt x="1488" y="101178"/>
                </a:lnTo>
                <a:lnTo>
                  <a:pt x="496" y="113763"/>
                </a:lnTo>
                <a:lnTo>
                  <a:pt x="0" y="126595"/>
                </a:lnTo>
                <a:lnTo>
                  <a:pt x="3472" y="126595"/>
                </a:lnTo>
                <a:lnTo>
                  <a:pt x="3968" y="113763"/>
                </a:lnTo>
                <a:lnTo>
                  <a:pt x="4960" y="101671"/>
                </a:lnTo>
                <a:lnTo>
                  <a:pt x="6944" y="89826"/>
                </a:lnTo>
                <a:lnTo>
                  <a:pt x="9672" y="78474"/>
                </a:lnTo>
                <a:lnTo>
                  <a:pt x="12896" y="67616"/>
                </a:lnTo>
                <a:lnTo>
                  <a:pt x="16368" y="57498"/>
                </a:lnTo>
                <a:lnTo>
                  <a:pt x="20832" y="47874"/>
                </a:lnTo>
                <a:lnTo>
                  <a:pt x="26041" y="39237"/>
                </a:lnTo>
                <a:lnTo>
                  <a:pt x="31497" y="31340"/>
                </a:lnTo>
                <a:lnTo>
                  <a:pt x="37201" y="24430"/>
                </a:lnTo>
                <a:lnTo>
                  <a:pt x="43401" y="18014"/>
                </a:lnTo>
                <a:lnTo>
                  <a:pt x="50098" y="13079"/>
                </a:lnTo>
                <a:lnTo>
                  <a:pt x="56794" y="8883"/>
                </a:lnTo>
                <a:lnTo>
                  <a:pt x="63986" y="5922"/>
                </a:lnTo>
                <a:lnTo>
                  <a:pt x="71427" y="4195"/>
                </a:lnTo>
                <a:lnTo>
                  <a:pt x="79115" y="3454"/>
                </a:lnTo>
                <a:lnTo>
                  <a:pt x="79115" y="0"/>
                </a:lnTo>
                <a:lnTo>
                  <a:pt x="70931" y="740"/>
                </a:lnTo>
                <a:lnTo>
                  <a:pt x="62994" y="2467"/>
                </a:lnTo>
                <a:lnTo>
                  <a:pt x="55306" y="5922"/>
                </a:lnTo>
                <a:lnTo>
                  <a:pt x="48114" y="10117"/>
                </a:lnTo>
                <a:lnTo>
                  <a:pt x="40921" y="15546"/>
                </a:lnTo>
                <a:lnTo>
                  <a:pt x="34721" y="21963"/>
                </a:lnTo>
                <a:lnTo>
                  <a:pt x="28521" y="29366"/>
                </a:lnTo>
                <a:lnTo>
                  <a:pt x="23065" y="37263"/>
                </a:lnTo>
                <a:lnTo>
                  <a:pt x="17856" y="46393"/>
                </a:lnTo>
                <a:lnTo>
                  <a:pt x="13392" y="56018"/>
                </a:lnTo>
                <a:lnTo>
                  <a:pt x="9424" y="66629"/>
                </a:lnTo>
                <a:lnTo>
                  <a:pt x="6200" y="77487"/>
                </a:lnTo>
                <a:lnTo>
                  <a:pt x="3472" y="89332"/>
                </a:lnTo>
                <a:close/>
              </a:path>
            </a:pathLst>
          </a:custGeom>
          <a:solidFill>
            <a:srgbClr val="000000"/>
          </a:solidFill>
        </p:spPr>
        <p:txBody>
          <a:bodyPr wrap="square" lIns="0" tIns="0" rIns="0" bIns="0" rtlCol="0">
            <a:noAutofit/>
          </a:bodyPr>
          <a:lstStyle/>
          <a:p>
            <a:endParaRPr/>
          </a:p>
        </p:txBody>
      </p:sp>
      <p:sp>
        <p:nvSpPr>
          <p:cNvPr id="2371" name="object 2371"/>
          <p:cNvSpPr/>
          <p:nvPr/>
        </p:nvSpPr>
        <p:spPr>
          <a:xfrm>
            <a:off x="8802577" y="1696913"/>
            <a:ext cx="94244" cy="152013"/>
          </a:xfrm>
          <a:custGeom>
            <a:avLst/>
            <a:gdLst/>
            <a:ahLst/>
            <a:cxnLst/>
            <a:rect l="l" t="t" r="r" b="b"/>
            <a:pathLst>
              <a:path w="94244" h="152013">
                <a:moveTo>
                  <a:pt x="47122" y="0"/>
                </a:moveTo>
                <a:lnTo>
                  <a:pt x="42409" y="493"/>
                </a:lnTo>
                <a:lnTo>
                  <a:pt x="37697" y="1480"/>
                </a:lnTo>
                <a:lnTo>
                  <a:pt x="32985" y="3454"/>
                </a:lnTo>
                <a:lnTo>
                  <a:pt x="24553" y="9130"/>
                </a:lnTo>
                <a:lnTo>
                  <a:pt x="20832" y="13079"/>
                </a:lnTo>
                <a:lnTo>
                  <a:pt x="17112" y="17274"/>
                </a:lnTo>
                <a:lnTo>
                  <a:pt x="13888" y="22209"/>
                </a:lnTo>
                <a:lnTo>
                  <a:pt x="10664" y="27638"/>
                </a:lnTo>
                <a:lnTo>
                  <a:pt x="7936" y="33561"/>
                </a:lnTo>
                <a:lnTo>
                  <a:pt x="5704" y="39730"/>
                </a:lnTo>
                <a:lnTo>
                  <a:pt x="3720" y="46393"/>
                </a:lnTo>
                <a:lnTo>
                  <a:pt x="2232" y="53303"/>
                </a:lnTo>
                <a:lnTo>
                  <a:pt x="992" y="60706"/>
                </a:lnTo>
                <a:lnTo>
                  <a:pt x="248" y="68356"/>
                </a:lnTo>
                <a:lnTo>
                  <a:pt x="0" y="76006"/>
                </a:lnTo>
                <a:lnTo>
                  <a:pt x="248" y="83656"/>
                </a:lnTo>
                <a:lnTo>
                  <a:pt x="992" y="91306"/>
                </a:lnTo>
                <a:lnTo>
                  <a:pt x="2232" y="98710"/>
                </a:lnTo>
                <a:lnTo>
                  <a:pt x="3720" y="105619"/>
                </a:lnTo>
                <a:lnTo>
                  <a:pt x="5704" y="112282"/>
                </a:lnTo>
                <a:lnTo>
                  <a:pt x="7936" y="118452"/>
                </a:lnTo>
                <a:lnTo>
                  <a:pt x="10664" y="124374"/>
                </a:lnTo>
                <a:lnTo>
                  <a:pt x="13888" y="129803"/>
                </a:lnTo>
                <a:lnTo>
                  <a:pt x="17112" y="134739"/>
                </a:lnTo>
                <a:lnTo>
                  <a:pt x="20832" y="138934"/>
                </a:lnTo>
                <a:lnTo>
                  <a:pt x="24553" y="142883"/>
                </a:lnTo>
                <a:lnTo>
                  <a:pt x="28769" y="146091"/>
                </a:lnTo>
                <a:lnTo>
                  <a:pt x="37697" y="150533"/>
                </a:lnTo>
                <a:lnTo>
                  <a:pt x="47122" y="152013"/>
                </a:lnTo>
                <a:lnTo>
                  <a:pt x="51834" y="151520"/>
                </a:lnTo>
                <a:lnTo>
                  <a:pt x="61258" y="148558"/>
                </a:lnTo>
                <a:lnTo>
                  <a:pt x="69691" y="142883"/>
                </a:lnTo>
                <a:lnTo>
                  <a:pt x="73411" y="138934"/>
                </a:lnTo>
                <a:lnTo>
                  <a:pt x="77131" y="134739"/>
                </a:lnTo>
                <a:lnTo>
                  <a:pt x="80355" y="129803"/>
                </a:lnTo>
                <a:lnTo>
                  <a:pt x="83579" y="124374"/>
                </a:lnTo>
                <a:lnTo>
                  <a:pt x="86307" y="118452"/>
                </a:lnTo>
                <a:lnTo>
                  <a:pt x="88539" y="112282"/>
                </a:lnTo>
                <a:lnTo>
                  <a:pt x="90524" y="105619"/>
                </a:lnTo>
                <a:lnTo>
                  <a:pt x="92012" y="98710"/>
                </a:lnTo>
                <a:lnTo>
                  <a:pt x="93252" y="91306"/>
                </a:lnTo>
                <a:lnTo>
                  <a:pt x="93996" y="83656"/>
                </a:lnTo>
                <a:lnTo>
                  <a:pt x="94244" y="76006"/>
                </a:lnTo>
                <a:lnTo>
                  <a:pt x="93996" y="68356"/>
                </a:lnTo>
                <a:lnTo>
                  <a:pt x="93252" y="60706"/>
                </a:lnTo>
                <a:lnTo>
                  <a:pt x="92012" y="53303"/>
                </a:lnTo>
                <a:lnTo>
                  <a:pt x="90524" y="46393"/>
                </a:lnTo>
                <a:lnTo>
                  <a:pt x="88539" y="39730"/>
                </a:lnTo>
                <a:lnTo>
                  <a:pt x="86307" y="33561"/>
                </a:lnTo>
                <a:lnTo>
                  <a:pt x="83579" y="27638"/>
                </a:lnTo>
                <a:lnTo>
                  <a:pt x="80355" y="22209"/>
                </a:lnTo>
                <a:lnTo>
                  <a:pt x="77131" y="17274"/>
                </a:lnTo>
                <a:lnTo>
                  <a:pt x="73411" y="13079"/>
                </a:lnTo>
                <a:lnTo>
                  <a:pt x="69691" y="9130"/>
                </a:lnTo>
                <a:lnTo>
                  <a:pt x="65474" y="5922"/>
                </a:lnTo>
                <a:lnTo>
                  <a:pt x="56546" y="1480"/>
                </a:lnTo>
                <a:lnTo>
                  <a:pt x="51834" y="493"/>
                </a:lnTo>
                <a:lnTo>
                  <a:pt x="47122" y="0"/>
                </a:lnTo>
                <a:close/>
              </a:path>
            </a:pathLst>
          </a:custGeom>
          <a:solidFill>
            <a:srgbClr val="E4E4E4"/>
          </a:solidFill>
        </p:spPr>
        <p:txBody>
          <a:bodyPr wrap="square" lIns="0" tIns="0" rIns="0" bIns="0" rtlCol="0">
            <a:noAutofit/>
          </a:bodyPr>
          <a:lstStyle/>
          <a:p>
            <a:endParaRPr/>
          </a:p>
        </p:txBody>
      </p:sp>
      <p:sp>
        <p:nvSpPr>
          <p:cNvPr id="2372" name="object 2372"/>
          <p:cNvSpPr/>
          <p:nvPr/>
        </p:nvSpPr>
        <p:spPr>
          <a:xfrm>
            <a:off x="8849699" y="1695184"/>
            <a:ext cx="48858" cy="77734"/>
          </a:xfrm>
          <a:custGeom>
            <a:avLst/>
            <a:gdLst/>
            <a:ahLst/>
            <a:cxnLst/>
            <a:rect l="l" t="t" r="r" b="b"/>
            <a:pathLst>
              <a:path w="48858" h="77734">
                <a:moveTo>
                  <a:pt x="4464" y="3948"/>
                </a:moveTo>
                <a:lnTo>
                  <a:pt x="8928" y="4935"/>
                </a:lnTo>
                <a:lnTo>
                  <a:pt x="13392" y="6662"/>
                </a:lnTo>
                <a:lnTo>
                  <a:pt x="17360" y="9130"/>
                </a:lnTo>
                <a:lnTo>
                  <a:pt x="21328" y="12092"/>
                </a:lnTo>
                <a:lnTo>
                  <a:pt x="25049" y="16040"/>
                </a:lnTo>
                <a:lnTo>
                  <a:pt x="28521" y="19988"/>
                </a:lnTo>
                <a:lnTo>
                  <a:pt x="31745" y="24924"/>
                </a:lnTo>
                <a:lnTo>
                  <a:pt x="34969" y="30106"/>
                </a:lnTo>
                <a:lnTo>
                  <a:pt x="37697" y="36029"/>
                </a:lnTo>
                <a:lnTo>
                  <a:pt x="39681" y="41951"/>
                </a:lnTo>
                <a:lnTo>
                  <a:pt x="41665" y="48614"/>
                </a:lnTo>
                <a:lnTo>
                  <a:pt x="43153" y="55277"/>
                </a:lnTo>
                <a:lnTo>
                  <a:pt x="44393" y="62681"/>
                </a:lnTo>
                <a:lnTo>
                  <a:pt x="45138" y="70084"/>
                </a:lnTo>
                <a:lnTo>
                  <a:pt x="45386" y="77734"/>
                </a:lnTo>
                <a:lnTo>
                  <a:pt x="48858" y="77734"/>
                </a:lnTo>
                <a:lnTo>
                  <a:pt x="48610" y="70084"/>
                </a:lnTo>
                <a:lnTo>
                  <a:pt x="47866" y="62187"/>
                </a:lnTo>
                <a:lnTo>
                  <a:pt x="46626" y="54784"/>
                </a:lnTo>
                <a:lnTo>
                  <a:pt x="45138" y="47627"/>
                </a:lnTo>
                <a:lnTo>
                  <a:pt x="43153" y="40964"/>
                </a:lnTo>
                <a:lnTo>
                  <a:pt x="40673" y="34548"/>
                </a:lnTo>
                <a:lnTo>
                  <a:pt x="37945" y="28625"/>
                </a:lnTo>
                <a:lnTo>
                  <a:pt x="34721" y="22950"/>
                </a:lnTo>
                <a:lnTo>
                  <a:pt x="31497" y="18014"/>
                </a:lnTo>
                <a:lnTo>
                  <a:pt x="27529" y="13572"/>
                </a:lnTo>
                <a:lnTo>
                  <a:pt x="23809" y="9624"/>
                </a:lnTo>
                <a:lnTo>
                  <a:pt x="19344" y="6169"/>
                </a:lnTo>
                <a:lnTo>
                  <a:pt x="14880" y="3701"/>
                </a:lnTo>
                <a:lnTo>
                  <a:pt x="9920" y="1480"/>
                </a:lnTo>
                <a:lnTo>
                  <a:pt x="4960" y="493"/>
                </a:lnTo>
                <a:lnTo>
                  <a:pt x="0" y="0"/>
                </a:lnTo>
                <a:lnTo>
                  <a:pt x="0" y="3454"/>
                </a:lnTo>
                <a:lnTo>
                  <a:pt x="4464" y="3948"/>
                </a:lnTo>
                <a:close/>
              </a:path>
            </a:pathLst>
          </a:custGeom>
          <a:solidFill>
            <a:srgbClr val="000000"/>
          </a:solidFill>
        </p:spPr>
        <p:txBody>
          <a:bodyPr wrap="square" lIns="0" tIns="0" rIns="0" bIns="0" rtlCol="0">
            <a:noAutofit/>
          </a:bodyPr>
          <a:lstStyle/>
          <a:p>
            <a:endParaRPr/>
          </a:p>
        </p:txBody>
      </p:sp>
      <p:sp>
        <p:nvSpPr>
          <p:cNvPr id="2373" name="object 2373"/>
          <p:cNvSpPr/>
          <p:nvPr/>
        </p:nvSpPr>
        <p:spPr>
          <a:xfrm>
            <a:off x="8849699" y="1772918"/>
            <a:ext cx="48858" cy="77734"/>
          </a:xfrm>
          <a:custGeom>
            <a:avLst/>
            <a:gdLst/>
            <a:ahLst/>
            <a:cxnLst/>
            <a:rect l="l" t="t" r="r" b="b"/>
            <a:pathLst>
              <a:path w="48858" h="77734">
                <a:moveTo>
                  <a:pt x="0" y="74279"/>
                </a:moveTo>
                <a:lnTo>
                  <a:pt x="0" y="77734"/>
                </a:lnTo>
                <a:lnTo>
                  <a:pt x="4960" y="77240"/>
                </a:lnTo>
                <a:lnTo>
                  <a:pt x="9920" y="76253"/>
                </a:lnTo>
                <a:lnTo>
                  <a:pt x="14880" y="74032"/>
                </a:lnTo>
                <a:lnTo>
                  <a:pt x="19344" y="71564"/>
                </a:lnTo>
                <a:lnTo>
                  <a:pt x="23809" y="68110"/>
                </a:lnTo>
                <a:lnTo>
                  <a:pt x="27529" y="64161"/>
                </a:lnTo>
                <a:lnTo>
                  <a:pt x="31497" y="59719"/>
                </a:lnTo>
                <a:lnTo>
                  <a:pt x="34721" y="54784"/>
                </a:lnTo>
                <a:lnTo>
                  <a:pt x="37945" y="49108"/>
                </a:lnTo>
                <a:lnTo>
                  <a:pt x="40673" y="43185"/>
                </a:lnTo>
                <a:lnTo>
                  <a:pt x="43153" y="36769"/>
                </a:lnTo>
                <a:lnTo>
                  <a:pt x="45138" y="30106"/>
                </a:lnTo>
                <a:lnTo>
                  <a:pt x="46626" y="22950"/>
                </a:lnTo>
                <a:lnTo>
                  <a:pt x="47866" y="15546"/>
                </a:lnTo>
                <a:lnTo>
                  <a:pt x="48610" y="7650"/>
                </a:lnTo>
                <a:lnTo>
                  <a:pt x="48858" y="0"/>
                </a:lnTo>
                <a:lnTo>
                  <a:pt x="45386" y="0"/>
                </a:lnTo>
                <a:lnTo>
                  <a:pt x="45138" y="7650"/>
                </a:lnTo>
                <a:lnTo>
                  <a:pt x="44393" y="15053"/>
                </a:lnTo>
                <a:lnTo>
                  <a:pt x="43153" y="22456"/>
                </a:lnTo>
                <a:lnTo>
                  <a:pt x="41665" y="29119"/>
                </a:lnTo>
                <a:lnTo>
                  <a:pt x="39681" y="35782"/>
                </a:lnTo>
                <a:lnTo>
                  <a:pt x="37697" y="41705"/>
                </a:lnTo>
                <a:lnTo>
                  <a:pt x="34969" y="47627"/>
                </a:lnTo>
                <a:lnTo>
                  <a:pt x="31745" y="52809"/>
                </a:lnTo>
                <a:lnTo>
                  <a:pt x="28521" y="57745"/>
                </a:lnTo>
                <a:lnTo>
                  <a:pt x="25049" y="61693"/>
                </a:lnTo>
                <a:lnTo>
                  <a:pt x="21328" y="65642"/>
                </a:lnTo>
                <a:lnTo>
                  <a:pt x="17360" y="68603"/>
                </a:lnTo>
                <a:lnTo>
                  <a:pt x="13392" y="71071"/>
                </a:lnTo>
                <a:lnTo>
                  <a:pt x="8928" y="72798"/>
                </a:lnTo>
                <a:lnTo>
                  <a:pt x="4464" y="73785"/>
                </a:lnTo>
                <a:lnTo>
                  <a:pt x="0" y="74279"/>
                </a:lnTo>
                <a:close/>
              </a:path>
            </a:pathLst>
          </a:custGeom>
          <a:solidFill>
            <a:srgbClr val="000000"/>
          </a:solidFill>
        </p:spPr>
        <p:txBody>
          <a:bodyPr wrap="square" lIns="0" tIns="0" rIns="0" bIns="0" rtlCol="0">
            <a:noAutofit/>
          </a:bodyPr>
          <a:lstStyle/>
          <a:p>
            <a:endParaRPr/>
          </a:p>
        </p:txBody>
      </p:sp>
      <p:sp>
        <p:nvSpPr>
          <p:cNvPr id="2374" name="object 2374"/>
          <p:cNvSpPr/>
          <p:nvPr/>
        </p:nvSpPr>
        <p:spPr>
          <a:xfrm>
            <a:off x="8800841" y="1772918"/>
            <a:ext cx="48858" cy="77734"/>
          </a:xfrm>
          <a:custGeom>
            <a:avLst/>
            <a:gdLst/>
            <a:ahLst/>
            <a:cxnLst/>
            <a:rect l="l" t="t" r="r" b="b"/>
            <a:pathLst>
              <a:path w="48858" h="77734">
                <a:moveTo>
                  <a:pt x="3472" y="0"/>
                </a:moveTo>
                <a:lnTo>
                  <a:pt x="0" y="0"/>
                </a:lnTo>
                <a:lnTo>
                  <a:pt x="248" y="7650"/>
                </a:lnTo>
                <a:lnTo>
                  <a:pt x="992" y="15546"/>
                </a:lnTo>
                <a:lnTo>
                  <a:pt x="2232" y="22950"/>
                </a:lnTo>
                <a:lnTo>
                  <a:pt x="3720" y="30106"/>
                </a:lnTo>
                <a:lnTo>
                  <a:pt x="5704" y="36769"/>
                </a:lnTo>
                <a:lnTo>
                  <a:pt x="8184" y="43185"/>
                </a:lnTo>
                <a:lnTo>
                  <a:pt x="10912" y="49108"/>
                </a:lnTo>
                <a:lnTo>
                  <a:pt x="14136" y="54784"/>
                </a:lnTo>
                <a:lnTo>
                  <a:pt x="17360" y="59719"/>
                </a:lnTo>
                <a:lnTo>
                  <a:pt x="21328" y="64161"/>
                </a:lnTo>
                <a:lnTo>
                  <a:pt x="25049" y="68110"/>
                </a:lnTo>
                <a:lnTo>
                  <a:pt x="29513" y="71564"/>
                </a:lnTo>
                <a:lnTo>
                  <a:pt x="33977" y="74032"/>
                </a:lnTo>
                <a:lnTo>
                  <a:pt x="38937" y="76253"/>
                </a:lnTo>
                <a:lnTo>
                  <a:pt x="43897" y="77240"/>
                </a:lnTo>
                <a:lnTo>
                  <a:pt x="48858" y="77734"/>
                </a:lnTo>
                <a:lnTo>
                  <a:pt x="48858" y="74279"/>
                </a:lnTo>
                <a:lnTo>
                  <a:pt x="44393" y="73785"/>
                </a:lnTo>
                <a:lnTo>
                  <a:pt x="39929" y="72798"/>
                </a:lnTo>
                <a:lnTo>
                  <a:pt x="35465" y="71071"/>
                </a:lnTo>
                <a:lnTo>
                  <a:pt x="31497" y="68603"/>
                </a:lnTo>
                <a:lnTo>
                  <a:pt x="27529" y="65642"/>
                </a:lnTo>
                <a:lnTo>
                  <a:pt x="23809" y="61693"/>
                </a:lnTo>
                <a:lnTo>
                  <a:pt x="20336" y="57745"/>
                </a:lnTo>
                <a:lnTo>
                  <a:pt x="17112" y="52809"/>
                </a:lnTo>
                <a:lnTo>
                  <a:pt x="13888" y="47627"/>
                </a:lnTo>
                <a:lnTo>
                  <a:pt x="11160" y="41705"/>
                </a:lnTo>
                <a:lnTo>
                  <a:pt x="9176" y="35782"/>
                </a:lnTo>
                <a:lnTo>
                  <a:pt x="7192" y="29119"/>
                </a:lnTo>
                <a:lnTo>
                  <a:pt x="5704" y="22456"/>
                </a:lnTo>
                <a:lnTo>
                  <a:pt x="4464" y="15053"/>
                </a:lnTo>
                <a:lnTo>
                  <a:pt x="3720" y="7650"/>
                </a:lnTo>
                <a:lnTo>
                  <a:pt x="3472" y="0"/>
                </a:lnTo>
                <a:close/>
              </a:path>
            </a:pathLst>
          </a:custGeom>
          <a:solidFill>
            <a:srgbClr val="000000"/>
          </a:solidFill>
        </p:spPr>
        <p:txBody>
          <a:bodyPr wrap="square" lIns="0" tIns="0" rIns="0" bIns="0" rtlCol="0">
            <a:noAutofit/>
          </a:bodyPr>
          <a:lstStyle/>
          <a:p>
            <a:endParaRPr/>
          </a:p>
        </p:txBody>
      </p:sp>
      <p:sp>
        <p:nvSpPr>
          <p:cNvPr id="2375" name="object 2375"/>
          <p:cNvSpPr/>
          <p:nvPr/>
        </p:nvSpPr>
        <p:spPr>
          <a:xfrm>
            <a:off x="8800841" y="1695184"/>
            <a:ext cx="48858" cy="77734"/>
          </a:xfrm>
          <a:custGeom>
            <a:avLst/>
            <a:gdLst/>
            <a:ahLst/>
            <a:cxnLst/>
            <a:rect l="l" t="t" r="r" b="b"/>
            <a:pathLst>
              <a:path w="48858" h="77734">
                <a:moveTo>
                  <a:pt x="3720" y="47627"/>
                </a:moveTo>
                <a:lnTo>
                  <a:pt x="2232" y="54784"/>
                </a:lnTo>
                <a:lnTo>
                  <a:pt x="992" y="62187"/>
                </a:lnTo>
                <a:lnTo>
                  <a:pt x="248" y="70084"/>
                </a:lnTo>
                <a:lnTo>
                  <a:pt x="0" y="77734"/>
                </a:lnTo>
                <a:lnTo>
                  <a:pt x="3472" y="77734"/>
                </a:lnTo>
                <a:lnTo>
                  <a:pt x="3720" y="70084"/>
                </a:lnTo>
                <a:lnTo>
                  <a:pt x="4464" y="62681"/>
                </a:lnTo>
                <a:lnTo>
                  <a:pt x="5704" y="55277"/>
                </a:lnTo>
                <a:lnTo>
                  <a:pt x="7192" y="48614"/>
                </a:lnTo>
                <a:lnTo>
                  <a:pt x="9176" y="41951"/>
                </a:lnTo>
                <a:lnTo>
                  <a:pt x="11160" y="36029"/>
                </a:lnTo>
                <a:lnTo>
                  <a:pt x="13888" y="30106"/>
                </a:lnTo>
                <a:lnTo>
                  <a:pt x="17112" y="24924"/>
                </a:lnTo>
                <a:lnTo>
                  <a:pt x="20336" y="19988"/>
                </a:lnTo>
                <a:lnTo>
                  <a:pt x="23809" y="16040"/>
                </a:lnTo>
                <a:lnTo>
                  <a:pt x="27529" y="12092"/>
                </a:lnTo>
                <a:lnTo>
                  <a:pt x="31497" y="9130"/>
                </a:lnTo>
                <a:lnTo>
                  <a:pt x="35465" y="6662"/>
                </a:lnTo>
                <a:lnTo>
                  <a:pt x="39929" y="4935"/>
                </a:lnTo>
                <a:lnTo>
                  <a:pt x="44393" y="3948"/>
                </a:lnTo>
                <a:lnTo>
                  <a:pt x="48858" y="3454"/>
                </a:lnTo>
                <a:lnTo>
                  <a:pt x="48858" y="0"/>
                </a:lnTo>
                <a:lnTo>
                  <a:pt x="43897" y="493"/>
                </a:lnTo>
                <a:lnTo>
                  <a:pt x="38937" y="1480"/>
                </a:lnTo>
                <a:lnTo>
                  <a:pt x="33977" y="3701"/>
                </a:lnTo>
                <a:lnTo>
                  <a:pt x="29513" y="6169"/>
                </a:lnTo>
                <a:lnTo>
                  <a:pt x="25049" y="9624"/>
                </a:lnTo>
                <a:lnTo>
                  <a:pt x="21328" y="13572"/>
                </a:lnTo>
                <a:lnTo>
                  <a:pt x="17360" y="18014"/>
                </a:lnTo>
                <a:lnTo>
                  <a:pt x="14136" y="22950"/>
                </a:lnTo>
                <a:lnTo>
                  <a:pt x="10912" y="28625"/>
                </a:lnTo>
                <a:lnTo>
                  <a:pt x="8184" y="34548"/>
                </a:lnTo>
                <a:lnTo>
                  <a:pt x="5704" y="40964"/>
                </a:lnTo>
                <a:lnTo>
                  <a:pt x="3720" y="47627"/>
                </a:lnTo>
                <a:close/>
              </a:path>
            </a:pathLst>
          </a:custGeom>
          <a:solidFill>
            <a:srgbClr val="000000"/>
          </a:solidFill>
        </p:spPr>
        <p:txBody>
          <a:bodyPr wrap="square" lIns="0" tIns="0" rIns="0" bIns="0" rtlCol="0">
            <a:noAutofit/>
          </a:bodyPr>
          <a:lstStyle/>
          <a:p>
            <a:endParaRPr/>
          </a:p>
        </p:txBody>
      </p:sp>
      <p:sp>
        <p:nvSpPr>
          <p:cNvPr id="2376" name="object 2376"/>
          <p:cNvSpPr/>
          <p:nvPr/>
        </p:nvSpPr>
        <p:spPr>
          <a:xfrm>
            <a:off x="8802826" y="1702094"/>
            <a:ext cx="87795" cy="141402"/>
          </a:xfrm>
          <a:custGeom>
            <a:avLst/>
            <a:gdLst/>
            <a:ahLst/>
            <a:cxnLst/>
            <a:rect l="l" t="t" r="r" b="b"/>
            <a:pathLst>
              <a:path w="87795" h="141402">
                <a:moveTo>
                  <a:pt x="43897" y="0"/>
                </a:moveTo>
                <a:lnTo>
                  <a:pt x="35217" y="1480"/>
                </a:lnTo>
                <a:lnTo>
                  <a:pt x="26785" y="5675"/>
                </a:lnTo>
                <a:lnTo>
                  <a:pt x="23065" y="8637"/>
                </a:lnTo>
                <a:lnTo>
                  <a:pt x="19344" y="12092"/>
                </a:lnTo>
                <a:lnTo>
                  <a:pt x="16120" y="16287"/>
                </a:lnTo>
                <a:lnTo>
                  <a:pt x="12896" y="20729"/>
                </a:lnTo>
                <a:lnTo>
                  <a:pt x="10168" y="25664"/>
                </a:lnTo>
                <a:lnTo>
                  <a:pt x="7440" y="31340"/>
                </a:lnTo>
                <a:lnTo>
                  <a:pt x="5456" y="37016"/>
                </a:lnTo>
                <a:lnTo>
                  <a:pt x="3472" y="43185"/>
                </a:lnTo>
                <a:lnTo>
                  <a:pt x="1984" y="49601"/>
                </a:lnTo>
                <a:lnTo>
                  <a:pt x="992" y="56511"/>
                </a:lnTo>
                <a:lnTo>
                  <a:pt x="248" y="63421"/>
                </a:lnTo>
                <a:lnTo>
                  <a:pt x="0" y="70577"/>
                </a:lnTo>
                <a:lnTo>
                  <a:pt x="248" y="77734"/>
                </a:lnTo>
                <a:lnTo>
                  <a:pt x="992" y="84890"/>
                </a:lnTo>
                <a:lnTo>
                  <a:pt x="1984" y="91553"/>
                </a:lnTo>
                <a:lnTo>
                  <a:pt x="3472" y="97969"/>
                </a:lnTo>
                <a:lnTo>
                  <a:pt x="5456" y="104386"/>
                </a:lnTo>
                <a:lnTo>
                  <a:pt x="7440" y="110061"/>
                </a:lnTo>
                <a:lnTo>
                  <a:pt x="10168" y="115490"/>
                </a:lnTo>
                <a:lnTo>
                  <a:pt x="12896" y="120673"/>
                </a:lnTo>
                <a:lnTo>
                  <a:pt x="16120" y="125115"/>
                </a:lnTo>
                <a:lnTo>
                  <a:pt x="19344" y="129310"/>
                </a:lnTo>
                <a:lnTo>
                  <a:pt x="23065" y="132765"/>
                </a:lnTo>
                <a:lnTo>
                  <a:pt x="26785" y="135726"/>
                </a:lnTo>
                <a:lnTo>
                  <a:pt x="31001" y="138194"/>
                </a:lnTo>
                <a:lnTo>
                  <a:pt x="39433" y="141155"/>
                </a:lnTo>
                <a:lnTo>
                  <a:pt x="43897" y="141402"/>
                </a:lnTo>
                <a:lnTo>
                  <a:pt x="48362" y="141155"/>
                </a:lnTo>
                <a:lnTo>
                  <a:pt x="57042" y="138194"/>
                </a:lnTo>
                <a:lnTo>
                  <a:pt x="64730" y="132765"/>
                </a:lnTo>
                <a:lnTo>
                  <a:pt x="68451" y="129310"/>
                </a:lnTo>
                <a:lnTo>
                  <a:pt x="71923" y="125115"/>
                </a:lnTo>
                <a:lnTo>
                  <a:pt x="74899" y="120673"/>
                </a:lnTo>
                <a:lnTo>
                  <a:pt x="77875" y="115490"/>
                </a:lnTo>
                <a:lnTo>
                  <a:pt x="80355" y="110061"/>
                </a:lnTo>
                <a:lnTo>
                  <a:pt x="82587" y="104386"/>
                </a:lnTo>
                <a:lnTo>
                  <a:pt x="84323" y="97969"/>
                </a:lnTo>
                <a:lnTo>
                  <a:pt x="85811" y="91553"/>
                </a:lnTo>
                <a:lnTo>
                  <a:pt x="86803" y="84890"/>
                </a:lnTo>
                <a:lnTo>
                  <a:pt x="87547" y="77734"/>
                </a:lnTo>
                <a:lnTo>
                  <a:pt x="87795" y="70577"/>
                </a:lnTo>
                <a:lnTo>
                  <a:pt x="87547" y="63421"/>
                </a:lnTo>
                <a:lnTo>
                  <a:pt x="86803" y="56511"/>
                </a:lnTo>
                <a:lnTo>
                  <a:pt x="85811" y="49601"/>
                </a:lnTo>
                <a:lnTo>
                  <a:pt x="84323" y="43185"/>
                </a:lnTo>
                <a:lnTo>
                  <a:pt x="82587" y="37016"/>
                </a:lnTo>
                <a:lnTo>
                  <a:pt x="80355" y="31340"/>
                </a:lnTo>
                <a:lnTo>
                  <a:pt x="77875" y="25664"/>
                </a:lnTo>
                <a:lnTo>
                  <a:pt x="74899" y="20729"/>
                </a:lnTo>
                <a:lnTo>
                  <a:pt x="71923" y="16287"/>
                </a:lnTo>
                <a:lnTo>
                  <a:pt x="68451" y="12092"/>
                </a:lnTo>
                <a:lnTo>
                  <a:pt x="64730" y="8637"/>
                </a:lnTo>
                <a:lnTo>
                  <a:pt x="61010" y="5675"/>
                </a:lnTo>
                <a:lnTo>
                  <a:pt x="52826" y="1480"/>
                </a:lnTo>
                <a:lnTo>
                  <a:pt x="43897" y="0"/>
                </a:lnTo>
                <a:close/>
              </a:path>
            </a:pathLst>
          </a:custGeom>
          <a:solidFill>
            <a:srgbClr val="4B4B4B"/>
          </a:solidFill>
        </p:spPr>
        <p:txBody>
          <a:bodyPr wrap="square" lIns="0" tIns="0" rIns="0" bIns="0" rtlCol="0">
            <a:noAutofit/>
          </a:bodyPr>
          <a:lstStyle/>
          <a:p>
            <a:endParaRPr/>
          </a:p>
        </p:txBody>
      </p:sp>
      <p:sp>
        <p:nvSpPr>
          <p:cNvPr id="2377" name="object 2377"/>
          <p:cNvSpPr/>
          <p:nvPr/>
        </p:nvSpPr>
        <p:spPr>
          <a:xfrm>
            <a:off x="8801089" y="1700367"/>
            <a:ext cx="45634" cy="72305"/>
          </a:xfrm>
          <a:custGeom>
            <a:avLst/>
            <a:gdLst/>
            <a:ahLst/>
            <a:cxnLst/>
            <a:rect l="l" t="t" r="r" b="b"/>
            <a:pathLst>
              <a:path w="45634" h="72305">
                <a:moveTo>
                  <a:pt x="4464" y="58485"/>
                </a:moveTo>
                <a:lnTo>
                  <a:pt x="5456" y="51576"/>
                </a:lnTo>
                <a:lnTo>
                  <a:pt x="6944" y="45406"/>
                </a:lnTo>
                <a:lnTo>
                  <a:pt x="8928" y="39237"/>
                </a:lnTo>
                <a:lnTo>
                  <a:pt x="10664" y="33808"/>
                </a:lnTo>
                <a:lnTo>
                  <a:pt x="13392" y="28132"/>
                </a:lnTo>
                <a:lnTo>
                  <a:pt x="16120" y="23443"/>
                </a:lnTo>
                <a:lnTo>
                  <a:pt x="19344" y="19001"/>
                </a:lnTo>
                <a:lnTo>
                  <a:pt x="22321" y="15053"/>
                </a:lnTo>
                <a:lnTo>
                  <a:pt x="26041" y="11598"/>
                </a:lnTo>
                <a:lnTo>
                  <a:pt x="29513" y="8883"/>
                </a:lnTo>
                <a:lnTo>
                  <a:pt x="33481" y="6416"/>
                </a:lnTo>
                <a:lnTo>
                  <a:pt x="37449" y="4935"/>
                </a:lnTo>
                <a:lnTo>
                  <a:pt x="41417" y="3701"/>
                </a:lnTo>
                <a:lnTo>
                  <a:pt x="45634" y="3454"/>
                </a:lnTo>
                <a:lnTo>
                  <a:pt x="45634" y="0"/>
                </a:lnTo>
                <a:lnTo>
                  <a:pt x="40921" y="246"/>
                </a:lnTo>
                <a:lnTo>
                  <a:pt x="36457" y="1480"/>
                </a:lnTo>
                <a:lnTo>
                  <a:pt x="31993" y="3454"/>
                </a:lnTo>
                <a:lnTo>
                  <a:pt x="27529" y="5922"/>
                </a:lnTo>
                <a:lnTo>
                  <a:pt x="23561" y="9130"/>
                </a:lnTo>
                <a:lnTo>
                  <a:pt x="19840" y="12585"/>
                </a:lnTo>
                <a:lnTo>
                  <a:pt x="16368" y="17027"/>
                </a:lnTo>
                <a:lnTo>
                  <a:pt x="13144" y="21469"/>
                </a:lnTo>
                <a:lnTo>
                  <a:pt x="10416" y="26651"/>
                </a:lnTo>
                <a:lnTo>
                  <a:pt x="7688" y="32327"/>
                </a:lnTo>
                <a:lnTo>
                  <a:pt x="5456" y="38250"/>
                </a:lnTo>
                <a:lnTo>
                  <a:pt x="3472" y="44419"/>
                </a:lnTo>
                <a:lnTo>
                  <a:pt x="1984" y="51082"/>
                </a:lnTo>
                <a:lnTo>
                  <a:pt x="992" y="57992"/>
                </a:lnTo>
                <a:lnTo>
                  <a:pt x="248" y="65148"/>
                </a:lnTo>
                <a:lnTo>
                  <a:pt x="0" y="72305"/>
                </a:lnTo>
                <a:lnTo>
                  <a:pt x="3472" y="72305"/>
                </a:lnTo>
                <a:lnTo>
                  <a:pt x="3720" y="65148"/>
                </a:lnTo>
                <a:lnTo>
                  <a:pt x="4464" y="58485"/>
                </a:lnTo>
                <a:close/>
              </a:path>
            </a:pathLst>
          </a:custGeom>
          <a:solidFill>
            <a:srgbClr val="FFFFFF"/>
          </a:solidFill>
        </p:spPr>
        <p:txBody>
          <a:bodyPr wrap="square" lIns="0" tIns="0" rIns="0" bIns="0" rtlCol="0">
            <a:noAutofit/>
          </a:bodyPr>
          <a:lstStyle/>
          <a:p>
            <a:endParaRPr/>
          </a:p>
        </p:txBody>
      </p:sp>
      <p:sp>
        <p:nvSpPr>
          <p:cNvPr id="2378" name="object 2378"/>
          <p:cNvSpPr/>
          <p:nvPr/>
        </p:nvSpPr>
        <p:spPr>
          <a:xfrm>
            <a:off x="8801089" y="1772672"/>
            <a:ext cx="45634" cy="72552"/>
          </a:xfrm>
          <a:custGeom>
            <a:avLst/>
            <a:gdLst/>
            <a:ahLst/>
            <a:cxnLst/>
            <a:rect l="l" t="t" r="r" b="b"/>
            <a:pathLst>
              <a:path w="45634" h="72552">
                <a:moveTo>
                  <a:pt x="3472" y="0"/>
                </a:moveTo>
                <a:lnTo>
                  <a:pt x="0" y="0"/>
                </a:lnTo>
                <a:lnTo>
                  <a:pt x="248" y="7156"/>
                </a:lnTo>
                <a:lnTo>
                  <a:pt x="992" y="14559"/>
                </a:lnTo>
                <a:lnTo>
                  <a:pt x="1984" y="21222"/>
                </a:lnTo>
                <a:lnTo>
                  <a:pt x="3472" y="27885"/>
                </a:lnTo>
                <a:lnTo>
                  <a:pt x="5456" y="34301"/>
                </a:lnTo>
                <a:lnTo>
                  <a:pt x="7688" y="40224"/>
                </a:lnTo>
                <a:lnTo>
                  <a:pt x="10416" y="45653"/>
                </a:lnTo>
                <a:lnTo>
                  <a:pt x="13144" y="51082"/>
                </a:lnTo>
                <a:lnTo>
                  <a:pt x="16368" y="55524"/>
                </a:lnTo>
                <a:lnTo>
                  <a:pt x="19840" y="59966"/>
                </a:lnTo>
                <a:lnTo>
                  <a:pt x="23561" y="63421"/>
                </a:lnTo>
                <a:lnTo>
                  <a:pt x="27529" y="66629"/>
                </a:lnTo>
                <a:lnTo>
                  <a:pt x="31993" y="69097"/>
                </a:lnTo>
                <a:lnTo>
                  <a:pt x="36457" y="71071"/>
                </a:lnTo>
                <a:lnTo>
                  <a:pt x="40921" y="72305"/>
                </a:lnTo>
                <a:lnTo>
                  <a:pt x="45634" y="72552"/>
                </a:lnTo>
                <a:lnTo>
                  <a:pt x="45634" y="69097"/>
                </a:lnTo>
                <a:lnTo>
                  <a:pt x="41417" y="68850"/>
                </a:lnTo>
                <a:lnTo>
                  <a:pt x="37449" y="67616"/>
                </a:lnTo>
                <a:lnTo>
                  <a:pt x="33481" y="66135"/>
                </a:lnTo>
                <a:lnTo>
                  <a:pt x="29513" y="63668"/>
                </a:lnTo>
                <a:lnTo>
                  <a:pt x="26041" y="60953"/>
                </a:lnTo>
                <a:lnTo>
                  <a:pt x="22321" y="57498"/>
                </a:lnTo>
                <a:lnTo>
                  <a:pt x="19344" y="53550"/>
                </a:lnTo>
                <a:lnTo>
                  <a:pt x="16120" y="49108"/>
                </a:lnTo>
                <a:lnTo>
                  <a:pt x="13392" y="44172"/>
                </a:lnTo>
                <a:lnTo>
                  <a:pt x="10664" y="38743"/>
                </a:lnTo>
                <a:lnTo>
                  <a:pt x="8928" y="33314"/>
                </a:lnTo>
                <a:lnTo>
                  <a:pt x="6944" y="26898"/>
                </a:lnTo>
                <a:lnTo>
                  <a:pt x="5456" y="20729"/>
                </a:lnTo>
                <a:lnTo>
                  <a:pt x="4464" y="14066"/>
                </a:lnTo>
                <a:lnTo>
                  <a:pt x="3720" y="7156"/>
                </a:lnTo>
                <a:lnTo>
                  <a:pt x="3472" y="0"/>
                </a:lnTo>
                <a:close/>
              </a:path>
            </a:pathLst>
          </a:custGeom>
          <a:solidFill>
            <a:srgbClr val="FFFFFF"/>
          </a:solidFill>
        </p:spPr>
        <p:txBody>
          <a:bodyPr wrap="square" lIns="0" tIns="0" rIns="0" bIns="0" rtlCol="0">
            <a:noAutofit/>
          </a:bodyPr>
          <a:lstStyle/>
          <a:p>
            <a:endParaRPr/>
          </a:p>
        </p:txBody>
      </p:sp>
      <p:sp>
        <p:nvSpPr>
          <p:cNvPr id="2379" name="object 2379"/>
          <p:cNvSpPr/>
          <p:nvPr/>
        </p:nvSpPr>
        <p:spPr>
          <a:xfrm>
            <a:off x="8846723" y="1772672"/>
            <a:ext cx="45634" cy="72552"/>
          </a:xfrm>
          <a:custGeom>
            <a:avLst/>
            <a:gdLst/>
            <a:ahLst/>
            <a:cxnLst/>
            <a:rect l="l" t="t" r="r" b="b"/>
            <a:pathLst>
              <a:path w="45634" h="72552">
                <a:moveTo>
                  <a:pt x="0" y="69097"/>
                </a:moveTo>
                <a:lnTo>
                  <a:pt x="0" y="72552"/>
                </a:lnTo>
                <a:lnTo>
                  <a:pt x="4712" y="72305"/>
                </a:lnTo>
                <a:lnTo>
                  <a:pt x="9424" y="71071"/>
                </a:lnTo>
                <a:lnTo>
                  <a:pt x="13888" y="69097"/>
                </a:lnTo>
                <a:lnTo>
                  <a:pt x="18104" y="66629"/>
                </a:lnTo>
                <a:lnTo>
                  <a:pt x="22072" y="63421"/>
                </a:lnTo>
                <a:lnTo>
                  <a:pt x="25793" y="59966"/>
                </a:lnTo>
                <a:lnTo>
                  <a:pt x="29513" y="55524"/>
                </a:lnTo>
                <a:lnTo>
                  <a:pt x="32489" y="51082"/>
                </a:lnTo>
                <a:lnTo>
                  <a:pt x="35465" y="45653"/>
                </a:lnTo>
                <a:lnTo>
                  <a:pt x="37945" y="40224"/>
                </a:lnTo>
                <a:lnTo>
                  <a:pt x="40425" y="34301"/>
                </a:lnTo>
                <a:lnTo>
                  <a:pt x="42161" y="27885"/>
                </a:lnTo>
                <a:lnTo>
                  <a:pt x="43649" y="21222"/>
                </a:lnTo>
                <a:lnTo>
                  <a:pt x="44642" y="14559"/>
                </a:lnTo>
                <a:lnTo>
                  <a:pt x="45386" y="7156"/>
                </a:lnTo>
                <a:lnTo>
                  <a:pt x="45634" y="0"/>
                </a:lnTo>
                <a:lnTo>
                  <a:pt x="42161" y="0"/>
                </a:lnTo>
                <a:lnTo>
                  <a:pt x="41913" y="7156"/>
                </a:lnTo>
                <a:lnTo>
                  <a:pt x="41169" y="14066"/>
                </a:lnTo>
                <a:lnTo>
                  <a:pt x="40177" y="20729"/>
                </a:lnTo>
                <a:lnTo>
                  <a:pt x="38689" y="26898"/>
                </a:lnTo>
                <a:lnTo>
                  <a:pt x="36953" y="33314"/>
                </a:lnTo>
                <a:lnTo>
                  <a:pt x="34969" y="38743"/>
                </a:lnTo>
                <a:lnTo>
                  <a:pt x="32489" y="44172"/>
                </a:lnTo>
                <a:lnTo>
                  <a:pt x="29513" y="49108"/>
                </a:lnTo>
                <a:lnTo>
                  <a:pt x="26537" y="53550"/>
                </a:lnTo>
                <a:lnTo>
                  <a:pt x="23313" y="57498"/>
                </a:lnTo>
                <a:lnTo>
                  <a:pt x="19592" y="60953"/>
                </a:lnTo>
                <a:lnTo>
                  <a:pt x="16120" y="63668"/>
                </a:lnTo>
                <a:lnTo>
                  <a:pt x="12400" y="66135"/>
                </a:lnTo>
                <a:lnTo>
                  <a:pt x="8432" y="67616"/>
                </a:lnTo>
                <a:lnTo>
                  <a:pt x="4216" y="68850"/>
                </a:lnTo>
                <a:lnTo>
                  <a:pt x="0" y="69097"/>
                </a:lnTo>
                <a:close/>
              </a:path>
            </a:pathLst>
          </a:custGeom>
          <a:solidFill>
            <a:srgbClr val="FFFFFF"/>
          </a:solidFill>
        </p:spPr>
        <p:txBody>
          <a:bodyPr wrap="square" lIns="0" tIns="0" rIns="0" bIns="0" rtlCol="0">
            <a:noAutofit/>
          </a:bodyPr>
          <a:lstStyle/>
          <a:p>
            <a:endParaRPr/>
          </a:p>
        </p:txBody>
      </p:sp>
      <p:sp>
        <p:nvSpPr>
          <p:cNvPr id="2380" name="object 2380"/>
          <p:cNvSpPr/>
          <p:nvPr/>
        </p:nvSpPr>
        <p:spPr>
          <a:xfrm>
            <a:off x="8846723" y="1700367"/>
            <a:ext cx="45634" cy="72305"/>
          </a:xfrm>
          <a:custGeom>
            <a:avLst/>
            <a:gdLst/>
            <a:ahLst/>
            <a:cxnLst/>
            <a:rect l="l" t="t" r="r" b="b"/>
            <a:pathLst>
              <a:path w="45634" h="72305">
                <a:moveTo>
                  <a:pt x="4216" y="3701"/>
                </a:moveTo>
                <a:lnTo>
                  <a:pt x="8432" y="4935"/>
                </a:lnTo>
                <a:lnTo>
                  <a:pt x="12400" y="6416"/>
                </a:lnTo>
                <a:lnTo>
                  <a:pt x="16120" y="8883"/>
                </a:lnTo>
                <a:lnTo>
                  <a:pt x="19592" y="11598"/>
                </a:lnTo>
                <a:lnTo>
                  <a:pt x="23313" y="15053"/>
                </a:lnTo>
                <a:lnTo>
                  <a:pt x="26537" y="19001"/>
                </a:lnTo>
                <a:lnTo>
                  <a:pt x="29513" y="23443"/>
                </a:lnTo>
                <a:lnTo>
                  <a:pt x="32489" y="28132"/>
                </a:lnTo>
                <a:lnTo>
                  <a:pt x="34969" y="33808"/>
                </a:lnTo>
                <a:lnTo>
                  <a:pt x="36953" y="39237"/>
                </a:lnTo>
                <a:lnTo>
                  <a:pt x="38689" y="45406"/>
                </a:lnTo>
                <a:lnTo>
                  <a:pt x="40177" y="51576"/>
                </a:lnTo>
                <a:lnTo>
                  <a:pt x="41169" y="58485"/>
                </a:lnTo>
                <a:lnTo>
                  <a:pt x="41913" y="65148"/>
                </a:lnTo>
                <a:lnTo>
                  <a:pt x="42161" y="72305"/>
                </a:lnTo>
                <a:lnTo>
                  <a:pt x="45634" y="72305"/>
                </a:lnTo>
                <a:lnTo>
                  <a:pt x="45386" y="65148"/>
                </a:lnTo>
                <a:lnTo>
                  <a:pt x="44642" y="57992"/>
                </a:lnTo>
                <a:lnTo>
                  <a:pt x="43649" y="51082"/>
                </a:lnTo>
                <a:lnTo>
                  <a:pt x="42161" y="44419"/>
                </a:lnTo>
                <a:lnTo>
                  <a:pt x="40425" y="38250"/>
                </a:lnTo>
                <a:lnTo>
                  <a:pt x="37945" y="32327"/>
                </a:lnTo>
                <a:lnTo>
                  <a:pt x="35465" y="26651"/>
                </a:lnTo>
                <a:lnTo>
                  <a:pt x="32489" y="21469"/>
                </a:lnTo>
                <a:lnTo>
                  <a:pt x="29513" y="17027"/>
                </a:lnTo>
                <a:lnTo>
                  <a:pt x="25793" y="12585"/>
                </a:lnTo>
                <a:lnTo>
                  <a:pt x="22072" y="9130"/>
                </a:lnTo>
                <a:lnTo>
                  <a:pt x="18104" y="5922"/>
                </a:lnTo>
                <a:lnTo>
                  <a:pt x="13888" y="3454"/>
                </a:lnTo>
                <a:lnTo>
                  <a:pt x="9424" y="1480"/>
                </a:lnTo>
                <a:lnTo>
                  <a:pt x="4712" y="246"/>
                </a:lnTo>
                <a:lnTo>
                  <a:pt x="0" y="0"/>
                </a:lnTo>
                <a:lnTo>
                  <a:pt x="0" y="3454"/>
                </a:lnTo>
                <a:lnTo>
                  <a:pt x="4216" y="3701"/>
                </a:lnTo>
                <a:close/>
              </a:path>
            </a:pathLst>
          </a:custGeom>
          <a:solidFill>
            <a:srgbClr val="FFFFFF"/>
          </a:solidFill>
        </p:spPr>
        <p:txBody>
          <a:bodyPr wrap="square" lIns="0" tIns="0" rIns="0" bIns="0" rtlCol="0">
            <a:noAutofit/>
          </a:bodyPr>
          <a:lstStyle/>
          <a:p>
            <a:endParaRPr/>
          </a:p>
        </p:txBody>
      </p:sp>
      <p:sp>
        <p:nvSpPr>
          <p:cNvPr id="2381" name="object 2381"/>
          <p:cNvSpPr/>
          <p:nvPr/>
        </p:nvSpPr>
        <p:spPr>
          <a:xfrm>
            <a:off x="8802578" y="1708017"/>
            <a:ext cx="80355" cy="129557"/>
          </a:xfrm>
          <a:custGeom>
            <a:avLst/>
            <a:gdLst/>
            <a:ahLst/>
            <a:cxnLst/>
            <a:rect l="l" t="t" r="r" b="b"/>
            <a:pathLst>
              <a:path w="80355" h="129557">
                <a:moveTo>
                  <a:pt x="40177" y="0"/>
                </a:moveTo>
                <a:lnTo>
                  <a:pt x="36209" y="246"/>
                </a:lnTo>
                <a:lnTo>
                  <a:pt x="31993" y="1233"/>
                </a:lnTo>
                <a:lnTo>
                  <a:pt x="24553" y="5182"/>
                </a:lnTo>
                <a:lnTo>
                  <a:pt x="21080" y="7896"/>
                </a:lnTo>
                <a:lnTo>
                  <a:pt x="17856" y="11104"/>
                </a:lnTo>
                <a:lnTo>
                  <a:pt x="14632" y="14806"/>
                </a:lnTo>
                <a:lnTo>
                  <a:pt x="11904" y="19001"/>
                </a:lnTo>
                <a:lnTo>
                  <a:pt x="9176" y="23690"/>
                </a:lnTo>
                <a:lnTo>
                  <a:pt x="6944" y="28625"/>
                </a:lnTo>
                <a:lnTo>
                  <a:pt x="4960" y="33808"/>
                </a:lnTo>
                <a:lnTo>
                  <a:pt x="3224" y="39484"/>
                </a:lnTo>
                <a:lnTo>
                  <a:pt x="1736" y="45406"/>
                </a:lnTo>
                <a:lnTo>
                  <a:pt x="744" y="51576"/>
                </a:lnTo>
                <a:lnTo>
                  <a:pt x="248" y="57992"/>
                </a:lnTo>
                <a:lnTo>
                  <a:pt x="0" y="64655"/>
                </a:lnTo>
                <a:lnTo>
                  <a:pt x="248" y="71318"/>
                </a:lnTo>
                <a:lnTo>
                  <a:pt x="744" y="77734"/>
                </a:lnTo>
                <a:lnTo>
                  <a:pt x="1736" y="83903"/>
                </a:lnTo>
                <a:lnTo>
                  <a:pt x="3224" y="89826"/>
                </a:lnTo>
                <a:lnTo>
                  <a:pt x="4960" y="95502"/>
                </a:lnTo>
                <a:lnTo>
                  <a:pt x="6944" y="100931"/>
                </a:lnTo>
                <a:lnTo>
                  <a:pt x="9176" y="105866"/>
                </a:lnTo>
                <a:lnTo>
                  <a:pt x="11904" y="110555"/>
                </a:lnTo>
                <a:lnTo>
                  <a:pt x="14632" y="114750"/>
                </a:lnTo>
                <a:lnTo>
                  <a:pt x="17856" y="118452"/>
                </a:lnTo>
                <a:lnTo>
                  <a:pt x="21080" y="121660"/>
                </a:lnTo>
                <a:lnTo>
                  <a:pt x="24553" y="124374"/>
                </a:lnTo>
                <a:lnTo>
                  <a:pt x="28273" y="126595"/>
                </a:lnTo>
                <a:lnTo>
                  <a:pt x="36209" y="129310"/>
                </a:lnTo>
                <a:lnTo>
                  <a:pt x="40177" y="129557"/>
                </a:lnTo>
                <a:lnTo>
                  <a:pt x="44145" y="129310"/>
                </a:lnTo>
                <a:lnTo>
                  <a:pt x="48362" y="128323"/>
                </a:lnTo>
                <a:lnTo>
                  <a:pt x="55802" y="124374"/>
                </a:lnTo>
                <a:lnTo>
                  <a:pt x="59274" y="121660"/>
                </a:lnTo>
                <a:lnTo>
                  <a:pt x="62498" y="118452"/>
                </a:lnTo>
                <a:lnTo>
                  <a:pt x="65722" y="114750"/>
                </a:lnTo>
                <a:lnTo>
                  <a:pt x="68451" y="110555"/>
                </a:lnTo>
                <a:lnTo>
                  <a:pt x="71179" y="105866"/>
                </a:lnTo>
                <a:lnTo>
                  <a:pt x="73411" y="100931"/>
                </a:lnTo>
                <a:lnTo>
                  <a:pt x="75395" y="95502"/>
                </a:lnTo>
                <a:lnTo>
                  <a:pt x="77131" y="89826"/>
                </a:lnTo>
                <a:lnTo>
                  <a:pt x="78619" y="83903"/>
                </a:lnTo>
                <a:lnTo>
                  <a:pt x="79611" y="77734"/>
                </a:lnTo>
                <a:lnTo>
                  <a:pt x="80107" y="71318"/>
                </a:lnTo>
                <a:lnTo>
                  <a:pt x="80355" y="64655"/>
                </a:lnTo>
                <a:lnTo>
                  <a:pt x="80107" y="57992"/>
                </a:lnTo>
                <a:lnTo>
                  <a:pt x="79611" y="51576"/>
                </a:lnTo>
                <a:lnTo>
                  <a:pt x="78619" y="45406"/>
                </a:lnTo>
                <a:lnTo>
                  <a:pt x="77131" y="39484"/>
                </a:lnTo>
                <a:lnTo>
                  <a:pt x="75395" y="33808"/>
                </a:lnTo>
                <a:lnTo>
                  <a:pt x="73411" y="28625"/>
                </a:lnTo>
                <a:lnTo>
                  <a:pt x="71179" y="23690"/>
                </a:lnTo>
                <a:lnTo>
                  <a:pt x="68451" y="19001"/>
                </a:lnTo>
                <a:lnTo>
                  <a:pt x="65722" y="14806"/>
                </a:lnTo>
                <a:lnTo>
                  <a:pt x="62498" y="11104"/>
                </a:lnTo>
                <a:lnTo>
                  <a:pt x="59274" y="7896"/>
                </a:lnTo>
                <a:lnTo>
                  <a:pt x="55802" y="5182"/>
                </a:lnTo>
                <a:lnTo>
                  <a:pt x="52082" y="2961"/>
                </a:lnTo>
                <a:lnTo>
                  <a:pt x="44145" y="246"/>
                </a:lnTo>
                <a:lnTo>
                  <a:pt x="40177" y="0"/>
                </a:lnTo>
                <a:close/>
              </a:path>
            </a:pathLst>
          </a:custGeom>
          <a:solidFill>
            <a:srgbClr val="999999"/>
          </a:solidFill>
        </p:spPr>
        <p:txBody>
          <a:bodyPr wrap="square" lIns="0" tIns="0" rIns="0" bIns="0" rtlCol="0">
            <a:noAutofit/>
          </a:bodyPr>
          <a:lstStyle/>
          <a:p>
            <a:endParaRPr/>
          </a:p>
        </p:txBody>
      </p:sp>
      <p:sp>
        <p:nvSpPr>
          <p:cNvPr id="2382" name="object 2382"/>
          <p:cNvSpPr/>
          <p:nvPr/>
        </p:nvSpPr>
        <p:spPr>
          <a:xfrm>
            <a:off x="8842756" y="1706289"/>
            <a:ext cx="41913" cy="66382"/>
          </a:xfrm>
          <a:custGeom>
            <a:avLst/>
            <a:gdLst/>
            <a:ahLst/>
            <a:cxnLst/>
            <a:rect l="l" t="t" r="r" b="b"/>
            <a:pathLst>
              <a:path w="41913" h="66382">
                <a:moveTo>
                  <a:pt x="3720" y="3701"/>
                </a:moveTo>
                <a:lnTo>
                  <a:pt x="7688" y="4688"/>
                </a:lnTo>
                <a:lnTo>
                  <a:pt x="11160" y="6169"/>
                </a:lnTo>
                <a:lnTo>
                  <a:pt x="14632" y="8390"/>
                </a:lnTo>
                <a:lnTo>
                  <a:pt x="17856" y="10858"/>
                </a:lnTo>
                <a:lnTo>
                  <a:pt x="21080" y="14066"/>
                </a:lnTo>
                <a:lnTo>
                  <a:pt x="24057" y="17521"/>
                </a:lnTo>
                <a:lnTo>
                  <a:pt x="26785" y="21716"/>
                </a:lnTo>
                <a:lnTo>
                  <a:pt x="29513" y="26158"/>
                </a:lnTo>
                <a:lnTo>
                  <a:pt x="31745" y="31093"/>
                </a:lnTo>
                <a:lnTo>
                  <a:pt x="33481" y="36029"/>
                </a:lnTo>
                <a:lnTo>
                  <a:pt x="35217" y="41705"/>
                </a:lnTo>
                <a:lnTo>
                  <a:pt x="36705" y="47380"/>
                </a:lnTo>
                <a:lnTo>
                  <a:pt x="37697" y="53550"/>
                </a:lnTo>
                <a:lnTo>
                  <a:pt x="38193" y="59719"/>
                </a:lnTo>
                <a:lnTo>
                  <a:pt x="38441" y="66382"/>
                </a:lnTo>
                <a:lnTo>
                  <a:pt x="41913" y="66382"/>
                </a:lnTo>
                <a:lnTo>
                  <a:pt x="41665" y="59719"/>
                </a:lnTo>
                <a:lnTo>
                  <a:pt x="41169" y="53056"/>
                </a:lnTo>
                <a:lnTo>
                  <a:pt x="40177" y="46887"/>
                </a:lnTo>
                <a:lnTo>
                  <a:pt x="38689" y="40717"/>
                </a:lnTo>
                <a:lnTo>
                  <a:pt x="36953" y="35042"/>
                </a:lnTo>
                <a:lnTo>
                  <a:pt x="34721" y="29613"/>
                </a:lnTo>
                <a:lnTo>
                  <a:pt x="32489" y="24677"/>
                </a:lnTo>
                <a:lnTo>
                  <a:pt x="29761" y="19742"/>
                </a:lnTo>
                <a:lnTo>
                  <a:pt x="27033" y="15546"/>
                </a:lnTo>
                <a:lnTo>
                  <a:pt x="23561" y="11598"/>
                </a:lnTo>
                <a:lnTo>
                  <a:pt x="20336" y="8390"/>
                </a:lnTo>
                <a:lnTo>
                  <a:pt x="16616" y="5429"/>
                </a:lnTo>
                <a:lnTo>
                  <a:pt x="12648" y="3208"/>
                </a:lnTo>
                <a:lnTo>
                  <a:pt x="8680" y="1233"/>
                </a:lnTo>
                <a:lnTo>
                  <a:pt x="4216" y="246"/>
                </a:lnTo>
                <a:lnTo>
                  <a:pt x="0" y="0"/>
                </a:lnTo>
                <a:lnTo>
                  <a:pt x="0" y="3454"/>
                </a:lnTo>
                <a:lnTo>
                  <a:pt x="3720" y="3701"/>
                </a:lnTo>
                <a:close/>
              </a:path>
            </a:pathLst>
          </a:custGeom>
          <a:solidFill>
            <a:srgbClr val="000000"/>
          </a:solidFill>
        </p:spPr>
        <p:txBody>
          <a:bodyPr wrap="square" lIns="0" tIns="0" rIns="0" bIns="0" rtlCol="0">
            <a:noAutofit/>
          </a:bodyPr>
          <a:lstStyle/>
          <a:p>
            <a:endParaRPr/>
          </a:p>
        </p:txBody>
      </p:sp>
      <p:sp>
        <p:nvSpPr>
          <p:cNvPr id="2383" name="object 2383"/>
          <p:cNvSpPr/>
          <p:nvPr/>
        </p:nvSpPr>
        <p:spPr>
          <a:xfrm>
            <a:off x="8842756" y="1772673"/>
            <a:ext cx="41913" cy="66629"/>
          </a:xfrm>
          <a:custGeom>
            <a:avLst/>
            <a:gdLst/>
            <a:ahLst/>
            <a:cxnLst/>
            <a:rect l="l" t="t" r="r" b="b"/>
            <a:pathLst>
              <a:path w="41913" h="66629">
                <a:moveTo>
                  <a:pt x="4216" y="66382"/>
                </a:moveTo>
                <a:lnTo>
                  <a:pt x="8680" y="65395"/>
                </a:lnTo>
                <a:lnTo>
                  <a:pt x="12648" y="63421"/>
                </a:lnTo>
                <a:lnTo>
                  <a:pt x="16616" y="61200"/>
                </a:lnTo>
                <a:lnTo>
                  <a:pt x="20336" y="58239"/>
                </a:lnTo>
                <a:lnTo>
                  <a:pt x="23561" y="55030"/>
                </a:lnTo>
                <a:lnTo>
                  <a:pt x="27033" y="51082"/>
                </a:lnTo>
                <a:lnTo>
                  <a:pt x="29761" y="46887"/>
                </a:lnTo>
                <a:lnTo>
                  <a:pt x="32489" y="41951"/>
                </a:lnTo>
                <a:lnTo>
                  <a:pt x="34721" y="37016"/>
                </a:lnTo>
                <a:lnTo>
                  <a:pt x="36953" y="31340"/>
                </a:lnTo>
                <a:lnTo>
                  <a:pt x="38689" y="25664"/>
                </a:lnTo>
                <a:lnTo>
                  <a:pt x="40177" y="19495"/>
                </a:lnTo>
                <a:lnTo>
                  <a:pt x="41169" y="13325"/>
                </a:lnTo>
                <a:lnTo>
                  <a:pt x="41665" y="6662"/>
                </a:lnTo>
                <a:lnTo>
                  <a:pt x="41913" y="0"/>
                </a:lnTo>
                <a:lnTo>
                  <a:pt x="38441" y="0"/>
                </a:lnTo>
                <a:lnTo>
                  <a:pt x="38193" y="6662"/>
                </a:lnTo>
                <a:lnTo>
                  <a:pt x="37697" y="12832"/>
                </a:lnTo>
                <a:lnTo>
                  <a:pt x="36705" y="19001"/>
                </a:lnTo>
                <a:lnTo>
                  <a:pt x="35217" y="24677"/>
                </a:lnTo>
                <a:lnTo>
                  <a:pt x="33481" y="30353"/>
                </a:lnTo>
                <a:lnTo>
                  <a:pt x="31745" y="35535"/>
                </a:lnTo>
                <a:lnTo>
                  <a:pt x="29513" y="40471"/>
                </a:lnTo>
                <a:lnTo>
                  <a:pt x="26785" y="44913"/>
                </a:lnTo>
                <a:lnTo>
                  <a:pt x="24057" y="49108"/>
                </a:lnTo>
                <a:lnTo>
                  <a:pt x="21080" y="52563"/>
                </a:lnTo>
                <a:lnTo>
                  <a:pt x="17856" y="55771"/>
                </a:lnTo>
                <a:lnTo>
                  <a:pt x="14632" y="58239"/>
                </a:lnTo>
                <a:lnTo>
                  <a:pt x="11160" y="60460"/>
                </a:lnTo>
                <a:lnTo>
                  <a:pt x="7688" y="61940"/>
                </a:lnTo>
                <a:lnTo>
                  <a:pt x="3720" y="62927"/>
                </a:lnTo>
                <a:lnTo>
                  <a:pt x="0" y="63174"/>
                </a:lnTo>
                <a:lnTo>
                  <a:pt x="0" y="66629"/>
                </a:lnTo>
                <a:lnTo>
                  <a:pt x="4216" y="66382"/>
                </a:lnTo>
                <a:close/>
              </a:path>
            </a:pathLst>
          </a:custGeom>
          <a:solidFill>
            <a:srgbClr val="000000"/>
          </a:solidFill>
        </p:spPr>
        <p:txBody>
          <a:bodyPr wrap="square" lIns="0" tIns="0" rIns="0" bIns="0" rtlCol="0">
            <a:noAutofit/>
          </a:bodyPr>
          <a:lstStyle/>
          <a:p>
            <a:endParaRPr/>
          </a:p>
        </p:txBody>
      </p:sp>
      <p:sp>
        <p:nvSpPr>
          <p:cNvPr id="2384" name="object 2384"/>
          <p:cNvSpPr/>
          <p:nvPr/>
        </p:nvSpPr>
        <p:spPr>
          <a:xfrm>
            <a:off x="8800842" y="1772673"/>
            <a:ext cx="41913" cy="66629"/>
          </a:xfrm>
          <a:custGeom>
            <a:avLst/>
            <a:gdLst/>
            <a:ahLst/>
            <a:cxnLst/>
            <a:rect l="l" t="t" r="r" b="b"/>
            <a:pathLst>
              <a:path w="41913" h="66629">
                <a:moveTo>
                  <a:pt x="3472" y="0"/>
                </a:moveTo>
                <a:lnTo>
                  <a:pt x="0" y="0"/>
                </a:lnTo>
                <a:lnTo>
                  <a:pt x="248" y="6662"/>
                </a:lnTo>
                <a:lnTo>
                  <a:pt x="744" y="13325"/>
                </a:lnTo>
                <a:lnTo>
                  <a:pt x="1736" y="19495"/>
                </a:lnTo>
                <a:lnTo>
                  <a:pt x="3224" y="25664"/>
                </a:lnTo>
                <a:lnTo>
                  <a:pt x="4960" y="31340"/>
                </a:lnTo>
                <a:lnTo>
                  <a:pt x="7192" y="37016"/>
                </a:lnTo>
                <a:lnTo>
                  <a:pt x="9424" y="41951"/>
                </a:lnTo>
                <a:lnTo>
                  <a:pt x="12152" y="46887"/>
                </a:lnTo>
                <a:lnTo>
                  <a:pt x="14880" y="51082"/>
                </a:lnTo>
                <a:lnTo>
                  <a:pt x="18352" y="55030"/>
                </a:lnTo>
                <a:lnTo>
                  <a:pt x="21576" y="58239"/>
                </a:lnTo>
                <a:lnTo>
                  <a:pt x="25297" y="61200"/>
                </a:lnTo>
                <a:lnTo>
                  <a:pt x="29265" y="63421"/>
                </a:lnTo>
                <a:lnTo>
                  <a:pt x="33233" y="65395"/>
                </a:lnTo>
                <a:lnTo>
                  <a:pt x="37697" y="66382"/>
                </a:lnTo>
                <a:lnTo>
                  <a:pt x="41913" y="66629"/>
                </a:lnTo>
                <a:lnTo>
                  <a:pt x="41913" y="63174"/>
                </a:lnTo>
                <a:lnTo>
                  <a:pt x="38193" y="62927"/>
                </a:lnTo>
                <a:lnTo>
                  <a:pt x="34225" y="61940"/>
                </a:lnTo>
                <a:lnTo>
                  <a:pt x="30753" y="60460"/>
                </a:lnTo>
                <a:lnTo>
                  <a:pt x="27281" y="58239"/>
                </a:lnTo>
                <a:lnTo>
                  <a:pt x="24057" y="55771"/>
                </a:lnTo>
                <a:lnTo>
                  <a:pt x="20832" y="52563"/>
                </a:lnTo>
                <a:lnTo>
                  <a:pt x="17856" y="49108"/>
                </a:lnTo>
                <a:lnTo>
                  <a:pt x="15128" y="44913"/>
                </a:lnTo>
                <a:lnTo>
                  <a:pt x="12400" y="40471"/>
                </a:lnTo>
                <a:lnTo>
                  <a:pt x="10168" y="35535"/>
                </a:lnTo>
                <a:lnTo>
                  <a:pt x="8432" y="30353"/>
                </a:lnTo>
                <a:lnTo>
                  <a:pt x="6696" y="24677"/>
                </a:lnTo>
                <a:lnTo>
                  <a:pt x="5208" y="19001"/>
                </a:lnTo>
                <a:lnTo>
                  <a:pt x="4216" y="12832"/>
                </a:lnTo>
                <a:lnTo>
                  <a:pt x="3720" y="6662"/>
                </a:lnTo>
                <a:lnTo>
                  <a:pt x="3472" y="0"/>
                </a:lnTo>
                <a:close/>
              </a:path>
            </a:pathLst>
          </a:custGeom>
          <a:solidFill>
            <a:srgbClr val="000000"/>
          </a:solidFill>
        </p:spPr>
        <p:txBody>
          <a:bodyPr wrap="square" lIns="0" tIns="0" rIns="0" bIns="0" rtlCol="0">
            <a:noAutofit/>
          </a:bodyPr>
          <a:lstStyle/>
          <a:p>
            <a:endParaRPr/>
          </a:p>
        </p:txBody>
      </p:sp>
      <p:sp>
        <p:nvSpPr>
          <p:cNvPr id="2385" name="object 2385"/>
          <p:cNvSpPr/>
          <p:nvPr/>
        </p:nvSpPr>
        <p:spPr>
          <a:xfrm>
            <a:off x="8800842" y="1706289"/>
            <a:ext cx="41913" cy="66382"/>
          </a:xfrm>
          <a:custGeom>
            <a:avLst/>
            <a:gdLst/>
            <a:ahLst/>
            <a:cxnLst/>
            <a:rect l="l" t="t" r="r" b="b"/>
            <a:pathLst>
              <a:path w="41913" h="66382">
                <a:moveTo>
                  <a:pt x="4960" y="35042"/>
                </a:moveTo>
                <a:lnTo>
                  <a:pt x="3224" y="40717"/>
                </a:lnTo>
                <a:lnTo>
                  <a:pt x="1736" y="46887"/>
                </a:lnTo>
                <a:lnTo>
                  <a:pt x="744" y="53056"/>
                </a:lnTo>
                <a:lnTo>
                  <a:pt x="248" y="59719"/>
                </a:lnTo>
                <a:lnTo>
                  <a:pt x="0" y="66382"/>
                </a:lnTo>
                <a:lnTo>
                  <a:pt x="3472" y="66382"/>
                </a:lnTo>
                <a:lnTo>
                  <a:pt x="3720" y="59719"/>
                </a:lnTo>
                <a:lnTo>
                  <a:pt x="4216" y="53550"/>
                </a:lnTo>
                <a:lnTo>
                  <a:pt x="5208" y="47380"/>
                </a:lnTo>
                <a:lnTo>
                  <a:pt x="6696" y="41705"/>
                </a:lnTo>
                <a:lnTo>
                  <a:pt x="8432" y="36029"/>
                </a:lnTo>
                <a:lnTo>
                  <a:pt x="10168" y="31093"/>
                </a:lnTo>
                <a:lnTo>
                  <a:pt x="12400" y="26158"/>
                </a:lnTo>
                <a:lnTo>
                  <a:pt x="15128" y="21716"/>
                </a:lnTo>
                <a:lnTo>
                  <a:pt x="17856" y="17521"/>
                </a:lnTo>
                <a:lnTo>
                  <a:pt x="20832" y="14066"/>
                </a:lnTo>
                <a:lnTo>
                  <a:pt x="24057" y="10858"/>
                </a:lnTo>
                <a:lnTo>
                  <a:pt x="27281" y="8390"/>
                </a:lnTo>
                <a:lnTo>
                  <a:pt x="30753" y="6169"/>
                </a:lnTo>
                <a:lnTo>
                  <a:pt x="34225" y="4688"/>
                </a:lnTo>
                <a:lnTo>
                  <a:pt x="38193" y="3701"/>
                </a:lnTo>
                <a:lnTo>
                  <a:pt x="41913" y="3454"/>
                </a:lnTo>
                <a:lnTo>
                  <a:pt x="41913" y="0"/>
                </a:lnTo>
                <a:lnTo>
                  <a:pt x="37697" y="246"/>
                </a:lnTo>
                <a:lnTo>
                  <a:pt x="33233" y="1233"/>
                </a:lnTo>
                <a:lnTo>
                  <a:pt x="29265" y="3208"/>
                </a:lnTo>
                <a:lnTo>
                  <a:pt x="25297" y="5429"/>
                </a:lnTo>
                <a:lnTo>
                  <a:pt x="21576" y="8390"/>
                </a:lnTo>
                <a:lnTo>
                  <a:pt x="18352" y="11598"/>
                </a:lnTo>
                <a:lnTo>
                  <a:pt x="14880" y="15546"/>
                </a:lnTo>
                <a:lnTo>
                  <a:pt x="12152" y="19742"/>
                </a:lnTo>
                <a:lnTo>
                  <a:pt x="9424" y="24677"/>
                </a:lnTo>
                <a:lnTo>
                  <a:pt x="7192" y="29613"/>
                </a:lnTo>
                <a:lnTo>
                  <a:pt x="4960" y="35042"/>
                </a:lnTo>
                <a:close/>
              </a:path>
            </a:pathLst>
          </a:custGeom>
          <a:solidFill>
            <a:srgbClr val="000000"/>
          </a:solidFill>
        </p:spPr>
        <p:txBody>
          <a:bodyPr wrap="square" lIns="0" tIns="0" rIns="0" bIns="0" rtlCol="0">
            <a:noAutofit/>
          </a:bodyPr>
          <a:lstStyle/>
          <a:p>
            <a:endParaRPr/>
          </a:p>
        </p:txBody>
      </p:sp>
      <p:sp>
        <p:nvSpPr>
          <p:cNvPr id="2386" name="object 2386"/>
          <p:cNvSpPr/>
          <p:nvPr/>
        </p:nvSpPr>
        <p:spPr>
          <a:xfrm>
            <a:off x="8803074" y="1719369"/>
            <a:ext cx="40921" cy="106853"/>
          </a:xfrm>
          <a:custGeom>
            <a:avLst/>
            <a:gdLst/>
            <a:ahLst/>
            <a:cxnLst/>
            <a:rect l="l" t="t" r="r" b="b"/>
            <a:pathLst>
              <a:path w="40921" h="106853">
                <a:moveTo>
                  <a:pt x="17360" y="106853"/>
                </a:moveTo>
                <a:lnTo>
                  <a:pt x="23561" y="101918"/>
                </a:lnTo>
                <a:lnTo>
                  <a:pt x="28769" y="95995"/>
                </a:lnTo>
                <a:lnTo>
                  <a:pt x="32985" y="89332"/>
                </a:lnTo>
                <a:lnTo>
                  <a:pt x="36209" y="81929"/>
                </a:lnTo>
                <a:lnTo>
                  <a:pt x="38689" y="74032"/>
                </a:lnTo>
                <a:lnTo>
                  <a:pt x="40177" y="65889"/>
                </a:lnTo>
                <a:lnTo>
                  <a:pt x="40921" y="57498"/>
                </a:lnTo>
                <a:lnTo>
                  <a:pt x="40921" y="49355"/>
                </a:lnTo>
                <a:lnTo>
                  <a:pt x="39929" y="40964"/>
                </a:lnTo>
                <a:lnTo>
                  <a:pt x="38441" y="33067"/>
                </a:lnTo>
                <a:lnTo>
                  <a:pt x="36457" y="25664"/>
                </a:lnTo>
                <a:lnTo>
                  <a:pt x="33729" y="18754"/>
                </a:lnTo>
                <a:lnTo>
                  <a:pt x="30505" y="12585"/>
                </a:lnTo>
                <a:lnTo>
                  <a:pt x="26537" y="7156"/>
                </a:lnTo>
                <a:lnTo>
                  <a:pt x="22321" y="2961"/>
                </a:lnTo>
                <a:lnTo>
                  <a:pt x="17608" y="0"/>
                </a:lnTo>
                <a:lnTo>
                  <a:pt x="13888" y="4195"/>
                </a:lnTo>
                <a:lnTo>
                  <a:pt x="10416" y="9130"/>
                </a:lnTo>
                <a:lnTo>
                  <a:pt x="7440" y="14806"/>
                </a:lnTo>
                <a:lnTo>
                  <a:pt x="4960" y="20975"/>
                </a:lnTo>
                <a:lnTo>
                  <a:pt x="2976" y="27638"/>
                </a:lnTo>
                <a:lnTo>
                  <a:pt x="1488" y="34795"/>
                </a:lnTo>
                <a:lnTo>
                  <a:pt x="496" y="42198"/>
                </a:lnTo>
                <a:lnTo>
                  <a:pt x="0" y="49601"/>
                </a:lnTo>
                <a:lnTo>
                  <a:pt x="248" y="57498"/>
                </a:lnTo>
                <a:lnTo>
                  <a:pt x="744" y="65148"/>
                </a:lnTo>
                <a:lnTo>
                  <a:pt x="1984" y="72798"/>
                </a:lnTo>
                <a:lnTo>
                  <a:pt x="3720" y="80202"/>
                </a:lnTo>
                <a:lnTo>
                  <a:pt x="6200" y="87605"/>
                </a:lnTo>
                <a:lnTo>
                  <a:pt x="9424" y="94515"/>
                </a:lnTo>
                <a:lnTo>
                  <a:pt x="12896" y="100931"/>
                </a:lnTo>
                <a:lnTo>
                  <a:pt x="17360" y="106853"/>
                </a:lnTo>
                <a:close/>
              </a:path>
            </a:pathLst>
          </a:custGeom>
          <a:solidFill>
            <a:srgbClr val="000000"/>
          </a:solidFill>
        </p:spPr>
        <p:txBody>
          <a:bodyPr wrap="square" lIns="0" tIns="0" rIns="0" bIns="0" rtlCol="0">
            <a:noAutofit/>
          </a:bodyPr>
          <a:lstStyle/>
          <a:p>
            <a:endParaRPr/>
          </a:p>
        </p:txBody>
      </p:sp>
      <p:sp>
        <p:nvSpPr>
          <p:cNvPr id="2387" name="object 2387"/>
          <p:cNvSpPr/>
          <p:nvPr/>
        </p:nvSpPr>
        <p:spPr>
          <a:xfrm>
            <a:off x="8819691" y="1718381"/>
            <a:ext cx="25545" cy="108828"/>
          </a:xfrm>
          <a:custGeom>
            <a:avLst/>
            <a:gdLst/>
            <a:ahLst/>
            <a:cxnLst/>
            <a:rect l="l" t="t" r="r" b="b"/>
            <a:pathLst>
              <a:path w="25545" h="108828">
                <a:moveTo>
                  <a:pt x="0" y="493"/>
                </a:moveTo>
                <a:lnTo>
                  <a:pt x="0" y="1480"/>
                </a:lnTo>
                <a:lnTo>
                  <a:pt x="496" y="1974"/>
                </a:lnTo>
                <a:lnTo>
                  <a:pt x="4960" y="4935"/>
                </a:lnTo>
                <a:lnTo>
                  <a:pt x="8928" y="8883"/>
                </a:lnTo>
                <a:lnTo>
                  <a:pt x="12896" y="14312"/>
                </a:lnTo>
                <a:lnTo>
                  <a:pt x="15872" y="20235"/>
                </a:lnTo>
                <a:lnTo>
                  <a:pt x="18600" y="27145"/>
                </a:lnTo>
                <a:lnTo>
                  <a:pt x="20584" y="34301"/>
                </a:lnTo>
                <a:lnTo>
                  <a:pt x="22072" y="42198"/>
                </a:lnTo>
                <a:lnTo>
                  <a:pt x="23065" y="50342"/>
                </a:lnTo>
                <a:lnTo>
                  <a:pt x="23065" y="58485"/>
                </a:lnTo>
                <a:lnTo>
                  <a:pt x="22321" y="66629"/>
                </a:lnTo>
                <a:lnTo>
                  <a:pt x="20832" y="74773"/>
                </a:lnTo>
                <a:lnTo>
                  <a:pt x="18352" y="82423"/>
                </a:lnTo>
                <a:lnTo>
                  <a:pt x="15376" y="89826"/>
                </a:lnTo>
                <a:lnTo>
                  <a:pt x="11160" y="96242"/>
                </a:lnTo>
                <a:lnTo>
                  <a:pt x="6200" y="101918"/>
                </a:lnTo>
                <a:lnTo>
                  <a:pt x="0" y="106853"/>
                </a:lnTo>
                <a:lnTo>
                  <a:pt x="1488" y="108828"/>
                </a:lnTo>
                <a:lnTo>
                  <a:pt x="7688" y="103892"/>
                </a:lnTo>
                <a:lnTo>
                  <a:pt x="13144" y="97723"/>
                </a:lnTo>
                <a:lnTo>
                  <a:pt x="17360" y="90813"/>
                </a:lnTo>
                <a:lnTo>
                  <a:pt x="20832" y="83410"/>
                </a:lnTo>
                <a:lnTo>
                  <a:pt x="23313" y="75266"/>
                </a:lnTo>
                <a:lnTo>
                  <a:pt x="24801" y="67122"/>
                </a:lnTo>
                <a:lnTo>
                  <a:pt x="25545" y="58485"/>
                </a:lnTo>
                <a:lnTo>
                  <a:pt x="25545" y="50342"/>
                </a:lnTo>
                <a:lnTo>
                  <a:pt x="24553" y="41705"/>
                </a:lnTo>
                <a:lnTo>
                  <a:pt x="23065" y="33808"/>
                </a:lnTo>
                <a:lnTo>
                  <a:pt x="21080" y="26158"/>
                </a:lnTo>
                <a:lnTo>
                  <a:pt x="18352" y="19248"/>
                </a:lnTo>
                <a:lnTo>
                  <a:pt x="14880" y="12832"/>
                </a:lnTo>
                <a:lnTo>
                  <a:pt x="10912" y="7403"/>
                </a:lnTo>
                <a:lnTo>
                  <a:pt x="6448" y="2961"/>
                </a:lnTo>
                <a:lnTo>
                  <a:pt x="1736" y="1974"/>
                </a:lnTo>
                <a:lnTo>
                  <a:pt x="744" y="0"/>
                </a:lnTo>
                <a:lnTo>
                  <a:pt x="0" y="493"/>
                </a:lnTo>
                <a:close/>
              </a:path>
            </a:pathLst>
          </a:custGeom>
          <a:solidFill>
            <a:srgbClr val="000000"/>
          </a:solidFill>
        </p:spPr>
        <p:txBody>
          <a:bodyPr wrap="square" lIns="0" tIns="0" rIns="0" bIns="0" rtlCol="0">
            <a:noAutofit/>
          </a:bodyPr>
          <a:lstStyle/>
          <a:p>
            <a:endParaRPr/>
          </a:p>
        </p:txBody>
      </p:sp>
      <p:sp>
        <p:nvSpPr>
          <p:cNvPr id="2388" name="object 2388"/>
          <p:cNvSpPr/>
          <p:nvPr/>
        </p:nvSpPr>
        <p:spPr>
          <a:xfrm>
            <a:off x="8820434" y="1718382"/>
            <a:ext cx="5704" cy="2961"/>
          </a:xfrm>
          <a:custGeom>
            <a:avLst/>
            <a:gdLst/>
            <a:ahLst/>
            <a:cxnLst/>
            <a:rect l="l" t="t" r="r" b="b"/>
            <a:pathLst>
              <a:path w="5704" h="2961">
                <a:moveTo>
                  <a:pt x="744" y="0"/>
                </a:moveTo>
                <a:lnTo>
                  <a:pt x="0" y="0"/>
                </a:lnTo>
                <a:lnTo>
                  <a:pt x="992" y="1974"/>
                </a:lnTo>
                <a:lnTo>
                  <a:pt x="5704" y="2961"/>
                </a:lnTo>
                <a:lnTo>
                  <a:pt x="744" y="0"/>
                </a:lnTo>
                <a:close/>
              </a:path>
            </a:pathLst>
          </a:custGeom>
          <a:solidFill>
            <a:srgbClr val="000000"/>
          </a:solidFill>
        </p:spPr>
        <p:txBody>
          <a:bodyPr wrap="square" lIns="0" tIns="0" rIns="0" bIns="0" rtlCol="0">
            <a:noAutofit/>
          </a:bodyPr>
          <a:lstStyle/>
          <a:p>
            <a:endParaRPr/>
          </a:p>
        </p:txBody>
      </p:sp>
      <p:sp>
        <p:nvSpPr>
          <p:cNvPr id="2389" name="object 2389"/>
          <p:cNvSpPr/>
          <p:nvPr/>
        </p:nvSpPr>
        <p:spPr>
          <a:xfrm>
            <a:off x="8801833" y="1718382"/>
            <a:ext cx="19592" cy="108581"/>
          </a:xfrm>
          <a:custGeom>
            <a:avLst/>
            <a:gdLst/>
            <a:ahLst/>
            <a:cxnLst/>
            <a:rect l="l" t="t" r="r" b="b"/>
            <a:pathLst>
              <a:path w="19592" h="108581">
                <a:moveTo>
                  <a:pt x="4464" y="73539"/>
                </a:moveTo>
                <a:lnTo>
                  <a:pt x="3224" y="65889"/>
                </a:lnTo>
                <a:lnTo>
                  <a:pt x="2728" y="58485"/>
                </a:lnTo>
                <a:lnTo>
                  <a:pt x="2480" y="50589"/>
                </a:lnTo>
                <a:lnTo>
                  <a:pt x="2976" y="43185"/>
                </a:lnTo>
                <a:lnTo>
                  <a:pt x="3968" y="36029"/>
                </a:lnTo>
                <a:lnTo>
                  <a:pt x="5456" y="28872"/>
                </a:lnTo>
                <a:lnTo>
                  <a:pt x="7440" y="22456"/>
                </a:lnTo>
                <a:lnTo>
                  <a:pt x="9920" y="16287"/>
                </a:lnTo>
                <a:lnTo>
                  <a:pt x="12648" y="10858"/>
                </a:lnTo>
                <a:lnTo>
                  <a:pt x="16120" y="5922"/>
                </a:lnTo>
                <a:lnTo>
                  <a:pt x="19592" y="1974"/>
                </a:lnTo>
                <a:lnTo>
                  <a:pt x="18104" y="0"/>
                </a:lnTo>
                <a:lnTo>
                  <a:pt x="14136" y="4441"/>
                </a:lnTo>
                <a:lnTo>
                  <a:pt x="10664" y="9377"/>
                </a:lnTo>
                <a:lnTo>
                  <a:pt x="7440" y="15300"/>
                </a:lnTo>
                <a:lnTo>
                  <a:pt x="4960" y="21469"/>
                </a:lnTo>
                <a:lnTo>
                  <a:pt x="2976" y="28379"/>
                </a:lnTo>
                <a:lnTo>
                  <a:pt x="1488" y="35535"/>
                </a:lnTo>
                <a:lnTo>
                  <a:pt x="496" y="43185"/>
                </a:lnTo>
                <a:lnTo>
                  <a:pt x="0" y="50589"/>
                </a:lnTo>
                <a:lnTo>
                  <a:pt x="248" y="58485"/>
                </a:lnTo>
                <a:lnTo>
                  <a:pt x="744" y="66382"/>
                </a:lnTo>
                <a:lnTo>
                  <a:pt x="1984" y="74032"/>
                </a:lnTo>
                <a:lnTo>
                  <a:pt x="3720" y="81435"/>
                </a:lnTo>
                <a:lnTo>
                  <a:pt x="6200" y="89086"/>
                </a:lnTo>
                <a:lnTo>
                  <a:pt x="9672" y="95995"/>
                </a:lnTo>
                <a:lnTo>
                  <a:pt x="13144" y="102658"/>
                </a:lnTo>
                <a:lnTo>
                  <a:pt x="17608" y="108581"/>
                </a:lnTo>
                <a:lnTo>
                  <a:pt x="17856" y="106853"/>
                </a:lnTo>
                <a:lnTo>
                  <a:pt x="19592" y="107100"/>
                </a:lnTo>
                <a:lnTo>
                  <a:pt x="15128" y="101178"/>
                </a:lnTo>
                <a:lnTo>
                  <a:pt x="11656" y="95008"/>
                </a:lnTo>
                <a:lnTo>
                  <a:pt x="8680" y="88098"/>
                </a:lnTo>
                <a:lnTo>
                  <a:pt x="6200" y="80942"/>
                </a:lnTo>
                <a:lnTo>
                  <a:pt x="4464" y="73539"/>
                </a:lnTo>
                <a:close/>
              </a:path>
            </a:pathLst>
          </a:custGeom>
          <a:solidFill>
            <a:srgbClr val="000000"/>
          </a:solidFill>
        </p:spPr>
        <p:txBody>
          <a:bodyPr wrap="square" lIns="0" tIns="0" rIns="0" bIns="0" rtlCol="0">
            <a:noAutofit/>
          </a:bodyPr>
          <a:lstStyle/>
          <a:p>
            <a:endParaRPr/>
          </a:p>
        </p:txBody>
      </p:sp>
      <p:sp>
        <p:nvSpPr>
          <p:cNvPr id="2390" name="object 2390"/>
          <p:cNvSpPr/>
          <p:nvPr/>
        </p:nvSpPr>
        <p:spPr>
          <a:xfrm>
            <a:off x="8819442" y="1825235"/>
            <a:ext cx="2232" cy="2220"/>
          </a:xfrm>
          <a:custGeom>
            <a:avLst/>
            <a:gdLst/>
            <a:ahLst/>
            <a:cxnLst/>
            <a:rect l="l" t="t" r="r" b="b"/>
            <a:pathLst>
              <a:path w="2232" h="2220">
                <a:moveTo>
                  <a:pt x="1736" y="1974"/>
                </a:moveTo>
                <a:lnTo>
                  <a:pt x="2232" y="1233"/>
                </a:lnTo>
                <a:lnTo>
                  <a:pt x="1984" y="246"/>
                </a:lnTo>
                <a:lnTo>
                  <a:pt x="248" y="0"/>
                </a:lnTo>
                <a:lnTo>
                  <a:pt x="0" y="1727"/>
                </a:lnTo>
                <a:lnTo>
                  <a:pt x="992" y="2220"/>
                </a:lnTo>
                <a:lnTo>
                  <a:pt x="1736" y="1974"/>
                </a:lnTo>
                <a:close/>
              </a:path>
            </a:pathLst>
          </a:custGeom>
          <a:solidFill>
            <a:srgbClr val="000000"/>
          </a:solidFill>
        </p:spPr>
        <p:txBody>
          <a:bodyPr wrap="square" lIns="0" tIns="0" rIns="0" bIns="0" rtlCol="0">
            <a:noAutofit/>
          </a:bodyPr>
          <a:lstStyle/>
          <a:p>
            <a:endParaRPr/>
          </a:p>
        </p:txBody>
      </p:sp>
      <p:sp>
        <p:nvSpPr>
          <p:cNvPr id="2391" name="object 2391"/>
          <p:cNvSpPr/>
          <p:nvPr/>
        </p:nvSpPr>
        <p:spPr>
          <a:xfrm>
            <a:off x="8803818" y="1756879"/>
            <a:ext cx="27529" cy="30353"/>
          </a:xfrm>
          <a:custGeom>
            <a:avLst/>
            <a:gdLst/>
            <a:ahLst/>
            <a:cxnLst/>
            <a:rect l="l" t="t" r="r" b="b"/>
            <a:pathLst>
              <a:path w="27529" h="30353">
                <a:moveTo>
                  <a:pt x="27529" y="0"/>
                </a:moveTo>
                <a:lnTo>
                  <a:pt x="1488" y="0"/>
                </a:lnTo>
                <a:lnTo>
                  <a:pt x="744" y="3701"/>
                </a:lnTo>
                <a:lnTo>
                  <a:pt x="496" y="7650"/>
                </a:lnTo>
                <a:lnTo>
                  <a:pt x="0" y="11351"/>
                </a:lnTo>
                <a:lnTo>
                  <a:pt x="0" y="19001"/>
                </a:lnTo>
                <a:lnTo>
                  <a:pt x="496" y="22950"/>
                </a:lnTo>
                <a:lnTo>
                  <a:pt x="744" y="26651"/>
                </a:lnTo>
                <a:lnTo>
                  <a:pt x="1488" y="30353"/>
                </a:lnTo>
                <a:lnTo>
                  <a:pt x="27529" y="30353"/>
                </a:lnTo>
                <a:lnTo>
                  <a:pt x="27529" y="0"/>
                </a:lnTo>
                <a:close/>
              </a:path>
            </a:pathLst>
          </a:custGeom>
          <a:solidFill>
            <a:srgbClr val="404040"/>
          </a:solidFill>
        </p:spPr>
        <p:txBody>
          <a:bodyPr wrap="square" lIns="0" tIns="0" rIns="0" bIns="0" rtlCol="0">
            <a:noAutofit/>
          </a:bodyPr>
          <a:lstStyle/>
          <a:p>
            <a:endParaRPr/>
          </a:p>
        </p:txBody>
      </p:sp>
      <p:sp>
        <p:nvSpPr>
          <p:cNvPr id="2392" name="object 2392"/>
          <p:cNvSpPr/>
          <p:nvPr/>
        </p:nvSpPr>
        <p:spPr>
          <a:xfrm>
            <a:off x="8804314" y="1755645"/>
            <a:ext cx="27033" cy="2467"/>
          </a:xfrm>
          <a:custGeom>
            <a:avLst/>
            <a:gdLst/>
            <a:ahLst/>
            <a:cxnLst/>
            <a:rect l="l" t="t" r="r" b="b"/>
            <a:pathLst>
              <a:path w="27033" h="2467">
                <a:moveTo>
                  <a:pt x="202" y="628"/>
                </a:moveTo>
                <a:lnTo>
                  <a:pt x="0" y="1233"/>
                </a:lnTo>
                <a:lnTo>
                  <a:pt x="248" y="1974"/>
                </a:lnTo>
                <a:lnTo>
                  <a:pt x="992" y="2467"/>
                </a:lnTo>
                <a:lnTo>
                  <a:pt x="27033" y="2467"/>
                </a:lnTo>
                <a:lnTo>
                  <a:pt x="27033" y="0"/>
                </a:lnTo>
                <a:lnTo>
                  <a:pt x="2232" y="1480"/>
                </a:lnTo>
                <a:lnTo>
                  <a:pt x="992" y="0"/>
                </a:lnTo>
                <a:lnTo>
                  <a:pt x="248" y="493"/>
                </a:lnTo>
                <a:lnTo>
                  <a:pt x="202" y="628"/>
                </a:lnTo>
                <a:close/>
              </a:path>
            </a:pathLst>
          </a:custGeom>
          <a:solidFill>
            <a:srgbClr val="000000"/>
          </a:solidFill>
        </p:spPr>
        <p:txBody>
          <a:bodyPr wrap="square" lIns="0" tIns="0" rIns="0" bIns="0" rtlCol="0">
            <a:noAutofit/>
          </a:bodyPr>
          <a:lstStyle/>
          <a:p>
            <a:endParaRPr/>
          </a:p>
        </p:txBody>
      </p:sp>
      <p:sp>
        <p:nvSpPr>
          <p:cNvPr id="2393" name="object 2393"/>
          <p:cNvSpPr/>
          <p:nvPr/>
        </p:nvSpPr>
        <p:spPr>
          <a:xfrm>
            <a:off x="8805306" y="1755644"/>
            <a:ext cx="26041" cy="1480"/>
          </a:xfrm>
          <a:custGeom>
            <a:avLst/>
            <a:gdLst/>
            <a:ahLst/>
            <a:cxnLst/>
            <a:rect l="l" t="t" r="r" b="b"/>
            <a:pathLst>
              <a:path w="26041" h="1480">
                <a:moveTo>
                  <a:pt x="0" y="0"/>
                </a:moveTo>
                <a:lnTo>
                  <a:pt x="1240" y="1480"/>
                </a:lnTo>
                <a:lnTo>
                  <a:pt x="26041" y="0"/>
                </a:lnTo>
                <a:lnTo>
                  <a:pt x="0" y="0"/>
                </a:lnTo>
                <a:close/>
              </a:path>
            </a:pathLst>
          </a:custGeom>
          <a:solidFill>
            <a:srgbClr val="000000"/>
          </a:solidFill>
        </p:spPr>
        <p:txBody>
          <a:bodyPr wrap="square" lIns="0" tIns="0" rIns="0" bIns="0" rtlCol="0">
            <a:noAutofit/>
          </a:bodyPr>
          <a:lstStyle/>
          <a:p>
            <a:endParaRPr/>
          </a:p>
        </p:txBody>
      </p:sp>
      <p:sp>
        <p:nvSpPr>
          <p:cNvPr id="2394" name="object 2394"/>
          <p:cNvSpPr/>
          <p:nvPr/>
        </p:nvSpPr>
        <p:spPr>
          <a:xfrm>
            <a:off x="8802577" y="1756632"/>
            <a:ext cx="3968" cy="31587"/>
          </a:xfrm>
          <a:custGeom>
            <a:avLst/>
            <a:gdLst/>
            <a:ahLst/>
            <a:cxnLst/>
            <a:rect l="l" t="t" r="r" b="b"/>
            <a:pathLst>
              <a:path w="3968" h="31587">
                <a:moveTo>
                  <a:pt x="0" y="15546"/>
                </a:moveTo>
                <a:lnTo>
                  <a:pt x="0" y="19248"/>
                </a:lnTo>
                <a:lnTo>
                  <a:pt x="496" y="23196"/>
                </a:lnTo>
                <a:lnTo>
                  <a:pt x="744" y="27145"/>
                </a:lnTo>
                <a:lnTo>
                  <a:pt x="1488" y="30846"/>
                </a:lnTo>
                <a:lnTo>
                  <a:pt x="1984" y="31587"/>
                </a:lnTo>
                <a:lnTo>
                  <a:pt x="2976" y="31587"/>
                </a:lnTo>
                <a:lnTo>
                  <a:pt x="3720" y="31340"/>
                </a:lnTo>
                <a:lnTo>
                  <a:pt x="3968" y="30353"/>
                </a:lnTo>
                <a:lnTo>
                  <a:pt x="3224" y="26651"/>
                </a:lnTo>
                <a:lnTo>
                  <a:pt x="2728" y="29366"/>
                </a:lnTo>
                <a:lnTo>
                  <a:pt x="2480" y="19248"/>
                </a:lnTo>
                <a:lnTo>
                  <a:pt x="2480" y="11598"/>
                </a:lnTo>
                <a:lnTo>
                  <a:pt x="2976" y="7896"/>
                </a:lnTo>
                <a:lnTo>
                  <a:pt x="3224" y="4195"/>
                </a:lnTo>
                <a:lnTo>
                  <a:pt x="3968" y="493"/>
                </a:lnTo>
                <a:lnTo>
                  <a:pt x="1488" y="0"/>
                </a:lnTo>
                <a:lnTo>
                  <a:pt x="744" y="3701"/>
                </a:lnTo>
                <a:lnTo>
                  <a:pt x="496" y="7896"/>
                </a:lnTo>
                <a:lnTo>
                  <a:pt x="0" y="11598"/>
                </a:lnTo>
                <a:lnTo>
                  <a:pt x="0" y="15546"/>
                </a:lnTo>
                <a:close/>
              </a:path>
            </a:pathLst>
          </a:custGeom>
          <a:solidFill>
            <a:srgbClr val="000000"/>
          </a:solidFill>
        </p:spPr>
        <p:txBody>
          <a:bodyPr wrap="square" lIns="0" tIns="0" rIns="0" bIns="0" rtlCol="0">
            <a:noAutofit/>
          </a:bodyPr>
          <a:lstStyle/>
          <a:p>
            <a:endParaRPr/>
          </a:p>
        </p:txBody>
      </p:sp>
      <p:sp>
        <p:nvSpPr>
          <p:cNvPr id="2395" name="object 2395"/>
          <p:cNvSpPr/>
          <p:nvPr/>
        </p:nvSpPr>
        <p:spPr>
          <a:xfrm>
            <a:off x="8805057" y="1775881"/>
            <a:ext cx="744" cy="10117"/>
          </a:xfrm>
          <a:custGeom>
            <a:avLst/>
            <a:gdLst/>
            <a:ahLst/>
            <a:cxnLst/>
            <a:rect l="l" t="t" r="r" b="b"/>
            <a:pathLst>
              <a:path w="744" h="10117">
                <a:moveTo>
                  <a:pt x="496" y="3948"/>
                </a:moveTo>
                <a:lnTo>
                  <a:pt x="0" y="0"/>
                </a:lnTo>
                <a:lnTo>
                  <a:pt x="248" y="10117"/>
                </a:lnTo>
                <a:lnTo>
                  <a:pt x="744" y="7403"/>
                </a:lnTo>
                <a:lnTo>
                  <a:pt x="496" y="3948"/>
                </a:lnTo>
                <a:close/>
              </a:path>
            </a:pathLst>
          </a:custGeom>
          <a:solidFill>
            <a:srgbClr val="000000"/>
          </a:solidFill>
        </p:spPr>
        <p:txBody>
          <a:bodyPr wrap="square" lIns="0" tIns="0" rIns="0" bIns="0" rtlCol="0">
            <a:noAutofit/>
          </a:bodyPr>
          <a:lstStyle/>
          <a:p>
            <a:endParaRPr/>
          </a:p>
        </p:txBody>
      </p:sp>
      <p:sp>
        <p:nvSpPr>
          <p:cNvPr id="2396" name="object 2396"/>
          <p:cNvSpPr/>
          <p:nvPr/>
        </p:nvSpPr>
        <p:spPr>
          <a:xfrm>
            <a:off x="8805306" y="1785999"/>
            <a:ext cx="27281" cy="2467"/>
          </a:xfrm>
          <a:custGeom>
            <a:avLst/>
            <a:gdLst/>
            <a:ahLst/>
            <a:cxnLst/>
            <a:rect l="l" t="t" r="r" b="b"/>
            <a:pathLst>
              <a:path w="27281" h="2467">
                <a:moveTo>
                  <a:pt x="26785" y="1974"/>
                </a:moveTo>
                <a:lnTo>
                  <a:pt x="27281" y="1233"/>
                </a:lnTo>
                <a:lnTo>
                  <a:pt x="26785" y="493"/>
                </a:lnTo>
                <a:lnTo>
                  <a:pt x="26041" y="0"/>
                </a:lnTo>
                <a:lnTo>
                  <a:pt x="0" y="0"/>
                </a:lnTo>
                <a:lnTo>
                  <a:pt x="0" y="2467"/>
                </a:lnTo>
                <a:lnTo>
                  <a:pt x="26041" y="2467"/>
                </a:lnTo>
                <a:lnTo>
                  <a:pt x="24801" y="1233"/>
                </a:lnTo>
                <a:lnTo>
                  <a:pt x="26041" y="2467"/>
                </a:lnTo>
                <a:lnTo>
                  <a:pt x="26785" y="1974"/>
                </a:lnTo>
                <a:close/>
              </a:path>
            </a:pathLst>
          </a:custGeom>
          <a:solidFill>
            <a:srgbClr val="000000"/>
          </a:solidFill>
        </p:spPr>
        <p:txBody>
          <a:bodyPr wrap="square" lIns="0" tIns="0" rIns="0" bIns="0" rtlCol="0">
            <a:noAutofit/>
          </a:bodyPr>
          <a:lstStyle/>
          <a:p>
            <a:endParaRPr/>
          </a:p>
        </p:txBody>
      </p:sp>
      <p:sp>
        <p:nvSpPr>
          <p:cNvPr id="2397" name="object 2397"/>
          <p:cNvSpPr/>
          <p:nvPr/>
        </p:nvSpPr>
        <p:spPr>
          <a:xfrm>
            <a:off x="8830603" y="1755645"/>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2398" name="object 2398"/>
          <p:cNvSpPr/>
          <p:nvPr/>
        </p:nvSpPr>
        <p:spPr>
          <a:xfrm>
            <a:off x="8830107" y="1755645"/>
            <a:ext cx="2480" cy="31587"/>
          </a:xfrm>
          <a:custGeom>
            <a:avLst/>
            <a:gdLst/>
            <a:ahLst/>
            <a:cxnLst/>
            <a:rect l="l" t="t" r="r" b="b"/>
            <a:pathLst>
              <a:path w="2480" h="31587">
                <a:moveTo>
                  <a:pt x="496" y="493"/>
                </a:moveTo>
                <a:lnTo>
                  <a:pt x="0" y="1233"/>
                </a:lnTo>
                <a:lnTo>
                  <a:pt x="0" y="31587"/>
                </a:lnTo>
                <a:lnTo>
                  <a:pt x="2480" y="31587"/>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2399" name="object 2399"/>
          <p:cNvSpPr/>
          <p:nvPr/>
        </p:nvSpPr>
        <p:spPr>
          <a:xfrm>
            <a:off x="8822418" y="1756878"/>
            <a:ext cx="19096" cy="30846"/>
          </a:xfrm>
          <a:custGeom>
            <a:avLst/>
            <a:gdLst/>
            <a:ahLst/>
            <a:cxnLst/>
            <a:rect l="l" t="t" r="r" b="b"/>
            <a:pathLst>
              <a:path w="19096" h="30846">
                <a:moveTo>
                  <a:pt x="9424" y="0"/>
                </a:moveTo>
                <a:lnTo>
                  <a:pt x="7440" y="246"/>
                </a:lnTo>
                <a:lnTo>
                  <a:pt x="5704" y="1233"/>
                </a:lnTo>
                <a:lnTo>
                  <a:pt x="4216" y="2714"/>
                </a:lnTo>
                <a:lnTo>
                  <a:pt x="2728" y="4441"/>
                </a:lnTo>
                <a:lnTo>
                  <a:pt x="1488" y="6662"/>
                </a:lnTo>
                <a:lnTo>
                  <a:pt x="744" y="9377"/>
                </a:lnTo>
                <a:lnTo>
                  <a:pt x="248" y="12338"/>
                </a:lnTo>
                <a:lnTo>
                  <a:pt x="0" y="15300"/>
                </a:lnTo>
                <a:lnTo>
                  <a:pt x="248" y="18508"/>
                </a:lnTo>
                <a:lnTo>
                  <a:pt x="744" y="21469"/>
                </a:lnTo>
                <a:lnTo>
                  <a:pt x="1488" y="23937"/>
                </a:lnTo>
                <a:lnTo>
                  <a:pt x="2728" y="26404"/>
                </a:lnTo>
                <a:lnTo>
                  <a:pt x="4216" y="28132"/>
                </a:lnTo>
                <a:lnTo>
                  <a:pt x="5704" y="29613"/>
                </a:lnTo>
                <a:lnTo>
                  <a:pt x="7440" y="30600"/>
                </a:lnTo>
                <a:lnTo>
                  <a:pt x="9424" y="30846"/>
                </a:lnTo>
                <a:lnTo>
                  <a:pt x="11408" y="30600"/>
                </a:lnTo>
                <a:lnTo>
                  <a:pt x="13144" y="29613"/>
                </a:lnTo>
                <a:lnTo>
                  <a:pt x="14880" y="28132"/>
                </a:lnTo>
                <a:lnTo>
                  <a:pt x="16368" y="26404"/>
                </a:lnTo>
                <a:lnTo>
                  <a:pt x="17360" y="23937"/>
                </a:lnTo>
                <a:lnTo>
                  <a:pt x="18352" y="21469"/>
                </a:lnTo>
                <a:lnTo>
                  <a:pt x="18848" y="18508"/>
                </a:lnTo>
                <a:lnTo>
                  <a:pt x="19096" y="15300"/>
                </a:lnTo>
                <a:lnTo>
                  <a:pt x="18848" y="12338"/>
                </a:lnTo>
                <a:lnTo>
                  <a:pt x="18352" y="9377"/>
                </a:lnTo>
                <a:lnTo>
                  <a:pt x="17360" y="6662"/>
                </a:lnTo>
                <a:lnTo>
                  <a:pt x="16368" y="4441"/>
                </a:lnTo>
                <a:lnTo>
                  <a:pt x="14880" y="2714"/>
                </a:lnTo>
                <a:lnTo>
                  <a:pt x="13144" y="1233"/>
                </a:lnTo>
                <a:lnTo>
                  <a:pt x="11408" y="246"/>
                </a:lnTo>
                <a:lnTo>
                  <a:pt x="9424" y="0"/>
                </a:lnTo>
                <a:close/>
              </a:path>
            </a:pathLst>
          </a:custGeom>
          <a:solidFill>
            <a:srgbClr val="000000"/>
          </a:solidFill>
        </p:spPr>
        <p:txBody>
          <a:bodyPr wrap="square" lIns="0" tIns="0" rIns="0" bIns="0" rtlCol="0">
            <a:noAutofit/>
          </a:bodyPr>
          <a:lstStyle/>
          <a:p>
            <a:endParaRPr/>
          </a:p>
        </p:txBody>
      </p:sp>
      <p:sp>
        <p:nvSpPr>
          <p:cNvPr id="2400" name="object 2400"/>
          <p:cNvSpPr/>
          <p:nvPr/>
        </p:nvSpPr>
        <p:spPr>
          <a:xfrm>
            <a:off x="8831843" y="1755152"/>
            <a:ext cx="11408" cy="17027"/>
          </a:xfrm>
          <a:custGeom>
            <a:avLst/>
            <a:gdLst/>
            <a:ahLst/>
            <a:cxnLst/>
            <a:rect l="l" t="t" r="r" b="b"/>
            <a:pathLst>
              <a:path w="11408" h="17027">
                <a:moveTo>
                  <a:pt x="4712" y="1480"/>
                </a:moveTo>
                <a:lnTo>
                  <a:pt x="2480" y="246"/>
                </a:lnTo>
                <a:lnTo>
                  <a:pt x="0" y="0"/>
                </a:lnTo>
                <a:lnTo>
                  <a:pt x="0" y="3454"/>
                </a:lnTo>
                <a:lnTo>
                  <a:pt x="1488" y="3701"/>
                </a:lnTo>
                <a:lnTo>
                  <a:pt x="2728" y="4441"/>
                </a:lnTo>
                <a:lnTo>
                  <a:pt x="4216" y="5675"/>
                </a:lnTo>
                <a:lnTo>
                  <a:pt x="5456" y="7156"/>
                </a:lnTo>
                <a:lnTo>
                  <a:pt x="6448" y="9130"/>
                </a:lnTo>
                <a:lnTo>
                  <a:pt x="7192" y="11598"/>
                </a:lnTo>
                <a:lnTo>
                  <a:pt x="7688" y="14312"/>
                </a:lnTo>
                <a:lnTo>
                  <a:pt x="7936" y="17027"/>
                </a:lnTo>
                <a:lnTo>
                  <a:pt x="11408" y="17027"/>
                </a:lnTo>
                <a:lnTo>
                  <a:pt x="11160" y="13819"/>
                </a:lnTo>
                <a:lnTo>
                  <a:pt x="10664" y="10611"/>
                </a:lnTo>
                <a:lnTo>
                  <a:pt x="9424" y="7650"/>
                </a:lnTo>
                <a:lnTo>
                  <a:pt x="8432" y="5182"/>
                </a:lnTo>
                <a:lnTo>
                  <a:pt x="6696" y="3208"/>
                </a:lnTo>
                <a:lnTo>
                  <a:pt x="4712" y="1480"/>
                </a:lnTo>
                <a:close/>
              </a:path>
            </a:pathLst>
          </a:custGeom>
          <a:solidFill>
            <a:srgbClr val="000000"/>
          </a:solidFill>
        </p:spPr>
        <p:txBody>
          <a:bodyPr wrap="square" lIns="0" tIns="0" rIns="0" bIns="0" rtlCol="0">
            <a:noAutofit/>
          </a:bodyPr>
          <a:lstStyle/>
          <a:p>
            <a:endParaRPr/>
          </a:p>
        </p:txBody>
      </p:sp>
      <p:sp>
        <p:nvSpPr>
          <p:cNvPr id="2401" name="object 2401"/>
          <p:cNvSpPr/>
          <p:nvPr/>
        </p:nvSpPr>
        <p:spPr>
          <a:xfrm>
            <a:off x="8831843" y="1772178"/>
            <a:ext cx="11408" cy="17274"/>
          </a:xfrm>
          <a:custGeom>
            <a:avLst/>
            <a:gdLst/>
            <a:ahLst/>
            <a:cxnLst/>
            <a:rect l="l" t="t" r="r" b="b"/>
            <a:pathLst>
              <a:path w="11408" h="17274">
                <a:moveTo>
                  <a:pt x="4712" y="15793"/>
                </a:moveTo>
                <a:lnTo>
                  <a:pt x="6696" y="14066"/>
                </a:lnTo>
                <a:lnTo>
                  <a:pt x="8432" y="12092"/>
                </a:lnTo>
                <a:lnTo>
                  <a:pt x="9424" y="9377"/>
                </a:lnTo>
                <a:lnTo>
                  <a:pt x="10664" y="6662"/>
                </a:lnTo>
                <a:lnTo>
                  <a:pt x="11160" y="3454"/>
                </a:lnTo>
                <a:lnTo>
                  <a:pt x="11408" y="0"/>
                </a:lnTo>
                <a:lnTo>
                  <a:pt x="7936" y="0"/>
                </a:lnTo>
                <a:lnTo>
                  <a:pt x="7688" y="2961"/>
                </a:lnTo>
                <a:lnTo>
                  <a:pt x="7192" y="5675"/>
                </a:lnTo>
                <a:lnTo>
                  <a:pt x="6448" y="7896"/>
                </a:lnTo>
                <a:lnTo>
                  <a:pt x="5456" y="10117"/>
                </a:lnTo>
                <a:lnTo>
                  <a:pt x="4216" y="11598"/>
                </a:lnTo>
                <a:lnTo>
                  <a:pt x="2728" y="12832"/>
                </a:lnTo>
                <a:lnTo>
                  <a:pt x="1488" y="13572"/>
                </a:lnTo>
                <a:lnTo>
                  <a:pt x="0" y="13819"/>
                </a:lnTo>
                <a:lnTo>
                  <a:pt x="0" y="17274"/>
                </a:lnTo>
                <a:lnTo>
                  <a:pt x="2480" y="17027"/>
                </a:lnTo>
                <a:lnTo>
                  <a:pt x="4712" y="15793"/>
                </a:lnTo>
                <a:close/>
              </a:path>
            </a:pathLst>
          </a:custGeom>
          <a:solidFill>
            <a:srgbClr val="000000"/>
          </a:solidFill>
        </p:spPr>
        <p:txBody>
          <a:bodyPr wrap="square" lIns="0" tIns="0" rIns="0" bIns="0" rtlCol="0">
            <a:noAutofit/>
          </a:bodyPr>
          <a:lstStyle/>
          <a:p>
            <a:endParaRPr/>
          </a:p>
        </p:txBody>
      </p:sp>
      <p:sp>
        <p:nvSpPr>
          <p:cNvPr id="2402" name="object 2402"/>
          <p:cNvSpPr/>
          <p:nvPr/>
        </p:nvSpPr>
        <p:spPr>
          <a:xfrm>
            <a:off x="8820682" y="1772178"/>
            <a:ext cx="11160" cy="17274"/>
          </a:xfrm>
          <a:custGeom>
            <a:avLst/>
            <a:gdLst/>
            <a:ahLst/>
            <a:cxnLst/>
            <a:rect l="l" t="t" r="r" b="b"/>
            <a:pathLst>
              <a:path w="11160" h="17274">
                <a:moveTo>
                  <a:pt x="3472" y="0"/>
                </a:moveTo>
                <a:lnTo>
                  <a:pt x="0" y="0"/>
                </a:lnTo>
                <a:lnTo>
                  <a:pt x="248" y="3454"/>
                </a:lnTo>
                <a:lnTo>
                  <a:pt x="744" y="6662"/>
                </a:lnTo>
                <a:lnTo>
                  <a:pt x="1736" y="9377"/>
                </a:lnTo>
                <a:lnTo>
                  <a:pt x="2976" y="12092"/>
                </a:lnTo>
                <a:lnTo>
                  <a:pt x="4712" y="14066"/>
                </a:lnTo>
                <a:lnTo>
                  <a:pt x="6448" y="15793"/>
                </a:lnTo>
                <a:lnTo>
                  <a:pt x="8680" y="17027"/>
                </a:lnTo>
                <a:lnTo>
                  <a:pt x="11160" y="17274"/>
                </a:lnTo>
                <a:lnTo>
                  <a:pt x="11160" y="13819"/>
                </a:lnTo>
                <a:lnTo>
                  <a:pt x="9672" y="13572"/>
                </a:lnTo>
                <a:lnTo>
                  <a:pt x="8432" y="12832"/>
                </a:lnTo>
                <a:lnTo>
                  <a:pt x="7192" y="11598"/>
                </a:lnTo>
                <a:lnTo>
                  <a:pt x="5952" y="10117"/>
                </a:lnTo>
                <a:lnTo>
                  <a:pt x="4712" y="7896"/>
                </a:lnTo>
                <a:lnTo>
                  <a:pt x="4216" y="5675"/>
                </a:lnTo>
                <a:lnTo>
                  <a:pt x="3720" y="2961"/>
                </a:lnTo>
                <a:lnTo>
                  <a:pt x="3472" y="0"/>
                </a:lnTo>
                <a:close/>
              </a:path>
            </a:pathLst>
          </a:custGeom>
          <a:solidFill>
            <a:srgbClr val="000000"/>
          </a:solidFill>
        </p:spPr>
        <p:txBody>
          <a:bodyPr wrap="square" lIns="0" tIns="0" rIns="0" bIns="0" rtlCol="0">
            <a:noAutofit/>
          </a:bodyPr>
          <a:lstStyle/>
          <a:p>
            <a:endParaRPr/>
          </a:p>
        </p:txBody>
      </p:sp>
      <p:sp>
        <p:nvSpPr>
          <p:cNvPr id="2403" name="object 2403"/>
          <p:cNvSpPr/>
          <p:nvPr/>
        </p:nvSpPr>
        <p:spPr>
          <a:xfrm>
            <a:off x="8820682" y="1755152"/>
            <a:ext cx="11160" cy="17027"/>
          </a:xfrm>
          <a:custGeom>
            <a:avLst/>
            <a:gdLst/>
            <a:ahLst/>
            <a:cxnLst/>
            <a:rect l="l" t="t" r="r" b="b"/>
            <a:pathLst>
              <a:path w="11160" h="17027">
                <a:moveTo>
                  <a:pt x="4712" y="3208"/>
                </a:moveTo>
                <a:lnTo>
                  <a:pt x="2976" y="5182"/>
                </a:lnTo>
                <a:lnTo>
                  <a:pt x="1736" y="7650"/>
                </a:lnTo>
                <a:lnTo>
                  <a:pt x="744" y="10858"/>
                </a:lnTo>
                <a:lnTo>
                  <a:pt x="248" y="13819"/>
                </a:lnTo>
                <a:lnTo>
                  <a:pt x="0" y="17027"/>
                </a:lnTo>
                <a:lnTo>
                  <a:pt x="3472" y="17027"/>
                </a:lnTo>
                <a:lnTo>
                  <a:pt x="3720" y="14312"/>
                </a:lnTo>
                <a:lnTo>
                  <a:pt x="4216" y="11351"/>
                </a:lnTo>
                <a:lnTo>
                  <a:pt x="4712" y="9130"/>
                </a:lnTo>
                <a:lnTo>
                  <a:pt x="5952" y="7156"/>
                </a:lnTo>
                <a:lnTo>
                  <a:pt x="7192" y="5675"/>
                </a:lnTo>
                <a:lnTo>
                  <a:pt x="8432" y="4441"/>
                </a:lnTo>
                <a:lnTo>
                  <a:pt x="9672" y="3701"/>
                </a:lnTo>
                <a:lnTo>
                  <a:pt x="11160" y="3454"/>
                </a:lnTo>
                <a:lnTo>
                  <a:pt x="11160" y="0"/>
                </a:lnTo>
                <a:lnTo>
                  <a:pt x="8680" y="246"/>
                </a:lnTo>
                <a:lnTo>
                  <a:pt x="6448" y="1480"/>
                </a:lnTo>
                <a:lnTo>
                  <a:pt x="4712" y="3208"/>
                </a:lnTo>
                <a:close/>
              </a:path>
            </a:pathLst>
          </a:custGeom>
          <a:solidFill>
            <a:srgbClr val="000000"/>
          </a:solidFill>
        </p:spPr>
        <p:txBody>
          <a:bodyPr wrap="square" lIns="0" tIns="0" rIns="0" bIns="0" rtlCol="0">
            <a:noAutofit/>
          </a:bodyPr>
          <a:lstStyle/>
          <a:p>
            <a:endParaRPr/>
          </a:p>
        </p:txBody>
      </p:sp>
      <p:sp>
        <p:nvSpPr>
          <p:cNvPr id="2404" name="object 2404"/>
          <p:cNvSpPr/>
          <p:nvPr/>
        </p:nvSpPr>
        <p:spPr>
          <a:xfrm>
            <a:off x="8823162" y="1758112"/>
            <a:ext cx="17608" cy="10858"/>
          </a:xfrm>
          <a:custGeom>
            <a:avLst/>
            <a:gdLst/>
            <a:ahLst/>
            <a:cxnLst/>
            <a:rect l="l" t="t" r="r" b="b"/>
            <a:pathLst>
              <a:path w="17608" h="10858">
                <a:moveTo>
                  <a:pt x="1488" y="6416"/>
                </a:moveTo>
                <a:lnTo>
                  <a:pt x="0" y="10858"/>
                </a:lnTo>
                <a:lnTo>
                  <a:pt x="1984" y="6909"/>
                </a:lnTo>
                <a:lnTo>
                  <a:pt x="4216" y="3948"/>
                </a:lnTo>
                <a:lnTo>
                  <a:pt x="6696" y="2467"/>
                </a:lnTo>
                <a:lnTo>
                  <a:pt x="9176" y="2220"/>
                </a:lnTo>
                <a:lnTo>
                  <a:pt x="11408" y="2961"/>
                </a:lnTo>
                <a:lnTo>
                  <a:pt x="13888" y="4688"/>
                </a:lnTo>
                <a:lnTo>
                  <a:pt x="15872" y="7403"/>
                </a:lnTo>
                <a:lnTo>
                  <a:pt x="17608" y="10858"/>
                </a:lnTo>
                <a:lnTo>
                  <a:pt x="15624" y="5675"/>
                </a:lnTo>
                <a:lnTo>
                  <a:pt x="13392" y="2220"/>
                </a:lnTo>
                <a:lnTo>
                  <a:pt x="10912" y="493"/>
                </a:lnTo>
                <a:lnTo>
                  <a:pt x="8432" y="0"/>
                </a:lnTo>
                <a:lnTo>
                  <a:pt x="5704" y="987"/>
                </a:lnTo>
                <a:lnTo>
                  <a:pt x="3472" y="3208"/>
                </a:lnTo>
                <a:lnTo>
                  <a:pt x="1488" y="6416"/>
                </a:lnTo>
                <a:close/>
              </a:path>
            </a:pathLst>
          </a:custGeom>
          <a:solidFill>
            <a:srgbClr val="FFFFFF"/>
          </a:solidFill>
        </p:spPr>
        <p:txBody>
          <a:bodyPr wrap="square" lIns="0" tIns="0" rIns="0" bIns="0" rtlCol="0">
            <a:noAutofit/>
          </a:bodyPr>
          <a:lstStyle/>
          <a:p>
            <a:endParaRPr/>
          </a:p>
        </p:txBody>
      </p:sp>
      <p:sp>
        <p:nvSpPr>
          <p:cNvPr id="2405" name="object 2405"/>
          <p:cNvSpPr/>
          <p:nvPr/>
        </p:nvSpPr>
        <p:spPr>
          <a:xfrm>
            <a:off x="8821426" y="1756384"/>
            <a:ext cx="21080" cy="14312"/>
          </a:xfrm>
          <a:custGeom>
            <a:avLst/>
            <a:gdLst/>
            <a:ahLst/>
            <a:cxnLst/>
            <a:rect l="l" t="t" r="r" b="b"/>
            <a:pathLst>
              <a:path w="21080" h="14312">
                <a:moveTo>
                  <a:pt x="3472" y="13079"/>
                </a:moveTo>
                <a:lnTo>
                  <a:pt x="4712" y="8883"/>
                </a:lnTo>
                <a:lnTo>
                  <a:pt x="6696" y="5922"/>
                </a:lnTo>
                <a:lnTo>
                  <a:pt x="8432" y="4195"/>
                </a:lnTo>
                <a:lnTo>
                  <a:pt x="10416" y="3454"/>
                </a:lnTo>
                <a:lnTo>
                  <a:pt x="11904" y="3701"/>
                </a:lnTo>
                <a:lnTo>
                  <a:pt x="13888" y="5182"/>
                </a:lnTo>
                <a:lnTo>
                  <a:pt x="15872" y="8143"/>
                </a:lnTo>
                <a:lnTo>
                  <a:pt x="17608" y="13079"/>
                </a:lnTo>
                <a:lnTo>
                  <a:pt x="17755" y="13273"/>
                </a:lnTo>
                <a:lnTo>
                  <a:pt x="18352" y="14066"/>
                </a:lnTo>
                <a:lnTo>
                  <a:pt x="19840" y="14312"/>
                </a:lnTo>
                <a:lnTo>
                  <a:pt x="20832" y="13572"/>
                </a:lnTo>
                <a:lnTo>
                  <a:pt x="21080" y="12092"/>
                </a:lnTo>
                <a:lnTo>
                  <a:pt x="20992" y="11876"/>
                </a:lnTo>
                <a:lnTo>
                  <a:pt x="18848" y="6662"/>
                </a:lnTo>
                <a:lnTo>
                  <a:pt x="16368" y="2714"/>
                </a:lnTo>
                <a:lnTo>
                  <a:pt x="13392" y="740"/>
                </a:lnTo>
                <a:lnTo>
                  <a:pt x="9920" y="0"/>
                </a:lnTo>
                <a:lnTo>
                  <a:pt x="6448" y="1233"/>
                </a:lnTo>
                <a:lnTo>
                  <a:pt x="3720" y="3948"/>
                </a:lnTo>
                <a:lnTo>
                  <a:pt x="1736" y="7403"/>
                </a:lnTo>
                <a:lnTo>
                  <a:pt x="0" y="12092"/>
                </a:lnTo>
                <a:lnTo>
                  <a:pt x="3472" y="13079"/>
                </a:lnTo>
                <a:close/>
              </a:path>
            </a:pathLst>
          </a:custGeom>
          <a:solidFill>
            <a:srgbClr val="FFFFFF"/>
          </a:solidFill>
        </p:spPr>
        <p:txBody>
          <a:bodyPr wrap="square" lIns="0" tIns="0" rIns="0" bIns="0" rtlCol="0">
            <a:noAutofit/>
          </a:bodyPr>
          <a:lstStyle/>
          <a:p>
            <a:endParaRPr/>
          </a:p>
        </p:txBody>
      </p:sp>
      <p:sp>
        <p:nvSpPr>
          <p:cNvPr id="2406" name="object 2406"/>
          <p:cNvSpPr/>
          <p:nvPr/>
        </p:nvSpPr>
        <p:spPr>
          <a:xfrm>
            <a:off x="8821426" y="1764035"/>
            <a:ext cx="3472" cy="5429"/>
          </a:xfrm>
          <a:custGeom>
            <a:avLst/>
            <a:gdLst/>
            <a:ahLst/>
            <a:cxnLst/>
            <a:rect l="l" t="t" r="r" b="b"/>
            <a:pathLst>
              <a:path w="3472" h="5429">
                <a:moveTo>
                  <a:pt x="3472" y="5429"/>
                </a:moveTo>
                <a:lnTo>
                  <a:pt x="2232" y="0"/>
                </a:lnTo>
                <a:lnTo>
                  <a:pt x="0" y="4195"/>
                </a:lnTo>
                <a:lnTo>
                  <a:pt x="3472" y="5429"/>
                </a:lnTo>
                <a:close/>
              </a:path>
            </a:pathLst>
          </a:custGeom>
          <a:solidFill>
            <a:srgbClr val="FFFFFF"/>
          </a:solidFill>
        </p:spPr>
        <p:txBody>
          <a:bodyPr wrap="square" lIns="0" tIns="0" rIns="0" bIns="0" rtlCol="0">
            <a:noAutofit/>
          </a:bodyPr>
          <a:lstStyle/>
          <a:p>
            <a:endParaRPr/>
          </a:p>
        </p:txBody>
      </p:sp>
      <p:sp>
        <p:nvSpPr>
          <p:cNvPr id="2407" name="object 2407"/>
          <p:cNvSpPr/>
          <p:nvPr/>
        </p:nvSpPr>
        <p:spPr>
          <a:xfrm>
            <a:off x="8821426" y="1758605"/>
            <a:ext cx="21080" cy="12092"/>
          </a:xfrm>
          <a:custGeom>
            <a:avLst/>
            <a:gdLst/>
            <a:ahLst/>
            <a:cxnLst/>
            <a:rect l="l" t="t" r="r" b="b"/>
            <a:pathLst>
              <a:path w="21080" h="12092">
                <a:moveTo>
                  <a:pt x="7936" y="246"/>
                </a:moveTo>
                <a:lnTo>
                  <a:pt x="4712" y="2220"/>
                </a:lnTo>
                <a:lnTo>
                  <a:pt x="2232" y="5429"/>
                </a:lnTo>
                <a:lnTo>
                  <a:pt x="3472" y="10858"/>
                </a:lnTo>
                <a:lnTo>
                  <a:pt x="0" y="9624"/>
                </a:lnTo>
                <a:lnTo>
                  <a:pt x="0" y="11104"/>
                </a:lnTo>
                <a:lnTo>
                  <a:pt x="992" y="12092"/>
                </a:lnTo>
                <a:lnTo>
                  <a:pt x="2480" y="12092"/>
                </a:lnTo>
                <a:lnTo>
                  <a:pt x="3472" y="11104"/>
                </a:lnTo>
                <a:lnTo>
                  <a:pt x="5208" y="7403"/>
                </a:lnTo>
                <a:lnTo>
                  <a:pt x="7192" y="4688"/>
                </a:lnTo>
                <a:lnTo>
                  <a:pt x="8928" y="3701"/>
                </a:lnTo>
                <a:lnTo>
                  <a:pt x="10664" y="3454"/>
                </a:lnTo>
                <a:lnTo>
                  <a:pt x="12400" y="3948"/>
                </a:lnTo>
                <a:lnTo>
                  <a:pt x="14384" y="5429"/>
                </a:lnTo>
                <a:lnTo>
                  <a:pt x="16120" y="7896"/>
                </a:lnTo>
                <a:lnTo>
                  <a:pt x="17608" y="11104"/>
                </a:lnTo>
                <a:lnTo>
                  <a:pt x="21080" y="9624"/>
                </a:lnTo>
                <a:lnTo>
                  <a:pt x="19096" y="5922"/>
                </a:lnTo>
                <a:lnTo>
                  <a:pt x="16864" y="2961"/>
                </a:lnTo>
                <a:lnTo>
                  <a:pt x="13888" y="987"/>
                </a:lnTo>
                <a:lnTo>
                  <a:pt x="11160" y="0"/>
                </a:lnTo>
                <a:lnTo>
                  <a:pt x="7936" y="246"/>
                </a:lnTo>
                <a:close/>
              </a:path>
            </a:pathLst>
          </a:custGeom>
          <a:solidFill>
            <a:srgbClr val="FFFFFF"/>
          </a:solidFill>
        </p:spPr>
        <p:txBody>
          <a:bodyPr wrap="square" lIns="0" tIns="0" rIns="0" bIns="0" rtlCol="0">
            <a:noAutofit/>
          </a:bodyPr>
          <a:lstStyle/>
          <a:p>
            <a:endParaRPr/>
          </a:p>
        </p:txBody>
      </p:sp>
      <p:sp>
        <p:nvSpPr>
          <p:cNvPr id="2408" name="object 2408"/>
          <p:cNvSpPr/>
          <p:nvPr/>
        </p:nvSpPr>
        <p:spPr>
          <a:xfrm>
            <a:off x="8643355" y="1629295"/>
            <a:ext cx="298605" cy="122400"/>
          </a:xfrm>
          <a:custGeom>
            <a:avLst/>
            <a:gdLst/>
            <a:ahLst/>
            <a:cxnLst/>
            <a:rect l="l" t="t" r="r" b="b"/>
            <a:pathLst>
              <a:path w="298605" h="122400">
                <a:moveTo>
                  <a:pt x="110116" y="122400"/>
                </a:moveTo>
                <a:lnTo>
                  <a:pt x="111108" y="109815"/>
                </a:lnTo>
                <a:lnTo>
                  <a:pt x="112101" y="97723"/>
                </a:lnTo>
                <a:lnTo>
                  <a:pt x="113341" y="86124"/>
                </a:lnTo>
                <a:lnTo>
                  <a:pt x="114581" y="75513"/>
                </a:lnTo>
                <a:lnTo>
                  <a:pt x="116069" y="65395"/>
                </a:lnTo>
                <a:lnTo>
                  <a:pt x="117805" y="56018"/>
                </a:lnTo>
                <a:lnTo>
                  <a:pt x="120037" y="47380"/>
                </a:lnTo>
                <a:lnTo>
                  <a:pt x="122517" y="39237"/>
                </a:lnTo>
                <a:lnTo>
                  <a:pt x="125245" y="32080"/>
                </a:lnTo>
                <a:lnTo>
                  <a:pt x="128717" y="25911"/>
                </a:lnTo>
                <a:lnTo>
                  <a:pt x="132685" y="20235"/>
                </a:lnTo>
                <a:lnTo>
                  <a:pt x="137398" y="15546"/>
                </a:lnTo>
                <a:lnTo>
                  <a:pt x="142606" y="11598"/>
                </a:lnTo>
                <a:lnTo>
                  <a:pt x="148558" y="8637"/>
                </a:lnTo>
                <a:lnTo>
                  <a:pt x="155502" y="6416"/>
                </a:lnTo>
                <a:lnTo>
                  <a:pt x="163191" y="5182"/>
                </a:lnTo>
                <a:lnTo>
                  <a:pt x="298605" y="0"/>
                </a:lnTo>
                <a:lnTo>
                  <a:pt x="145334" y="0"/>
                </a:lnTo>
                <a:lnTo>
                  <a:pt x="67459" y="987"/>
                </a:lnTo>
                <a:lnTo>
                  <a:pt x="57786" y="1974"/>
                </a:lnTo>
                <a:lnTo>
                  <a:pt x="49354" y="4441"/>
                </a:lnTo>
                <a:lnTo>
                  <a:pt x="41665" y="8143"/>
                </a:lnTo>
                <a:lnTo>
                  <a:pt x="34721" y="12832"/>
                </a:lnTo>
                <a:lnTo>
                  <a:pt x="28769" y="18508"/>
                </a:lnTo>
                <a:lnTo>
                  <a:pt x="23313" y="24924"/>
                </a:lnTo>
                <a:lnTo>
                  <a:pt x="18848" y="32327"/>
                </a:lnTo>
                <a:lnTo>
                  <a:pt x="14880" y="40471"/>
                </a:lnTo>
                <a:lnTo>
                  <a:pt x="11408" y="49108"/>
                </a:lnTo>
                <a:lnTo>
                  <a:pt x="8680" y="58239"/>
                </a:lnTo>
                <a:lnTo>
                  <a:pt x="6448" y="67863"/>
                </a:lnTo>
                <a:lnTo>
                  <a:pt x="4464" y="77734"/>
                </a:lnTo>
                <a:lnTo>
                  <a:pt x="2976" y="87852"/>
                </a:lnTo>
                <a:lnTo>
                  <a:pt x="1736" y="97969"/>
                </a:lnTo>
                <a:lnTo>
                  <a:pt x="744" y="108087"/>
                </a:lnTo>
                <a:lnTo>
                  <a:pt x="0" y="118205"/>
                </a:lnTo>
                <a:lnTo>
                  <a:pt x="110116" y="122400"/>
                </a:lnTo>
                <a:close/>
              </a:path>
            </a:pathLst>
          </a:custGeom>
          <a:solidFill>
            <a:srgbClr val="999999"/>
          </a:solidFill>
        </p:spPr>
        <p:txBody>
          <a:bodyPr wrap="square" lIns="0" tIns="0" rIns="0" bIns="0" rtlCol="0">
            <a:noAutofit/>
          </a:bodyPr>
          <a:lstStyle/>
          <a:p>
            <a:endParaRPr/>
          </a:p>
        </p:txBody>
      </p:sp>
      <p:sp>
        <p:nvSpPr>
          <p:cNvPr id="2409" name="object 2409"/>
          <p:cNvSpPr/>
          <p:nvPr/>
        </p:nvSpPr>
        <p:spPr>
          <a:xfrm>
            <a:off x="8643355" y="1746267"/>
            <a:ext cx="111357" cy="6662"/>
          </a:xfrm>
          <a:custGeom>
            <a:avLst/>
            <a:gdLst/>
            <a:ahLst/>
            <a:cxnLst/>
            <a:rect l="l" t="t" r="r" b="b"/>
            <a:pathLst>
              <a:path w="111357" h="6662">
                <a:moveTo>
                  <a:pt x="110860" y="6169"/>
                </a:moveTo>
                <a:lnTo>
                  <a:pt x="111357" y="5429"/>
                </a:lnTo>
                <a:lnTo>
                  <a:pt x="110860" y="4688"/>
                </a:lnTo>
                <a:lnTo>
                  <a:pt x="110116" y="4195"/>
                </a:lnTo>
                <a:lnTo>
                  <a:pt x="0" y="0"/>
                </a:lnTo>
                <a:lnTo>
                  <a:pt x="0" y="2467"/>
                </a:lnTo>
                <a:lnTo>
                  <a:pt x="110116" y="6662"/>
                </a:lnTo>
                <a:lnTo>
                  <a:pt x="108876" y="5429"/>
                </a:lnTo>
                <a:lnTo>
                  <a:pt x="110116" y="6662"/>
                </a:lnTo>
                <a:lnTo>
                  <a:pt x="110860" y="6169"/>
                </a:lnTo>
                <a:close/>
              </a:path>
            </a:pathLst>
          </a:custGeom>
          <a:solidFill>
            <a:srgbClr val="000000"/>
          </a:solidFill>
        </p:spPr>
        <p:txBody>
          <a:bodyPr wrap="square" lIns="0" tIns="0" rIns="0" bIns="0" rtlCol="0">
            <a:noAutofit/>
          </a:bodyPr>
          <a:lstStyle/>
          <a:p>
            <a:endParaRPr/>
          </a:p>
        </p:txBody>
      </p:sp>
      <p:sp>
        <p:nvSpPr>
          <p:cNvPr id="2410" name="object 2410"/>
          <p:cNvSpPr/>
          <p:nvPr/>
        </p:nvSpPr>
        <p:spPr>
          <a:xfrm>
            <a:off x="8752231" y="1633243"/>
            <a:ext cx="55554" cy="118452"/>
          </a:xfrm>
          <a:custGeom>
            <a:avLst/>
            <a:gdLst/>
            <a:ahLst/>
            <a:cxnLst/>
            <a:rect l="l" t="t" r="r" b="b"/>
            <a:pathLst>
              <a:path w="55554" h="118452">
                <a:moveTo>
                  <a:pt x="992" y="105866"/>
                </a:moveTo>
                <a:lnTo>
                  <a:pt x="0" y="118452"/>
                </a:lnTo>
                <a:lnTo>
                  <a:pt x="2480" y="118452"/>
                </a:lnTo>
                <a:lnTo>
                  <a:pt x="3472" y="105866"/>
                </a:lnTo>
                <a:lnTo>
                  <a:pt x="4464" y="93774"/>
                </a:lnTo>
                <a:lnTo>
                  <a:pt x="5704" y="82423"/>
                </a:lnTo>
                <a:lnTo>
                  <a:pt x="6944" y="71811"/>
                </a:lnTo>
                <a:lnTo>
                  <a:pt x="8432" y="61693"/>
                </a:lnTo>
                <a:lnTo>
                  <a:pt x="10168" y="52316"/>
                </a:lnTo>
                <a:lnTo>
                  <a:pt x="12400" y="43679"/>
                </a:lnTo>
                <a:lnTo>
                  <a:pt x="14880" y="35782"/>
                </a:lnTo>
                <a:lnTo>
                  <a:pt x="17608" y="28625"/>
                </a:lnTo>
                <a:lnTo>
                  <a:pt x="20832" y="22703"/>
                </a:lnTo>
                <a:lnTo>
                  <a:pt x="24801" y="17027"/>
                </a:lnTo>
                <a:lnTo>
                  <a:pt x="29265" y="12585"/>
                </a:lnTo>
                <a:lnTo>
                  <a:pt x="34473" y="8637"/>
                </a:lnTo>
                <a:lnTo>
                  <a:pt x="40177" y="5922"/>
                </a:lnTo>
                <a:lnTo>
                  <a:pt x="46874" y="3701"/>
                </a:lnTo>
                <a:lnTo>
                  <a:pt x="54314" y="2467"/>
                </a:lnTo>
                <a:lnTo>
                  <a:pt x="55058" y="1974"/>
                </a:lnTo>
                <a:lnTo>
                  <a:pt x="55554" y="1233"/>
                </a:lnTo>
                <a:lnTo>
                  <a:pt x="55058" y="493"/>
                </a:lnTo>
                <a:lnTo>
                  <a:pt x="54314" y="0"/>
                </a:lnTo>
                <a:lnTo>
                  <a:pt x="46378" y="1233"/>
                </a:lnTo>
                <a:lnTo>
                  <a:pt x="39185" y="3454"/>
                </a:lnTo>
                <a:lnTo>
                  <a:pt x="32985" y="6662"/>
                </a:lnTo>
                <a:lnTo>
                  <a:pt x="27777" y="10611"/>
                </a:lnTo>
                <a:lnTo>
                  <a:pt x="22817" y="15546"/>
                </a:lnTo>
                <a:lnTo>
                  <a:pt x="18848" y="21222"/>
                </a:lnTo>
                <a:lnTo>
                  <a:pt x="15128" y="27638"/>
                </a:lnTo>
                <a:lnTo>
                  <a:pt x="12400" y="34795"/>
                </a:lnTo>
                <a:lnTo>
                  <a:pt x="9920" y="43185"/>
                </a:lnTo>
                <a:lnTo>
                  <a:pt x="7688" y="51822"/>
                </a:lnTo>
                <a:lnTo>
                  <a:pt x="5952" y="61200"/>
                </a:lnTo>
                <a:lnTo>
                  <a:pt x="4464" y="71318"/>
                </a:lnTo>
                <a:lnTo>
                  <a:pt x="3224" y="81929"/>
                </a:lnTo>
                <a:lnTo>
                  <a:pt x="1984" y="93774"/>
                </a:lnTo>
                <a:lnTo>
                  <a:pt x="992" y="105866"/>
                </a:lnTo>
                <a:close/>
              </a:path>
            </a:pathLst>
          </a:custGeom>
          <a:solidFill>
            <a:srgbClr val="000000"/>
          </a:solidFill>
        </p:spPr>
        <p:txBody>
          <a:bodyPr wrap="square" lIns="0" tIns="0" rIns="0" bIns="0" rtlCol="0">
            <a:noAutofit/>
          </a:bodyPr>
          <a:lstStyle/>
          <a:p>
            <a:endParaRPr/>
          </a:p>
        </p:txBody>
      </p:sp>
      <p:sp>
        <p:nvSpPr>
          <p:cNvPr id="2411" name="object 2411"/>
          <p:cNvSpPr/>
          <p:nvPr/>
        </p:nvSpPr>
        <p:spPr>
          <a:xfrm>
            <a:off x="8806545" y="1628061"/>
            <a:ext cx="136654" cy="7650"/>
          </a:xfrm>
          <a:custGeom>
            <a:avLst/>
            <a:gdLst/>
            <a:ahLst/>
            <a:cxnLst/>
            <a:rect l="l" t="t" r="r" b="b"/>
            <a:pathLst>
              <a:path w="136654" h="7650">
                <a:moveTo>
                  <a:pt x="135414" y="2467"/>
                </a:moveTo>
                <a:lnTo>
                  <a:pt x="135414" y="0"/>
                </a:lnTo>
                <a:lnTo>
                  <a:pt x="0" y="5182"/>
                </a:lnTo>
                <a:lnTo>
                  <a:pt x="0" y="7650"/>
                </a:lnTo>
                <a:lnTo>
                  <a:pt x="135414" y="2467"/>
                </a:lnTo>
                <a:lnTo>
                  <a:pt x="135414" y="0"/>
                </a:lnTo>
                <a:lnTo>
                  <a:pt x="135414" y="2467"/>
                </a:lnTo>
                <a:lnTo>
                  <a:pt x="136158" y="1974"/>
                </a:lnTo>
                <a:lnTo>
                  <a:pt x="136654" y="1233"/>
                </a:lnTo>
                <a:lnTo>
                  <a:pt x="136158" y="493"/>
                </a:lnTo>
                <a:lnTo>
                  <a:pt x="135414" y="0"/>
                </a:lnTo>
                <a:lnTo>
                  <a:pt x="135414" y="2467"/>
                </a:lnTo>
                <a:close/>
              </a:path>
            </a:pathLst>
          </a:custGeom>
          <a:solidFill>
            <a:srgbClr val="000000"/>
          </a:solidFill>
        </p:spPr>
        <p:txBody>
          <a:bodyPr wrap="square" lIns="0" tIns="0" rIns="0" bIns="0" rtlCol="0">
            <a:noAutofit/>
          </a:bodyPr>
          <a:lstStyle/>
          <a:p>
            <a:endParaRPr/>
          </a:p>
        </p:txBody>
      </p:sp>
      <p:sp>
        <p:nvSpPr>
          <p:cNvPr id="2412" name="object 2412"/>
          <p:cNvSpPr/>
          <p:nvPr/>
        </p:nvSpPr>
        <p:spPr>
          <a:xfrm>
            <a:off x="8787697" y="1628062"/>
            <a:ext cx="154262" cy="2467"/>
          </a:xfrm>
          <a:custGeom>
            <a:avLst/>
            <a:gdLst/>
            <a:ahLst/>
            <a:cxnLst/>
            <a:rect l="l" t="t" r="r" b="b"/>
            <a:pathLst>
              <a:path w="154262" h="2467">
                <a:moveTo>
                  <a:pt x="992" y="2467"/>
                </a:moveTo>
                <a:lnTo>
                  <a:pt x="154262" y="2467"/>
                </a:lnTo>
                <a:lnTo>
                  <a:pt x="154262" y="0"/>
                </a:lnTo>
                <a:lnTo>
                  <a:pt x="992" y="0"/>
                </a:lnTo>
                <a:lnTo>
                  <a:pt x="248" y="493"/>
                </a:lnTo>
                <a:lnTo>
                  <a:pt x="0" y="1233"/>
                </a:lnTo>
                <a:lnTo>
                  <a:pt x="248" y="1974"/>
                </a:lnTo>
                <a:lnTo>
                  <a:pt x="992" y="2467"/>
                </a:lnTo>
                <a:close/>
              </a:path>
            </a:pathLst>
          </a:custGeom>
          <a:solidFill>
            <a:srgbClr val="000000"/>
          </a:solidFill>
        </p:spPr>
        <p:txBody>
          <a:bodyPr wrap="square" lIns="0" tIns="0" rIns="0" bIns="0" rtlCol="0">
            <a:noAutofit/>
          </a:bodyPr>
          <a:lstStyle/>
          <a:p>
            <a:endParaRPr/>
          </a:p>
        </p:txBody>
      </p:sp>
      <p:sp>
        <p:nvSpPr>
          <p:cNvPr id="2413" name="object 2413"/>
          <p:cNvSpPr/>
          <p:nvPr/>
        </p:nvSpPr>
        <p:spPr>
          <a:xfrm>
            <a:off x="8709822" y="1628061"/>
            <a:ext cx="78867" cy="3454"/>
          </a:xfrm>
          <a:custGeom>
            <a:avLst/>
            <a:gdLst/>
            <a:ahLst/>
            <a:cxnLst/>
            <a:rect l="l" t="t" r="r" b="b"/>
            <a:pathLst>
              <a:path w="78867" h="3454">
                <a:moveTo>
                  <a:pt x="992" y="3454"/>
                </a:moveTo>
                <a:lnTo>
                  <a:pt x="78867" y="2467"/>
                </a:lnTo>
                <a:lnTo>
                  <a:pt x="78867" y="0"/>
                </a:lnTo>
                <a:lnTo>
                  <a:pt x="992" y="987"/>
                </a:lnTo>
                <a:lnTo>
                  <a:pt x="248" y="1480"/>
                </a:lnTo>
                <a:lnTo>
                  <a:pt x="0" y="2220"/>
                </a:lnTo>
                <a:lnTo>
                  <a:pt x="248" y="2961"/>
                </a:lnTo>
                <a:lnTo>
                  <a:pt x="992" y="3454"/>
                </a:lnTo>
                <a:close/>
              </a:path>
            </a:pathLst>
          </a:custGeom>
          <a:solidFill>
            <a:srgbClr val="000000"/>
          </a:solidFill>
        </p:spPr>
        <p:txBody>
          <a:bodyPr wrap="square" lIns="0" tIns="0" rIns="0" bIns="0" rtlCol="0">
            <a:noAutofit/>
          </a:bodyPr>
          <a:lstStyle/>
          <a:p>
            <a:endParaRPr/>
          </a:p>
        </p:txBody>
      </p:sp>
      <p:sp>
        <p:nvSpPr>
          <p:cNvPr id="2414" name="object 2414"/>
          <p:cNvSpPr/>
          <p:nvPr/>
        </p:nvSpPr>
        <p:spPr>
          <a:xfrm>
            <a:off x="8643355" y="1629048"/>
            <a:ext cx="67459" cy="119192"/>
          </a:xfrm>
          <a:custGeom>
            <a:avLst/>
            <a:gdLst/>
            <a:ahLst/>
            <a:cxnLst/>
            <a:rect l="l" t="t" r="r" b="b"/>
            <a:pathLst>
              <a:path w="67459" h="119192">
                <a:moveTo>
                  <a:pt x="1240" y="118452"/>
                </a:moveTo>
                <a:lnTo>
                  <a:pt x="1984" y="108334"/>
                </a:lnTo>
                <a:lnTo>
                  <a:pt x="2976" y="98463"/>
                </a:lnTo>
                <a:lnTo>
                  <a:pt x="4216" y="88345"/>
                </a:lnTo>
                <a:lnTo>
                  <a:pt x="5704" y="78227"/>
                </a:lnTo>
                <a:lnTo>
                  <a:pt x="7688" y="68356"/>
                </a:lnTo>
                <a:lnTo>
                  <a:pt x="9920" y="58732"/>
                </a:lnTo>
                <a:lnTo>
                  <a:pt x="12648" y="49848"/>
                </a:lnTo>
                <a:lnTo>
                  <a:pt x="16120" y="41211"/>
                </a:lnTo>
                <a:lnTo>
                  <a:pt x="19840" y="33067"/>
                </a:lnTo>
                <a:lnTo>
                  <a:pt x="24305" y="25911"/>
                </a:lnTo>
                <a:lnTo>
                  <a:pt x="29761" y="19495"/>
                </a:lnTo>
                <a:lnTo>
                  <a:pt x="35465" y="14066"/>
                </a:lnTo>
                <a:lnTo>
                  <a:pt x="42161" y="9377"/>
                </a:lnTo>
                <a:lnTo>
                  <a:pt x="49850" y="5922"/>
                </a:lnTo>
                <a:lnTo>
                  <a:pt x="58034" y="3454"/>
                </a:lnTo>
                <a:lnTo>
                  <a:pt x="67459" y="2467"/>
                </a:lnTo>
                <a:lnTo>
                  <a:pt x="67459" y="0"/>
                </a:lnTo>
                <a:lnTo>
                  <a:pt x="57538" y="987"/>
                </a:lnTo>
                <a:lnTo>
                  <a:pt x="48858" y="3454"/>
                </a:lnTo>
                <a:lnTo>
                  <a:pt x="41169" y="7403"/>
                </a:lnTo>
                <a:lnTo>
                  <a:pt x="33977" y="12092"/>
                </a:lnTo>
                <a:lnTo>
                  <a:pt x="27777" y="18014"/>
                </a:lnTo>
                <a:lnTo>
                  <a:pt x="22321" y="24430"/>
                </a:lnTo>
                <a:lnTo>
                  <a:pt x="17856" y="32080"/>
                </a:lnTo>
                <a:lnTo>
                  <a:pt x="13640" y="40224"/>
                </a:lnTo>
                <a:lnTo>
                  <a:pt x="10168" y="48861"/>
                </a:lnTo>
                <a:lnTo>
                  <a:pt x="7440" y="58239"/>
                </a:lnTo>
                <a:lnTo>
                  <a:pt x="5208" y="67863"/>
                </a:lnTo>
                <a:lnTo>
                  <a:pt x="3224" y="77734"/>
                </a:lnTo>
                <a:lnTo>
                  <a:pt x="1736" y="87852"/>
                </a:lnTo>
                <a:lnTo>
                  <a:pt x="496" y="97969"/>
                </a:lnTo>
                <a:lnTo>
                  <a:pt x="0" y="117218"/>
                </a:lnTo>
                <a:lnTo>
                  <a:pt x="744" y="119192"/>
                </a:lnTo>
                <a:lnTo>
                  <a:pt x="1240" y="118452"/>
                </a:lnTo>
                <a:close/>
              </a:path>
            </a:pathLst>
          </a:custGeom>
          <a:solidFill>
            <a:srgbClr val="000000"/>
          </a:solidFill>
        </p:spPr>
        <p:txBody>
          <a:bodyPr wrap="square" lIns="0" tIns="0" rIns="0" bIns="0" rtlCol="0">
            <a:noAutofit/>
          </a:bodyPr>
          <a:lstStyle/>
          <a:p>
            <a:endParaRPr/>
          </a:p>
        </p:txBody>
      </p:sp>
      <p:sp>
        <p:nvSpPr>
          <p:cNvPr id="2415" name="object 2415"/>
          <p:cNvSpPr/>
          <p:nvPr/>
        </p:nvSpPr>
        <p:spPr>
          <a:xfrm>
            <a:off x="8642114" y="1727019"/>
            <a:ext cx="1984" cy="21469"/>
          </a:xfrm>
          <a:custGeom>
            <a:avLst/>
            <a:gdLst/>
            <a:ahLst/>
            <a:cxnLst/>
            <a:rect l="l" t="t" r="r" b="b"/>
            <a:pathLst>
              <a:path w="1984" h="21469">
                <a:moveTo>
                  <a:pt x="868" y="21346"/>
                </a:moveTo>
                <a:lnTo>
                  <a:pt x="1240" y="21469"/>
                </a:lnTo>
                <a:lnTo>
                  <a:pt x="1984" y="21222"/>
                </a:lnTo>
                <a:lnTo>
                  <a:pt x="1240" y="19248"/>
                </a:lnTo>
                <a:lnTo>
                  <a:pt x="1736" y="0"/>
                </a:lnTo>
                <a:lnTo>
                  <a:pt x="744" y="10364"/>
                </a:lnTo>
                <a:lnTo>
                  <a:pt x="0" y="20482"/>
                </a:lnTo>
                <a:lnTo>
                  <a:pt x="496" y="21222"/>
                </a:lnTo>
                <a:lnTo>
                  <a:pt x="868" y="21346"/>
                </a:lnTo>
                <a:close/>
              </a:path>
            </a:pathLst>
          </a:custGeom>
          <a:solidFill>
            <a:srgbClr val="000000"/>
          </a:solidFill>
        </p:spPr>
        <p:txBody>
          <a:bodyPr wrap="square" lIns="0" tIns="0" rIns="0" bIns="0" rtlCol="0">
            <a:noAutofit/>
          </a:bodyPr>
          <a:lstStyle/>
          <a:p>
            <a:endParaRPr/>
          </a:p>
        </p:txBody>
      </p:sp>
      <p:sp>
        <p:nvSpPr>
          <p:cNvPr id="2416" name="object 2416"/>
          <p:cNvSpPr/>
          <p:nvPr/>
        </p:nvSpPr>
        <p:spPr>
          <a:xfrm>
            <a:off x="8506948" y="1660883"/>
            <a:ext cx="189232" cy="158923"/>
          </a:xfrm>
          <a:custGeom>
            <a:avLst/>
            <a:gdLst/>
            <a:ahLst/>
            <a:cxnLst/>
            <a:rect l="l" t="t" r="r" b="b"/>
            <a:pathLst>
              <a:path w="189232" h="158923">
                <a:moveTo>
                  <a:pt x="0" y="0"/>
                </a:moveTo>
                <a:lnTo>
                  <a:pt x="0" y="158923"/>
                </a:lnTo>
                <a:lnTo>
                  <a:pt x="135166" y="154975"/>
                </a:lnTo>
                <a:lnTo>
                  <a:pt x="141366" y="153741"/>
                </a:lnTo>
                <a:lnTo>
                  <a:pt x="147318" y="151520"/>
                </a:lnTo>
                <a:lnTo>
                  <a:pt x="157983" y="145844"/>
                </a:lnTo>
                <a:lnTo>
                  <a:pt x="167159" y="137947"/>
                </a:lnTo>
                <a:lnTo>
                  <a:pt x="174847" y="128323"/>
                </a:lnTo>
                <a:lnTo>
                  <a:pt x="178320" y="122894"/>
                </a:lnTo>
                <a:lnTo>
                  <a:pt x="181048" y="116971"/>
                </a:lnTo>
                <a:lnTo>
                  <a:pt x="183528" y="110802"/>
                </a:lnTo>
                <a:lnTo>
                  <a:pt x="185512" y="104632"/>
                </a:lnTo>
                <a:lnTo>
                  <a:pt x="187248" y="97969"/>
                </a:lnTo>
                <a:lnTo>
                  <a:pt x="188240" y="91306"/>
                </a:lnTo>
                <a:lnTo>
                  <a:pt x="188984" y="84397"/>
                </a:lnTo>
                <a:lnTo>
                  <a:pt x="189232" y="77240"/>
                </a:lnTo>
                <a:lnTo>
                  <a:pt x="188984" y="72305"/>
                </a:lnTo>
                <a:lnTo>
                  <a:pt x="187248" y="60953"/>
                </a:lnTo>
                <a:lnTo>
                  <a:pt x="185760" y="54784"/>
                </a:lnTo>
                <a:lnTo>
                  <a:pt x="183776" y="48614"/>
                </a:lnTo>
                <a:lnTo>
                  <a:pt x="181296" y="42445"/>
                </a:lnTo>
                <a:lnTo>
                  <a:pt x="178320" y="36522"/>
                </a:lnTo>
                <a:lnTo>
                  <a:pt x="174847" y="30600"/>
                </a:lnTo>
                <a:lnTo>
                  <a:pt x="171127" y="24924"/>
                </a:lnTo>
                <a:lnTo>
                  <a:pt x="166663" y="19742"/>
                </a:lnTo>
                <a:lnTo>
                  <a:pt x="161951" y="14806"/>
                </a:lnTo>
                <a:lnTo>
                  <a:pt x="156743" y="10858"/>
                </a:lnTo>
                <a:lnTo>
                  <a:pt x="151038" y="7403"/>
                </a:lnTo>
                <a:lnTo>
                  <a:pt x="144838" y="4688"/>
                </a:lnTo>
                <a:lnTo>
                  <a:pt x="138142" y="3208"/>
                </a:lnTo>
                <a:lnTo>
                  <a:pt x="130949" y="2467"/>
                </a:lnTo>
                <a:lnTo>
                  <a:pt x="0" y="0"/>
                </a:lnTo>
                <a:close/>
              </a:path>
            </a:pathLst>
          </a:custGeom>
          <a:solidFill>
            <a:srgbClr val="000000"/>
          </a:solidFill>
        </p:spPr>
        <p:txBody>
          <a:bodyPr wrap="square" lIns="0" tIns="0" rIns="0" bIns="0" rtlCol="0">
            <a:noAutofit/>
          </a:bodyPr>
          <a:lstStyle/>
          <a:p>
            <a:endParaRPr/>
          </a:p>
        </p:txBody>
      </p:sp>
      <p:sp>
        <p:nvSpPr>
          <p:cNvPr id="2417" name="object 2417"/>
          <p:cNvSpPr/>
          <p:nvPr/>
        </p:nvSpPr>
        <p:spPr>
          <a:xfrm>
            <a:off x="8506949" y="1659649"/>
            <a:ext cx="132189" cy="4935"/>
          </a:xfrm>
          <a:custGeom>
            <a:avLst/>
            <a:gdLst/>
            <a:ahLst/>
            <a:cxnLst/>
            <a:rect l="l" t="t" r="r" b="b"/>
            <a:pathLst>
              <a:path w="132189" h="4935">
                <a:moveTo>
                  <a:pt x="130949" y="2467"/>
                </a:moveTo>
                <a:lnTo>
                  <a:pt x="0" y="0"/>
                </a:lnTo>
                <a:lnTo>
                  <a:pt x="0" y="2467"/>
                </a:lnTo>
                <a:lnTo>
                  <a:pt x="130949" y="4935"/>
                </a:lnTo>
                <a:lnTo>
                  <a:pt x="131693" y="4441"/>
                </a:lnTo>
                <a:lnTo>
                  <a:pt x="132189" y="3701"/>
                </a:lnTo>
                <a:lnTo>
                  <a:pt x="131693" y="2961"/>
                </a:lnTo>
                <a:lnTo>
                  <a:pt x="130949" y="2467"/>
                </a:lnTo>
                <a:close/>
              </a:path>
            </a:pathLst>
          </a:custGeom>
          <a:solidFill>
            <a:srgbClr val="000000"/>
          </a:solidFill>
        </p:spPr>
        <p:txBody>
          <a:bodyPr wrap="square" lIns="0" tIns="0" rIns="0" bIns="0" rtlCol="0">
            <a:noAutofit/>
          </a:bodyPr>
          <a:lstStyle/>
          <a:p>
            <a:endParaRPr/>
          </a:p>
        </p:txBody>
      </p:sp>
      <p:sp>
        <p:nvSpPr>
          <p:cNvPr id="2418" name="object 2418"/>
          <p:cNvSpPr/>
          <p:nvPr/>
        </p:nvSpPr>
        <p:spPr>
          <a:xfrm>
            <a:off x="8637898" y="1662117"/>
            <a:ext cx="59522" cy="76993"/>
          </a:xfrm>
          <a:custGeom>
            <a:avLst/>
            <a:gdLst/>
            <a:ahLst/>
            <a:cxnLst/>
            <a:rect l="l" t="t" r="r" b="b"/>
            <a:pathLst>
              <a:path w="59522" h="76993">
                <a:moveTo>
                  <a:pt x="6944" y="3208"/>
                </a:moveTo>
                <a:lnTo>
                  <a:pt x="13392" y="4688"/>
                </a:lnTo>
                <a:lnTo>
                  <a:pt x="19592" y="7156"/>
                </a:lnTo>
                <a:lnTo>
                  <a:pt x="25049" y="10611"/>
                </a:lnTo>
                <a:lnTo>
                  <a:pt x="30257" y="14559"/>
                </a:lnTo>
                <a:lnTo>
                  <a:pt x="34721" y="19248"/>
                </a:lnTo>
                <a:lnTo>
                  <a:pt x="39185" y="24430"/>
                </a:lnTo>
                <a:lnTo>
                  <a:pt x="42905" y="30106"/>
                </a:lnTo>
                <a:lnTo>
                  <a:pt x="46378" y="35782"/>
                </a:lnTo>
                <a:lnTo>
                  <a:pt x="49106" y="41705"/>
                </a:lnTo>
                <a:lnTo>
                  <a:pt x="51586" y="47874"/>
                </a:lnTo>
                <a:lnTo>
                  <a:pt x="53570" y="53797"/>
                </a:lnTo>
                <a:lnTo>
                  <a:pt x="55058" y="59966"/>
                </a:lnTo>
                <a:lnTo>
                  <a:pt x="56050" y="65642"/>
                </a:lnTo>
                <a:lnTo>
                  <a:pt x="56794" y="71071"/>
                </a:lnTo>
                <a:lnTo>
                  <a:pt x="57042" y="76006"/>
                </a:lnTo>
                <a:lnTo>
                  <a:pt x="57538" y="76747"/>
                </a:lnTo>
                <a:lnTo>
                  <a:pt x="58282" y="76993"/>
                </a:lnTo>
                <a:lnTo>
                  <a:pt x="59026" y="76747"/>
                </a:lnTo>
                <a:lnTo>
                  <a:pt x="59522" y="76006"/>
                </a:lnTo>
                <a:lnTo>
                  <a:pt x="59274" y="71071"/>
                </a:lnTo>
                <a:lnTo>
                  <a:pt x="58530" y="65148"/>
                </a:lnTo>
                <a:lnTo>
                  <a:pt x="57538" y="59472"/>
                </a:lnTo>
                <a:lnTo>
                  <a:pt x="56050" y="53303"/>
                </a:lnTo>
                <a:lnTo>
                  <a:pt x="54066" y="46887"/>
                </a:lnTo>
                <a:lnTo>
                  <a:pt x="51586" y="40717"/>
                </a:lnTo>
                <a:lnTo>
                  <a:pt x="48362" y="34795"/>
                </a:lnTo>
                <a:lnTo>
                  <a:pt x="44890" y="28625"/>
                </a:lnTo>
                <a:lnTo>
                  <a:pt x="41169" y="22950"/>
                </a:lnTo>
                <a:lnTo>
                  <a:pt x="36705" y="17767"/>
                </a:lnTo>
                <a:lnTo>
                  <a:pt x="31745" y="12585"/>
                </a:lnTo>
                <a:lnTo>
                  <a:pt x="26537" y="8637"/>
                </a:lnTo>
                <a:lnTo>
                  <a:pt x="20584" y="5182"/>
                </a:lnTo>
                <a:lnTo>
                  <a:pt x="14384" y="2220"/>
                </a:lnTo>
                <a:lnTo>
                  <a:pt x="7440" y="740"/>
                </a:lnTo>
                <a:lnTo>
                  <a:pt x="0" y="0"/>
                </a:lnTo>
                <a:lnTo>
                  <a:pt x="0" y="2467"/>
                </a:lnTo>
                <a:lnTo>
                  <a:pt x="6944" y="3208"/>
                </a:lnTo>
                <a:close/>
              </a:path>
            </a:pathLst>
          </a:custGeom>
          <a:solidFill>
            <a:srgbClr val="000000"/>
          </a:solidFill>
        </p:spPr>
        <p:txBody>
          <a:bodyPr wrap="square" lIns="0" tIns="0" rIns="0" bIns="0" rtlCol="0">
            <a:noAutofit/>
          </a:bodyPr>
          <a:lstStyle/>
          <a:p>
            <a:endParaRPr/>
          </a:p>
        </p:txBody>
      </p:sp>
      <p:sp>
        <p:nvSpPr>
          <p:cNvPr id="2419" name="object 2419"/>
          <p:cNvSpPr/>
          <p:nvPr/>
        </p:nvSpPr>
        <p:spPr>
          <a:xfrm>
            <a:off x="8641122" y="1738123"/>
            <a:ext cx="56298" cy="78968"/>
          </a:xfrm>
          <a:custGeom>
            <a:avLst/>
            <a:gdLst/>
            <a:ahLst/>
            <a:cxnLst/>
            <a:rect l="l" t="t" r="r" b="b"/>
            <a:pathLst>
              <a:path w="56298" h="78968">
                <a:moveTo>
                  <a:pt x="6944" y="75266"/>
                </a:moveTo>
                <a:lnTo>
                  <a:pt x="744" y="76500"/>
                </a:lnTo>
                <a:lnTo>
                  <a:pt x="0" y="76993"/>
                </a:lnTo>
                <a:lnTo>
                  <a:pt x="0" y="77981"/>
                </a:lnTo>
                <a:lnTo>
                  <a:pt x="248" y="78721"/>
                </a:lnTo>
                <a:lnTo>
                  <a:pt x="1240" y="78968"/>
                </a:lnTo>
                <a:lnTo>
                  <a:pt x="7440" y="77734"/>
                </a:lnTo>
                <a:lnTo>
                  <a:pt x="13640" y="75513"/>
                </a:lnTo>
                <a:lnTo>
                  <a:pt x="19096" y="72798"/>
                </a:lnTo>
                <a:lnTo>
                  <a:pt x="24553" y="69590"/>
                </a:lnTo>
                <a:lnTo>
                  <a:pt x="29265" y="65889"/>
                </a:lnTo>
                <a:lnTo>
                  <a:pt x="33977" y="61447"/>
                </a:lnTo>
                <a:lnTo>
                  <a:pt x="38193" y="56758"/>
                </a:lnTo>
                <a:lnTo>
                  <a:pt x="41665" y="51822"/>
                </a:lnTo>
                <a:lnTo>
                  <a:pt x="45138" y="46147"/>
                </a:lnTo>
                <a:lnTo>
                  <a:pt x="48114" y="40224"/>
                </a:lnTo>
                <a:lnTo>
                  <a:pt x="50594" y="34055"/>
                </a:lnTo>
                <a:lnTo>
                  <a:pt x="52578" y="27638"/>
                </a:lnTo>
                <a:lnTo>
                  <a:pt x="54314" y="20975"/>
                </a:lnTo>
                <a:lnTo>
                  <a:pt x="55306" y="14312"/>
                </a:lnTo>
                <a:lnTo>
                  <a:pt x="56050" y="7156"/>
                </a:lnTo>
                <a:lnTo>
                  <a:pt x="56298" y="0"/>
                </a:lnTo>
                <a:lnTo>
                  <a:pt x="53818" y="0"/>
                </a:lnTo>
                <a:lnTo>
                  <a:pt x="53570" y="7156"/>
                </a:lnTo>
                <a:lnTo>
                  <a:pt x="52826" y="13819"/>
                </a:lnTo>
                <a:lnTo>
                  <a:pt x="51834" y="20482"/>
                </a:lnTo>
                <a:lnTo>
                  <a:pt x="50098" y="27145"/>
                </a:lnTo>
                <a:lnTo>
                  <a:pt x="48114" y="33067"/>
                </a:lnTo>
                <a:lnTo>
                  <a:pt x="45634" y="39237"/>
                </a:lnTo>
                <a:lnTo>
                  <a:pt x="43153" y="45159"/>
                </a:lnTo>
                <a:lnTo>
                  <a:pt x="39681" y="50342"/>
                </a:lnTo>
                <a:lnTo>
                  <a:pt x="36209" y="55277"/>
                </a:lnTo>
                <a:lnTo>
                  <a:pt x="31993" y="59966"/>
                </a:lnTo>
                <a:lnTo>
                  <a:pt x="27777" y="63914"/>
                </a:lnTo>
                <a:lnTo>
                  <a:pt x="23065" y="67616"/>
                </a:lnTo>
                <a:lnTo>
                  <a:pt x="18104" y="70824"/>
                </a:lnTo>
                <a:lnTo>
                  <a:pt x="12648" y="73045"/>
                </a:lnTo>
                <a:lnTo>
                  <a:pt x="6944" y="75266"/>
                </a:lnTo>
                <a:lnTo>
                  <a:pt x="992" y="76500"/>
                </a:lnTo>
                <a:lnTo>
                  <a:pt x="6944" y="75266"/>
                </a:lnTo>
                <a:close/>
              </a:path>
            </a:pathLst>
          </a:custGeom>
          <a:solidFill>
            <a:srgbClr val="000000"/>
          </a:solidFill>
        </p:spPr>
        <p:txBody>
          <a:bodyPr wrap="square" lIns="0" tIns="0" rIns="0" bIns="0" rtlCol="0">
            <a:noAutofit/>
          </a:bodyPr>
          <a:lstStyle/>
          <a:p>
            <a:endParaRPr/>
          </a:p>
        </p:txBody>
      </p:sp>
      <p:sp>
        <p:nvSpPr>
          <p:cNvPr id="2420" name="object 2420"/>
          <p:cNvSpPr/>
          <p:nvPr/>
        </p:nvSpPr>
        <p:spPr>
          <a:xfrm>
            <a:off x="8506948" y="1817091"/>
            <a:ext cx="135166" cy="3948"/>
          </a:xfrm>
          <a:custGeom>
            <a:avLst/>
            <a:gdLst/>
            <a:ahLst/>
            <a:cxnLst/>
            <a:rect l="l" t="t" r="r" b="b"/>
            <a:pathLst>
              <a:path w="135166" h="3948">
                <a:moveTo>
                  <a:pt x="1240" y="2714"/>
                </a:moveTo>
                <a:lnTo>
                  <a:pt x="0" y="3948"/>
                </a:lnTo>
                <a:lnTo>
                  <a:pt x="135166" y="0"/>
                </a:lnTo>
                <a:lnTo>
                  <a:pt x="1240" y="2714"/>
                </a:lnTo>
                <a:close/>
              </a:path>
            </a:pathLst>
          </a:custGeom>
          <a:solidFill>
            <a:srgbClr val="000000"/>
          </a:solidFill>
        </p:spPr>
        <p:txBody>
          <a:bodyPr wrap="square" lIns="0" tIns="0" rIns="0" bIns="0" rtlCol="0">
            <a:noAutofit/>
          </a:bodyPr>
          <a:lstStyle/>
          <a:p>
            <a:endParaRPr/>
          </a:p>
        </p:txBody>
      </p:sp>
      <p:sp>
        <p:nvSpPr>
          <p:cNvPr id="2421" name="object 2421"/>
          <p:cNvSpPr/>
          <p:nvPr/>
        </p:nvSpPr>
        <p:spPr>
          <a:xfrm>
            <a:off x="8505956" y="1814623"/>
            <a:ext cx="136158" cy="6416"/>
          </a:xfrm>
          <a:custGeom>
            <a:avLst/>
            <a:gdLst/>
            <a:ahLst/>
            <a:cxnLst/>
            <a:rect l="l" t="t" r="r" b="b"/>
            <a:pathLst>
              <a:path w="136158" h="6416">
                <a:moveTo>
                  <a:pt x="0" y="5182"/>
                </a:moveTo>
                <a:lnTo>
                  <a:pt x="124" y="5552"/>
                </a:lnTo>
                <a:lnTo>
                  <a:pt x="248" y="5922"/>
                </a:lnTo>
                <a:lnTo>
                  <a:pt x="992" y="6416"/>
                </a:lnTo>
                <a:lnTo>
                  <a:pt x="2232" y="5182"/>
                </a:lnTo>
                <a:lnTo>
                  <a:pt x="136158" y="2467"/>
                </a:lnTo>
                <a:lnTo>
                  <a:pt x="136158" y="0"/>
                </a:lnTo>
                <a:lnTo>
                  <a:pt x="992" y="3948"/>
                </a:lnTo>
                <a:lnTo>
                  <a:pt x="248" y="4441"/>
                </a:lnTo>
                <a:lnTo>
                  <a:pt x="0" y="5182"/>
                </a:lnTo>
                <a:close/>
              </a:path>
            </a:pathLst>
          </a:custGeom>
          <a:solidFill>
            <a:srgbClr val="000000"/>
          </a:solidFill>
        </p:spPr>
        <p:txBody>
          <a:bodyPr wrap="square" lIns="0" tIns="0" rIns="0" bIns="0" rtlCol="0">
            <a:noAutofit/>
          </a:bodyPr>
          <a:lstStyle/>
          <a:p>
            <a:endParaRPr/>
          </a:p>
        </p:txBody>
      </p:sp>
      <p:sp>
        <p:nvSpPr>
          <p:cNvPr id="2422" name="object 2422"/>
          <p:cNvSpPr/>
          <p:nvPr/>
        </p:nvSpPr>
        <p:spPr>
          <a:xfrm>
            <a:off x="8505708" y="1659649"/>
            <a:ext cx="2480" cy="160157"/>
          </a:xfrm>
          <a:custGeom>
            <a:avLst/>
            <a:gdLst/>
            <a:ahLst/>
            <a:cxnLst/>
            <a:rect l="l" t="t" r="r" b="b"/>
            <a:pathLst>
              <a:path w="2480" h="160157">
                <a:moveTo>
                  <a:pt x="1984" y="493"/>
                </a:moveTo>
                <a:lnTo>
                  <a:pt x="1240" y="0"/>
                </a:lnTo>
                <a:lnTo>
                  <a:pt x="1240" y="2467"/>
                </a:lnTo>
                <a:lnTo>
                  <a:pt x="0" y="1233"/>
                </a:lnTo>
                <a:lnTo>
                  <a:pt x="0" y="160157"/>
                </a:lnTo>
                <a:lnTo>
                  <a:pt x="2480" y="160157"/>
                </a:lnTo>
                <a:lnTo>
                  <a:pt x="2480" y="1233"/>
                </a:lnTo>
                <a:lnTo>
                  <a:pt x="1984" y="493"/>
                </a:lnTo>
                <a:close/>
              </a:path>
            </a:pathLst>
          </a:custGeom>
          <a:solidFill>
            <a:srgbClr val="000000"/>
          </a:solidFill>
        </p:spPr>
        <p:txBody>
          <a:bodyPr wrap="square" lIns="0" tIns="0" rIns="0" bIns="0" rtlCol="0">
            <a:noAutofit/>
          </a:bodyPr>
          <a:lstStyle/>
          <a:p>
            <a:endParaRPr/>
          </a:p>
        </p:txBody>
      </p:sp>
      <p:sp>
        <p:nvSpPr>
          <p:cNvPr id="2423" name="object 2423"/>
          <p:cNvSpPr/>
          <p:nvPr/>
        </p:nvSpPr>
        <p:spPr>
          <a:xfrm>
            <a:off x="8505708" y="1659649"/>
            <a:ext cx="1240" cy="2467"/>
          </a:xfrm>
          <a:custGeom>
            <a:avLst/>
            <a:gdLst/>
            <a:ahLst/>
            <a:cxnLst/>
            <a:rect l="l" t="t" r="r" b="b"/>
            <a:pathLst>
              <a:path w="1240" h="2467">
                <a:moveTo>
                  <a:pt x="1240" y="0"/>
                </a:moveTo>
                <a:lnTo>
                  <a:pt x="496" y="493"/>
                </a:lnTo>
                <a:lnTo>
                  <a:pt x="0" y="1233"/>
                </a:lnTo>
                <a:lnTo>
                  <a:pt x="1240" y="2467"/>
                </a:lnTo>
                <a:lnTo>
                  <a:pt x="1240" y="0"/>
                </a:lnTo>
                <a:close/>
              </a:path>
            </a:pathLst>
          </a:custGeom>
          <a:solidFill>
            <a:srgbClr val="000000"/>
          </a:solidFill>
        </p:spPr>
        <p:txBody>
          <a:bodyPr wrap="square" lIns="0" tIns="0" rIns="0" bIns="0" rtlCol="0">
            <a:noAutofit/>
          </a:bodyPr>
          <a:lstStyle/>
          <a:p>
            <a:endParaRPr/>
          </a:p>
        </p:txBody>
      </p:sp>
      <p:sp>
        <p:nvSpPr>
          <p:cNvPr id="2424" name="object 2424"/>
          <p:cNvSpPr/>
          <p:nvPr/>
        </p:nvSpPr>
        <p:spPr>
          <a:xfrm>
            <a:off x="8508932" y="1661623"/>
            <a:ext cx="181296" cy="72058"/>
          </a:xfrm>
          <a:custGeom>
            <a:avLst/>
            <a:gdLst/>
            <a:ahLst/>
            <a:cxnLst/>
            <a:rect l="l" t="t" r="r" b="b"/>
            <a:pathLst>
              <a:path w="181296" h="72058">
                <a:moveTo>
                  <a:pt x="0" y="0"/>
                </a:moveTo>
                <a:lnTo>
                  <a:pt x="0" y="72058"/>
                </a:lnTo>
                <a:lnTo>
                  <a:pt x="181296" y="70084"/>
                </a:lnTo>
                <a:lnTo>
                  <a:pt x="180552" y="60706"/>
                </a:lnTo>
                <a:lnTo>
                  <a:pt x="177823" y="49848"/>
                </a:lnTo>
                <a:lnTo>
                  <a:pt x="173607" y="38743"/>
                </a:lnTo>
                <a:lnTo>
                  <a:pt x="170879" y="33067"/>
                </a:lnTo>
                <a:lnTo>
                  <a:pt x="167655" y="27638"/>
                </a:lnTo>
                <a:lnTo>
                  <a:pt x="163935" y="22703"/>
                </a:lnTo>
                <a:lnTo>
                  <a:pt x="159967" y="17767"/>
                </a:lnTo>
                <a:lnTo>
                  <a:pt x="155254" y="13572"/>
                </a:lnTo>
                <a:lnTo>
                  <a:pt x="150294" y="9871"/>
                </a:lnTo>
                <a:lnTo>
                  <a:pt x="144838" y="6662"/>
                </a:lnTo>
                <a:lnTo>
                  <a:pt x="138886" y="4441"/>
                </a:lnTo>
                <a:lnTo>
                  <a:pt x="132685" y="2714"/>
                </a:lnTo>
                <a:lnTo>
                  <a:pt x="125741" y="2220"/>
                </a:lnTo>
                <a:lnTo>
                  <a:pt x="0" y="0"/>
                </a:lnTo>
                <a:close/>
              </a:path>
            </a:pathLst>
          </a:custGeom>
          <a:solidFill>
            <a:srgbClr val="BEBEBE"/>
          </a:solidFill>
        </p:spPr>
        <p:txBody>
          <a:bodyPr wrap="square" lIns="0" tIns="0" rIns="0" bIns="0" rtlCol="0">
            <a:noAutofit/>
          </a:bodyPr>
          <a:lstStyle/>
          <a:p>
            <a:endParaRPr/>
          </a:p>
        </p:txBody>
      </p:sp>
      <p:sp>
        <p:nvSpPr>
          <p:cNvPr id="2425" name="object 2425"/>
          <p:cNvSpPr/>
          <p:nvPr/>
        </p:nvSpPr>
        <p:spPr>
          <a:xfrm>
            <a:off x="8508933" y="1660389"/>
            <a:ext cx="126981" cy="4688"/>
          </a:xfrm>
          <a:custGeom>
            <a:avLst/>
            <a:gdLst/>
            <a:ahLst/>
            <a:cxnLst/>
            <a:rect l="l" t="t" r="r" b="b"/>
            <a:pathLst>
              <a:path w="126981" h="4688">
                <a:moveTo>
                  <a:pt x="125741" y="2220"/>
                </a:moveTo>
                <a:lnTo>
                  <a:pt x="0" y="0"/>
                </a:lnTo>
                <a:lnTo>
                  <a:pt x="0" y="2467"/>
                </a:lnTo>
                <a:lnTo>
                  <a:pt x="125741" y="4688"/>
                </a:lnTo>
                <a:lnTo>
                  <a:pt x="126485" y="4195"/>
                </a:lnTo>
                <a:lnTo>
                  <a:pt x="126981" y="3454"/>
                </a:lnTo>
                <a:lnTo>
                  <a:pt x="126485" y="2714"/>
                </a:lnTo>
                <a:lnTo>
                  <a:pt x="125741" y="2220"/>
                </a:lnTo>
                <a:close/>
              </a:path>
            </a:pathLst>
          </a:custGeom>
          <a:solidFill>
            <a:srgbClr val="000000"/>
          </a:solidFill>
        </p:spPr>
        <p:txBody>
          <a:bodyPr wrap="square" lIns="0" tIns="0" rIns="0" bIns="0" rtlCol="0">
            <a:noAutofit/>
          </a:bodyPr>
          <a:lstStyle/>
          <a:p>
            <a:endParaRPr/>
          </a:p>
        </p:txBody>
      </p:sp>
      <p:sp>
        <p:nvSpPr>
          <p:cNvPr id="2426" name="object 2426"/>
          <p:cNvSpPr/>
          <p:nvPr/>
        </p:nvSpPr>
        <p:spPr>
          <a:xfrm>
            <a:off x="8634674" y="1662610"/>
            <a:ext cx="56794" cy="70084"/>
          </a:xfrm>
          <a:custGeom>
            <a:avLst/>
            <a:gdLst/>
            <a:ahLst/>
            <a:cxnLst/>
            <a:rect l="l" t="t" r="r" b="b"/>
            <a:pathLst>
              <a:path w="56794" h="70084">
                <a:moveTo>
                  <a:pt x="6696" y="2961"/>
                </a:moveTo>
                <a:lnTo>
                  <a:pt x="12648" y="4688"/>
                </a:lnTo>
                <a:lnTo>
                  <a:pt x="18600" y="6662"/>
                </a:lnTo>
                <a:lnTo>
                  <a:pt x="23809" y="9871"/>
                </a:lnTo>
                <a:lnTo>
                  <a:pt x="28769" y="13572"/>
                </a:lnTo>
                <a:lnTo>
                  <a:pt x="33233" y="17521"/>
                </a:lnTo>
                <a:lnTo>
                  <a:pt x="37201" y="22456"/>
                </a:lnTo>
                <a:lnTo>
                  <a:pt x="40921" y="27392"/>
                </a:lnTo>
                <a:lnTo>
                  <a:pt x="44145" y="32574"/>
                </a:lnTo>
                <a:lnTo>
                  <a:pt x="46626" y="38250"/>
                </a:lnTo>
                <a:lnTo>
                  <a:pt x="49106" y="43679"/>
                </a:lnTo>
                <a:lnTo>
                  <a:pt x="50842" y="49108"/>
                </a:lnTo>
                <a:lnTo>
                  <a:pt x="52330" y="54537"/>
                </a:lnTo>
                <a:lnTo>
                  <a:pt x="53570" y="59966"/>
                </a:lnTo>
                <a:lnTo>
                  <a:pt x="54066" y="64655"/>
                </a:lnTo>
                <a:lnTo>
                  <a:pt x="54314" y="69097"/>
                </a:lnTo>
                <a:lnTo>
                  <a:pt x="55554" y="67863"/>
                </a:lnTo>
                <a:lnTo>
                  <a:pt x="54810" y="69837"/>
                </a:lnTo>
                <a:lnTo>
                  <a:pt x="55554" y="70084"/>
                </a:lnTo>
                <a:lnTo>
                  <a:pt x="55926" y="69960"/>
                </a:lnTo>
                <a:lnTo>
                  <a:pt x="56298" y="69837"/>
                </a:lnTo>
                <a:lnTo>
                  <a:pt x="56794" y="69097"/>
                </a:lnTo>
                <a:lnTo>
                  <a:pt x="56546" y="64655"/>
                </a:lnTo>
                <a:lnTo>
                  <a:pt x="56050" y="59472"/>
                </a:lnTo>
                <a:lnTo>
                  <a:pt x="54810" y="54043"/>
                </a:lnTo>
                <a:lnTo>
                  <a:pt x="53322" y="48614"/>
                </a:lnTo>
                <a:lnTo>
                  <a:pt x="51586" y="42692"/>
                </a:lnTo>
                <a:lnTo>
                  <a:pt x="49106" y="37263"/>
                </a:lnTo>
                <a:lnTo>
                  <a:pt x="46130" y="31587"/>
                </a:lnTo>
                <a:lnTo>
                  <a:pt x="42905" y="25911"/>
                </a:lnTo>
                <a:lnTo>
                  <a:pt x="39185" y="20975"/>
                </a:lnTo>
                <a:lnTo>
                  <a:pt x="35217" y="16040"/>
                </a:lnTo>
                <a:lnTo>
                  <a:pt x="30257" y="11598"/>
                </a:lnTo>
                <a:lnTo>
                  <a:pt x="25297" y="7896"/>
                </a:lnTo>
                <a:lnTo>
                  <a:pt x="19592" y="4688"/>
                </a:lnTo>
                <a:lnTo>
                  <a:pt x="13640" y="2220"/>
                </a:lnTo>
                <a:lnTo>
                  <a:pt x="7192" y="493"/>
                </a:lnTo>
                <a:lnTo>
                  <a:pt x="0" y="0"/>
                </a:lnTo>
                <a:lnTo>
                  <a:pt x="0" y="2467"/>
                </a:lnTo>
                <a:lnTo>
                  <a:pt x="6696" y="2961"/>
                </a:lnTo>
                <a:close/>
              </a:path>
            </a:pathLst>
          </a:custGeom>
          <a:solidFill>
            <a:srgbClr val="000000"/>
          </a:solidFill>
        </p:spPr>
        <p:txBody>
          <a:bodyPr wrap="square" lIns="0" tIns="0" rIns="0" bIns="0" rtlCol="0">
            <a:noAutofit/>
          </a:bodyPr>
          <a:lstStyle/>
          <a:p>
            <a:endParaRPr/>
          </a:p>
        </p:txBody>
      </p:sp>
      <p:sp>
        <p:nvSpPr>
          <p:cNvPr id="2427" name="object 2427"/>
          <p:cNvSpPr/>
          <p:nvPr/>
        </p:nvSpPr>
        <p:spPr>
          <a:xfrm>
            <a:off x="8688988" y="1730473"/>
            <a:ext cx="1240" cy="1974"/>
          </a:xfrm>
          <a:custGeom>
            <a:avLst/>
            <a:gdLst/>
            <a:ahLst/>
            <a:cxnLst/>
            <a:rect l="l" t="t" r="r" b="b"/>
            <a:pathLst>
              <a:path w="1240" h="1974">
                <a:moveTo>
                  <a:pt x="496" y="1974"/>
                </a:moveTo>
                <a:lnTo>
                  <a:pt x="1240" y="0"/>
                </a:lnTo>
                <a:lnTo>
                  <a:pt x="0" y="1233"/>
                </a:lnTo>
                <a:lnTo>
                  <a:pt x="496" y="1974"/>
                </a:lnTo>
                <a:close/>
              </a:path>
            </a:pathLst>
          </a:custGeom>
          <a:solidFill>
            <a:srgbClr val="000000"/>
          </a:solidFill>
        </p:spPr>
        <p:txBody>
          <a:bodyPr wrap="square" lIns="0" tIns="0" rIns="0" bIns="0" rtlCol="0">
            <a:noAutofit/>
          </a:bodyPr>
          <a:lstStyle/>
          <a:p>
            <a:endParaRPr/>
          </a:p>
        </p:txBody>
      </p:sp>
      <p:sp>
        <p:nvSpPr>
          <p:cNvPr id="2428" name="object 2428"/>
          <p:cNvSpPr/>
          <p:nvPr/>
        </p:nvSpPr>
        <p:spPr>
          <a:xfrm>
            <a:off x="8508932" y="1732941"/>
            <a:ext cx="181296" cy="1974"/>
          </a:xfrm>
          <a:custGeom>
            <a:avLst/>
            <a:gdLst/>
            <a:ahLst/>
            <a:cxnLst/>
            <a:rect l="l" t="t" r="r" b="b"/>
            <a:pathLst>
              <a:path w="181296" h="1974">
                <a:moveTo>
                  <a:pt x="1240" y="740"/>
                </a:moveTo>
                <a:lnTo>
                  <a:pt x="0" y="1974"/>
                </a:lnTo>
                <a:lnTo>
                  <a:pt x="181296" y="0"/>
                </a:lnTo>
                <a:lnTo>
                  <a:pt x="1240" y="740"/>
                </a:lnTo>
                <a:close/>
              </a:path>
            </a:pathLst>
          </a:custGeom>
          <a:solidFill>
            <a:srgbClr val="000000"/>
          </a:solidFill>
        </p:spPr>
        <p:txBody>
          <a:bodyPr wrap="square" lIns="0" tIns="0" rIns="0" bIns="0" rtlCol="0">
            <a:noAutofit/>
          </a:bodyPr>
          <a:lstStyle/>
          <a:p>
            <a:endParaRPr/>
          </a:p>
        </p:txBody>
      </p:sp>
      <p:sp>
        <p:nvSpPr>
          <p:cNvPr id="2429" name="object 2429"/>
          <p:cNvSpPr/>
          <p:nvPr/>
        </p:nvSpPr>
        <p:spPr>
          <a:xfrm>
            <a:off x="8507940" y="1730474"/>
            <a:ext cx="182288" cy="4441"/>
          </a:xfrm>
          <a:custGeom>
            <a:avLst/>
            <a:gdLst/>
            <a:ahLst/>
            <a:cxnLst/>
            <a:rect l="l" t="t" r="r" b="b"/>
            <a:pathLst>
              <a:path w="182288" h="4441">
                <a:moveTo>
                  <a:pt x="0" y="3208"/>
                </a:moveTo>
                <a:lnTo>
                  <a:pt x="124" y="3578"/>
                </a:lnTo>
                <a:lnTo>
                  <a:pt x="248" y="3948"/>
                </a:lnTo>
                <a:lnTo>
                  <a:pt x="992" y="4441"/>
                </a:lnTo>
                <a:lnTo>
                  <a:pt x="2232" y="3208"/>
                </a:lnTo>
                <a:lnTo>
                  <a:pt x="182288" y="2467"/>
                </a:lnTo>
                <a:lnTo>
                  <a:pt x="182288" y="0"/>
                </a:lnTo>
                <a:lnTo>
                  <a:pt x="992" y="1974"/>
                </a:lnTo>
                <a:lnTo>
                  <a:pt x="248" y="2467"/>
                </a:lnTo>
                <a:lnTo>
                  <a:pt x="0" y="3208"/>
                </a:lnTo>
                <a:close/>
              </a:path>
            </a:pathLst>
          </a:custGeom>
          <a:solidFill>
            <a:srgbClr val="000000"/>
          </a:solidFill>
        </p:spPr>
        <p:txBody>
          <a:bodyPr wrap="square" lIns="0" tIns="0" rIns="0" bIns="0" rtlCol="0">
            <a:noAutofit/>
          </a:bodyPr>
          <a:lstStyle/>
          <a:p>
            <a:endParaRPr/>
          </a:p>
        </p:txBody>
      </p:sp>
      <p:sp>
        <p:nvSpPr>
          <p:cNvPr id="2430" name="object 2430"/>
          <p:cNvSpPr/>
          <p:nvPr/>
        </p:nvSpPr>
        <p:spPr>
          <a:xfrm>
            <a:off x="8507692" y="1660389"/>
            <a:ext cx="2480" cy="73292"/>
          </a:xfrm>
          <a:custGeom>
            <a:avLst/>
            <a:gdLst/>
            <a:ahLst/>
            <a:cxnLst/>
            <a:rect l="l" t="t" r="r" b="b"/>
            <a:pathLst>
              <a:path w="2480" h="73292">
                <a:moveTo>
                  <a:pt x="1984" y="493"/>
                </a:moveTo>
                <a:lnTo>
                  <a:pt x="1240" y="0"/>
                </a:lnTo>
                <a:lnTo>
                  <a:pt x="1240" y="2467"/>
                </a:lnTo>
                <a:lnTo>
                  <a:pt x="0" y="1233"/>
                </a:lnTo>
                <a:lnTo>
                  <a:pt x="0" y="73292"/>
                </a:lnTo>
                <a:lnTo>
                  <a:pt x="2480" y="73292"/>
                </a:lnTo>
                <a:lnTo>
                  <a:pt x="2480" y="1233"/>
                </a:lnTo>
                <a:lnTo>
                  <a:pt x="1984" y="493"/>
                </a:lnTo>
                <a:close/>
              </a:path>
            </a:pathLst>
          </a:custGeom>
          <a:solidFill>
            <a:srgbClr val="000000"/>
          </a:solidFill>
        </p:spPr>
        <p:txBody>
          <a:bodyPr wrap="square" lIns="0" tIns="0" rIns="0" bIns="0" rtlCol="0">
            <a:noAutofit/>
          </a:bodyPr>
          <a:lstStyle/>
          <a:p>
            <a:endParaRPr/>
          </a:p>
        </p:txBody>
      </p:sp>
      <p:sp>
        <p:nvSpPr>
          <p:cNvPr id="2431" name="object 2431"/>
          <p:cNvSpPr/>
          <p:nvPr/>
        </p:nvSpPr>
        <p:spPr>
          <a:xfrm>
            <a:off x="8507692" y="1660390"/>
            <a:ext cx="1240" cy="2467"/>
          </a:xfrm>
          <a:custGeom>
            <a:avLst/>
            <a:gdLst/>
            <a:ahLst/>
            <a:cxnLst/>
            <a:rect l="l" t="t" r="r" b="b"/>
            <a:pathLst>
              <a:path w="1240" h="2467">
                <a:moveTo>
                  <a:pt x="1240" y="0"/>
                </a:moveTo>
                <a:lnTo>
                  <a:pt x="496" y="493"/>
                </a:lnTo>
                <a:lnTo>
                  <a:pt x="0" y="1233"/>
                </a:lnTo>
                <a:lnTo>
                  <a:pt x="1240" y="2467"/>
                </a:lnTo>
                <a:lnTo>
                  <a:pt x="1240" y="0"/>
                </a:lnTo>
                <a:close/>
              </a:path>
            </a:pathLst>
          </a:custGeom>
          <a:solidFill>
            <a:srgbClr val="000000"/>
          </a:solidFill>
        </p:spPr>
        <p:txBody>
          <a:bodyPr wrap="square" lIns="0" tIns="0" rIns="0" bIns="0" rtlCol="0">
            <a:noAutofit/>
          </a:bodyPr>
          <a:lstStyle/>
          <a:p>
            <a:endParaRPr/>
          </a:p>
        </p:txBody>
      </p:sp>
      <p:sp>
        <p:nvSpPr>
          <p:cNvPr id="2432" name="object 2432"/>
          <p:cNvSpPr/>
          <p:nvPr/>
        </p:nvSpPr>
        <p:spPr>
          <a:xfrm>
            <a:off x="8517861" y="1661869"/>
            <a:ext cx="167159" cy="46640"/>
          </a:xfrm>
          <a:custGeom>
            <a:avLst/>
            <a:gdLst/>
            <a:ahLst/>
            <a:cxnLst/>
            <a:rect l="l" t="t" r="r" b="b"/>
            <a:pathLst>
              <a:path w="167159" h="46640">
                <a:moveTo>
                  <a:pt x="0" y="0"/>
                </a:moveTo>
                <a:lnTo>
                  <a:pt x="248" y="46640"/>
                </a:lnTo>
                <a:lnTo>
                  <a:pt x="167159" y="44666"/>
                </a:lnTo>
                <a:lnTo>
                  <a:pt x="165175" y="39730"/>
                </a:lnTo>
                <a:lnTo>
                  <a:pt x="163191" y="35042"/>
                </a:lnTo>
                <a:lnTo>
                  <a:pt x="160959" y="30846"/>
                </a:lnTo>
                <a:lnTo>
                  <a:pt x="158479" y="26898"/>
                </a:lnTo>
                <a:lnTo>
                  <a:pt x="155751" y="23196"/>
                </a:lnTo>
                <a:lnTo>
                  <a:pt x="153022" y="19742"/>
                </a:lnTo>
                <a:lnTo>
                  <a:pt x="150294" y="16533"/>
                </a:lnTo>
                <a:lnTo>
                  <a:pt x="147318" y="13572"/>
                </a:lnTo>
                <a:lnTo>
                  <a:pt x="144094" y="11104"/>
                </a:lnTo>
                <a:lnTo>
                  <a:pt x="140870" y="8883"/>
                </a:lnTo>
                <a:lnTo>
                  <a:pt x="137646" y="6909"/>
                </a:lnTo>
                <a:lnTo>
                  <a:pt x="134422" y="5429"/>
                </a:lnTo>
                <a:lnTo>
                  <a:pt x="130949" y="3948"/>
                </a:lnTo>
                <a:lnTo>
                  <a:pt x="127477" y="2961"/>
                </a:lnTo>
                <a:lnTo>
                  <a:pt x="124253" y="2467"/>
                </a:lnTo>
                <a:lnTo>
                  <a:pt x="120781" y="1974"/>
                </a:lnTo>
                <a:lnTo>
                  <a:pt x="0" y="0"/>
                </a:lnTo>
                <a:close/>
              </a:path>
            </a:pathLst>
          </a:custGeom>
          <a:solidFill>
            <a:srgbClr val="FFFFFF"/>
          </a:solidFill>
        </p:spPr>
        <p:txBody>
          <a:bodyPr wrap="square" lIns="0" tIns="0" rIns="0" bIns="0" rtlCol="0">
            <a:noAutofit/>
          </a:bodyPr>
          <a:lstStyle/>
          <a:p>
            <a:endParaRPr/>
          </a:p>
        </p:txBody>
      </p:sp>
      <p:sp>
        <p:nvSpPr>
          <p:cNvPr id="2433" name="object 2433"/>
          <p:cNvSpPr/>
          <p:nvPr/>
        </p:nvSpPr>
        <p:spPr>
          <a:xfrm>
            <a:off x="8445690" y="1660636"/>
            <a:ext cx="122021" cy="159417"/>
          </a:xfrm>
          <a:custGeom>
            <a:avLst/>
            <a:gdLst/>
            <a:ahLst/>
            <a:cxnLst/>
            <a:rect l="l" t="t" r="r" b="b"/>
            <a:pathLst>
              <a:path w="122021" h="159417">
                <a:moveTo>
                  <a:pt x="61258" y="0"/>
                </a:moveTo>
                <a:lnTo>
                  <a:pt x="55058" y="493"/>
                </a:lnTo>
                <a:lnTo>
                  <a:pt x="48858" y="1727"/>
                </a:lnTo>
                <a:lnTo>
                  <a:pt x="42905" y="3701"/>
                </a:lnTo>
                <a:lnTo>
                  <a:pt x="37449" y="6169"/>
                </a:lnTo>
                <a:lnTo>
                  <a:pt x="31993" y="9624"/>
                </a:lnTo>
                <a:lnTo>
                  <a:pt x="27033" y="13572"/>
                </a:lnTo>
                <a:lnTo>
                  <a:pt x="22321" y="18261"/>
                </a:lnTo>
                <a:lnTo>
                  <a:pt x="17856" y="23443"/>
                </a:lnTo>
                <a:lnTo>
                  <a:pt x="13888" y="29119"/>
                </a:lnTo>
                <a:lnTo>
                  <a:pt x="10416" y="35288"/>
                </a:lnTo>
                <a:lnTo>
                  <a:pt x="7440" y="41705"/>
                </a:lnTo>
                <a:lnTo>
                  <a:pt x="4712" y="48614"/>
                </a:lnTo>
                <a:lnTo>
                  <a:pt x="2728" y="56018"/>
                </a:lnTo>
                <a:lnTo>
                  <a:pt x="1240" y="63668"/>
                </a:lnTo>
                <a:lnTo>
                  <a:pt x="248" y="71564"/>
                </a:lnTo>
                <a:lnTo>
                  <a:pt x="0" y="79708"/>
                </a:lnTo>
                <a:lnTo>
                  <a:pt x="248" y="87852"/>
                </a:lnTo>
                <a:lnTo>
                  <a:pt x="1240" y="95748"/>
                </a:lnTo>
                <a:lnTo>
                  <a:pt x="2728" y="103398"/>
                </a:lnTo>
                <a:lnTo>
                  <a:pt x="4712" y="110802"/>
                </a:lnTo>
                <a:lnTo>
                  <a:pt x="7440" y="117711"/>
                </a:lnTo>
                <a:lnTo>
                  <a:pt x="10416" y="124128"/>
                </a:lnTo>
                <a:lnTo>
                  <a:pt x="13888" y="130297"/>
                </a:lnTo>
                <a:lnTo>
                  <a:pt x="17856" y="135973"/>
                </a:lnTo>
                <a:lnTo>
                  <a:pt x="22321" y="141155"/>
                </a:lnTo>
                <a:lnTo>
                  <a:pt x="27033" y="145844"/>
                </a:lnTo>
                <a:lnTo>
                  <a:pt x="31993" y="149792"/>
                </a:lnTo>
                <a:lnTo>
                  <a:pt x="37449" y="153247"/>
                </a:lnTo>
                <a:lnTo>
                  <a:pt x="42905" y="155715"/>
                </a:lnTo>
                <a:lnTo>
                  <a:pt x="48858" y="157689"/>
                </a:lnTo>
                <a:lnTo>
                  <a:pt x="55058" y="158923"/>
                </a:lnTo>
                <a:lnTo>
                  <a:pt x="61258" y="159417"/>
                </a:lnTo>
                <a:lnTo>
                  <a:pt x="67459" y="158923"/>
                </a:lnTo>
                <a:lnTo>
                  <a:pt x="73411" y="157689"/>
                </a:lnTo>
                <a:lnTo>
                  <a:pt x="79363" y="155715"/>
                </a:lnTo>
                <a:lnTo>
                  <a:pt x="84819" y="153247"/>
                </a:lnTo>
                <a:lnTo>
                  <a:pt x="90276" y="149792"/>
                </a:lnTo>
                <a:lnTo>
                  <a:pt x="95236" y="145844"/>
                </a:lnTo>
                <a:lnTo>
                  <a:pt x="99948" y="141155"/>
                </a:lnTo>
                <a:lnTo>
                  <a:pt x="104164" y="135973"/>
                </a:lnTo>
                <a:lnTo>
                  <a:pt x="108132" y="130297"/>
                </a:lnTo>
                <a:lnTo>
                  <a:pt x="111605" y="124128"/>
                </a:lnTo>
                <a:lnTo>
                  <a:pt x="114581" y="117711"/>
                </a:lnTo>
                <a:lnTo>
                  <a:pt x="117309" y="110802"/>
                </a:lnTo>
                <a:lnTo>
                  <a:pt x="119293" y="103398"/>
                </a:lnTo>
                <a:lnTo>
                  <a:pt x="120781" y="95748"/>
                </a:lnTo>
                <a:lnTo>
                  <a:pt x="121773" y="87852"/>
                </a:lnTo>
                <a:lnTo>
                  <a:pt x="122021" y="79708"/>
                </a:lnTo>
                <a:lnTo>
                  <a:pt x="121773" y="71564"/>
                </a:lnTo>
                <a:lnTo>
                  <a:pt x="120781" y="63668"/>
                </a:lnTo>
                <a:lnTo>
                  <a:pt x="119293" y="56018"/>
                </a:lnTo>
                <a:lnTo>
                  <a:pt x="117309" y="48614"/>
                </a:lnTo>
                <a:lnTo>
                  <a:pt x="114581" y="41705"/>
                </a:lnTo>
                <a:lnTo>
                  <a:pt x="111605" y="35288"/>
                </a:lnTo>
                <a:lnTo>
                  <a:pt x="108132" y="29119"/>
                </a:lnTo>
                <a:lnTo>
                  <a:pt x="104164" y="23443"/>
                </a:lnTo>
                <a:lnTo>
                  <a:pt x="99948" y="18261"/>
                </a:lnTo>
                <a:lnTo>
                  <a:pt x="95236" y="13572"/>
                </a:lnTo>
                <a:lnTo>
                  <a:pt x="90276" y="9624"/>
                </a:lnTo>
                <a:lnTo>
                  <a:pt x="84819" y="6169"/>
                </a:lnTo>
                <a:lnTo>
                  <a:pt x="79363" y="3701"/>
                </a:lnTo>
                <a:lnTo>
                  <a:pt x="73411" y="1727"/>
                </a:lnTo>
                <a:lnTo>
                  <a:pt x="67459" y="493"/>
                </a:lnTo>
                <a:lnTo>
                  <a:pt x="61258" y="0"/>
                </a:lnTo>
                <a:close/>
              </a:path>
            </a:pathLst>
          </a:custGeom>
          <a:solidFill>
            <a:srgbClr val="000000"/>
          </a:solidFill>
        </p:spPr>
        <p:txBody>
          <a:bodyPr wrap="square" lIns="0" tIns="0" rIns="0" bIns="0" rtlCol="0">
            <a:noAutofit/>
          </a:bodyPr>
          <a:lstStyle/>
          <a:p>
            <a:endParaRPr/>
          </a:p>
        </p:txBody>
      </p:sp>
      <p:sp>
        <p:nvSpPr>
          <p:cNvPr id="2434" name="object 2434"/>
          <p:cNvSpPr/>
          <p:nvPr/>
        </p:nvSpPr>
        <p:spPr>
          <a:xfrm>
            <a:off x="8506948" y="1659402"/>
            <a:ext cx="62002" cy="80942"/>
          </a:xfrm>
          <a:custGeom>
            <a:avLst/>
            <a:gdLst/>
            <a:ahLst/>
            <a:cxnLst/>
            <a:rect l="l" t="t" r="r" b="b"/>
            <a:pathLst>
              <a:path w="62002" h="80942">
                <a:moveTo>
                  <a:pt x="54810" y="50342"/>
                </a:moveTo>
                <a:lnTo>
                  <a:pt x="56794" y="57498"/>
                </a:lnTo>
                <a:lnTo>
                  <a:pt x="58282" y="65148"/>
                </a:lnTo>
                <a:lnTo>
                  <a:pt x="59274" y="72798"/>
                </a:lnTo>
                <a:lnTo>
                  <a:pt x="59522" y="80942"/>
                </a:lnTo>
                <a:lnTo>
                  <a:pt x="62002" y="80942"/>
                </a:lnTo>
                <a:lnTo>
                  <a:pt x="61754" y="72798"/>
                </a:lnTo>
                <a:lnTo>
                  <a:pt x="60762" y="64655"/>
                </a:lnTo>
                <a:lnTo>
                  <a:pt x="59274" y="57005"/>
                </a:lnTo>
                <a:lnTo>
                  <a:pt x="57290" y="49355"/>
                </a:lnTo>
                <a:lnTo>
                  <a:pt x="54562" y="42445"/>
                </a:lnTo>
                <a:lnTo>
                  <a:pt x="51338" y="36029"/>
                </a:lnTo>
                <a:lnTo>
                  <a:pt x="47866" y="29613"/>
                </a:lnTo>
                <a:lnTo>
                  <a:pt x="43897" y="23937"/>
                </a:lnTo>
                <a:lnTo>
                  <a:pt x="39681" y="18754"/>
                </a:lnTo>
                <a:lnTo>
                  <a:pt x="34721" y="13819"/>
                </a:lnTo>
                <a:lnTo>
                  <a:pt x="29761" y="9871"/>
                </a:lnTo>
                <a:lnTo>
                  <a:pt x="24057" y="6416"/>
                </a:lnTo>
                <a:lnTo>
                  <a:pt x="18600" y="3701"/>
                </a:lnTo>
                <a:lnTo>
                  <a:pt x="12400" y="1727"/>
                </a:lnTo>
                <a:lnTo>
                  <a:pt x="6448" y="493"/>
                </a:lnTo>
                <a:lnTo>
                  <a:pt x="0" y="0"/>
                </a:lnTo>
                <a:lnTo>
                  <a:pt x="0" y="2467"/>
                </a:lnTo>
                <a:lnTo>
                  <a:pt x="5952" y="2961"/>
                </a:lnTo>
                <a:lnTo>
                  <a:pt x="11904" y="4195"/>
                </a:lnTo>
                <a:lnTo>
                  <a:pt x="17608" y="6169"/>
                </a:lnTo>
                <a:lnTo>
                  <a:pt x="23065" y="8390"/>
                </a:lnTo>
                <a:lnTo>
                  <a:pt x="28273" y="11845"/>
                </a:lnTo>
                <a:lnTo>
                  <a:pt x="33233" y="15793"/>
                </a:lnTo>
                <a:lnTo>
                  <a:pt x="37697" y="20235"/>
                </a:lnTo>
                <a:lnTo>
                  <a:pt x="41913" y="25417"/>
                </a:lnTo>
                <a:lnTo>
                  <a:pt x="45882" y="31093"/>
                </a:lnTo>
                <a:lnTo>
                  <a:pt x="49354" y="37016"/>
                </a:lnTo>
                <a:lnTo>
                  <a:pt x="52082" y="43432"/>
                </a:lnTo>
                <a:lnTo>
                  <a:pt x="54810" y="50342"/>
                </a:lnTo>
                <a:close/>
              </a:path>
            </a:pathLst>
          </a:custGeom>
          <a:solidFill>
            <a:srgbClr val="000000"/>
          </a:solidFill>
        </p:spPr>
        <p:txBody>
          <a:bodyPr wrap="square" lIns="0" tIns="0" rIns="0" bIns="0" rtlCol="0">
            <a:noAutofit/>
          </a:bodyPr>
          <a:lstStyle/>
          <a:p>
            <a:endParaRPr/>
          </a:p>
        </p:txBody>
      </p:sp>
      <p:sp>
        <p:nvSpPr>
          <p:cNvPr id="2435" name="object 2435"/>
          <p:cNvSpPr/>
          <p:nvPr/>
        </p:nvSpPr>
        <p:spPr>
          <a:xfrm>
            <a:off x="8506948" y="1740344"/>
            <a:ext cx="62002" cy="80942"/>
          </a:xfrm>
          <a:custGeom>
            <a:avLst/>
            <a:gdLst/>
            <a:ahLst/>
            <a:cxnLst/>
            <a:rect l="l" t="t" r="r" b="b"/>
            <a:pathLst>
              <a:path w="62002" h="80942">
                <a:moveTo>
                  <a:pt x="5952" y="77981"/>
                </a:moveTo>
                <a:lnTo>
                  <a:pt x="0" y="78474"/>
                </a:lnTo>
                <a:lnTo>
                  <a:pt x="0" y="80942"/>
                </a:lnTo>
                <a:lnTo>
                  <a:pt x="6448" y="80448"/>
                </a:lnTo>
                <a:lnTo>
                  <a:pt x="12400" y="79214"/>
                </a:lnTo>
                <a:lnTo>
                  <a:pt x="18600" y="77240"/>
                </a:lnTo>
                <a:lnTo>
                  <a:pt x="24057" y="74526"/>
                </a:lnTo>
                <a:lnTo>
                  <a:pt x="29761" y="71071"/>
                </a:lnTo>
                <a:lnTo>
                  <a:pt x="34721" y="67122"/>
                </a:lnTo>
                <a:lnTo>
                  <a:pt x="39681" y="62187"/>
                </a:lnTo>
                <a:lnTo>
                  <a:pt x="43897" y="57005"/>
                </a:lnTo>
                <a:lnTo>
                  <a:pt x="47866" y="51329"/>
                </a:lnTo>
                <a:lnTo>
                  <a:pt x="51338" y="44913"/>
                </a:lnTo>
                <a:lnTo>
                  <a:pt x="54562" y="38496"/>
                </a:lnTo>
                <a:lnTo>
                  <a:pt x="57290" y="31587"/>
                </a:lnTo>
                <a:lnTo>
                  <a:pt x="59274" y="23937"/>
                </a:lnTo>
                <a:lnTo>
                  <a:pt x="60762" y="16287"/>
                </a:lnTo>
                <a:lnTo>
                  <a:pt x="61754" y="8143"/>
                </a:lnTo>
                <a:lnTo>
                  <a:pt x="62002" y="0"/>
                </a:lnTo>
                <a:lnTo>
                  <a:pt x="59522" y="0"/>
                </a:lnTo>
                <a:lnTo>
                  <a:pt x="59274" y="8143"/>
                </a:lnTo>
                <a:lnTo>
                  <a:pt x="58282" y="15793"/>
                </a:lnTo>
                <a:lnTo>
                  <a:pt x="56794" y="23443"/>
                </a:lnTo>
                <a:lnTo>
                  <a:pt x="54810" y="30600"/>
                </a:lnTo>
                <a:lnTo>
                  <a:pt x="52082" y="37509"/>
                </a:lnTo>
                <a:lnTo>
                  <a:pt x="49354" y="43926"/>
                </a:lnTo>
                <a:lnTo>
                  <a:pt x="45882" y="49848"/>
                </a:lnTo>
                <a:lnTo>
                  <a:pt x="41913" y="55524"/>
                </a:lnTo>
                <a:lnTo>
                  <a:pt x="37697" y="60706"/>
                </a:lnTo>
                <a:lnTo>
                  <a:pt x="33233" y="65148"/>
                </a:lnTo>
                <a:lnTo>
                  <a:pt x="28273" y="69097"/>
                </a:lnTo>
                <a:lnTo>
                  <a:pt x="23065" y="72552"/>
                </a:lnTo>
                <a:lnTo>
                  <a:pt x="17608" y="74773"/>
                </a:lnTo>
                <a:lnTo>
                  <a:pt x="11904" y="76747"/>
                </a:lnTo>
                <a:lnTo>
                  <a:pt x="5952" y="77981"/>
                </a:lnTo>
                <a:close/>
              </a:path>
            </a:pathLst>
          </a:custGeom>
          <a:solidFill>
            <a:srgbClr val="000000"/>
          </a:solidFill>
        </p:spPr>
        <p:txBody>
          <a:bodyPr wrap="square" lIns="0" tIns="0" rIns="0" bIns="0" rtlCol="0">
            <a:noAutofit/>
          </a:bodyPr>
          <a:lstStyle/>
          <a:p>
            <a:endParaRPr/>
          </a:p>
        </p:txBody>
      </p:sp>
      <p:sp>
        <p:nvSpPr>
          <p:cNvPr id="2436" name="object 2436"/>
          <p:cNvSpPr/>
          <p:nvPr/>
        </p:nvSpPr>
        <p:spPr>
          <a:xfrm>
            <a:off x="8444449" y="1740344"/>
            <a:ext cx="62498" cy="80942"/>
          </a:xfrm>
          <a:custGeom>
            <a:avLst/>
            <a:gdLst/>
            <a:ahLst/>
            <a:cxnLst/>
            <a:rect l="l" t="t" r="r" b="b"/>
            <a:pathLst>
              <a:path w="62498" h="80942">
                <a:moveTo>
                  <a:pt x="248" y="8143"/>
                </a:moveTo>
                <a:lnTo>
                  <a:pt x="1240" y="16287"/>
                </a:lnTo>
                <a:lnTo>
                  <a:pt x="2728" y="23937"/>
                </a:lnTo>
                <a:lnTo>
                  <a:pt x="4712" y="31587"/>
                </a:lnTo>
                <a:lnTo>
                  <a:pt x="7440" y="38496"/>
                </a:lnTo>
                <a:lnTo>
                  <a:pt x="10664" y="44913"/>
                </a:lnTo>
                <a:lnTo>
                  <a:pt x="14136" y="51329"/>
                </a:lnTo>
                <a:lnTo>
                  <a:pt x="18104" y="57005"/>
                </a:lnTo>
                <a:lnTo>
                  <a:pt x="22569" y="62187"/>
                </a:lnTo>
                <a:lnTo>
                  <a:pt x="27529" y="67122"/>
                </a:lnTo>
                <a:lnTo>
                  <a:pt x="32489" y="71071"/>
                </a:lnTo>
                <a:lnTo>
                  <a:pt x="38193" y="74526"/>
                </a:lnTo>
                <a:lnTo>
                  <a:pt x="43649" y="77240"/>
                </a:lnTo>
                <a:lnTo>
                  <a:pt x="49850" y="79214"/>
                </a:lnTo>
                <a:lnTo>
                  <a:pt x="56050" y="80448"/>
                </a:lnTo>
                <a:lnTo>
                  <a:pt x="62498" y="80942"/>
                </a:lnTo>
                <a:lnTo>
                  <a:pt x="62498" y="78474"/>
                </a:lnTo>
                <a:lnTo>
                  <a:pt x="56546" y="77981"/>
                </a:lnTo>
                <a:lnTo>
                  <a:pt x="50346" y="76747"/>
                </a:lnTo>
                <a:lnTo>
                  <a:pt x="44642" y="74773"/>
                </a:lnTo>
                <a:lnTo>
                  <a:pt x="39185" y="72552"/>
                </a:lnTo>
                <a:lnTo>
                  <a:pt x="33977" y="69097"/>
                </a:lnTo>
                <a:lnTo>
                  <a:pt x="29017" y="65148"/>
                </a:lnTo>
                <a:lnTo>
                  <a:pt x="24553" y="60706"/>
                </a:lnTo>
                <a:lnTo>
                  <a:pt x="20088" y="55524"/>
                </a:lnTo>
                <a:lnTo>
                  <a:pt x="16120" y="49848"/>
                </a:lnTo>
                <a:lnTo>
                  <a:pt x="12648" y="43926"/>
                </a:lnTo>
                <a:lnTo>
                  <a:pt x="9920" y="37509"/>
                </a:lnTo>
                <a:lnTo>
                  <a:pt x="7192" y="30600"/>
                </a:lnTo>
                <a:lnTo>
                  <a:pt x="5208" y="23443"/>
                </a:lnTo>
                <a:lnTo>
                  <a:pt x="3720" y="15793"/>
                </a:lnTo>
                <a:lnTo>
                  <a:pt x="2728" y="8143"/>
                </a:lnTo>
                <a:lnTo>
                  <a:pt x="2480" y="0"/>
                </a:lnTo>
                <a:lnTo>
                  <a:pt x="0" y="0"/>
                </a:lnTo>
                <a:lnTo>
                  <a:pt x="248" y="8143"/>
                </a:lnTo>
                <a:close/>
              </a:path>
            </a:pathLst>
          </a:custGeom>
          <a:solidFill>
            <a:srgbClr val="000000"/>
          </a:solidFill>
        </p:spPr>
        <p:txBody>
          <a:bodyPr wrap="square" lIns="0" tIns="0" rIns="0" bIns="0" rtlCol="0">
            <a:noAutofit/>
          </a:bodyPr>
          <a:lstStyle/>
          <a:p>
            <a:endParaRPr/>
          </a:p>
        </p:txBody>
      </p:sp>
      <p:sp>
        <p:nvSpPr>
          <p:cNvPr id="2437" name="object 2437"/>
          <p:cNvSpPr/>
          <p:nvPr/>
        </p:nvSpPr>
        <p:spPr>
          <a:xfrm>
            <a:off x="8444449" y="1659402"/>
            <a:ext cx="62498" cy="80942"/>
          </a:xfrm>
          <a:custGeom>
            <a:avLst/>
            <a:gdLst/>
            <a:ahLst/>
            <a:cxnLst/>
            <a:rect l="l" t="t" r="r" b="b"/>
            <a:pathLst>
              <a:path w="62498" h="80942">
                <a:moveTo>
                  <a:pt x="2480" y="80942"/>
                </a:moveTo>
                <a:lnTo>
                  <a:pt x="2728" y="72798"/>
                </a:lnTo>
                <a:lnTo>
                  <a:pt x="3720" y="65148"/>
                </a:lnTo>
                <a:lnTo>
                  <a:pt x="5208" y="57498"/>
                </a:lnTo>
                <a:lnTo>
                  <a:pt x="7192" y="50342"/>
                </a:lnTo>
                <a:lnTo>
                  <a:pt x="9920" y="43432"/>
                </a:lnTo>
                <a:lnTo>
                  <a:pt x="12648" y="37016"/>
                </a:lnTo>
                <a:lnTo>
                  <a:pt x="16120" y="31093"/>
                </a:lnTo>
                <a:lnTo>
                  <a:pt x="20088" y="25417"/>
                </a:lnTo>
                <a:lnTo>
                  <a:pt x="24553" y="20235"/>
                </a:lnTo>
                <a:lnTo>
                  <a:pt x="29017" y="15793"/>
                </a:lnTo>
                <a:lnTo>
                  <a:pt x="33977" y="11845"/>
                </a:lnTo>
                <a:lnTo>
                  <a:pt x="39185" y="8390"/>
                </a:lnTo>
                <a:lnTo>
                  <a:pt x="44642" y="6169"/>
                </a:lnTo>
                <a:lnTo>
                  <a:pt x="50346" y="4195"/>
                </a:lnTo>
                <a:lnTo>
                  <a:pt x="56546" y="2961"/>
                </a:lnTo>
                <a:lnTo>
                  <a:pt x="62498" y="2467"/>
                </a:lnTo>
                <a:lnTo>
                  <a:pt x="62498" y="0"/>
                </a:lnTo>
                <a:lnTo>
                  <a:pt x="56050" y="493"/>
                </a:lnTo>
                <a:lnTo>
                  <a:pt x="49850" y="1727"/>
                </a:lnTo>
                <a:lnTo>
                  <a:pt x="43649" y="3701"/>
                </a:lnTo>
                <a:lnTo>
                  <a:pt x="38193" y="6416"/>
                </a:lnTo>
                <a:lnTo>
                  <a:pt x="32489" y="9871"/>
                </a:lnTo>
                <a:lnTo>
                  <a:pt x="27529" y="13819"/>
                </a:lnTo>
                <a:lnTo>
                  <a:pt x="22569" y="18754"/>
                </a:lnTo>
                <a:lnTo>
                  <a:pt x="18104" y="23937"/>
                </a:lnTo>
                <a:lnTo>
                  <a:pt x="14136" y="29613"/>
                </a:lnTo>
                <a:lnTo>
                  <a:pt x="10664" y="36029"/>
                </a:lnTo>
                <a:lnTo>
                  <a:pt x="7440" y="42445"/>
                </a:lnTo>
                <a:lnTo>
                  <a:pt x="4712" y="49355"/>
                </a:lnTo>
                <a:lnTo>
                  <a:pt x="2728" y="57005"/>
                </a:lnTo>
                <a:lnTo>
                  <a:pt x="1240" y="64655"/>
                </a:lnTo>
                <a:lnTo>
                  <a:pt x="248" y="72798"/>
                </a:lnTo>
                <a:lnTo>
                  <a:pt x="0" y="80942"/>
                </a:lnTo>
                <a:lnTo>
                  <a:pt x="2480" y="80942"/>
                </a:lnTo>
                <a:close/>
              </a:path>
            </a:pathLst>
          </a:custGeom>
          <a:solidFill>
            <a:srgbClr val="000000"/>
          </a:solidFill>
        </p:spPr>
        <p:txBody>
          <a:bodyPr wrap="square" lIns="0" tIns="0" rIns="0" bIns="0" rtlCol="0">
            <a:noAutofit/>
          </a:bodyPr>
          <a:lstStyle/>
          <a:p>
            <a:endParaRPr/>
          </a:p>
        </p:txBody>
      </p:sp>
      <p:sp>
        <p:nvSpPr>
          <p:cNvPr id="2438" name="object 2438"/>
          <p:cNvSpPr/>
          <p:nvPr/>
        </p:nvSpPr>
        <p:spPr>
          <a:xfrm>
            <a:off x="8474956" y="1693210"/>
            <a:ext cx="87795" cy="105126"/>
          </a:xfrm>
          <a:custGeom>
            <a:avLst/>
            <a:gdLst/>
            <a:ahLst/>
            <a:cxnLst/>
            <a:rect l="l" t="t" r="r" b="b"/>
            <a:pathLst>
              <a:path w="87795" h="105126">
                <a:moveTo>
                  <a:pt x="0" y="0"/>
                </a:moveTo>
                <a:lnTo>
                  <a:pt x="0" y="105126"/>
                </a:lnTo>
                <a:lnTo>
                  <a:pt x="87795" y="103398"/>
                </a:lnTo>
                <a:lnTo>
                  <a:pt x="87795" y="1727"/>
                </a:lnTo>
                <a:lnTo>
                  <a:pt x="0" y="0"/>
                </a:lnTo>
                <a:close/>
              </a:path>
            </a:pathLst>
          </a:custGeom>
          <a:solidFill>
            <a:srgbClr val="EFEFEF"/>
          </a:solidFill>
        </p:spPr>
        <p:txBody>
          <a:bodyPr wrap="square" lIns="0" tIns="0" rIns="0" bIns="0" rtlCol="0">
            <a:noAutofit/>
          </a:bodyPr>
          <a:lstStyle/>
          <a:p>
            <a:endParaRPr/>
          </a:p>
        </p:txBody>
      </p:sp>
      <p:sp>
        <p:nvSpPr>
          <p:cNvPr id="2439" name="object 2439"/>
          <p:cNvSpPr/>
          <p:nvPr/>
        </p:nvSpPr>
        <p:spPr>
          <a:xfrm>
            <a:off x="8473714" y="1693211"/>
            <a:ext cx="2480" cy="106113"/>
          </a:xfrm>
          <a:custGeom>
            <a:avLst/>
            <a:gdLst/>
            <a:ahLst/>
            <a:cxnLst/>
            <a:rect l="l" t="t" r="r" b="b"/>
            <a:pathLst>
              <a:path w="2480" h="106113">
                <a:moveTo>
                  <a:pt x="868" y="105990"/>
                </a:moveTo>
                <a:lnTo>
                  <a:pt x="1240" y="106113"/>
                </a:lnTo>
                <a:lnTo>
                  <a:pt x="1240" y="103892"/>
                </a:lnTo>
                <a:lnTo>
                  <a:pt x="2480" y="0"/>
                </a:lnTo>
                <a:lnTo>
                  <a:pt x="0" y="0"/>
                </a:lnTo>
                <a:lnTo>
                  <a:pt x="0" y="105126"/>
                </a:lnTo>
                <a:lnTo>
                  <a:pt x="496" y="105866"/>
                </a:lnTo>
                <a:lnTo>
                  <a:pt x="868" y="105990"/>
                </a:lnTo>
                <a:close/>
              </a:path>
            </a:pathLst>
          </a:custGeom>
          <a:solidFill>
            <a:srgbClr val="000000"/>
          </a:solidFill>
        </p:spPr>
        <p:txBody>
          <a:bodyPr wrap="square" lIns="0" tIns="0" rIns="0" bIns="0" rtlCol="0">
            <a:noAutofit/>
          </a:bodyPr>
          <a:lstStyle/>
          <a:p>
            <a:endParaRPr/>
          </a:p>
        </p:txBody>
      </p:sp>
      <p:sp>
        <p:nvSpPr>
          <p:cNvPr id="2440" name="object 2440"/>
          <p:cNvSpPr/>
          <p:nvPr/>
        </p:nvSpPr>
        <p:spPr>
          <a:xfrm>
            <a:off x="8474955" y="1693211"/>
            <a:ext cx="1240" cy="106113"/>
          </a:xfrm>
          <a:custGeom>
            <a:avLst/>
            <a:gdLst/>
            <a:ahLst/>
            <a:cxnLst/>
            <a:rect l="l" t="t" r="r" b="b"/>
            <a:pathLst>
              <a:path w="1240" h="106113">
                <a:moveTo>
                  <a:pt x="0" y="103892"/>
                </a:moveTo>
                <a:lnTo>
                  <a:pt x="0" y="106113"/>
                </a:lnTo>
                <a:lnTo>
                  <a:pt x="744" y="105866"/>
                </a:lnTo>
                <a:lnTo>
                  <a:pt x="1240" y="105126"/>
                </a:lnTo>
                <a:lnTo>
                  <a:pt x="1240" y="0"/>
                </a:lnTo>
                <a:lnTo>
                  <a:pt x="0" y="103892"/>
                </a:lnTo>
                <a:close/>
              </a:path>
            </a:pathLst>
          </a:custGeom>
          <a:solidFill>
            <a:srgbClr val="000000"/>
          </a:solidFill>
        </p:spPr>
        <p:txBody>
          <a:bodyPr wrap="square" lIns="0" tIns="0" rIns="0" bIns="0" rtlCol="0">
            <a:noAutofit/>
          </a:bodyPr>
          <a:lstStyle/>
          <a:p>
            <a:endParaRPr/>
          </a:p>
        </p:txBody>
      </p:sp>
      <p:sp>
        <p:nvSpPr>
          <p:cNvPr id="2441" name="object 2441"/>
          <p:cNvSpPr/>
          <p:nvPr/>
        </p:nvSpPr>
        <p:spPr>
          <a:xfrm>
            <a:off x="8474955" y="1795376"/>
            <a:ext cx="89036" cy="4195"/>
          </a:xfrm>
          <a:custGeom>
            <a:avLst/>
            <a:gdLst/>
            <a:ahLst/>
            <a:cxnLst/>
            <a:rect l="l" t="t" r="r" b="b"/>
            <a:pathLst>
              <a:path w="89036" h="4195">
                <a:moveTo>
                  <a:pt x="88539" y="1974"/>
                </a:moveTo>
                <a:lnTo>
                  <a:pt x="89036" y="1233"/>
                </a:lnTo>
                <a:lnTo>
                  <a:pt x="88539" y="493"/>
                </a:lnTo>
                <a:lnTo>
                  <a:pt x="87795" y="0"/>
                </a:lnTo>
                <a:lnTo>
                  <a:pt x="0" y="1727"/>
                </a:lnTo>
                <a:lnTo>
                  <a:pt x="0" y="4195"/>
                </a:lnTo>
                <a:lnTo>
                  <a:pt x="87795" y="2467"/>
                </a:lnTo>
                <a:lnTo>
                  <a:pt x="86555" y="1233"/>
                </a:lnTo>
                <a:lnTo>
                  <a:pt x="87795" y="2467"/>
                </a:lnTo>
                <a:lnTo>
                  <a:pt x="88539" y="1974"/>
                </a:lnTo>
                <a:close/>
              </a:path>
            </a:pathLst>
          </a:custGeom>
          <a:solidFill>
            <a:srgbClr val="000000"/>
          </a:solidFill>
        </p:spPr>
        <p:txBody>
          <a:bodyPr wrap="square" lIns="0" tIns="0" rIns="0" bIns="0" rtlCol="0">
            <a:noAutofit/>
          </a:bodyPr>
          <a:lstStyle/>
          <a:p>
            <a:endParaRPr/>
          </a:p>
        </p:txBody>
      </p:sp>
      <p:sp>
        <p:nvSpPr>
          <p:cNvPr id="2442" name="object 2442"/>
          <p:cNvSpPr/>
          <p:nvPr/>
        </p:nvSpPr>
        <p:spPr>
          <a:xfrm>
            <a:off x="8562006" y="1693704"/>
            <a:ext cx="744" cy="2467"/>
          </a:xfrm>
          <a:custGeom>
            <a:avLst/>
            <a:gdLst/>
            <a:ahLst/>
            <a:cxnLst/>
            <a:rect l="l" t="t" r="r" b="b"/>
            <a:pathLst>
              <a:path w="744" h="2467">
                <a:moveTo>
                  <a:pt x="0" y="493"/>
                </a:moveTo>
                <a:lnTo>
                  <a:pt x="744" y="2467"/>
                </a:lnTo>
                <a:lnTo>
                  <a:pt x="744" y="0"/>
                </a:lnTo>
                <a:lnTo>
                  <a:pt x="0" y="493"/>
                </a:lnTo>
                <a:close/>
              </a:path>
            </a:pathLst>
          </a:custGeom>
          <a:solidFill>
            <a:srgbClr val="000000"/>
          </a:solidFill>
        </p:spPr>
        <p:txBody>
          <a:bodyPr wrap="square" lIns="0" tIns="0" rIns="0" bIns="0" rtlCol="0">
            <a:noAutofit/>
          </a:bodyPr>
          <a:lstStyle/>
          <a:p>
            <a:endParaRPr/>
          </a:p>
        </p:txBody>
      </p:sp>
      <p:sp>
        <p:nvSpPr>
          <p:cNvPr id="2443" name="object 2443"/>
          <p:cNvSpPr/>
          <p:nvPr/>
        </p:nvSpPr>
        <p:spPr>
          <a:xfrm>
            <a:off x="8561510" y="1693704"/>
            <a:ext cx="2480" cy="102905"/>
          </a:xfrm>
          <a:custGeom>
            <a:avLst/>
            <a:gdLst/>
            <a:ahLst/>
            <a:cxnLst/>
            <a:rect l="l" t="t" r="r" b="b"/>
            <a:pathLst>
              <a:path w="2480" h="102905">
                <a:moveTo>
                  <a:pt x="496" y="493"/>
                </a:moveTo>
                <a:lnTo>
                  <a:pt x="0" y="1233"/>
                </a:lnTo>
                <a:lnTo>
                  <a:pt x="0" y="102905"/>
                </a:lnTo>
                <a:lnTo>
                  <a:pt x="2480" y="102905"/>
                </a:lnTo>
                <a:lnTo>
                  <a:pt x="2480" y="1233"/>
                </a:lnTo>
                <a:lnTo>
                  <a:pt x="1984" y="493"/>
                </a:lnTo>
                <a:lnTo>
                  <a:pt x="1240" y="0"/>
                </a:lnTo>
                <a:lnTo>
                  <a:pt x="1240" y="2467"/>
                </a:lnTo>
                <a:lnTo>
                  <a:pt x="496" y="493"/>
                </a:lnTo>
                <a:close/>
              </a:path>
            </a:pathLst>
          </a:custGeom>
          <a:solidFill>
            <a:srgbClr val="000000"/>
          </a:solidFill>
        </p:spPr>
        <p:txBody>
          <a:bodyPr wrap="square" lIns="0" tIns="0" rIns="0" bIns="0" rtlCol="0">
            <a:noAutofit/>
          </a:bodyPr>
          <a:lstStyle/>
          <a:p>
            <a:endParaRPr/>
          </a:p>
        </p:txBody>
      </p:sp>
      <p:sp>
        <p:nvSpPr>
          <p:cNvPr id="2444" name="object 2444"/>
          <p:cNvSpPr/>
          <p:nvPr/>
        </p:nvSpPr>
        <p:spPr>
          <a:xfrm>
            <a:off x="8473963" y="1691977"/>
            <a:ext cx="88787" cy="4195"/>
          </a:xfrm>
          <a:custGeom>
            <a:avLst/>
            <a:gdLst/>
            <a:ahLst/>
            <a:cxnLst/>
            <a:rect l="l" t="t" r="r" b="b"/>
            <a:pathLst>
              <a:path w="88787" h="4195">
                <a:moveTo>
                  <a:pt x="124" y="863"/>
                </a:moveTo>
                <a:lnTo>
                  <a:pt x="0" y="1233"/>
                </a:lnTo>
                <a:lnTo>
                  <a:pt x="248" y="1974"/>
                </a:lnTo>
                <a:lnTo>
                  <a:pt x="992" y="2467"/>
                </a:lnTo>
                <a:lnTo>
                  <a:pt x="88787" y="4195"/>
                </a:lnTo>
                <a:lnTo>
                  <a:pt x="88787" y="1727"/>
                </a:lnTo>
                <a:lnTo>
                  <a:pt x="2232" y="1233"/>
                </a:lnTo>
                <a:lnTo>
                  <a:pt x="992" y="0"/>
                </a:lnTo>
                <a:lnTo>
                  <a:pt x="248" y="493"/>
                </a:lnTo>
                <a:lnTo>
                  <a:pt x="124" y="863"/>
                </a:lnTo>
                <a:close/>
              </a:path>
            </a:pathLst>
          </a:custGeom>
          <a:solidFill>
            <a:srgbClr val="000000"/>
          </a:solidFill>
        </p:spPr>
        <p:txBody>
          <a:bodyPr wrap="square" lIns="0" tIns="0" rIns="0" bIns="0" rtlCol="0">
            <a:noAutofit/>
          </a:bodyPr>
          <a:lstStyle/>
          <a:p>
            <a:endParaRPr/>
          </a:p>
        </p:txBody>
      </p:sp>
      <p:sp>
        <p:nvSpPr>
          <p:cNvPr id="2445" name="object 2445"/>
          <p:cNvSpPr/>
          <p:nvPr/>
        </p:nvSpPr>
        <p:spPr>
          <a:xfrm>
            <a:off x="8474956" y="1691977"/>
            <a:ext cx="87795" cy="1727"/>
          </a:xfrm>
          <a:custGeom>
            <a:avLst/>
            <a:gdLst/>
            <a:ahLst/>
            <a:cxnLst/>
            <a:rect l="l" t="t" r="r" b="b"/>
            <a:pathLst>
              <a:path w="87795" h="1727">
                <a:moveTo>
                  <a:pt x="0" y="0"/>
                </a:moveTo>
                <a:lnTo>
                  <a:pt x="1240" y="1233"/>
                </a:lnTo>
                <a:lnTo>
                  <a:pt x="87795" y="1727"/>
                </a:lnTo>
                <a:lnTo>
                  <a:pt x="0" y="0"/>
                </a:lnTo>
                <a:close/>
              </a:path>
            </a:pathLst>
          </a:custGeom>
          <a:solidFill>
            <a:srgbClr val="000000"/>
          </a:solidFill>
        </p:spPr>
        <p:txBody>
          <a:bodyPr wrap="square" lIns="0" tIns="0" rIns="0" bIns="0" rtlCol="0">
            <a:noAutofit/>
          </a:bodyPr>
          <a:lstStyle/>
          <a:p>
            <a:endParaRPr/>
          </a:p>
        </p:txBody>
      </p:sp>
      <p:sp>
        <p:nvSpPr>
          <p:cNvPr id="2446" name="object 2446"/>
          <p:cNvSpPr/>
          <p:nvPr/>
        </p:nvSpPr>
        <p:spPr>
          <a:xfrm>
            <a:off x="8400552" y="1693211"/>
            <a:ext cx="74651" cy="105373"/>
          </a:xfrm>
          <a:custGeom>
            <a:avLst/>
            <a:gdLst/>
            <a:ahLst/>
            <a:cxnLst/>
            <a:rect l="l" t="t" r="r" b="b"/>
            <a:pathLst>
              <a:path w="74651" h="105373">
                <a:moveTo>
                  <a:pt x="74651" y="105373"/>
                </a:moveTo>
                <a:lnTo>
                  <a:pt x="74651" y="0"/>
                </a:lnTo>
                <a:lnTo>
                  <a:pt x="38937" y="0"/>
                </a:lnTo>
                <a:lnTo>
                  <a:pt x="0" y="57251"/>
                </a:lnTo>
                <a:lnTo>
                  <a:pt x="0" y="91800"/>
                </a:lnTo>
                <a:lnTo>
                  <a:pt x="74651" y="105373"/>
                </a:lnTo>
                <a:close/>
              </a:path>
            </a:pathLst>
          </a:custGeom>
          <a:solidFill>
            <a:srgbClr val="BEBEBE"/>
          </a:solidFill>
        </p:spPr>
        <p:txBody>
          <a:bodyPr wrap="square" lIns="0" tIns="0" rIns="0" bIns="0" rtlCol="0">
            <a:noAutofit/>
          </a:bodyPr>
          <a:lstStyle/>
          <a:p>
            <a:endParaRPr/>
          </a:p>
        </p:txBody>
      </p:sp>
      <p:sp>
        <p:nvSpPr>
          <p:cNvPr id="2447" name="object 2447"/>
          <p:cNvSpPr/>
          <p:nvPr/>
        </p:nvSpPr>
        <p:spPr>
          <a:xfrm>
            <a:off x="8399560" y="1783777"/>
            <a:ext cx="75395" cy="16040"/>
          </a:xfrm>
          <a:custGeom>
            <a:avLst/>
            <a:gdLst/>
            <a:ahLst/>
            <a:cxnLst/>
            <a:rect l="l" t="t" r="r" b="b"/>
            <a:pathLst>
              <a:path w="75395" h="16040">
                <a:moveTo>
                  <a:pt x="2232" y="1233"/>
                </a:moveTo>
                <a:lnTo>
                  <a:pt x="744" y="2467"/>
                </a:lnTo>
                <a:lnTo>
                  <a:pt x="75395" y="16040"/>
                </a:lnTo>
                <a:lnTo>
                  <a:pt x="2232" y="1233"/>
                </a:lnTo>
                <a:close/>
              </a:path>
              <a:path w="75395" h="16040">
                <a:moveTo>
                  <a:pt x="75395" y="16040"/>
                </a:moveTo>
                <a:lnTo>
                  <a:pt x="75891" y="13572"/>
                </a:lnTo>
                <a:lnTo>
                  <a:pt x="1240" y="0"/>
                </a:lnTo>
                <a:lnTo>
                  <a:pt x="248" y="246"/>
                </a:lnTo>
                <a:lnTo>
                  <a:pt x="0" y="987"/>
                </a:lnTo>
                <a:lnTo>
                  <a:pt x="0" y="1974"/>
                </a:lnTo>
                <a:lnTo>
                  <a:pt x="744" y="2467"/>
                </a:lnTo>
                <a:lnTo>
                  <a:pt x="2232" y="1233"/>
                </a:lnTo>
                <a:lnTo>
                  <a:pt x="75395" y="16040"/>
                </a:lnTo>
                <a:close/>
              </a:path>
            </a:pathLst>
          </a:custGeom>
          <a:solidFill>
            <a:srgbClr val="000000"/>
          </a:solidFill>
        </p:spPr>
        <p:txBody>
          <a:bodyPr wrap="square" lIns="0" tIns="0" rIns="0" bIns="0" rtlCol="0">
            <a:noAutofit/>
          </a:bodyPr>
          <a:lstStyle/>
          <a:p>
            <a:endParaRPr/>
          </a:p>
        </p:txBody>
      </p:sp>
      <p:sp>
        <p:nvSpPr>
          <p:cNvPr id="2448" name="object 2448"/>
          <p:cNvSpPr/>
          <p:nvPr/>
        </p:nvSpPr>
        <p:spPr>
          <a:xfrm>
            <a:off x="8399311" y="1749228"/>
            <a:ext cx="2480" cy="35782"/>
          </a:xfrm>
          <a:custGeom>
            <a:avLst/>
            <a:gdLst/>
            <a:ahLst/>
            <a:cxnLst/>
            <a:rect l="l" t="t" r="r" b="b"/>
            <a:pathLst>
              <a:path w="2480" h="35782">
                <a:moveTo>
                  <a:pt x="2480" y="35782"/>
                </a:moveTo>
                <a:lnTo>
                  <a:pt x="2480" y="1233"/>
                </a:lnTo>
                <a:lnTo>
                  <a:pt x="2232" y="1974"/>
                </a:lnTo>
                <a:lnTo>
                  <a:pt x="1984" y="493"/>
                </a:lnTo>
                <a:lnTo>
                  <a:pt x="1240" y="0"/>
                </a:lnTo>
                <a:lnTo>
                  <a:pt x="496" y="493"/>
                </a:lnTo>
                <a:lnTo>
                  <a:pt x="0" y="1233"/>
                </a:lnTo>
                <a:lnTo>
                  <a:pt x="0" y="35782"/>
                </a:lnTo>
                <a:lnTo>
                  <a:pt x="2480" y="35782"/>
                </a:lnTo>
                <a:close/>
              </a:path>
            </a:pathLst>
          </a:custGeom>
          <a:solidFill>
            <a:srgbClr val="000000"/>
          </a:solidFill>
        </p:spPr>
        <p:txBody>
          <a:bodyPr wrap="square" lIns="0" tIns="0" rIns="0" bIns="0" rtlCol="0">
            <a:noAutofit/>
          </a:bodyPr>
          <a:lstStyle/>
          <a:p>
            <a:endParaRPr/>
          </a:p>
        </p:txBody>
      </p:sp>
      <p:sp>
        <p:nvSpPr>
          <p:cNvPr id="2449" name="object 2449"/>
          <p:cNvSpPr/>
          <p:nvPr/>
        </p:nvSpPr>
        <p:spPr>
          <a:xfrm>
            <a:off x="8401295" y="1749721"/>
            <a:ext cx="496" cy="1480"/>
          </a:xfrm>
          <a:custGeom>
            <a:avLst/>
            <a:gdLst/>
            <a:ahLst/>
            <a:cxnLst/>
            <a:rect l="l" t="t" r="r" b="b"/>
            <a:pathLst>
              <a:path w="496" h="1480">
                <a:moveTo>
                  <a:pt x="496" y="740"/>
                </a:moveTo>
                <a:lnTo>
                  <a:pt x="0" y="0"/>
                </a:lnTo>
                <a:lnTo>
                  <a:pt x="248" y="1480"/>
                </a:lnTo>
                <a:lnTo>
                  <a:pt x="496" y="740"/>
                </a:lnTo>
                <a:close/>
              </a:path>
            </a:pathLst>
          </a:custGeom>
          <a:solidFill>
            <a:srgbClr val="000000"/>
          </a:solidFill>
        </p:spPr>
        <p:txBody>
          <a:bodyPr wrap="square" lIns="0" tIns="0" rIns="0" bIns="0" rtlCol="0">
            <a:noAutofit/>
          </a:bodyPr>
          <a:lstStyle/>
          <a:p>
            <a:endParaRPr/>
          </a:p>
        </p:txBody>
      </p:sp>
      <p:sp>
        <p:nvSpPr>
          <p:cNvPr id="2450" name="object 2450"/>
          <p:cNvSpPr/>
          <p:nvPr/>
        </p:nvSpPr>
        <p:spPr>
          <a:xfrm>
            <a:off x="8399560" y="1691976"/>
            <a:ext cx="39929" cy="59226"/>
          </a:xfrm>
          <a:custGeom>
            <a:avLst/>
            <a:gdLst/>
            <a:ahLst/>
            <a:cxnLst/>
            <a:rect l="l" t="t" r="r" b="b"/>
            <a:pathLst>
              <a:path w="39929" h="59226">
                <a:moveTo>
                  <a:pt x="39929" y="2467"/>
                </a:moveTo>
                <a:lnTo>
                  <a:pt x="39929" y="0"/>
                </a:lnTo>
                <a:lnTo>
                  <a:pt x="38937" y="493"/>
                </a:lnTo>
                <a:lnTo>
                  <a:pt x="39929" y="2467"/>
                </a:lnTo>
                <a:close/>
              </a:path>
              <a:path w="39929" h="59226">
                <a:moveTo>
                  <a:pt x="40673" y="246"/>
                </a:moveTo>
                <a:lnTo>
                  <a:pt x="39929" y="0"/>
                </a:lnTo>
                <a:lnTo>
                  <a:pt x="39929" y="2467"/>
                </a:lnTo>
                <a:lnTo>
                  <a:pt x="38937" y="493"/>
                </a:lnTo>
                <a:lnTo>
                  <a:pt x="0" y="57745"/>
                </a:lnTo>
                <a:lnTo>
                  <a:pt x="1984" y="59226"/>
                </a:lnTo>
                <a:lnTo>
                  <a:pt x="40921" y="1974"/>
                </a:lnTo>
                <a:lnTo>
                  <a:pt x="41169" y="987"/>
                </a:lnTo>
                <a:lnTo>
                  <a:pt x="40673" y="246"/>
                </a:lnTo>
                <a:close/>
              </a:path>
            </a:pathLst>
          </a:custGeom>
          <a:solidFill>
            <a:srgbClr val="000000"/>
          </a:solidFill>
        </p:spPr>
        <p:txBody>
          <a:bodyPr wrap="square" lIns="0" tIns="0" rIns="0" bIns="0" rtlCol="0">
            <a:noAutofit/>
          </a:bodyPr>
          <a:lstStyle/>
          <a:p>
            <a:endParaRPr/>
          </a:p>
        </p:txBody>
      </p:sp>
      <p:sp>
        <p:nvSpPr>
          <p:cNvPr id="2451" name="object 2451"/>
          <p:cNvSpPr/>
          <p:nvPr/>
        </p:nvSpPr>
        <p:spPr>
          <a:xfrm>
            <a:off x="8439490" y="1691977"/>
            <a:ext cx="36953" cy="2467"/>
          </a:xfrm>
          <a:custGeom>
            <a:avLst/>
            <a:gdLst/>
            <a:ahLst/>
            <a:cxnLst/>
            <a:rect l="l" t="t" r="r" b="b"/>
            <a:pathLst>
              <a:path w="36953" h="2467">
                <a:moveTo>
                  <a:pt x="35713" y="0"/>
                </a:moveTo>
                <a:lnTo>
                  <a:pt x="0" y="0"/>
                </a:lnTo>
                <a:lnTo>
                  <a:pt x="0" y="2467"/>
                </a:lnTo>
                <a:lnTo>
                  <a:pt x="35713" y="2467"/>
                </a:lnTo>
                <a:lnTo>
                  <a:pt x="36457" y="1974"/>
                </a:lnTo>
                <a:lnTo>
                  <a:pt x="36953" y="1233"/>
                </a:lnTo>
                <a:lnTo>
                  <a:pt x="36457" y="493"/>
                </a:lnTo>
                <a:lnTo>
                  <a:pt x="35713" y="0"/>
                </a:lnTo>
                <a:lnTo>
                  <a:pt x="34473" y="1233"/>
                </a:lnTo>
                <a:lnTo>
                  <a:pt x="35713" y="0"/>
                </a:lnTo>
                <a:close/>
              </a:path>
            </a:pathLst>
          </a:custGeom>
          <a:solidFill>
            <a:srgbClr val="000000"/>
          </a:solidFill>
        </p:spPr>
        <p:txBody>
          <a:bodyPr wrap="square" lIns="0" tIns="0" rIns="0" bIns="0" rtlCol="0">
            <a:noAutofit/>
          </a:bodyPr>
          <a:lstStyle/>
          <a:p>
            <a:endParaRPr/>
          </a:p>
        </p:txBody>
      </p:sp>
      <p:sp>
        <p:nvSpPr>
          <p:cNvPr id="2452" name="object 2452"/>
          <p:cNvSpPr/>
          <p:nvPr/>
        </p:nvSpPr>
        <p:spPr>
          <a:xfrm>
            <a:off x="8473962" y="1693210"/>
            <a:ext cx="2480" cy="106360"/>
          </a:xfrm>
          <a:custGeom>
            <a:avLst/>
            <a:gdLst/>
            <a:ahLst/>
            <a:cxnLst/>
            <a:rect l="l" t="t" r="r" b="b"/>
            <a:pathLst>
              <a:path w="2480" h="106360">
                <a:moveTo>
                  <a:pt x="1488" y="104139"/>
                </a:moveTo>
                <a:lnTo>
                  <a:pt x="2480" y="105373"/>
                </a:lnTo>
                <a:lnTo>
                  <a:pt x="2480" y="0"/>
                </a:lnTo>
                <a:lnTo>
                  <a:pt x="0" y="0"/>
                </a:lnTo>
                <a:lnTo>
                  <a:pt x="0" y="105373"/>
                </a:lnTo>
                <a:lnTo>
                  <a:pt x="496" y="106113"/>
                </a:lnTo>
                <a:lnTo>
                  <a:pt x="1240" y="106360"/>
                </a:lnTo>
                <a:lnTo>
                  <a:pt x="1984" y="106113"/>
                </a:lnTo>
                <a:lnTo>
                  <a:pt x="2480" y="105373"/>
                </a:lnTo>
                <a:lnTo>
                  <a:pt x="1488" y="104139"/>
                </a:lnTo>
                <a:close/>
              </a:path>
            </a:pathLst>
          </a:custGeom>
          <a:solidFill>
            <a:srgbClr val="000000"/>
          </a:solidFill>
        </p:spPr>
        <p:txBody>
          <a:bodyPr wrap="square" lIns="0" tIns="0" rIns="0" bIns="0" rtlCol="0">
            <a:noAutofit/>
          </a:bodyPr>
          <a:lstStyle/>
          <a:p>
            <a:endParaRPr/>
          </a:p>
        </p:txBody>
      </p:sp>
      <p:sp>
        <p:nvSpPr>
          <p:cNvPr id="2453" name="object 2453"/>
          <p:cNvSpPr/>
          <p:nvPr/>
        </p:nvSpPr>
        <p:spPr>
          <a:xfrm>
            <a:off x="7755971" y="1743059"/>
            <a:ext cx="36705" cy="34548"/>
          </a:xfrm>
          <a:custGeom>
            <a:avLst/>
            <a:gdLst/>
            <a:ahLst/>
            <a:cxnLst/>
            <a:rect l="l" t="t" r="r" b="b"/>
            <a:pathLst>
              <a:path w="36705" h="34548">
                <a:moveTo>
                  <a:pt x="0" y="5429"/>
                </a:moveTo>
                <a:lnTo>
                  <a:pt x="0" y="28379"/>
                </a:lnTo>
                <a:lnTo>
                  <a:pt x="496" y="30353"/>
                </a:lnTo>
                <a:lnTo>
                  <a:pt x="1736" y="32080"/>
                </a:lnTo>
                <a:lnTo>
                  <a:pt x="3472" y="33314"/>
                </a:lnTo>
                <a:lnTo>
                  <a:pt x="5456" y="33808"/>
                </a:lnTo>
                <a:lnTo>
                  <a:pt x="31249" y="34548"/>
                </a:lnTo>
                <a:lnTo>
                  <a:pt x="33233" y="34055"/>
                </a:lnTo>
                <a:lnTo>
                  <a:pt x="34969" y="32821"/>
                </a:lnTo>
                <a:lnTo>
                  <a:pt x="36209" y="31093"/>
                </a:lnTo>
                <a:lnTo>
                  <a:pt x="36705" y="28872"/>
                </a:lnTo>
                <a:lnTo>
                  <a:pt x="36705" y="6169"/>
                </a:lnTo>
                <a:lnTo>
                  <a:pt x="36209" y="4195"/>
                </a:lnTo>
                <a:lnTo>
                  <a:pt x="34721" y="2467"/>
                </a:lnTo>
                <a:lnTo>
                  <a:pt x="32985" y="1233"/>
                </a:lnTo>
                <a:lnTo>
                  <a:pt x="31249" y="740"/>
                </a:lnTo>
                <a:lnTo>
                  <a:pt x="5456" y="0"/>
                </a:lnTo>
                <a:lnTo>
                  <a:pt x="3720" y="493"/>
                </a:lnTo>
                <a:lnTo>
                  <a:pt x="1984" y="1480"/>
                </a:lnTo>
                <a:lnTo>
                  <a:pt x="496" y="3208"/>
                </a:lnTo>
                <a:lnTo>
                  <a:pt x="0" y="5429"/>
                </a:lnTo>
                <a:close/>
              </a:path>
            </a:pathLst>
          </a:custGeom>
          <a:solidFill>
            <a:srgbClr val="7E7E7E"/>
          </a:solidFill>
        </p:spPr>
        <p:txBody>
          <a:bodyPr wrap="square" lIns="0" tIns="0" rIns="0" bIns="0" rtlCol="0">
            <a:noAutofit/>
          </a:bodyPr>
          <a:lstStyle/>
          <a:p>
            <a:endParaRPr/>
          </a:p>
        </p:txBody>
      </p:sp>
      <p:sp>
        <p:nvSpPr>
          <p:cNvPr id="2454" name="object 2454"/>
          <p:cNvSpPr/>
          <p:nvPr/>
        </p:nvSpPr>
        <p:spPr>
          <a:xfrm>
            <a:off x="8007951" y="1748982"/>
            <a:ext cx="38937" cy="36769"/>
          </a:xfrm>
          <a:custGeom>
            <a:avLst/>
            <a:gdLst/>
            <a:ahLst/>
            <a:cxnLst/>
            <a:rect l="l" t="t" r="r" b="b"/>
            <a:pathLst>
              <a:path w="38937" h="36769">
                <a:moveTo>
                  <a:pt x="0" y="5675"/>
                </a:moveTo>
                <a:lnTo>
                  <a:pt x="0" y="30106"/>
                </a:lnTo>
                <a:lnTo>
                  <a:pt x="496" y="32327"/>
                </a:lnTo>
                <a:lnTo>
                  <a:pt x="1736" y="34301"/>
                </a:lnTo>
                <a:lnTo>
                  <a:pt x="3720" y="35535"/>
                </a:lnTo>
                <a:lnTo>
                  <a:pt x="5704" y="36029"/>
                </a:lnTo>
                <a:lnTo>
                  <a:pt x="32985" y="36769"/>
                </a:lnTo>
                <a:lnTo>
                  <a:pt x="34969" y="36276"/>
                </a:lnTo>
                <a:lnTo>
                  <a:pt x="36953" y="34795"/>
                </a:lnTo>
                <a:lnTo>
                  <a:pt x="38441" y="33067"/>
                </a:lnTo>
                <a:lnTo>
                  <a:pt x="38937" y="30846"/>
                </a:lnTo>
                <a:lnTo>
                  <a:pt x="38937" y="6416"/>
                </a:lnTo>
                <a:lnTo>
                  <a:pt x="38441" y="4441"/>
                </a:lnTo>
                <a:lnTo>
                  <a:pt x="36953" y="2467"/>
                </a:lnTo>
                <a:lnTo>
                  <a:pt x="34969" y="1233"/>
                </a:lnTo>
                <a:lnTo>
                  <a:pt x="32985" y="740"/>
                </a:lnTo>
                <a:lnTo>
                  <a:pt x="5704" y="0"/>
                </a:lnTo>
                <a:lnTo>
                  <a:pt x="3968" y="493"/>
                </a:lnTo>
                <a:lnTo>
                  <a:pt x="1984" y="1727"/>
                </a:lnTo>
                <a:lnTo>
                  <a:pt x="496" y="3454"/>
                </a:lnTo>
                <a:lnTo>
                  <a:pt x="0" y="5675"/>
                </a:lnTo>
                <a:close/>
              </a:path>
            </a:pathLst>
          </a:custGeom>
          <a:solidFill>
            <a:srgbClr val="7E7E7E"/>
          </a:solidFill>
        </p:spPr>
        <p:txBody>
          <a:bodyPr wrap="square" lIns="0" tIns="0" rIns="0" bIns="0" rtlCol="0">
            <a:noAutofit/>
          </a:bodyPr>
          <a:lstStyle/>
          <a:p>
            <a:endParaRPr/>
          </a:p>
        </p:txBody>
      </p:sp>
      <p:sp>
        <p:nvSpPr>
          <p:cNvPr id="2455" name="object 2455"/>
          <p:cNvSpPr/>
          <p:nvPr/>
        </p:nvSpPr>
        <p:spPr>
          <a:xfrm>
            <a:off x="8013655" y="1747747"/>
            <a:ext cx="27281" cy="3208"/>
          </a:xfrm>
          <a:custGeom>
            <a:avLst/>
            <a:gdLst/>
            <a:ahLst/>
            <a:cxnLst/>
            <a:rect l="l" t="t" r="r" b="b"/>
            <a:pathLst>
              <a:path w="27281" h="3208">
                <a:moveTo>
                  <a:pt x="27281" y="740"/>
                </a:moveTo>
                <a:lnTo>
                  <a:pt x="0" y="0"/>
                </a:lnTo>
                <a:lnTo>
                  <a:pt x="0" y="2467"/>
                </a:lnTo>
                <a:lnTo>
                  <a:pt x="27281" y="3208"/>
                </a:lnTo>
                <a:lnTo>
                  <a:pt x="27281" y="740"/>
                </a:lnTo>
                <a:close/>
              </a:path>
            </a:pathLst>
          </a:custGeom>
          <a:solidFill>
            <a:srgbClr val="000000"/>
          </a:solidFill>
        </p:spPr>
        <p:txBody>
          <a:bodyPr wrap="square" lIns="0" tIns="0" rIns="0" bIns="0" rtlCol="0">
            <a:noAutofit/>
          </a:bodyPr>
          <a:lstStyle/>
          <a:p>
            <a:endParaRPr/>
          </a:p>
        </p:txBody>
      </p:sp>
      <p:sp>
        <p:nvSpPr>
          <p:cNvPr id="2456" name="object 2456"/>
          <p:cNvSpPr/>
          <p:nvPr/>
        </p:nvSpPr>
        <p:spPr>
          <a:xfrm>
            <a:off x="8040935" y="1748489"/>
            <a:ext cx="7192" cy="6909"/>
          </a:xfrm>
          <a:custGeom>
            <a:avLst/>
            <a:gdLst/>
            <a:ahLst/>
            <a:cxnLst/>
            <a:rect l="l" t="t" r="r" b="b"/>
            <a:pathLst>
              <a:path w="7192" h="6909">
                <a:moveTo>
                  <a:pt x="4712" y="1974"/>
                </a:moveTo>
                <a:lnTo>
                  <a:pt x="2480" y="493"/>
                </a:lnTo>
                <a:lnTo>
                  <a:pt x="0" y="0"/>
                </a:lnTo>
                <a:lnTo>
                  <a:pt x="0" y="2467"/>
                </a:lnTo>
                <a:lnTo>
                  <a:pt x="1488" y="2961"/>
                </a:lnTo>
                <a:lnTo>
                  <a:pt x="3224" y="3948"/>
                </a:lnTo>
                <a:lnTo>
                  <a:pt x="4464" y="5429"/>
                </a:lnTo>
                <a:lnTo>
                  <a:pt x="4712" y="6909"/>
                </a:lnTo>
                <a:lnTo>
                  <a:pt x="7192" y="6909"/>
                </a:lnTo>
                <a:lnTo>
                  <a:pt x="6448" y="4441"/>
                </a:lnTo>
                <a:lnTo>
                  <a:pt x="4712" y="1974"/>
                </a:lnTo>
                <a:close/>
              </a:path>
            </a:pathLst>
          </a:custGeom>
          <a:solidFill>
            <a:srgbClr val="000000"/>
          </a:solidFill>
        </p:spPr>
        <p:txBody>
          <a:bodyPr wrap="square" lIns="0" tIns="0" rIns="0" bIns="0" rtlCol="0">
            <a:noAutofit/>
          </a:bodyPr>
          <a:lstStyle/>
          <a:p>
            <a:endParaRPr/>
          </a:p>
        </p:txBody>
      </p:sp>
      <p:sp>
        <p:nvSpPr>
          <p:cNvPr id="2457" name="object 2457"/>
          <p:cNvSpPr/>
          <p:nvPr/>
        </p:nvSpPr>
        <p:spPr>
          <a:xfrm>
            <a:off x="8045647" y="1754762"/>
            <a:ext cx="2480" cy="25700"/>
          </a:xfrm>
          <a:custGeom>
            <a:avLst/>
            <a:gdLst/>
            <a:ahLst/>
            <a:cxnLst/>
            <a:rect l="l" t="t" r="r" b="b"/>
            <a:pathLst>
              <a:path w="2480" h="25700">
                <a:moveTo>
                  <a:pt x="0" y="25700"/>
                </a:moveTo>
                <a:lnTo>
                  <a:pt x="2480" y="25700"/>
                </a:lnTo>
                <a:lnTo>
                  <a:pt x="2480" y="0"/>
                </a:lnTo>
                <a:lnTo>
                  <a:pt x="0" y="0"/>
                </a:lnTo>
                <a:lnTo>
                  <a:pt x="0" y="25700"/>
                </a:lnTo>
                <a:close/>
              </a:path>
            </a:pathLst>
          </a:custGeom>
          <a:solidFill>
            <a:srgbClr val="000000"/>
          </a:solidFill>
        </p:spPr>
        <p:txBody>
          <a:bodyPr wrap="square" lIns="0" tIns="0" rIns="0" bIns="0" rtlCol="0">
            <a:noAutofit/>
          </a:bodyPr>
          <a:lstStyle/>
          <a:p>
            <a:endParaRPr/>
          </a:p>
        </p:txBody>
      </p:sp>
      <p:sp>
        <p:nvSpPr>
          <p:cNvPr id="2458" name="object 2458"/>
          <p:cNvSpPr/>
          <p:nvPr/>
        </p:nvSpPr>
        <p:spPr>
          <a:xfrm>
            <a:off x="8040935" y="1779828"/>
            <a:ext cx="7192" cy="7156"/>
          </a:xfrm>
          <a:custGeom>
            <a:avLst/>
            <a:gdLst/>
            <a:ahLst/>
            <a:cxnLst/>
            <a:rect l="l" t="t" r="r" b="b"/>
            <a:pathLst>
              <a:path w="7192" h="7156">
                <a:moveTo>
                  <a:pt x="0" y="4688"/>
                </a:moveTo>
                <a:lnTo>
                  <a:pt x="0" y="7156"/>
                </a:lnTo>
                <a:lnTo>
                  <a:pt x="2480" y="6416"/>
                </a:lnTo>
                <a:lnTo>
                  <a:pt x="4712" y="4935"/>
                </a:lnTo>
                <a:lnTo>
                  <a:pt x="6448" y="2714"/>
                </a:lnTo>
                <a:lnTo>
                  <a:pt x="7192" y="0"/>
                </a:lnTo>
                <a:lnTo>
                  <a:pt x="4712" y="0"/>
                </a:lnTo>
                <a:lnTo>
                  <a:pt x="4464" y="1727"/>
                </a:lnTo>
                <a:lnTo>
                  <a:pt x="3224" y="2961"/>
                </a:lnTo>
                <a:lnTo>
                  <a:pt x="1488" y="4441"/>
                </a:lnTo>
                <a:lnTo>
                  <a:pt x="0" y="4688"/>
                </a:lnTo>
                <a:close/>
              </a:path>
            </a:pathLst>
          </a:custGeom>
          <a:solidFill>
            <a:srgbClr val="000000"/>
          </a:solidFill>
        </p:spPr>
        <p:txBody>
          <a:bodyPr wrap="square" lIns="0" tIns="0" rIns="0" bIns="0" rtlCol="0">
            <a:noAutofit/>
          </a:bodyPr>
          <a:lstStyle/>
          <a:p>
            <a:endParaRPr/>
          </a:p>
        </p:txBody>
      </p:sp>
      <p:sp>
        <p:nvSpPr>
          <p:cNvPr id="2459" name="object 2459"/>
          <p:cNvSpPr/>
          <p:nvPr/>
        </p:nvSpPr>
        <p:spPr>
          <a:xfrm>
            <a:off x="8013655" y="1783777"/>
            <a:ext cx="27281" cy="3208"/>
          </a:xfrm>
          <a:custGeom>
            <a:avLst/>
            <a:gdLst/>
            <a:ahLst/>
            <a:cxnLst/>
            <a:rect l="l" t="t" r="r" b="b"/>
            <a:pathLst>
              <a:path w="27281" h="3208">
                <a:moveTo>
                  <a:pt x="0" y="2467"/>
                </a:moveTo>
                <a:lnTo>
                  <a:pt x="27281" y="3208"/>
                </a:lnTo>
                <a:lnTo>
                  <a:pt x="27281" y="740"/>
                </a:lnTo>
                <a:lnTo>
                  <a:pt x="0" y="0"/>
                </a:lnTo>
                <a:lnTo>
                  <a:pt x="0" y="2467"/>
                </a:lnTo>
                <a:close/>
              </a:path>
            </a:pathLst>
          </a:custGeom>
          <a:solidFill>
            <a:srgbClr val="000000"/>
          </a:solidFill>
        </p:spPr>
        <p:txBody>
          <a:bodyPr wrap="square" lIns="0" tIns="0" rIns="0" bIns="0" rtlCol="0">
            <a:noAutofit/>
          </a:bodyPr>
          <a:lstStyle/>
          <a:p>
            <a:endParaRPr/>
          </a:p>
        </p:txBody>
      </p:sp>
      <p:sp>
        <p:nvSpPr>
          <p:cNvPr id="2460" name="object 2460"/>
          <p:cNvSpPr/>
          <p:nvPr/>
        </p:nvSpPr>
        <p:spPr>
          <a:xfrm>
            <a:off x="8006709" y="1779088"/>
            <a:ext cx="6944" cy="7156"/>
          </a:xfrm>
          <a:custGeom>
            <a:avLst/>
            <a:gdLst/>
            <a:ahLst/>
            <a:cxnLst/>
            <a:rect l="l" t="t" r="r" b="b"/>
            <a:pathLst>
              <a:path w="6944" h="7156">
                <a:moveTo>
                  <a:pt x="5456" y="4195"/>
                </a:moveTo>
                <a:lnTo>
                  <a:pt x="3968" y="3208"/>
                </a:lnTo>
                <a:lnTo>
                  <a:pt x="2976" y="1727"/>
                </a:lnTo>
                <a:lnTo>
                  <a:pt x="2480" y="0"/>
                </a:lnTo>
                <a:lnTo>
                  <a:pt x="0" y="0"/>
                </a:lnTo>
                <a:lnTo>
                  <a:pt x="496" y="2714"/>
                </a:lnTo>
                <a:lnTo>
                  <a:pt x="1984" y="5182"/>
                </a:lnTo>
                <a:lnTo>
                  <a:pt x="4464" y="6662"/>
                </a:lnTo>
                <a:lnTo>
                  <a:pt x="6944" y="7156"/>
                </a:lnTo>
                <a:lnTo>
                  <a:pt x="6944" y="4688"/>
                </a:lnTo>
                <a:lnTo>
                  <a:pt x="5456" y="4195"/>
                </a:lnTo>
                <a:close/>
              </a:path>
            </a:pathLst>
          </a:custGeom>
          <a:solidFill>
            <a:srgbClr val="000000"/>
          </a:solidFill>
        </p:spPr>
        <p:txBody>
          <a:bodyPr wrap="square" lIns="0" tIns="0" rIns="0" bIns="0" rtlCol="0">
            <a:noAutofit/>
          </a:bodyPr>
          <a:lstStyle/>
          <a:p>
            <a:endParaRPr/>
          </a:p>
        </p:txBody>
      </p:sp>
      <p:sp>
        <p:nvSpPr>
          <p:cNvPr id="2461" name="object 2461"/>
          <p:cNvSpPr/>
          <p:nvPr/>
        </p:nvSpPr>
        <p:spPr>
          <a:xfrm>
            <a:off x="8006709" y="1754022"/>
            <a:ext cx="2480" cy="25700"/>
          </a:xfrm>
          <a:custGeom>
            <a:avLst/>
            <a:gdLst/>
            <a:ahLst/>
            <a:cxnLst/>
            <a:rect l="l" t="t" r="r" b="b"/>
            <a:pathLst>
              <a:path w="2480" h="25700">
                <a:moveTo>
                  <a:pt x="0" y="25700"/>
                </a:moveTo>
                <a:lnTo>
                  <a:pt x="2480" y="25700"/>
                </a:lnTo>
                <a:lnTo>
                  <a:pt x="2480" y="0"/>
                </a:lnTo>
                <a:lnTo>
                  <a:pt x="0" y="0"/>
                </a:lnTo>
                <a:lnTo>
                  <a:pt x="0" y="25700"/>
                </a:lnTo>
                <a:close/>
              </a:path>
            </a:pathLst>
          </a:custGeom>
          <a:solidFill>
            <a:srgbClr val="000000"/>
          </a:solidFill>
        </p:spPr>
        <p:txBody>
          <a:bodyPr wrap="square" lIns="0" tIns="0" rIns="0" bIns="0" rtlCol="0">
            <a:noAutofit/>
          </a:bodyPr>
          <a:lstStyle/>
          <a:p>
            <a:endParaRPr/>
          </a:p>
        </p:txBody>
      </p:sp>
      <p:sp>
        <p:nvSpPr>
          <p:cNvPr id="2462" name="object 2462"/>
          <p:cNvSpPr/>
          <p:nvPr/>
        </p:nvSpPr>
        <p:spPr>
          <a:xfrm>
            <a:off x="8006709" y="1747748"/>
            <a:ext cx="6944" cy="6909"/>
          </a:xfrm>
          <a:custGeom>
            <a:avLst/>
            <a:gdLst/>
            <a:ahLst/>
            <a:cxnLst/>
            <a:rect l="l" t="t" r="r" b="b"/>
            <a:pathLst>
              <a:path w="6944" h="6909">
                <a:moveTo>
                  <a:pt x="2480" y="6909"/>
                </a:moveTo>
                <a:lnTo>
                  <a:pt x="2728" y="5182"/>
                </a:lnTo>
                <a:lnTo>
                  <a:pt x="3968" y="3948"/>
                </a:lnTo>
                <a:lnTo>
                  <a:pt x="5704" y="2961"/>
                </a:lnTo>
                <a:lnTo>
                  <a:pt x="6944" y="2467"/>
                </a:lnTo>
                <a:lnTo>
                  <a:pt x="6944" y="0"/>
                </a:lnTo>
                <a:lnTo>
                  <a:pt x="4712" y="493"/>
                </a:lnTo>
                <a:lnTo>
                  <a:pt x="2480" y="1974"/>
                </a:lnTo>
                <a:lnTo>
                  <a:pt x="744" y="4195"/>
                </a:lnTo>
                <a:lnTo>
                  <a:pt x="0" y="6909"/>
                </a:lnTo>
                <a:lnTo>
                  <a:pt x="2480" y="6909"/>
                </a:lnTo>
                <a:close/>
              </a:path>
            </a:pathLst>
          </a:custGeom>
          <a:solidFill>
            <a:srgbClr val="000000"/>
          </a:solidFill>
        </p:spPr>
        <p:txBody>
          <a:bodyPr wrap="square" lIns="0" tIns="0" rIns="0" bIns="0" rtlCol="0">
            <a:noAutofit/>
          </a:bodyPr>
          <a:lstStyle/>
          <a:p>
            <a:endParaRPr/>
          </a:p>
        </p:txBody>
      </p:sp>
      <p:sp>
        <p:nvSpPr>
          <p:cNvPr id="2463" name="object 2463"/>
          <p:cNvSpPr/>
          <p:nvPr/>
        </p:nvSpPr>
        <p:spPr>
          <a:xfrm>
            <a:off x="7761427" y="1741825"/>
            <a:ext cx="25793" cy="3208"/>
          </a:xfrm>
          <a:custGeom>
            <a:avLst/>
            <a:gdLst/>
            <a:ahLst/>
            <a:cxnLst/>
            <a:rect l="l" t="t" r="r" b="b"/>
            <a:pathLst>
              <a:path w="25793" h="3208">
                <a:moveTo>
                  <a:pt x="25793" y="740"/>
                </a:moveTo>
                <a:lnTo>
                  <a:pt x="0" y="0"/>
                </a:lnTo>
                <a:lnTo>
                  <a:pt x="0" y="2467"/>
                </a:lnTo>
                <a:lnTo>
                  <a:pt x="25793" y="3208"/>
                </a:lnTo>
                <a:lnTo>
                  <a:pt x="25793" y="740"/>
                </a:lnTo>
                <a:close/>
              </a:path>
            </a:pathLst>
          </a:custGeom>
          <a:solidFill>
            <a:srgbClr val="000000"/>
          </a:solidFill>
        </p:spPr>
        <p:txBody>
          <a:bodyPr wrap="square" lIns="0" tIns="0" rIns="0" bIns="0" rtlCol="0">
            <a:noAutofit/>
          </a:bodyPr>
          <a:lstStyle/>
          <a:p>
            <a:endParaRPr/>
          </a:p>
        </p:txBody>
      </p:sp>
      <p:sp>
        <p:nvSpPr>
          <p:cNvPr id="2464" name="object 2464"/>
          <p:cNvSpPr/>
          <p:nvPr/>
        </p:nvSpPr>
        <p:spPr>
          <a:xfrm>
            <a:off x="7787220" y="1742565"/>
            <a:ext cx="6696" cy="6662"/>
          </a:xfrm>
          <a:custGeom>
            <a:avLst/>
            <a:gdLst/>
            <a:ahLst/>
            <a:cxnLst/>
            <a:rect l="l" t="t" r="r" b="b"/>
            <a:pathLst>
              <a:path w="6696" h="6662">
                <a:moveTo>
                  <a:pt x="4216" y="1974"/>
                </a:moveTo>
                <a:lnTo>
                  <a:pt x="2232" y="740"/>
                </a:lnTo>
                <a:lnTo>
                  <a:pt x="0" y="0"/>
                </a:lnTo>
                <a:lnTo>
                  <a:pt x="0" y="2467"/>
                </a:lnTo>
                <a:lnTo>
                  <a:pt x="1240" y="2714"/>
                </a:lnTo>
                <a:lnTo>
                  <a:pt x="2728" y="3948"/>
                </a:lnTo>
                <a:lnTo>
                  <a:pt x="3968" y="5182"/>
                </a:lnTo>
                <a:lnTo>
                  <a:pt x="4216" y="6662"/>
                </a:lnTo>
                <a:lnTo>
                  <a:pt x="6696" y="6662"/>
                </a:lnTo>
                <a:lnTo>
                  <a:pt x="5952" y="4195"/>
                </a:lnTo>
                <a:lnTo>
                  <a:pt x="4216" y="1974"/>
                </a:lnTo>
                <a:close/>
              </a:path>
            </a:pathLst>
          </a:custGeom>
          <a:solidFill>
            <a:srgbClr val="000000"/>
          </a:solidFill>
        </p:spPr>
        <p:txBody>
          <a:bodyPr wrap="square" lIns="0" tIns="0" rIns="0" bIns="0" rtlCol="0">
            <a:noAutofit/>
          </a:bodyPr>
          <a:lstStyle/>
          <a:p>
            <a:endParaRPr/>
          </a:p>
        </p:txBody>
      </p:sp>
      <p:sp>
        <p:nvSpPr>
          <p:cNvPr id="2465" name="object 2465"/>
          <p:cNvSpPr/>
          <p:nvPr/>
        </p:nvSpPr>
        <p:spPr>
          <a:xfrm>
            <a:off x="7791436" y="1760580"/>
            <a:ext cx="2480" cy="0"/>
          </a:xfrm>
          <a:custGeom>
            <a:avLst/>
            <a:gdLst/>
            <a:ahLst/>
            <a:cxnLst/>
            <a:rect l="l" t="t" r="r" b="b"/>
            <a:pathLst>
              <a:path w="2480">
                <a:moveTo>
                  <a:pt x="0" y="0"/>
                </a:moveTo>
                <a:lnTo>
                  <a:pt x="2480" y="0"/>
                </a:lnTo>
              </a:path>
            </a:pathLst>
          </a:custGeom>
          <a:ln w="23973">
            <a:solidFill>
              <a:srgbClr val="000000"/>
            </a:solidFill>
          </a:ln>
        </p:spPr>
        <p:txBody>
          <a:bodyPr wrap="square" lIns="0" tIns="0" rIns="0" bIns="0" rtlCol="0">
            <a:noAutofit/>
          </a:bodyPr>
          <a:lstStyle/>
          <a:p>
            <a:endParaRPr/>
          </a:p>
        </p:txBody>
      </p:sp>
      <p:sp>
        <p:nvSpPr>
          <p:cNvPr id="2466" name="object 2466"/>
          <p:cNvSpPr/>
          <p:nvPr/>
        </p:nvSpPr>
        <p:spPr>
          <a:xfrm>
            <a:off x="7787220" y="1771932"/>
            <a:ext cx="6696" cy="6909"/>
          </a:xfrm>
          <a:custGeom>
            <a:avLst/>
            <a:gdLst/>
            <a:ahLst/>
            <a:cxnLst/>
            <a:rect l="l" t="t" r="r" b="b"/>
            <a:pathLst>
              <a:path w="6696" h="6909">
                <a:moveTo>
                  <a:pt x="4712" y="4935"/>
                </a:moveTo>
                <a:lnTo>
                  <a:pt x="6200" y="2714"/>
                </a:lnTo>
                <a:lnTo>
                  <a:pt x="6696" y="0"/>
                </a:lnTo>
                <a:lnTo>
                  <a:pt x="4216" y="0"/>
                </a:lnTo>
                <a:lnTo>
                  <a:pt x="3720" y="1727"/>
                </a:lnTo>
                <a:lnTo>
                  <a:pt x="2728" y="2961"/>
                </a:lnTo>
                <a:lnTo>
                  <a:pt x="1488" y="3948"/>
                </a:lnTo>
                <a:lnTo>
                  <a:pt x="0" y="4441"/>
                </a:lnTo>
                <a:lnTo>
                  <a:pt x="0" y="6909"/>
                </a:lnTo>
                <a:lnTo>
                  <a:pt x="2480" y="6416"/>
                </a:lnTo>
                <a:lnTo>
                  <a:pt x="4712" y="4935"/>
                </a:lnTo>
                <a:close/>
              </a:path>
            </a:pathLst>
          </a:custGeom>
          <a:solidFill>
            <a:srgbClr val="000000"/>
          </a:solidFill>
        </p:spPr>
        <p:txBody>
          <a:bodyPr wrap="square" lIns="0" tIns="0" rIns="0" bIns="0" rtlCol="0">
            <a:noAutofit/>
          </a:bodyPr>
          <a:lstStyle/>
          <a:p>
            <a:endParaRPr/>
          </a:p>
        </p:txBody>
      </p:sp>
      <p:sp>
        <p:nvSpPr>
          <p:cNvPr id="2467" name="object 2467"/>
          <p:cNvSpPr/>
          <p:nvPr/>
        </p:nvSpPr>
        <p:spPr>
          <a:xfrm>
            <a:off x="7761427" y="1775633"/>
            <a:ext cx="25793" cy="3208"/>
          </a:xfrm>
          <a:custGeom>
            <a:avLst/>
            <a:gdLst/>
            <a:ahLst/>
            <a:cxnLst/>
            <a:rect l="l" t="t" r="r" b="b"/>
            <a:pathLst>
              <a:path w="25793" h="3208">
                <a:moveTo>
                  <a:pt x="0" y="2467"/>
                </a:moveTo>
                <a:lnTo>
                  <a:pt x="25793" y="3208"/>
                </a:lnTo>
                <a:lnTo>
                  <a:pt x="25793" y="740"/>
                </a:lnTo>
                <a:lnTo>
                  <a:pt x="0" y="0"/>
                </a:lnTo>
                <a:lnTo>
                  <a:pt x="0" y="2467"/>
                </a:lnTo>
                <a:close/>
              </a:path>
            </a:pathLst>
          </a:custGeom>
          <a:solidFill>
            <a:srgbClr val="000000"/>
          </a:solidFill>
        </p:spPr>
        <p:txBody>
          <a:bodyPr wrap="square" lIns="0" tIns="0" rIns="0" bIns="0" rtlCol="0">
            <a:noAutofit/>
          </a:bodyPr>
          <a:lstStyle/>
          <a:p>
            <a:endParaRPr/>
          </a:p>
        </p:txBody>
      </p:sp>
      <p:sp>
        <p:nvSpPr>
          <p:cNvPr id="2468" name="object 2468"/>
          <p:cNvSpPr/>
          <p:nvPr/>
        </p:nvSpPr>
        <p:spPr>
          <a:xfrm>
            <a:off x="7754730" y="1771438"/>
            <a:ext cx="6696" cy="6662"/>
          </a:xfrm>
          <a:custGeom>
            <a:avLst/>
            <a:gdLst/>
            <a:ahLst/>
            <a:cxnLst/>
            <a:rect l="l" t="t" r="r" b="b"/>
            <a:pathLst>
              <a:path w="6696" h="6662">
                <a:moveTo>
                  <a:pt x="496" y="2467"/>
                </a:moveTo>
                <a:lnTo>
                  <a:pt x="1984" y="4688"/>
                </a:lnTo>
                <a:lnTo>
                  <a:pt x="4216" y="6169"/>
                </a:lnTo>
                <a:lnTo>
                  <a:pt x="6696" y="6662"/>
                </a:lnTo>
                <a:lnTo>
                  <a:pt x="6696" y="4195"/>
                </a:lnTo>
                <a:lnTo>
                  <a:pt x="5208" y="3701"/>
                </a:lnTo>
                <a:lnTo>
                  <a:pt x="3968" y="2714"/>
                </a:lnTo>
                <a:lnTo>
                  <a:pt x="2976" y="1480"/>
                </a:lnTo>
                <a:lnTo>
                  <a:pt x="2480" y="0"/>
                </a:lnTo>
                <a:lnTo>
                  <a:pt x="0" y="0"/>
                </a:lnTo>
                <a:lnTo>
                  <a:pt x="496" y="2467"/>
                </a:lnTo>
                <a:close/>
              </a:path>
            </a:pathLst>
          </a:custGeom>
          <a:solidFill>
            <a:srgbClr val="000000"/>
          </a:solidFill>
        </p:spPr>
        <p:txBody>
          <a:bodyPr wrap="square" lIns="0" tIns="0" rIns="0" bIns="0" rtlCol="0">
            <a:noAutofit/>
          </a:bodyPr>
          <a:lstStyle/>
          <a:p>
            <a:endParaRPr/>
          </a:p>
        </p:txBody>
      </p:sp>
      <p:sp>
        <p:nvSpPr>
          <p:cNvPr id="2469" name="object 2469"/>
          <p:cNvSpPr/>
          <p:nvPr/>
        </p:nvSpPr>
        <p:spPr>
          <a:xfrm>
            <a:off x="7754730" y="1759963"/>
            <a:ext cx="2480" cy="0"/>
          </a:xfrm>
          <a:custGeom>
            <a:avLst/>
            <a:gdLst/>
            <a:ahLst/>
            <a:cxnLst/>
            <a:rect l="l" t="t" r="r" b="b"/>
            <a:pathLst>
              <a:path w="2480">
                <a:moveTo>
                  <a:pt x="0" y="0"/>
                </a:moveTo>
                <a:lnTo>
                  <a:pt x="2480" y="0"/>
                </a:lnTo>
              </a:path>
            </a:pathLst>
          </a:custGeom>
          <a:ln w="24220">
            <a:solidFill>
              <a:srgbClr val="000000"/>
            </a:solidFill>
          </a:ln>
        </p:spPr>
        <p:txBody>
          <a:bodyPr wrap="square" lIns="0" tIns="0" rIns="0" bIns="0" rtlCol="0">
            <a:noAutofit/>
          </a:bodyPr>
          <a:lstStyle/>
          <a:p>
            <a:endParaRPr/>
          </a:p>
        </p:txBody>
      </p:sp>
      <p:sp>
        <p:nvSpPr>
          <p:cNvPr id="2470" name="object 2470"/>
          <p:cNvSpPr/>
          <p:nvPr/>
        </p:nvSpPr>
        <p:spPr>
          <a:xfrm>
            <a:off x="7754730" y="1741825"/>
            <a:ext cx="6696" cy="6662"/>
          </a:xfrm>
          <a:custGeom>
            <a:avLst/>
            <a:gdLst/>
            <a:ahLst/>
            <a:cxnLst/>
            <a:rect l="l" t="t" r="r" b="b"/>
            <a:pathLst>
              <a:path w="6696" h="6662">
                <a:moveTo>
                  <a:pt x="2480" y="6662"/>
                </a:moveTo>
                <a:lnTo>
                  <a:pt x="2728" y="4935"/>
                </a:lnTo>
                <a:lnTo>
                  <a:pt x="3968" y="3701"/>
                </a:lnTo>
                <a:lnTo>
                  <a:pt x="5456" y="2961"/>
                </a:lnTo>
                <a:lnTo>
                  <a:pt x="6696" y="2467"/>
                </a:lnTo>
                <a:lnTo>
                  <a:pt x="6696" y="0"/>
                </a:lnTo>
                <a:lnTo>
                  <a:pt x="4464" y="493"/>
                </a:lnTo>
                <a:lnTo>
                  <a:pt x="2480" y="1727"/>
                </a:lnTo>
                <a:lnTo>
                  <a:pt x="744" y="3948"/>
                </a:lnTo>
                <a:lnTo>
                  <a:pt x="0" y="6662"/>
                </a:lnTo>
                <a:lnTo>
                  <a:pt x="2480" y="6662"/>
                </a:lnTo>
                <a:close/>
              </a:path>
            </a:pathLst>
          </a:custGeom>
          <a:solidFill>
            <a:srgbClr val="000000"/>
          </a:solidFill>
        </p:spPr>
        <p:txBody>
          <a:bodyPr wrap="square" lIns="0" tIns="0" rIns="0" bIns="0" rtlCol="0">
            <a:noAutofit/>
          </a:bodyPr>
          <a:lstStyle/>
          <a:p>
            <a:endParaRPr/>
          </a:p>
        </p:txBody>
      </p:sp>
      <p:sp>
        <p:nvSpPr>
          <p:cNvPr id="2471" name="object 2471"/>
          <p:cNvSpPr/>
          <p:nvPr/>
        </p:nvSpPr>
        <p:spPr>
          <a:xfrm>
            <a:off x="8013159" y="1750955"/>
            <a:ext cx="33729" cy="31834"/>
          </a:xfrm>
          <a:custGeom>
            <a:avLst/>
            <a:gdLst/>
            <a:ahLst/>
            <a:cxnLst/>
            <a:rect l="l" t="t" r="r" b="b"/>
            <a:pathLst>
              <a:path w="33729" h="31834">
                <a:moveTo>
                  <a:pt x="30505" y="31340"/>
                </a:moveTo>
                <a:lnTo>
                  <a:pt x="31993" y="30106"/>
                </a:lnTo>
                <a:lnTo>
                  <a:pt x="33233" y="28379"/>
                </a:lnTo>
                <a:lnTo>
                  <a:pt x="33729" y="26651"/>
                </a:lnTo>
                <a:lnTo>
                  <a:pt x="33729" y="5675"/>
                </a:lnTo>
                <a:lnTo>
                  <a:pt x="33233" y="3948"/>
                </a:lnTo>
                <a:lnTo>
                  <a:pt x="31993" y="2220"/>
                </a:lnTo>
                <a:lnTo>
                  <a:pt x="30257" y="1233"/>
                </a:lnTo>
                <a:lnTo>
                  <a:pt x="28521" y="740"/>
                </a:lnTo>
                <a:lnTo>
                  <a:pt x="5208" y="0"/>
                </a:lnTo>
                <a:lnTo>
                  <a:pt x="3472" y="493"/>
                </a:lnTo>
                <a:lnTo>
                  <a:pt x="1736" y="1480"/>
                </a:lnTo>
                <a:lnTo>
                  <a:pt x="496" y="2961"/>
                </a:lnTo>
                <a:lnTo>
                  <a:pt x="0" y="4935"/>
                </a:lnTo>
                <a:lnTo>
                  <a:pt x="0" y="26158"/>
                </a:lnTo>
                <a:lnTo>
                  <a:pt x="496" y="28132"/>
                </a:lnTo>
                <a:lnTo>
                  <a:pt x="1736" y="29613"/>
                </a:lnTo>
                <a:lnTo>
                  <a:pt x="3472" y="30600"/>
                </a:lnTo>
                <a:lnTo>
                  <a:pt x="5208" y="31093"/>
                </a:lnTo>
                <a:lnTo>
                  <a:pt x="28521" y="31834"/>
                </a:lnTo>
                <a:lnTo>
                  <a:pt x="30505" y="31340"/>
                </a:lnTo>
                <a:close/>
              </a:path>
            </a:pathLst>
          </a:custGeom>
          <a:solidFill>
            <a:srgbClr val="000000"/>
          </a:solidFill>
        </p:spPr>
        <p:txBody>
          <a:bodyPr wrap="square" lIns="0" tIns="0" rIns="0" bIns="0" rtlCol="0">
            <a:noAutofit/>
          </a:bodyPr>
          <a:lstStyle/>
          <a:p>
            <a:endParaRPr/>
          </a:p>
        </p:txBody>
      </p:sp>
      <p:sp>
        <p:nvSpPr>
          <p:cNvPr id="2472" name="object 2472"/>
          <p:cNvSpPr/>
          <p:nvPr/>
        </p:nvSpPr>
        <p:spPr>
          <a:xfrm>
            <a:off x="7760931" y="1745034"/>
            <a:ext cx="31745" cy="29859"/>
          </a:xfrm>
          <a:custGeom>
            <a:avLst/>
            <a:gdLst/>
            <a:ahLst/>
            <a:cxnLst/>
            <a:rect l="l" t="t" r="r" b="b"/>
            <a:pathLst>
              <a:path w="31745" h="29859">
                <a:moveTo>
                  <a:pt x="496" y="26158"/>
                </a:moveTo>
                <a:lnTo>
                  <a:pt x="1488" y="27638"/>
                </a:lnTo>
                <a:lnTo>
                  <a:pt x="3224" y="28625"/>
                </a:lnTo>
                <a:lnTo>
                  <a:pt x="4960" y="29119"/>
                </a:lnTo>
                <a:lnTo>
                  <a:pt x="26785" y="29859"/>
                </a:lnTo>
                <a:lnTo>
                  <a:pt x="28521" y="29366"/>
                </a:lnTo>
                <a:lnTo>
                  <a:pt x="30257" y="28379"/>
                </a:lnTo>
                <a:lnTo>
                  <a:pt x="31249" y="26898"/>
                </a:lnTo>
                <a:lnTo>
                  <a:pt x="31745" y="25171"/>
                </a:lnTo>
                <a:lnTo>
                  <a:pt x="31745" y="5182"/>
                </a:lnTo>
                <a:lnTo>
                  <a:pt x="31249" y="3454"/>
                </a:lnTo>
                <a:lnTo>
                  <a:pt x="30009" y="1974"/>
                </a:lnTo>
                <a:lnTo>
                  <a:pt x="28521" y="987"/>
                </a:lnTo>
                <a:lnTo>
                  <a:pt x="26785" y="493"/>
                </a:lnTo>
                <a:lnTo>
                  <a:pt x="4960" y="0"/>
                </a:lnTo>
                <a:lnTo>
                  <a:pt x="3224" y="246"/>
                </a:lnTo>
                <a:lnTo>
                  <a:pt x="1736" y="1233"/>
                </a:lnTo>
                <a:lnTo>
                  <a:pt x="496" y="2714"/>
                </a:lnTo>
                <a:lnTo>
                  <a:pt x="0" y="4688"/>
                </a:lnTo>
                <a:lnTo>
                  <a:pt x="0" y="24430"/>
                </a:lnTo>
                <a:lnTo>
                  <a:pt x="496" y="26158"/>
                </a:lnTo>
                <a:close/>
              </a:path>
            </a:pathLst>
          </a:custGeom>
          <a:solidFill>
            <a:srgbClr val="000000"/>
          </a:solidFill>
        </p:spPr>
        <p:txBody>
          <a:bodyPr wrap="square" lIns="0" tIns="0" rIns="0" bIns="0" rtlCol="0">
            <a:noAutofit/>
          </a:bodyPr>
          <a:lstStyle/>
          <a:p>
            <a:endParaRPr/>
          </a:p>
        </p:txBody>
      </p:sp>
      <p:sp>
        <p:nvSpPr>
          <p:cNvPr id="2473" name="object 2473"/>
          <p:cNvSpPr/>
          <p:nvPr/>
        </p:nvSpPr>
        <p:spPr>
          <a:xfrm>
            <a:off x="8018367" y="1749721"/>
            <a:ext cx="23313" cy="3208"/>
          </a:xfrm>
          <a:custGeom>
            <a:avLst/>
            <a:gdLst/>
            <a:ahLst/>
            <a:cxnLst/>
            <a:rect l="l" t="t" r="r" b="b"/>
            <a:pathLst>
              <a:path w="23313" h="3208">
                <a:moveTo>
                  <a:pt x="23313" y="740"/>
                </a:moveTo>
                <a:lnTo>
                  <a:pt x="0" y="0"/>
                </a:lnTo>
                <a:lnTo>
                  <a:pt x="0" y="2467"/>
                </a:lnTo>
                <a:lnTo>
                  <a:pt x="23313" y="3208"/>
                </a:lnTo>
                <a:lnTo>
                  <a:pt x="23313" y="740"/>
                </a:lnTo>
                <a:close/>
              </a:path>
            </a:pathLst>
          </a:custGeom>
          <a:solidFill>
            <a:srgbClr val="000000"/>
          </a:solidFill>
        </p:spPr>
        <p:txBody>
          <a:bodyPr wrap="square" lIns="0" tIns="0" rIns="0" bIns="0" rtlCol="0">
            <a:noAutofit/>
          </a:bodyPr>
          <a:lstStyle/>
          <a:p>
            <a:endParaRPr/>
          </a:p>
        </p:txBody>
      </p:sp>
      <p:sp>
        <p:nvSpPr>
          <p:cNvPr id="2474" name="object 2474"/>
          <p:cNvSpPr/>
          <p:nvPr/>
        </p:nvSpPr>
        <p:spPr>
          <a:xfrm>
            <a:off x="8041679" y="1750463"/>
            <a:ext cx="6448" cy="6169"/>
          </a:xfrm>
          <a:custGeom>
            <a:avLst/>
            <a:gdLst/>
            <a:ahLst/>
            <a:cxnLst/>
            <a:rect l="l" t="t" r="r" b="b"/>
            <a:pathLst>
              <a:path w="6448" h="6169">
                <a:moveTo>
                  <a:pt x="4216" y="1727"/>
                </a:moveTo>
                <a:lnTo>
                  <a:pt x="2232" y="493"/>
                </a:lnTo>
                <a:lnTo>
                  <a:pt x="0" y="0"/>
                </a:lnTo>
                <a:lnTo>
                  <a:pt x="0" y="2467"/>
                </a:lnTo>
                <a:lnTo>
                  <a:pt x="1240" y="2961"/>
                </a:lnTo>
                <a:lnTo>
                  <a:pt x="2728" y="3701"/>
                </a:lnTo>
                <a:lnTo>
                  <a:pt x="3720" y="4935"/>
                </a:lnTo>
                <a:lnTo>
                  <a:pt x="3968" y="6169"/>
                </a:lnTo>
                <a:lnTo>
                  <a:pt x="6448" y="6169"/>
                </a:lnTo>
                <a:lnTo>
                  <a:pt x="5704" y="3948"/>
                </a:lnTo>
                <a:lnTo>
                  <a:pt x="4216" y="1727"/>
                </a:lnTo>
                <a:close/>
              </a:path>
            </a:pathLst>
          </a:custGeom>
          <a:solidFill>
            <a:srgbClr val="000000"/>
          </a:solidFill>
        </p:spPr>
        <p:txBody>
          <a:bodyPr wrap="square" lIns="0" tIns="0" rIns="0" bIns="0" rtlCol="0">
            <a:noAutofit/>
          </a:bodyPr>
          <a:lstStyle/>
          <a:p>
            <a:endParaRPr/>
          </a:p>
        </p:txBody>
      </p:sp>
      <p:sp>
        <p:nvSpPr>
          <p:cNvPr id="2475" name="object 2475"/>
          <p:cNvSpPr/>
          <p:nvPr/>
        </p:nvSpPr>
        <p:spPr>
          <a:xfrm>
            <a:off x="8045647" y="1755997"/>
            <a:ext cx="2480" cy="22245"/>
          </a:xfrm>
          <a:custGeom>
            <a:avLst/>
            <a:gdLst/>
            <a:ahLst/>
            <a:cxnLst/>
            <a:rect l="l" t="t" r="r" b="b"/>
            <a:pathLst>
              <a:path w="2480" h="22245">
                <a:moveTo>
                  <a:pt x="0" y="22245"/>
                </a:moveTo>
                <a:lnTo>
                  <a:pt x="2480" y="22245"/>
                </a:lnTo>
                <a:lnTo>
                  <a:pt x="2480" y="0"/>
                </a:lnTo>
                <a:lnTo>
                  <a:pt x="0" y="0"/>
                </a:lnTo>
                <a:lnTo>
                  <a:pt x="0" y="22245"/>
                </a:lnTo>
                <a:close/>
              </a:path>
            </a:pathLst>
          </a:custGeom>
          <a:solidFill>
            <a:srgbClr val="000000"/>
          </a:solidFill>
        </p:spPr>
        <p:txBody>
          <a:bodyPr wrap="square" lIns="0" tIns="0" rIns="0" bIns="0" rtlCol="0">
            <a:noAutofit/>
          </a:bodyPr>
          <a:lstStyle/>
          <a:p>
            <a:endParaRPr/>
          </a:p>
        </p:txBody>
      </p:sp>
      <p:sp>
        <p:nvSpPr>
          <p:cNvPr id="2476" name="object 2476"/>
          <p:cNvSpPr/>
          <p:nvPr/>
        </p:nvSpPr>
        <p:spPr>
          <a:xfrm>
            <a:off x="8041679" y="1777607"/>
            <a:ext cx="6448" cy="6416"/>
          </a:xfrm>
          <a:custGeom>
            <a:avLst/>
            <a:gdLst/>
            <a:ahLst/>
            <a:cxnLst/>
            <a:rect l="l" t="t" r="r" b="b"/>
            <a:pathLst>
              <a:path w="6448" h="6416">
                <a:moveTo>
                  <a:pt x="4464" y="4195"/>
                </a:moveTo>
                <a:lnTo>
                  <a:pt x="5704" y="2220"/>
                </a:lnTo>
                <a:lnTo>
                  <a:pt x="6448" y="0"/>
                </a:lnTo>
                <a:lnTo>
                  <a:pt x="3968" y="0"/>
                </a:lnTo>
                <a:lnTo>
                  <a:pt x="3720" y="1233"/>
                </a:lnTo>
                <a:lnTo>
                  <a:pt x="2480" y="2714"/>
                </a:lnTo>
                <a:lnTo>
                  <a:pt x="1488" y="3701"/>
                </a:lnTo>
                <a:lnTo>
                  <a:pt x="0" y="3948"/>
                </a:lnTo>
                <a:lnTo>
                  <a:pt x="0" y="6416"/>
                </a:lnTo>
                <a:lnTo>
                  <a:pt x="2480" y="5675"/>
                </a:lnTo>
                <a:lnTo>
                  <a:pt x="4464" y="4195"/>
                </a:lnTo>
                <a:close/>
              </a:path>
            </a:pathLst>
          </a:custGeom>
          <a:solidFill>
            <a:srgbClr val="000000"/>
          </a:solidFill>
        </p:spPr>
        <p:txBody>
          <a:bodyPr wrap="square" lIns="0" tIns="0" rIns="0" bIns="0" rtlCol="0">
            <a:noAutofit/>
          </a:bodyPr>
          <a:lstStyle/>
          <a:p>
            <a:endParaRPr/>
          </a:p>
        </p:txBody>
      </p:sp>
      <p:sp>
        <p:nvSpPr>
          <p:cNvPr id="2477" name="object 2477"/>
          <p:cNvSpPr/>
          <p:nvPr/>
        </p:nvSpPr>
        <p:spPr>
          <a:xfrm>
            <a:off x="8018367" y="1780815"/>
            <a:ext cx="23313" cy="3208"/>
          </a:xfrm>
          <a:custGeom>
            <a:avLst/>
            <a:gdLst/>
            <a:ahLst/>
            <a:cxnLst/>
            <a:rect l="l" t="t" r="r" b="b"/>
            <a:pathLst>
              <a:path w="23313" h="3208">
                <a:moveTo>
                  <a:pt x="0" y="2467"/>
                </a:moveTo>
                <a:lnTo>
                  <a:pt x="23313" y="3208"/>
                </a:lnTo>
                <a:lnTo>
                  <a:pt x="23313" y="740"/>
                </a:lnTo>
                <a:lnTo>
                  <a:pt x="0" y="0"/>
                </a:lnTo>
                <a:lnTo>
                  <a:pt x="0" y="2467"/>
                </a:lnTo>
                <a:close/>
              </a:path>
            </a:pathLst>
          </a:custGeom>
          <a:solidFill>
            <a:srgbClr val="000000"/>
          </a:solidFill>
        </p:spPr>
        <p:txBody>
          <a:bodyPr wrap="square" lIns="0" tIns="0" rIns="0" bIns="0" rtlCol="0">
            <a:noAutofit/>
          </a:bodyPr>
          <a:lstStyle/>
          <a:p>
            <a:endParaRPr/>
          </a:p>
        </p:txBody>
      </p:sp>
      <p:sp>
        <p:nvSpPr>
          <p:cNvPr id="2478" name="object 2478"/>
          <p:cNvSpPr/>
          <p:nvPr/>
        </p:nvSpPr>
        <p:spPr>
          <a:xfrm>
            <a:off x="8011918" y="1777115"/>
            <a:ext cx="6448" cy="6169"/>
          </a:xfrm>
          <a:custGeom>
            <a:avLst/>
            <a:gdLst/>
            <a:ahLst/>
            <a:cxnLst/>
            <a:rect l="l" t="t" r="r" b="b"/>
            <a:pathLst>
              <a:path w="6448" h="6169">
                <a:moveTo>
                  <a:pt x="5208" y="3208"/>
                </a:moveTo>
                <a:lnTo>
                  <a:pt x="3720" y="2467"/>
                </a:lnTo>
                <a:lnTo>
                  <a:pt x="2728" y="1480"/>
                </a:lnTo>
                <a:lnTo>
                  <a:pt x="2480" y="0"/>
                </a:lnTo>
                <a:lnTo>
                  <a:pt x="0" y="0"/>
                </a:lnTo>
                <a:lnTo>
                  <a:pt x="744" y="2467"/>
                </a:lnTo>
                <a:lnTo>
                  <a:pt x="2232" y="4441"/>
                </a:lnTo>
                <a:lnTo>
                  <a:pt x="4216" y="5675"/>
                </a:lnTo>
                <a:lnTo>
                  <a:pt x="6448" y="6169"/>
                </a:lnTo>
                <a:lnTo>
                  <a:pt x="6448" y="3701"/>
                </a:lnTo>
                <a:lnTo>
                  <a:pt x="5208" y="3208"/>
                </a:lnTo>
                <a:close/>
              </a:path>
            </a:pathLst>
          </a:custGeom>
          <a:solidFill>
            <a:srgbClr val="000000"/>
          </a:solidFill>
        </p:spPr>
        <p:txBody>
          <a:bodyPr wrap="square" lIns="0" tIns="0" rIns="0" bIns="0" rtlCol="0">
            <a:noAutofit/>
          </a:bodyPr>
          <a:lstStyle/>
          <a:p>
            <a:endParaRPr/>
          </a:p>
        </p:txBody>
      </p:sp>
      <p:sp>
        <p:nvSpPr>
          <p:cNvPr id="2479" name="object 2479"/>
          <p:cNvSpPr/>
          <p:nvPr/>
        </p:nvSpPr>
        <p:spPr>
          <a:xfrm>
            <a:off x="8011918" y="1755256"/>
            <a:ext cx="2480" cy="22492"/>
          </a:xfrm>
          <a:custGeom>
            <a:avLst/>
            <a:gdLst/>
            <a:ahLst/>
            <a:cxnLst/>
            <a:rect l="l" t="t" r="r" b="b"/>
            <a:pathLst>
              <a:path w="2480" h="22492">
                <a:moveTo>
                  <a:pt x="0" y="22492"/>
                </a:moveTo>
                <a:lnTo>
                  <a:pt x="2480" y="22492"/>
                </a:lnTo>
                <a:lnTo>
                  <a:pt x="2480" y="0"/>
                </a:lnTo>
                <a:lnTo>
                  <a:pt x="0" y="0"/>
                </a:lnTo>
                <a:lnTo>
                  <a:pt x="0" y="22492"/>
                </a:lnTo>
                <a:close/>
              </a:path>
            </a:pathLst>
          </a:custGeom>
          <a:solidFill>
            <a:srgbClr val="000000"/>
          </a:solidFill>
        </p:spPr>
        <p:txBody>
          <a:bodyPr wrap="square" lIns="0" tIns="0" rIns="0" bIns="0" rtlCol="0">
            <a:noAutofit/>
          </a:bodyPr>
          <a:lstStyle/>
          <a:p>
            <a:endParaRPr/>
          </a:p>
        </p:txBody>
      </p:sp>
      <p:sp>
        <p:nvSpPr>
          <p:cNvPr id="2480" name="object 2480"/>
          <p:cNvSpPr/>
          <p:nvPr/>
        </p:nvSpPr>
        <p:spPr>
          <a:xfrm>
            <a:off x="8011918" y="1749722"/>
            <a:ext cx="6448" cy="6169"/>
          </a:xfrm>
          <a:custGeom>
            <a:avLst/>
            <a:gdLst/>
            <a:ahLst/>
            <a:cxnLst/>
            <a:rect l="l" t="t" r="r" b="b"/>
            <a:pathLst>
              <a:path w="6448" h="6169">
                <a:moveTo>
                  <a:pt x="2480" y="6169"/>
                </a:moveTo>
                <a:lnTo>
                  <a:pt x="2728" y="4688"/>
                </a:lnTo>
                <a:lnTo>
                  <a:pt x="3720" y="3701"/>
                </a:lnTo>
                <a:lnTo>
                  <a:pt x="5208" y="2961"/>
                </a:lnTo>
                <a:lnTo>
                  <a:pt x="6448" y="2467"/>
                </a:lnTo>
                <a:lnTo>
                  <a:pt x="6448" y="0"/>
                </a:lnTo>
                <a:lnTo>
                  <a:pt x="4216" y="493"/>
                </a:lnTo>
                <a:lnTo>
                  <a:pt x="2232" y="1727"/>
                </a:lnTo>
                <a:lnTo>
                  <a:pt x="744" y="3701"/>
                </a:lnTo>
                <a:lnTo>
                  <a:pt x="0" y="6169"/>
                </a:lnTo>
                <a:lnTo>
                  <a:pt x="2480" y="6169"/>
                </a:lnTo>
                <a:close/>
              </a:path>
            </a:pathLst>
          </a:custGeom>
          <a:solidFill>
            <a:srgbClr val="000000"/>
          </a:solidFill>
        </p:spPr>
        <p:txBody>
          <a:bodyPr wrap="square" lIns="0" tIns="0" rIns="0" bIns="0" rtlCol="0">
            <a:noAutofit/>
          </a:bodyPr>
          <a:lstStyle/>
          <a:p>
            <a:endParaRPr/>
          </a:p>
        </p:txBody>
      </p:sp>
      <p:sp>
        <p:nvSpPr>
          <p:cNvPr id="2481" name="object 2481"/>
          <p:cNvSpPr/>
          <p:nvPr/>
        </p:nvSpPr>
        <p:spPr>
          <a:xfrm>
            <a:off x="7765891" y="1743800"/>
            <a:ext cx="21824" cy="2961"/>
          </a:xfrm>
          <a:custGeom>
            <a:avLst/>
            <a:gdLst/>
            <a:ahLst/>
            <a:cxnLst/>
            <a:rect l="l" t="t" r="r" b="b"/>
            <a:pathLst>
              <a:path w="21824" h="2961">
                <a:moveTo>
                  <a:pt x="21824" y="493"/>
                </a:moveTo>
                <a:lnTo>
                  <a:pt x="0" y="0"/>
                </a:lnTo>
                <a:lnTo>
                  <a:pt x="0" y="2467"/>
                </a:lnTo>
                <a:lnTo>
                  <a:pt x="21824" y="2961"/>
                </a:lnTo>
                <a:lnTo>
                  <a:pt x="21824" y="493"/>
                </a:lnTo>
                <a:close/>
              </a:path>
            </a:pathLst>
          </a:custGeom>
          <a:solidFill>
            <a:srgbClr val="000000"/>
          </a:solidFill>
        </p:spPr>
        <p:txBody>
          <a:bodyPr wrap="square" lIns="0" tIns="0" rIns="0" bIns="0" rtlCol="0">
            <a:noAutofit/>
          </a:bodyPr>
          <a:lstStyle/>
          <a:p>
            <a:endParaRPr/>
          </a:p>
        </p:txBody>
      </p:sp>
      <p:sp>
        <p:nvSpPr>
          <p:cNvPr id="2482" name="object 2482"/>
          <p:cNvSpPr/>
          <p:nvPr/>
        </p:nvSpPr>
        <p:spPr>
          <a:xfrm>
            <a:off x="7787716" y="1744292"/>
            <a:ext cx="6200" cy="5922"/>
          </a:xfrm>
          <a:custGeom>
            <a:avLst/>
            <a:gdLst/>
            <a:ahLst/>
            <a:cxnLst/>
            <a:rect l="l" t="t" r="r" b="b"/>
            <a:pathLst>
              <a:path w="6200" h="5922">
                <a:moveTo>
                  <a:pt x="3968" y="1727"/>
                </a:moveTo>
                <a:lnTo>
                  <a:pt x="2232" y="493"/>
                </a:lnTo>
                <a:lnTo>
                  <a:pt x="0" y="0"/>
                </a:lnTo>
                <a:lnTo>
                  <a:pt x="0" y="2467"/>
                </a:lnTo>
                <a:lnTo>
                  <a:pt x="1240" y="2961"/>
                </a:lnTo>
                <a:lnTo>
                  <a:pt x="2480" y="3701"/>
                </a:lnTo>
                <a:lnTo>
                  <a:pt x="3472" y="4688"/>
                </a:lnTo>
                <a:lnTo>
                  <a:pt x="3720" y="5922"/>
                </a:lnTo>
                <a:lnTo>
                  <a:pt x="6200" y="5922"/>
                </a:lnTo>
                <a:lnTo>
                  <a:pt x="5456" y="3701"/>
                </a:lnTo>
                <a:lnTo>
                  <a:pt x="3968" y="1727"/>
                </a:lnTo>
                <a:close/>
              </a:path>
            </a:pathLst>
          </a:custGeom>
          <a:solidFill>
            <a:srgbClr val="000000"/>
          </a:solidFill>
        </p:spPr>
        <p:txBody>
          <a:bodyPr wrap="square" lIns="0" tIns="0" rIns="0" bIns="0" rtlCol="0">
            <a:noAutofit/>
          </a:bodyPr>
          <a:lstStyle/>
          <a:p>
            <a:endParaRPr/>
          </a:p>
        </p:txBody>
      </p:sp>
      <p:sp>
        <p:nvSpPr>
          <p:cNvPr id="2483" name="object 2483"/>
          <p:cNvSpPr/>
          <p:nvPr/>
        </p:nvSpPr>
        <p:spPr>
          <a:xfrm>
            <a:off x="7791436" y="1760209"/>
            <a:ext cx="2480" cy="0"/>
          </a:xfrm>
          <a:custGeom>
            <a:avLst/>
            <a:gdLst/>
            <a:ahLst/>
            <a:cxnLst/>
            <a:rect l="l" t="t" r="r" b="b"/>
            <a:pathLst>
              <a:path w="2480">
                <a:moveTo>
                  <a:pt x="0" y="0"/>
                </a:moveTo>
                <a:lnTo>
                  <a:pt x="2480" y="0"/>
                </a:lnTo>
              </a:path>
            </a:pathLst>
          </a:custGeom>
          <a:ln w="21258">
            <a:solidFill>
              <a:srgbClr val="000000"/>
            </a:solidFill>
          </a:ln>
        </p:spPr>
        <p:txBody>
          <a:bodyPr wrap="square" lIns="0" tIns="0" rIns="0" bIns="0" rtlCol="0">
            <a:noAutofit/>
          </a:bodyPr>
          <a:lstStyle/>
          <a:p>
            <a:endParaRPr/>
          </a:p>
        </p:txBody>
      </p:sp>
      <p:sp>
        <p:nvSpPr>
          <p:cNvPr id="2484" name="object 2484"/>
          <p:cNvSpPr/>
          <p:nvPr/>
        </p:nvSpPr>
        <p:spPr>
          <a:xfrm>
            <a:off x="7787716" y="1770204"/>
            <a:ext cx="6200" cy="5922"/>
          </a:xfrm>
          <a:custGeom>
            <a:avLst/>
            <a:gdLst/>
            <a:ahLst/>
            <a:cxnLst/>
            <a:rect l="l" t="t" r="r" b="b"/>
            <a:pathLst>
              <a:path w="6200" h="5922">
                <a:moveTo>
                  <a:pt x="4216" y="4195"/>
                </a:moveTo>
                <a:lnTo>
                  <a:pt x="5704" y="2220"/>
                </a:lnTo>
                <a:lnTo>
                  <a:pt x="6200" y="0"/>
                </a:lnTo>
                <a:lnTo>
                  <a:pt x="3720" y="0"/>
                </a:lnTo>
                <a:lnTo>
                  <a:pt x="3224" y="1233"/>
                </a:lnTo>
                <a:lnTo>
                  <a:pt x="2728" y="2220"/>
                </a:lnTo>
                <a:lnTo>
                  <a:pt x="1240" y="2961"/>
                </a:lnTo>
                <a:lnTo>
                  <a:pt x="0" y="3454"/>
                </a:lnTo>
                <a:lnTo>
                  <a:pt x="0" y="5922"/>
                </a:lnTo>
                <a:lnTo>
                  <a:pt x="2232" y="5429"/>
                </a:lnTo>
                <a:lnTo>
                  <a:pt x="4216" y="4195"/>
                </a:lnTo>
                <a:close/>
              </a:path>
            </a:pathLst>
          </a:custGeom>
          <a:solidFill>
            <a:srgbClr val="000000"/>
          </a:solidFill>
        </p:spPr>
        <p:txBody>
          <a:bodyPr wrap="square" lIns="0" tIns="0" rIns="0" bIns="0" rtlCol="0">
            <a:noAutofit/>
          </a:bodyPr>
          <a:lstStyle/>
          <a:p>
            <a:endParaRPr/>
          </a:p>
        </p:txBody>
      </p:sp>
      <p:sp>
        <p:nvSpPr>
          <p:cNvPr id="2485" name="object 2485"/>
          <p:cNvSpPr/>
          <p:nvPr/>
        </p:nvSpPr>
        <p:spPr>
          <a:xfrm>
            <a:off x="7765891" y="1772918"/>
            <a:ext cx="21824" cy="3208"/>
          </a:xfrm>
          <a:custGeom>
            <a:avLst/>
            <a:gdLst/>
            <a:ahLst/>
            <a:cxnLst/>
            <a:rect l="l" t="t" r="r" b="b"/>
            <a:pathLst>
              <a:path w="21824" h="3208">
                <a:moveTo>
                  <a:pt x="0" y="2467"/>
                </a:moveTo>
                <a:lnTo>
                  <a:pt x="21824" y="3208"/>
                </a:lnTo>
                <a:lnTo>
                  <a:pt x="21824" y="740"/>
                </a:lnTo>
                <a:lnTo>
                  <a:pt x="0" y="0"/>
                </a:lnTo>
                <a:lnTo>
                  <a:pt x="0" y="2467"/>
                </a:lnTo>
                <a:close/>
              </a:path>
            </a:pathLst>
          </a:custGeom>
          <a:solidFill>
            <a:srgbClr val="000000"/>
          </a:solidFill>
        </p:spPr>
        <p:txBody>
          <a:bodyPr wrap="square" lIns="0" tIns="0" rIns="0" bIns="0" rtlCol="0">
            <a:noAutofit/>
          </a:bodyPr>
          <a:lstStyle/>
          <a:p>
            <a:endParaRPr/>
          </a:p>
        </p:txBody>
      </p:sp>
      <p:sp>
        <p:nvSpPr>
          <p:cNvPr id="2486" name="object 2486"/>
          <p:cNvSpPr/>
          <p:nvPr/>
        </p:nvSpPr>
        <p:spPr>
          <a:xfrm>
            <a:off x="7759690" y="1769464"/>
            <a:ext cx="6200" cy="5922"/>
          </a:xfrm>
          <a:custGeom>
            <a:avLst/>
            <a:gdLst/>
            <a:ahLst/>
            <a:cxnLst/>
            <a:rect l="l" t="t" r="r" b="b"/>
            <a:pathLst>
              <a:path w="6200" h="5922">
                <a:moveTo>
                  <a:pt x="496" y="2220"/>
                </a:moveTo>
                <a:lnTo>
                  <a:pt x="1984" y="4195"/>
                </a:lnTo>
                <a:lnTo>
                  <a:pt x="3968" y="5429"/>
                </a:lnTo>
                <a:lnTo>
                  <a:pt x="6200" y="5922"/>
                </a:lnTo>
                <a:lnTo>
                  <a:pt x="6200" y="3454"/>
                </a:lnTo>
                <a:lnTo>
                  <a:pt x="4960" y="2961"/>
                </a:lnTo>
                <a:lnTo>
                  <a:pt x="3472" y="2220"/>
                </a:lnTo>
                <a:lnTo>
                  <a:pt x="2976" y="1233"/>
                </a:lnTo>
                <a:lnTo>
                  <a:pt x="2480" y="0"/>
                </a:lnTo>
                <a:lnTo>
                  <a:pt x="0" y="0"/>
                </a:lnTo>
                <a:lnTo>
                  <a:pt x="496" y="2220"/>
                </a:lnTo>
                <a:close/>
              </a:path>
            </a:pathLst>
          </a:custGeom>
          <a:solidFill>
            <a:srgbClr val="000000"/>
          </a:solidFill>
        </p:spPr>
        <p:txBody>
          <a:bodyPr wrap="square" lIns="0" tIns="0" rIns="0" bIns="0" rtlCol="0">
            <a:noAutofit/>
          </a:bodyPr>
          <a:lstStyle/>
          <a:p>
            <a:endParaRPr/>
          </a:p>
        </p:txBody>
      </p:sp>
      <p:sp>
        <p:nvSpPr>
          <p:cNvPr id="2487" name="object 2487"/>
          <p:cNvSpPr/>
          <p:nvPr/>
        </p:nvSpPr>
        <p:spPr>
          <a:xfrm>
            <a:off x="7759690" y="1759593"/>
            <a:ext cx="2480" cy="0"/>
          </a:xfrm>
          <a:custGeom>
            <a:avLst/>
            <a:gdLst/>
            <a:ahLst/>
            <a:cxnLst/>
            <a:rect l="l" t="t" r="r" b="b"/>
            <a:pathLst>
              <a:path w="2480">
                <a:moveTo>
                  <a:pt x="0" y="0"/>
                </a:moveTo>
                <a:lnTo>
                  <a:pt x="2480" y="0"/>
                </a:lnTo>
              </a:path>
            </a:pathLst>
          </a:custGeom>
          <a:ln w="21012">
            <a:solidFill>
              <a:srgbClr val="000000"/>
            </a:solidFill>
          </a:ln>
        </p:spPr>
        <p:txBody>
          <a:bodyPr wrap="square" lIns="0" tIns="0" rIns="0" bIns="0" rtlCol="0">
            <a:noAutofit/>
          </a:bodyPr>
          <a:lstStyle/>
          <a:p>
            <a:endParaRPr/>
          </a:p>
        </p:txBody>
      </p:sp>
      <p:sp>
        <p:nvSpPr>
          <p:cNvPr id="2488" name="object 2488"/>
          <p:cNvSpPr/>
          <p:nvPr/>
        </p:nvSpPr>
        <p:spPr>
          <a:xfrm>
            <a:off x="7759690" y="1743799"/>
            <a:ext cx="6200" cy="5922"/>
          </a:xfrm>
          <a:custGeom>
            <a:avLst/>
            <a:gdLst/>
            <a:ahLst/>
            <a:cxnLst/>
            <a:rect l="l" t="t" r="r" b="b"/>
            <a:pathLst>
              <a:path w="6200" h="5922">
                <a:moveTo>
                  <a:pt x="2480" y="5922"/>
                </a:moveTo>
                <a:lnTo>
                  <a:pt x="2728" y="4441"/>
                </a:lnTo>
                <a:lnTo>
                  <a:pt x="3720" y="3454"/>
                </a:lnTo>
                <a:lnTo>
                  <a:pt x="4960" y="2714"/>
                </a:lnTo>
                <a:lnTo>
                  <a:pt x="6200" y="2467"/>
                </a:lnTo>
                <a:lnTo>
                  <a:pt x="6200" y="0"/>
                </a:lnTo>
                <a:lnTo>
                  <a:pt x="3968" y="246"/>
                </a:lnTo>
                <a:lnTo>
                  <a:pt x="2232" y="1480"/>
                </a:lnTo>
                <a:lnTo>
                  <a:pt x="744" y="3454"/>
                </a:lnTo>
                <a:lnTo>
                  <a:pt x="0" y="5922"/>
                </a:lnTo>
                <a:lnTo>
                  <a:pt x="2480" y="5922"/>
                </a:lnTo>
                <a:close/>
              </a:path>
            </a:pathLst>
          </a:custGeom>
          <a:solidFill>
            <a:srgbClr val="000000"/>
          </a:solidFill>
        </p:spPr>
        <p:txBody>
          <a:bodyPr wrap="square" lIns="0" tIns="0" rIns="0" bIns="0" rtlCol="0">
            <a:noAutofit/>
          </a:bodyPr>
          <a:lstStyle/>
          <a:p>
            <a:endParaRPr/>
          </a:p>
        </p:txBody>
      </p:sp>
      <p:sp>
        <p:nvSpPr>
          <p:cNvPr id="2489" name="object 2489"/>
          <p:cNvSpPr/>
          <p:nvPr/>
        </p:nvSpPr>
        <p:spPr>
          <a:xfrm>
            <a:off x="7983645" y="1089104"/>
            <a:ext cx="129213" cy="44913"/>
          </a:xfrm>
          <a:custGeom>
            <a:avLst/>
            <a:gdLst/>
            <a:ahLst/>
            <a:cxnLst/>
            <a:rect l="l" t="t" r="r" b="b"/>
            <a:pathLst>
              <a:path w="129213" h="44913">
                <a:moveTo>
                  <a:pt x="129213" y="0"/>
                </a:moveTo>
                <a:lnTo>
                  <a:pt x="0" y="14559"/>
                </a:lnTo>
                <a:lnTo>
                  <a:pt x="0" y="44913"/>
                </a:lnTo>
                <a:lnTo>
                  <a:pt x="8184" y="44419"/>
                </a:lnTo>
                <a:lnTo>
                  <a:pt x="16120" y="43926"/>
                </a:lnTo>
                <a:lnTo>
                  <a:pt x="24305" y="43679"/>
                </a:lnTo>
                <a:lnTo>
                  <a:pt x="32489" y="43432"/>
                </a:lnTo>
                <a:lnTo>
                  <a:pt x="40425" y="43185"/>
                </a:lnTo>
                <a:lnTo>
                  <a:pt x="48610" y="42938"/>
                </a:lnTo>
                <a:lnTo>
                  <a:pt x="64730" y="42938"/>
                </a:lnTo>
                <a:lnTo>
                  <a:pt x="72667" y="42692"/>
                </a:lnTo>
                <a:lnTo>
                  <a:pt x="113093" y="42692"/>
                </a:lnTo>
                <a:lnTo>
                  <a:pt x="121029" y="42445"/>
                </a:lnTo>
                <a:lnTo>
                  <a:pt x="129213" y="42445"/>
                </a:lnTo>
                <a:lnTo>
                  <a:pt x="129213" y="0"/>
                </a:lnTo>
                <a:close/>
              </a:path>
            </a:pathLst>
          </a:custGeom>
          <a:solidFill>
            <a:srgbClr val="000000"/>
          </a:solidFill>
        </p:spPr>
        <p:txBody>
          <a:bodyPr wrap="square" lIns="0" tIns="0" rIns="0" bIns="0" rtlCol="0">
            <a:noAutofit/>
          </a:bodyPr>
          <a:lstStyle/>
          <a:p>
            <a:endParaRPr/>
          </a:p>
        </p:txBody>
      </p:sp>
      <p:sp>
        <p:nvSpPr>
          <p:cNvPr id="2490" name="object 2490"/>
          <p:cNvSpPr/>
          <p:nvPr/>
        </p:nvSpPr>
        <p:spPr>
          <a:xfrm>
            <a:off x="7983644" y="1102430"/>
            <a:ext cx="1240" cy="2467"/>
          </a:xfrm>
          <a:custGeom>
            <a:avLst/>
            <a:gdLst/>
            <a:ahLst/>
            <a:cxnLst/>
            <a:rect l="l" t="t" r="r" b="b"/>
            <a:pathLst>
              <a:path w="1240" h="2467">
                <a:moveTo>
                  <a:pt x="744" y="493"/>
                </a:moveTo>
                <a:lnTo>
                  <a:pt x="0" y="0"/>
                </a:lnTo>
                <a:lnTo>
                  <a:pt x="248" y="2467"/>
                </a:lnTo>
                <a:lnTo>
                  <a:pt x="1240" y="1233"/>
                </a:lnTo>
                <a:lnTo>
                  <a:pt x="744" y="493"/>
                </a:lnTo>
                <a:close/>
              </a:path>
            </a:pathLst>
          </a:custGeom>
          <a:solidFill>
            <a:srgbClr val="000000"/>
          </a:solidFill>
        </p:spPr>
        <p:txBody>
          <a:bodyPr wrap="square" lIns="0" tIns="0" rIns="0" bIns="0" rtlCol="0">
            <a:noAutofit/>
          </a:bodyPr>
          <a:lstStyle/>
          <a:p>
            <a:endParaRPr/>
          </a:p>
        </p:txBody>
      </p:sp>
      <p:sp>
        <p:nvSpPr>
          <p:cNvPr id="2491" name="object 2491"/>
          <p:cNvSpPr/>
          <p:nvPr/>
        </p:nvSpPr>
        <p:spPr>
          <a:xfrm>
            <a:off x="7982404" y="1102430"/>
            <a:ext cx="2480" cy="31587"/>
          </a:xfrm>
          <a:custGeom>
            <a:avLst/>
            <a:gdLst/>
            <a:ahLst/>
            <a:cxnLst/>
            <a:rect l="l" t="t" r="r" b="b"/>
            <a:pathLst>
              <a:path w="2480" h="31587">
                <a:moveTo>
                  <a:pt x="2480" y="31587"/>
                </a:moveTo>
                <a:lnTo>
                  <a:pt x="2480" y="1233"/>
                </a:lnTo>
                <a:lnTo>
                  <a:pt x="1488" y="2467"/>
                </a:lnTo>
                <a:lnTo>
                  <a:pt x="1240" y="0"/>
                </a:lnTo>
                <a:lnTo>
                  <a:pt x="708" y="352"/>
                </a:lnTo>
                <a:lnTo>
                  <a:pt x="496" y="493"/>
                </a:lnTo>
                <a:lnTo>
                  <a:pt x="0" y="1233"/>
                </a:lnTo>
                <a:lnTo>
                  <a:pt x="0" y="31587"/>
                </a:lnTo>
                <a:lnTo>
                  <a:pt x="2480" y="31587"/>
                </a:lnTo>
                <a:close/>
              </a:path>
            </a:pathLst>
          </a:custGeom>
          <a:solidFill>
            <a:srgbClr val="000000"/>
          </a:solidFill>
        </p:spPr>
        <p:txBody>
          <a:bodyPr wrap="square" lIns="0" tIns="0" rIns="0" bIns="0" rtlCol="0">
            <a:noAutofit/>
          </a:bodyPr>
          <a:lstStyle/>
          <a:p>
            <a:endParaRPr/>
          </a:p>
        </p:txBody>
      </p:sp>
      <p:sp>
        <p:nvSpPr>
          <p:cNvPr id="2492" name="object 2492"/>
          <p:cNvSpPr/>
          <p:nvPr/>
        </p:nvSpPr>
        <p:spPr>
          <a:xfrm>
            <a:off x="7983397" y="1087870"/>
            <a:ext cx="130701" cy="17027"/>
          </a:xfrm>
          <a:custGeom>
            <a:avLst/>
            <a:gdLst/>
            <a:ahLst/>
            <a:cxnLst/>
            <a:rect l="l" t="t" r="r" b="b"/>
            <a:pathLst>
              <a:path w="130701" h="17027">
                <a:moveTo>
                  <a:pt x="130701" y="987"/>
                </a:moveTo>
                <a:lnTo>
                  <a:pt x="130205" y="246"/>
                </a:lnTo>
                <a:lnTo>
                  <a:pt x="129213" y="0"/>
                </a:lnTo>
                <a:lnTo>
                  <a:pt x="128221" y="1233"/>
                </a:lnTo>
                <a:lnTo>
                  <a:pt x="129213" y="0"/>
                </a:lnTo>
                <a:lnTo>
                  <a:pt x="0" y="14559"/>
                </a:lnTo>
                <a:lnTo>
                  <a:pt x="496" y="17027"/>
                </a:lnTo>
                <a:lnTo>
                  <a:pt x="129709" y="2467"/>
                </a:lnTo>
                <a:lnTo>
                  <a:pt x="130453" y="1974"/>
                </a:lnTo>
                <a:lnTo>
                  <a:pt x="130650" y="1191"/>
                </a:lnTo>
                <a:lnTo>
                  <a:pt x="130701" y="987"/>
                </a:lnTo>
                <a:close/>
              </a:path>
            </a:pathLst>
          </a:custGeom>
          <a:solidFill>
            <a:srgbClr val="000000"/>
          </a:solidFill>
        </p:spPr>
        <p:txBody>
          <a:bodyPr wrap="square" lIns="0" tIns="0" rIns="0" bIns="0" rtlCol="0">
            <a:noAutofit/>
          </a:bodyPr>
          <a:lstStyle/>
          <a:p>
            <a:endParaRPr/>
          </a:p>
        </p:txBody>
      </p:sp>
      <p:sp>
        <p:nvSpPr>
          <p:cNvPr id="2493" name="object 2493"/>
          <p:cNvSpPr/>
          <p:nvPr/>
        </p:nvSpPr>
        <p:spPr>
          <a:xfrm>
            <a:off x="8111618" y="1089104"/>
            <a:ext cx="2480" cy="43309"/>
          </a:xfrm>
          <a:custGeom>
            <a:avLst/>
            <a:gdLst/>
            <a:ahLst/>
            <a:cxnLst/>
            <a:rect l="l" t="t" r="r" b="b"/>
            <a:pathLst>
              <a:path w="2480" h="43309">
                <a:moveTo>
                  <a:pt x="1984" y="43185"/>
                </a:moveTo>
                <a:lnTo>
                  <a:pt x="2480" y="42445"/>
                </a:lnTo>
                <a:lnTo>
                  <a:pt x="2480" y="0"/>
                </a:lnTo>
                <a:lnTo>
                  <a:pt x="0" y="0"/>
                </a:lnTo>
                <a:lnTo>
                  <a:pt x="0" y="42445"/>
                </a:lnTo>
                <a:lnTo>
                  <a:pt x="1240" y="41211"/>
                </a:lnTo>
                <a:lnTo>
                  <a:pt x="1612" y="43309"/>
                </a:lnTo>
                <a:lnTo>
                  <a:pt x="1984" y="43185"/>
                </a:lnTo>
                <a:close/>
              </a:path>
            </a:pathLst>
          </a:custGeom>
          <a:solidFill>
            <a:srgbClr val="000000"/>
          </a:solidFill>
        </p:spPr>
        <p:txBody>
          <a:bodyPr wrap="square" lIns="0" tIns="0" rIns="0" bIns="0" rtlCol="0">
            <a:noAutofit/>
          </a:bodyPr>
          <a:lstStyle/>
          <a:p>
            <a:endParaRPr/>
          </a:p>
        </p:txBody>
      </p:sp>
      <p:sp>
        <p:nvSpPr>
          <p:cNvPr id="2494" name="object 2494"/>
          <p:cNvSpPr/>
          <p:nvPr/>
        </p:nvSpPr>
        <p:spPr>
          <a:xfrm>
            <a:off x="8111618" y="1130315"/>
            <a:ext cx="1612" cy="2220"/>
          </a:xfrm>
          <a:custGeom>
            <a:avLst/>
            <a:gdLst/>
            <a:ahLst/>
            <a:cxnLst/>
            <a:rect l="l" t="t" r="r" b="b"/>
            <a:pathLst>
              <a:path w="1612" h="2220">
                <a:moveTo>
                  <a:pt x="1240" y="0"/>
                </a:moveTo>
                <a:lnTo>
                  <a:pt x="0" y="1233"/>
                </a:lnTo>
                <a:lnTo>
                  <a:pt x="496" y="1974"/>
                </a:lnTo>
                <a:lnTo>
                  <a:pt x="1240" y="2220"/>
                </a:lnTo>
                <a:lnTo>
                  <a:pt x="1612" y="2097"/>
                </a:lnTo>
                <a:lnTo>
                  <a:pt x="1240" y="0"/>
                </a:lnTo>
                <a:close/>
              </a:path>
            </a:pathLst>
          </a:custGeom>
          <a:solidFill>
            <a:srgbClr val="000000"/>
          </a:solidFill>
        </p:spPr>
        <p:txBody>
          <a:bodyPr wrap="square" lIns="0" tIns="0" rIns="0" bIns="0" rtlCol="0">
            <a:noAutofit/>
          </a:bodyPr>
          <a:lstStyle/>
          <a:p>
            <a:endParaRPr/>
          </a:p>
        </p:txBody>
      </p:sp>
      <p:sp>
        <p:nvSpPr>
          <p:cNvPr id="2495" name="object 2495"/>
          <p:cNvSpPr/>
          <p:nvPr/>
        </p:nvSpPr>
        <p:spPr>
          <a:xfrm>
            <a:off x="7983644" y="1132290"/>
            <a:ext cx="8184" cy="1727"/>
          </a:xfrm>
          <a:custGeom>
            <a:avLst/>
            <a:gdLst/>
            <a:ahLst/>
            <a:cxnLst/>
            <a:rect l="l" t="t" r="r" b="b"/>
            <a:pathLst>
              <a:path w="8184" h="1727">
                <a:moveTo>
                  <a:pt x="1240" y="1727"/>
                </a:moveTo>
                <a:lnTo>
                  <a:pt x="8184" y="0"/>
                </a:lnTo>
                <a:lnTo>
                  <a:pt x="0" y="493"/>
                </a:lnTo>
                <a:lnTo>
                  <a:pt x="1240" y="1727"/>
                </a:lnTo>
                <a:close/>
              </a:path>
            </a:pathLst>
          </a:custGeom>
          <a:solidFill>
            <a:srgbClr val="000000"/>
          </a:solidFill>
        </p:spPr>
        <p:txBody>
          <a:bodyPr wrap="square" lIns="0" tIns="0" rIns="0" bIns="0" rtlCol="0">
            <a:noAutofit/>
          </a:bodyPr>
          <a:lstStyle/>
          <a:p>
            <a:endParaRPr/>
          </a:p>
        </p:txBody>
      </p:sp>
      <p:sp>
        <p:nvSpPr>
          <p:cNvPr id="2496" name="object 2496"/>
          <p:cNvSpPr/>
          <p:nvPr/>
        </p:nvSpPr>
        <p:spPr>
          <a:xfrm>
            <a:off x="7982653" y="1130316"/>
            <a:ext cx="130205" cy="4935"/>
          </a:xfrm>
          <a:custGeom>
            <a:avLst/>
            <a:gdLst/>
            <a:ahLst/>
            <a:cxnLst/>
            <a:rect l="l" t="t" r="r" b="b"/>
            <a:pathLst>
              <a:path w="130205" h="4935">
                <a:moveTo>
                  <a:pt x="992" y="4935"/>
                </a:moveTo>
                <a:lnTo>
                  <a:pt x="9176" y="4441"/>
                </a:lnTo>
                <a:lnTo>
                  <a:pt x="17112" y="3948"/>
                </a:lnTo>
                <a:lnTo>
                  <a:pt x="25297" y="3701"/>
                </a:lnTo>
                <a:lnTo>
                  <a:pt x="33481" y="3454"/>
                </a:lnTo>
                <a:lnTo>
                  <a:pt x="41417" y="3208"/>
                </a:lnTo>
                <a:lnTo>
                  <a:pt x="49602" y="2961"/>
                </a:lnTo>
                <a:lnTo>
                  <a:pt x="65722" y="2961"/>
                </a:lnTo>
                <a:lnTo>
                  <a:pt x="73659" y="2714"/>
                </a:lnTo>
                <a:lnTo>
                  <a:pt x="114085" y="2714"/>
                </a:lnTo>
                <a:lnTo>
                  <a:pt x="122021" y="2467"/>
                </a:lnTo>
                <a:lnTo>
                  <a:pt x="130205" y="2467"/>
                </a:lnTo>
                <a:lnTo>
                  <a:pt x="130205" y="0"/>
                </a:lnTo>
                <a:lnTo>
                  <a:pt x="122021" y="0"/>
                </a:lnTo>
                <a:lnTo>
                  <a:pt x="114085" y="246"/>
                </a:lnTo>
                <a:lnTo>
                  <a:pt x="73659" y="246"/>
                </a:lnTo>
                <a:lnTo>
                  <a:pt x="65722" y="493"/>
                </a:lnTo>
                <a:lnTo>
                  <a:pt x="49602" y="493"/>
                </a:lnTo>
                <a:lnTo>
                  <a:pt x="41417" y="740"/>
                </a:lnTo>
                <a:lnTo>
                  <a:pt x="33481" y="987"/>
                </a:lnTo>
                <a:lnTo>
                  <a:pt x="25297" y="1233"/>
                </a:lnTo>
                <a:lnTo>
                  <a:pt x="17112" y="1480"/>
                </a:lnTo>
                <a:lnTo>
                  <a:pt x="9176" y="1974"/>
                </a:lnTo>
                <a:lnTo>
                  <a:pt x="2232" y="3701"/>
                </a:lnTo>
                <a:lnTo>
                  <a:pt x="992" y="2467"/>
                </a:lnTo>
                <a:lnTo>
                  <a:pt x="248" y="2961"/>
                </a:lnTo>
                <a:lnTo>
                  <a:pt x="0" y="3701"/>
                </a:lnTo>
                <a:lnTo>
                  <a:pt x="124" y="4071"/>
                </a:lnTo>
                <a:lnTo>
                  <a:pt x="248" y="4441"/>
                </a:lnTo>
                <a:lnTo>
                  <a:pt x="992" y="4935"/>
                </a:lnTo>
                <a:close/>
              </a:path>
            </a:pathLst>
          </a:custGeom>
          <a:solidFill>
            <a:srgbClr val="000000"/>
          </a:solidFill>
        </p:spPr>
        <p:txBody>
          <a:bodyPr wrap="square" lIns="0" tIns="0" rIns="0" bIns="0" rtlCol="0">
            <a:noAutofit/>
          </a:bodyPr>
          <a:lstStyle/>
          <a:p>
            <a:endParaRPr/>
          </a:p>
        </p:txBody>
      </p:sp>
      <p:sp>
        <p:nvSpPr>
          <p:cNvPr id="211" name="object 211"/>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10" name="object 210"/>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9" name="object 209"/>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8" name="object 208"/>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7" name="object 207"/>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6" name="object 206"/>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5" name="object 205"/>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4" name="object 204"/>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3" name="object 203"/>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2" name="object 202"/>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1" name="object 201"/>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200" name="object 200"/>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9" name="object 199"/>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8" name="object 198"/>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7" name="object 197"/>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6" name="object 196"/>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5" name="object 195"/>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4" name="object 194"/>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3" name="object 193"/>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2" name="object 192"/>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1" name="object 191"/>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90" name="object 190"/>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9" name="object 189"/>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8" name="object 188"/>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7" name="object 187"/>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6" name="object 186"/>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85" name="object 185"/>
          <p:cNvSpPr/>
          <p:nvPr/>
        </p:nvSpPr>
        <p:spPr>
          <a:xfrm>
            <a:off x="7696200" y="1981200"/>
            <a:ext cx="0" cy="0"/>
          </a:xfrm>
          <a:custGeom>
            <a:avLst/>
            <a:gdLst/>
            <a:ahLst/>
            <a:cxnLst/>
            <a:rect l="l" t="t" r="r" b="b"/>
            <a:pathLst>
              <a:path>
                <a:moveTo>
                  <a:pt x="0" y="0"/>
                </a:moveTo>
                <a:lnTo>
                  <a:pt x="0" y="0"/>
                </a:lnTo>
              </a:path>
            </a:pathLst>
          </a:custGeom>
          <a:ln w="1270">
            <a:solidFill>
              <a:srgbClr val="000000"/>
            </a:solidFill>
          </a:ln>
        </p:spPr>
        <p:txBody>
          <a:bodyPr wrap="square" lIns="0" tIns="0" rIns="0" bIns="0" rtlCol="0">
            <a:noAutofit/>
          </a:bodyPr>
          <a:lstStyle/>
          <a:p>
            <a:endParaRPr/>
          </a:p>
        </p:txBody>
      </p:sp>
      <p:sp>
        <p:nvSpPr>
          <p:cNvPr id="179" name="object 179"/>
          <p:cNvSpPr txBox="1"/>
          <p:nvPr/>
        </p:nvSpPr>
        <p:spPr>
          <a:xfrm>
            <a:off x="4216654" y="2012409"/>
            <a:ext cx="126746" cy="228091"/>
          </a:xfrm>
          <a:prstGeom prst="rect">
            <a:avLst/>
          </a:prstGeom>
        </p:spPr>
        <p:txBody>
          <a:bodyPr wrap="square" lIns="0" tIns="0" rIns="0" bIns="0" rtlCol="0">
            <a:noAutofit/>
          </a:bodyPr>
          <a:lstStyle/>
          <a:p>
            <a:pPr marL="12700">
              <a:lnSpc>
                <a:spcPts val="1730"/>
              </a:lnSpc>
              <a:spcBef>
                <a:spcPts val="86"/>
              </a:spcBef>
            </a:pPr>
            <a:r>
              <a:rPr sz="1600" dirty="0">
                <a:latin typeface="Arial"/>
                <a:cs typeface="Arial"/>
              </a:rPr>
              <a:t>•</a:t>
            </a:r>
            <a:endParaRPr sz="1600">
              <a:latin typeface="Arial"/>
              <a:cs typeface="Arial"/>
            </a:endParaRPr>
          </a:p>
        </p:txBody>
      </p:sp>
      <p:sp>
        <p:nvSpPr>
          <p:cNvPr id="178" name="object 178"/>
          <p:cNvSpPr txBox="1"/>
          <p:nvPr/>
        </p:nvSpPr>
        <p:spPr>
          <a:xfrm>
            <a:off x="4401058" y="2012409"/>
            <a:ext cx="1194122" cy="228091"/>
          </a:xfrm>
          <a:prstGeom prst="rect">
            <a:avLst/>
          </a:prstGeom>
        </p:spPr>
        <p:txBody>
          <a:bodyPr wrap="square" lIns="0" tIns="0" rIns="0" bIns="0" rtlCol="0">
            <a:noAutofit/>
          </a:bodyPr>
          <a:lstStyle/>
          <a:p>
            <a:pPr marL="12700">
              <a:lnSpc>
                <a:spcPts val="1730"/>
              </a:lnSpc>
              <a:spcBef>
                <a:spcPts val="86"/>
              </a:spcBef>
            </a:pPr>
            <a:r>
              <a:rPr sz="1600" b="1" dirty="0">
                <a:latin typeface="Arial"/>
                <a:cs typeface="Arial"/>
              </a:rPr>
              <a:t>Sal</a:t>
            </a:r>
            <a:r>
              <a:rPr sz="1600" b="1" spc="4" dirty="0">
                <a:latin typeface="Arial"/>
                <a:cs typeface="Arial"/>
              </a:rPr>
              <a:t>e</a:t>
            </a:r>
            <a:r>
              <a:rPr sz="1600" b="1" dirty="0">
                <a:latin typeface="Arial"/>
                <a:cs typeface="Arial"/>
              </a:rPr>
              <a:t>s</a:t>
            </a:r>
            <a:r>
              <a:rPr sz="1600" b="1" spc="-41" dirty="0">
                <a:latin typeface="Arial"/>
                <a:cs typeface="Arial"/>
              </a:rPr>
              <a:t> </a:t>
            </a:r>
            <a:r>
              <a:rPr sz="1600" b="1" dirty="0">
                <a:latin typeface="Arial"/>
                <a:cs typeface="Arial"/>
              </a:rPr>
              <a:t>Order</a:t>
            </a:r>
            <a:endParaRPr sz="1600" dirty="0">
              <a:latin typeface="Arial"/>
              <a:cs typeface="Arial"/>
            </a:endParaRPr>
          </a:p>
        </p:txBody>
      </p:sp>
      <p:sp>
        <p:nvSpPr>
          <p:cNvPr id="177" name="object 177"/>
          <p:cNvSpPr txBox="1"/>
          <p:nvPr/>
        </p:nvSpPr>
        <p:spPr>
          <a:xfrm>
            <a:off x="8217789" y="2045683"/>
            <a:ext cx="126746" cy="228091"/>
          </a:xfrm>
          <a:prstGeom prst="rect">
            <a:avLst/>
          </a:prstGeom>
        </p:spPr>
        <p:txBody>
          <a:bodyPr wrap="square" lIns="0" tIns="0" rIns="0" bIns="0" rtlCol="0">
            <a:noAutofit/>
          </a:bodyPr>
          <a:lstStyle/>
          <a:p>
            <a:pPr marL="12700">
              <a:lnSpc>
                <a:spcPts val="1730"/>
              </a:lnSpc>
              <a:spcBef>
                <a:spcPts val="86"/>
              </a:spcBef>
            </a:pPr>
            <a:r>
              <a:rPr sz="1600" dirty="0">
                <a:latin typeface="Arial"/>
                <a:cs typeface="Arial"/>
              </a:rPr>
              <a:t>•</a:t>
            </a:r>
            <a:endParaRPr sz="1600">
              <a:latin typeface="Arial"/>
              <a:cs typeface="Arial"/>
            </a:endParaRPr>
          </a:p>
        </p:txBody>
      </p:sp>
      <p:sp>
        <p:nvSpPr>
          <p:cNvPr id="176" name="object 176"/>
          <p:cNvSpPr txBox="1"/>
          <p:nvPr/>
        </p:nvSpPr>
        <p:spPr>
          <a:xfrm>
            <a:off x="8402193" y="2045683"/>
            <a:ext cx="1273374" cy="228091"/>
          </a:xfrm>
          <a:prstGeom prst="rect">
            <a:avLst/>
          </a:prstGeom>
        </p:spPr>
        <p:txBody>
          <a:bodyPr wrap="square" lIns="0" tIns="0" rIns="0" bIns="0" rtlCol="0">
            <a:noAutofit/>
          </a:bodyPr>
          <a:lstStyle/>
          <a:p>
            <a:pPr marL="12700">
              <a:lnSpc>
                <a:spcPts val="1730"/>
              </a:lnSpc>
              <a:spcBef>
                <a:spcPts val="86"/>
              </a:spcBef>
            </a:pPr>
            <a:r>
              <a:rPr sz="1600" b="1" spc="-4" dirty="0">
                <a:latin typeface="Arial"/>
                <a:cs typeface="Arial"/>
              </a:rPr>
              <a:t>G</a:t>
            </a:r>
            <a:r>
              <a:rPr sz="1600" b="1" dirty="0">
                <a:latin typeface="Arial"/>
                <a:cs typeface="Arial"/>
              </a:rPr>
              <a:t>o</a:t>
            </a:r>
            <a:r>
              <a:rPr sz="1600" b="1" spc="-4" dirty="0">
                <a:latin typeface="Arial"/>
                <a:cs typeface="Arial"/>
              </a:rPr>
              <a:t>o</a:t>
            </a:r>
            <a:r>
              <a:rPr sz="1600" b="1" dirty="0">
                <a:latin typeface="Arial"/>
                <a:cs typeface="Arial"/>
              </a:rPr>
              <a:t>ds</a:t>
            </a:r>
            <a:r>
              <a:rPr sz="1600" b="1" spc="-30" dirty="0">
                <a:latin typeface="Arial"/>
                <a:cs typeface="Arial"/>
              </a:rPr>
              <a:t> </a:t>
            </a:r>
            <a:r>
              <a:rPr sz="1600" b="1" dirty="0">
                <a:latin typeface="Arial"/>
                <a:cs typeface="Arial"/>
              </a:rPr>
              <a:t>issue</a:t>
            </a:r>
            <a:endParaRPr sz="1600">
              <a:latin typeface="Arial"/>
              <a:cs typeface="Arial"/>
            </a:endParaRPr>
          </a:p>
        </p:txBody>
      </p:sp>
      <p:sp>
        <p:nvSpPr>
          <p:cNvPr id="175" name="object 175"/>
          <p:cNvSpPr txBox="1"/>
          <p:nvPr/>
        </p:nvSpPr>
        <p:spPr>
          <a:xfrm>
            <a:off x="3750057" y="3160362"/>
            <a:ext cx="2053085" cy="228091"/>
          </a:xfrm>
          <a:prstGeom prst="rect">
            <a:avLst/>
          </a:prstGeom>
        </p:spPr>
        <p:txBody>
          <a:bodyPr wrap="square" lIns="0" tIns="0" rIns="0" bIns="0" rtlCol="0">
            <a:noAutofit/>
          </a:bodyPr>
          <a:lstStyle/>
          <a:p>
            <a:pPr marL="12700">
              <a:lnSpc>
                <a:spcPts val="1730"/>
              </a:lnSpc>
              <a:spcBef>
                <a:spcPts val="86"/>
              </a:spcBef>
            </a:pPr>
            <a:r>
              <a:rPr sz="1600" dirty="0">
                <a:latin typeface="Arial"/>
                <a:cs typeface="Arial"/>
              </a:rPr>
              <a:t>•</a:t>
            </a:r>
            <a:r>
              <a:rPr sz="1600" spc="442" dirty="0">
                <a:latin typeface="Arial"/>
                <a:cs typeface="Arial"/>
              </a:rPr>
              <a:t> </a:t>
            </a:r>
            <a:r>
              <a:rPr sz="1600" b="1" spc="-4" dirty="0">
                <a:latin typeface="Arial"/>
                <a:cs typeface="Arial"/>
              </a:rPr>
              <a:t>O</a:t>
            </a:r>
            <a:r>
              <a:rPr sz="1600" b="1" dirty="0">
                <a:latin typeface="Arial"/>
                <a:cs typeface="Arial"/>
              </a:rPr>
              <a:t>u</a:t>
            </a:r>
            <a:r>
              <a:rPr sz="1600" b="1" spc="-4" dirty="0">
                <a:latin typeface="Arial"/>
                <a:cs typeface="Arial"/>
              </a:rPr>
              <a:t>t</a:t>
            </a:r>
            <a:r>
              <a:rPr sz="1600" b="1" dirty="0">
                <a:latin typeface="Arial"/>
                <a:cs typeface="Arial"/>
              </a:rPr>
              <a:t>b</a:t>
            </a:r>
            <a:r>
              <a:rPr sz="1600" b="1" spc="-4" dirty="0">
                <a:latin typeface="Arial"/>
                <a:cs typeface="Arial"/>
              </a:rPr>
              <a:t>o</a:t>
            </a:r>
            <a:r>
              <a:rPr sz="1600" b="1" dirty="0">
                <a:latin typeface="Arial"/>
                <a:cs typeface="Arial"/>
              </a:rPr>
              <a:t>u</a:t>
            </a:r>
            <a:r>
              <a:rPr sz="1600" b="1" spc="-4" dirty="0">
                <a:latin typeface="Arial"/>
                <a:cs typeface="Arial"/>
              </a:rPr>
              <a:t>n</a:t>
            </a:r>
            <a:r>
              <a:rPr sz="1600" b="1" dirty="0">
                <a:latin typeface="Arial"/>
                <a:cs typeface="Arial"/>
              </a:rPr>
              <a:t>d</a:t>
            </a:r>
            <a:r>
              <a:rPr sz="1600" b="1" spc="-31" dirty="0">
                <a:latin typeface="Arial"/>
                <a:cs typeface="Arial"/>
              </a:rPr>
              <a:t> </a:t>
            </a:r>
            <a:r>
              <a:rPr sz="1600" b="1" dirty="0">
                <a:latin typeface="Arial"/>
                <a:cs typeface="Arial"/>
              </a:rPr>
              <a:t>Deli</a:t>
            </a:r>
            <a:r>
              <a:rPr sz="1600" b="1" spc="-34" dirty="0">
                <a:latin typeface="Arial"/>
                <a:cs typeface="Arial"/>
              </a:rPr>
              <a:t>v</a:t>
            </a:r>
            <a:r>
              <a:rPr sz="1600" b="1" dirty="0">
                <a:latin typeface="Arial"/>
                <a:cs typeface="Arial"/>
              </a:rPr>
              <a:t>e</a:t>
            </a:r>
            <a:r>
              <a:rPr sz="1600" b="1" spc="14" dirty="0">
                <a:latin typeface="Arial"/>
                <a:cs typeface="Arial"/>
              </a:rPr>
              <a:t>r</a:t>
            </a:r>
            <a:r>
              <a:rPr sz="1600" b="1" dirty="0">
                <a:latin typeface="Arial"/>
                <a:cs typeface="Arial"/>
              </a:rPr>
              <a:t>y</a:t>
            </a:r>
            <a:endParaRPr sz="1600" dirty="0">
              <a:latin typeface="Arial"/>
              <a:cs typeface="Arial"/>
            </a:endParaRPr>
          </a:p>
        </p:txBody>
      </p:sp>
      <p:sp>
        <p:nvSpPr>
          <p:cNvPr id="174" name="object 174"/>
          <p:cNvSpPr txBox="1"/>
          <p:nvPr/>
        </p:nvSpPr>
        <p:spPr>
          <a:xfrm>
            <a:off x="8863965" y="3493736"/>
            <a:ext cx="1027058" cy="228092"/>
          </a:xfrm>
          <a:prstGeom prst="rect">
            <a:avLst/>
          </a:prstGeom>
        </p:spPr>
        <p:txBody>
          <a:bodyPr wrap="square" lIns="0" tIns="0" rIns="0" bIns="0" rtlCol="0">
            <a:noAutofit/>
          </a:bodyPr>
          <a:lstStyle/>
          <a:p>
            <a:pPr marL="12700">
              <a:lnSpc>
                <a:spcPts val="1730"/>
              </a:lnSpc>
              <a:spcBef>
                <a:spcPts val="86"/>
              </a:spcBef>
            </a:pPr>
            <a:r>
              <a:rPr sz="1600" dirty="0">
                <a:latin typeface="Arial"/>
                <a:cs typeface="Arial"/>
              </a:rPr>
              <a:t>•</a:t>
            </a:r>
            <a:r>
              <a:rPr sz="1600" spc="442" dirty="0">
                <a:latin typeface="Arial"/>
                <a:cs typeface="Arial"/>
              </a:rPr>
              <a:t> </a:t>
            </a:r>
            <a:r>
              <a:rPr sz="1600" b="1" dirty="0">
                <a:latin typeface="Arial"/>
                <a:cs typeface="Arial"/>
              </a:rPr>
              <a:t>L</a:t>
            </a:r>
            <a:r>
              <a:rPr sz="1600" b="1" spc="-4" dirty="0">
                <a:latin typeface="Arial"/>
                <a:cs typeface="Arial"/>
              </a:rPr>
              <a:t>o</a:t>
            </a:r>
            <a:r>
              <a:rPr sz="1600" b="1" dirty="0">
                <a:latin typeface="Arial"/>
                <a:cs typeface="Arial"/>
              </a:rPr>
              <a:t>adi</a:t>
            </a:r>
            <a:r>
              <a:rPr sz="1600" b="1" spc="-4" dirty="0">
                <a:latin typeface="Arial"/>
                <a:cs typeface="Arial"/>
              </a:rPr>
              <a:t>n</a:t>
            </a:r>
            <a:r>
              <a:rPr sz="1600" b="1" dirty="0">
                <a:latin typeface="Arial"/>
                <a:cs typeface="Arial"/>
              </a:rPr>
              <a:t>g</a:t>
            </a:r>
            <a:endParaRPr sz="1600">
              <a:latin typeface="Arial"/>
              <a:cs typeface="Arial"/>
            </a:endParaRPr>
          </a:p>
        </p:txBody>
      </p:sp>
      <p:sp>
        <p:nvSpPr>
          <p:cNvPr id="173" name="object 173"/>
          <p:cNvSpPr txBox="1"/>
          <p:nvPr/>
        </p:nvSpPr>
        <p:spPr>
          <a:xfrm>
            <a:off x="3821430" y="3612362"/>
            <a:ext cx="2142884" cy="789551"/>
          </a:xfrm>
          <a:prstGeom prst="rect">
            <a:avLst/>
          </a:prstGeom>
        </p:spPr>
        <p:txBody>
          <a:bodyPr wrap="square" lIns="0" tIns="0" rIns="0" bIns="0" rtlCol="0">
            <a:noAutofit/>
          </a:bodyPr>
          <a:lstStyle/>
          <a:p>
            <a:pPr marL="12700">
              <a:lnSpc>
                <a:spcPts val="1735"/>
              </a:lnSpc>
              <a:spcBef>
                <a:spcPts val="86"/>
              </a:spcBef>
            </a:pPr>
            <a:r>
              <a:rPr sz="1600" dirty="0">
                <a:latin typeface="Arial"/>
                <a:cs typeface="Arial"/>
              </a:rPr>
              <a:t>•</a:t>
            </a:r>
            <a:r>
              <a:rPr sz="1600" spc="-10" dirty="0">
                <a:latin typeface="Arial"/>
                <a:cs typeface="Arial"/>
              </a:rPr>
              <a:t> </a:t>
            </a:r>
            <a:r>
              <a:rPr sz="1600" b="1" dirty="0">
                <a:latin typeface="Arial"/>
                <a:cs typeface="Arial"/>
              </a:rPr>
              <a:t>Dea</a:t>
            </a:r>
            <a:r>
              <a:rPr sz="1600" b="1" spc="-9" dirty="0">
                <a:latin typeface="Arial"/>
                <a:cs typeface="Arial"/>
              </a:rPr>
              <a:t>d</a:t>
            </a:r>
            <a:r>
              <a:rPr sz="1600" b="1" dirty="0">
                <a:latin typeface="Arial"/>
                <a:cs typeface="Arial"/>
              </a:rPr>
              <a:t>li</a:t>
            </a:r>
            <a:r>
              <a:rPr sz="1600" b="1" spc="-4" dirty="0">
                <a:latin typeface="Arial"/>
                <a:cs typeface="Arial"/>
              </a:rPr>
              <a:t>n</a:t>
            </a:r>
            <a:r>
              <a:rPr sz="1600" b="1" dirty="0">
                <a:latin typeface="Arial"/>
                <a:cs typeface="Arial"/>
              </a:rPr>
              <a:t>e</a:t>
            </a:r>
            <a:r>
              <a:rPr sz="1600" b="1" spc="-28" dirty="0">
                <a:latin typeface="Arial"/>
                <a:cs typeface="Arial"/>
              </a:rPr>
              <a:t> </a:t>
            </a:r>
            <a:r>
              <a:rPr sz="1600" b="1" spc="-4" dirty="0">
                <a:latin typeface="Arial"/>
                <a:cs typeface="Arial"/>
              </a:rPr>
              <a:t>m</a:t>
            </a:r>
            <a:r>
              <a:rPr sz="1600" b="1" dirty="0">
                <a:latin typeface="Arial"/>
                <a:cs typeface="Arial"/>
              </a:rPr>
              <a:t>o</a:t>
            </a:r>
            <a:r>
              <a:rPr sz="1600" b="1" spc="-9" dirty="0">
                <a:latin typeface="Arial"/>
                <a:cs typeface="Arial"/>
              </a:rPr>
              <a:t>n</a:t>
            </a:r>
            <a:r>
              <a:rPr sz="1600" b="1" dirty="0">
                <a:latin typeface="Arial"/>
                <a:cs typeface="Arial"/>
              </a:rPr>
              <a:t>it</a:t>
            </a:r>
            <a:r>
              <a:rPr sz="1600" b="1" spc="-9" dirty="0">
                <a:latin typeface="Arial"/>
                <a:cs typeface="Arial"/>
              </a:rPr>
              <a:t>o</a:t>
            </a:r>
            <a:r>
              <a:rPr sz="1600" b="1" dirty="0">
                <a:latin typeface="Arial"/>
                <a:cs typeface="Arial"/>
              </a:rPr>
              <a:t>ring</a:t>
            </a:r>
            <a:endParaRPr sz="1600" dirty="0">
              <a:latin typeface="Arial"/>
              <a:cs typeface="Arial"/>
            </a:endParaRPr>
          </a:p>
          <a:p>
            <a:pPr marL="12700" marR="30449">
              <a:lnSpc>
                <a:spcPct val="95825"/>
              </a:lnSpc>
              <a:spcBef>
                <a:spcPts val="283"/>
              </a:spcBef>
            </a:pPr>
            <a:r>
              <a:rPr sz="1600" dirty="0">
                <a:latin typeface="Arial"/>
                <a:cs typeface="Arial"/>
              </a:rPr>
              <a:t>•</a:t>
            </a:r>
            <a:r>
              <a:rPr sz="1600" spc="-60" dirty="0">
                <a:latin typeface="Arial"/>
                <a:cs typeface="Arial"/>
              </a:rPr>
              <a:t> </a:t>
            </a:r>
            <a:r>
              <a:rPr sz="1600" b="1" spc="-94" dirty="0">
                <a:latin typeface="Arial"/>
                <a:cs typeface="Arial"/>
              </a:rPr>
              <a:t>A</a:t>
            </a:r>
            <a:r>
              <a:rPr sz="1600" b="1" spc="-25" dirty="0">
                <a:latin typeface="Arial"/>
                <a:cs typeface="Arial"/>
              </a:rPr>
              <a:t>v</a:t>
            </a:r>
            <a:r>
              <a:rPr sz="1600" b="1" spc="9" dirty="0">
                <a:latin typeface="Arial"/>
                <a:cs typeface="Arial"/>
              </a:rPr>
              <a:t>a</a:t>
            </a:r>
            <a:r>
              <a:rPr sz="1600" b="1" dirty="0">
                <a:latin typeface="Arial"/>
                <a:cs typeface="Arial"/>
              </a:rPr>
              <a:t>il</a:t>
            </a:r>
            <a:r>
              <a:rPr sz="1600" b="1" spc="9" dirty="0">
                <a:latin typeface="Arial"/>
                <a:cs typeface="Arial"/>
              </a:rPr>
              <a:t>a</a:t>
            </a:r>
            <a:r>
              <a:rPr sz="1600" b="1" dirty="0">
                <a:latin typeface="Arial"/>
                <a:cs typeface="Arial"/>
              </a:rPr>
              <a:t>b</a:t>
            </a:r>
            <a:r>
              <a:rPr sz="1600" b="1" spc="9" dirty="0">
                <a:latin typeface="Arial"/>
                <a:cs typeface="Arial"/>
              </a:rPr>
              <a:t>i</a:t>
            </a:r>
            <a:r>
              <a:rPr sz="1600" b="1" dirty="0">
                <a:latin typeface="Arial"/>
                <a:cs typeface="Arial"/>
              </a:rPr>
              <a:t>l</a:t>
            </a:r>
            <a:r>
              <a:rPr sz="1600" b="1" spc="9" dirty="0">
                <a:latin typeface="Arial"/>
                <a:cs typeface="Arial"/>
              </a:rPr>
              <a:t>i</a:t>
            </a:r>
            <a:r>
              <a:rPr sz="1600" b="1" spc="4" dirty="0">
                <a:latin typeface="Arial"/>
                <a:cs typeface="Arial"/>
              </a:rPr>
              <a:t>t</a:t>
            </a:r>
            <a:r>
              <a:rPr sz="1600" b="1" dirty="0">
                <a:latin typeface="Arial"/>
                <a:cs typeface="Arial"/>
              </a:rPr>
              <a:t>y</a:t>
            </a:r>
            <a:r>
              <a:rPr sz="1600" b="1" spc="-40" dirty="0">
                <a:latin typeface="Arial"/>
                <a:cs typeface="Arial"/>
              </a:rPr>
              <a:t> </a:t>
            </a:r>
            <a:r>
              <a:rPr sz="1600" b="1" dirty="0">
                <a:latin typeface="Arial"/>
                <a:cs typeface="Arial"/>
              </a:rPr>
              <a:t>check</a:t>
            </a:r>
            <a:endParaRPr sz="1600" dirty="0">
              <a:latin typeface="Arial"/>
              <a:cs typeface="Arial"/>
            </a:endParaRPr>
          </a:p>
          <a:p>
            <a:pPr marL="12700" marR="30449">
              <a:lnSpc>
                <a:spcPct val="95825"/>
              </a:lnSpc>
              <a:spcBef>
                <a:spcPts val="365"/>
              </a:spcBef>
            </a:pPr>
            <a:r>
              <a:rPr sz="1600" dirty="0">
                <a:latin typeface="Arial"/>
                <a:cs typeface="Arial"/>
              </a:rPr>
              <a:t>•</a:t>
            </a:r>
            <a:r>
              <a:rPr sz="1600" spc="-10" dirty="0">
                <a:latin typeface="Arial"/>
                <a:cs typeface="Arial"/>
              </a:rPr>
              <a:t> </a:t>
            </a:r>
            <a:r>
              <a:rPr sz="1600" b="1" dirty="0">
                <a:latin typeface="Arial"/>
                <a:cs typeface="Arial"/>
              </a:rPr>
              <a:t>Creating</a:t>
            </a:r>
            <a:r>
              <a:rPr sz="1600" b="1" spc="-34" dirty="0">
                <a:latin typeface="Arial"/>
                <a:cs typeface="Arial"/>
              </a:rPr>
              <a:t> </a:t>
            </a:r>
            <a:r>
              <a:rPr sz="1600" b="1" dirty="0">
                <a:latin typeface="Arial"/>
                <a:cs typeface="Arial"/>
              </a:rPr>
              <a:t>deli</a:t>
            </a:r>
            <a:r>
              <a:rPr sz="1600" b="1" spc="-34" dirty="0">
                <a:latin typeface="Arial"/>
                <a:cs typeface="Arial"/>
              </a:rPr>
              <a:t>v</a:t>
            </a:r>
            <a:r>
              <a:rPr sz="1600" b="1" dirty="0">
                <a:latin typeface="Arial"/>
                <a:cs typeface="Arial"/>
              </a:rPr>
              <a:t>eries</a:t>
            </a:r>
            <a:endParaRPr sz="1600" dirty="0">
              <a:latin typeface="Arial"/>
              <a:cs typeface="Arial"/>
            </a:endParaRPr>
          </a:p>
        </p:txBody>
      </p:sp>
      <p:sp>
        <p:nvSpPr>
          <p:cNvPr id="172" name="object 172"/>
          <p:cNvSpPr txBox="1"/>
          <p:nvPr/>
        </p:nvSpPr>
        <p:spPr>
          <a:xfrm>
            <a:off x="8614919" y="5115361"/>
            <a:ext cx="1853927" cy="254000"/>
          </a:xfrm>
          <a:prstGeom prst="rect">
            <a:avLst/>
          </a:prstGeom>
        </p:spPr>
        <p:txBody>
          <a:bodyPr wrap="square" lIns="0" tIns="0" rIns="0" bIns="0" rtlCol="0">
            <a:noAutofit/>
          </a:bodyPr>
          <a:lstStyle/>
          <a:p>
            <a:pPr marL="12700">
              <a:lnSpc>
                <a:spcPts val="1939"/>
              </a:lnSpc>
              <a:spcBef>
                <a:spcPts val="97"/>
              </a:spcBef>
            </a:pPr>
            <a:r>
              <a:rPr dirty="0">
                <a:latin typeface="Arial"/>
                <a:cs typeface="Arial"/>
              </a:rPr>
              <a:t>•</a:t>
            </a:r>
            <a:r>
              <a:rPr spc="493" dirty="0">
                <a:latin typeface="Arial"/>
                <a:cs typeface="Arial"/>
              </a:rPr>
              <a:t> </a:t>
            </a:r>
            <a:r>
              <a:rPr sz="1600" b="1" dirty="0">
                <a:latin typeface="Arial"/>
                <a:cs typeface="Arial"/>
              </a:rPr>
              <a:t>Ship</a:t>
            </a:r>
            <a:r>
              <a:rPr sz="1600" b="1" spc="-4" dirty="0">
                <a:latin typeface="Arial"/>
                <a:cs typeface="Arial"/>
              </a:rPr>
              <a:t>p</a:t>
            </a:r>
            <a:r>
              <a:rPr sz="1600" b="1" dirty="0">
                <a:latin typeface="Arial"/>
                <a:cs typeface="Arial"/>
              </a:rPr>
              <a:t>ing</a:t>
            </a:r>
            <a:r>
              <a:rPr sz="1600" b="1" spc="-53" dirty="0">
                <a:latin typeface="Arial"/>
                <a:cs typeface="Arial"/>
              </a:rPr>
              <a:t> </a:t>
            </a:r>
            <a:r>
              <a:rPr sz="1600" b="1" dirty="0">
                <a:latin typeface="Arial"/>
                <a:cs typeface="Arial"/>
              </a:rPr>
              <a:t>pa</a:t>
            </a:r>
            <a:r>
              <a:rPr sz="1600" b="1" spc="-4" dirty="0">
                <a:latin typeface="Arial"/>
                <a:cs typeface="Arial"/>
              </a:rPr>
              <a:t>p</a:t>
            </a:r>
            <a:r>
              <a:rPr sz="1600" b="1" dirty="0">
                <a:latin typeface="Arial"/>
                <a:cs typeface="Arial"/>
              </a:rPr>
              <a:t>ers</a:t>
            </a:r>
            <a:endParaRPr sz="1600">
              <a:latin typeface="Arial"/>
              <a:cs typeface="Arial"/>
            </a:endParaRPr>
          </a:p>
        </p:txBody>
      </p:sp>
      <p:sp>
        <p:nvSpPr>
          <p:cNvPr id="171" name="object 171"/>
          <p:cNvSpPr txBox="1"/>
          <p:nvPr/>
        </p:nvSpPr>
        <p:spPr>
          <a:xfrm>
            <a:off x="4243833" y="6004094"/>
            <a:ext cx="2245845" cy="508508"/>
          </a:xfrm>
          <a:prstGeom prst="rect">
            <a:avLst/>
          </a:prstGeom>
        </p:spPr>
        <p:txBody>
          <a:bodyPr wrap="square" lIns="0" tIns="0" rIns="0" bIns="0" rtlCol="0">
            <a:noAutofit/>
          </a:bodyPr>
          <a:lstStyle/>
          <a:p>
            <a:pPr marL="12700" marR="30403">
              <a:lnSpc>
                <a:spcPts val="1730"/>
              </a:lnSpc>
              <a:spcBef>
                <a:spcPts val="86"/>
              </a:spcBef>
            </a:pPr>
            <a:r>
              <a:rPr sz="1600" dirty="0">
                <a:latin typeface="Arial"/>
                <a:cs typeface="Arial"/>
              </a:rPr>
              <a:t>•</a:t>
            </a:r>
            <a:r>
              <a:rPr sz="1600" spc="442" dirty="0">
                <a:latin typeface="Arial"/>
                <a:cs typeface="Arial"/>
              </a:rPr>
              <a:t> </a:t>
            </a:r>
            <a:r>
              <a:rPr sz="1600" b="1" dirty="0">
                <a:latin typeface="Arial"/>
                <a:cs typeface="Arial"/>
              </a:rPr>
              <a:t>Pic</a:t>
            </a:r>
            <a:r>
              <a:rPr sz="1600" b="1" spc="4" dirty="0">
                <a:latin typeface="Arial"/>
                <a:cs typeface="Arial"/>
              </a:rPr>
              <a:t>k</a:t>
            </a:r>
            <a:r>
              <a:rPr sz="1600" b="1" dirty="0">
                <a:latin typeface="Arial"/>
                <a:cs typeface="Arial"/>
              </a:rPr>
              <a:t>ing</a:t>
            </a:r>
            <a:endParaRPr sz="1600">
              <a:latin typeface="Arial"/>
              <a:cs typeface="Arial"/>
            </a:endParaRPr>
          </a:p>
          <a:p>
            <a:pPr marL="12700">
              <a:lnSpc>
                <a:spcPct val="95825"/>
              </a:lnSpc>
              <a:spcBef>
                <a:spcPts val="278"/>
              </a:spcBef>
            </a:pPr>
            <a:r>
              <a:rPr sz="1600" dirty="0">
                <a:latin typeface="Arial"/>
                <a:cs typeface="Arial"/>
              </a:rPr>
              <a:t>•</a:t>
            </a:r>
            <a:r>
              <a:rPr sz="1600" spc="442" dirty="0">
                <a:latin typeface="Arial"/>
                <a:cs typeface="Arial"/>
              </a:rPr>
              <a:t> </a:t>
            </a:r>
            <a:r>
              <a:rPr sz="1600" b="1" dirty="0">
                <a:latin typeface="Arial"/>
                <a:cs typeface="Arial"/>
              </a:rPr>
              <a:t>Pic</a:t>
            </a:r>
            <a:r>
              <a:rPr sz="1600" b="1" spc="4" dirty="0">
                <a:latin typeface="Arial"/>
                <a:cs typeface="Arial"/>
              </a:rPr>
              <a:t>k</a:t>
            </a:r>
            <a:r>
              <a:rPr sz="1600" b="1" dirty="0">
                <a:latin typeface="Arial"/>
                <a:cs typeface="Arial"/>
              </a:rPr>
              <a:t>ing</a:t>
            </a:r>
            <a:r>
              <a:rPr sz="1600" b="1" spc="-51" dirty="0">
                <a:latin typeface="Arial"/>
                <a:cs typeface="Arial"/>
              </a:rPr>
              <a:t> </a:t>
            </a:r>
            <a:r>
              <a:rPr sz="1600" b="1" dirty="0">
                <a:latin typeface="Arial"/>
                <a:cs typeface="Arial"/>
              </a:rPr>
              <a:t>co</a:t>
            </a:r>
            <a:r>
              <a:rPr sz="1600" b="1" spc="-4" dirty="0">
                <a:latin typeface="Arial"/>
                <a:cs typeface="Arial"/>
              </a:rPr>
              <a:t>n</a:t>
            </a:r>
            <a:r>
              <a:rPr sz="1600" b="1" dirty="0">
                <a:latin typeface="Arial"/>
                <a:cs typeface="Arial"/>
              </a:rPr>
              <a:t>firma</a:t>
            </a:r>
            <a:r>
              <a:rPr sz="1600" b="1" spc="-4" dirty="0">
                <a:latin typeface="Arial"/>
                <a:cs typeface="Arial"/>
              </a:rPr>
              <a:t>t</a:t>
            </a:r>
            <a:r>
              <a:rPr sz="1600" b="1" spc="9" dirty="0">
                <a:latin typeface="Arial"/>
                <a:cs typeface="Arial"/>
              </a:rPr>
              <a:t>i</a:t>
            </a:r>
            <a:r>
              <a:rPr sz="1600" b="1" dirty="0">
                <a:latin typeface="Arial"/>
                <a:cs typeface="Arial"/>
              </a:rPr>
              <a:t>on</a:t>
            </a:r>
            <a:endParaRPr sz="1600">
              <a:latin typeface="Arial"/>
              <a:cs typeface="Arial"/>
            </a:endParaRPr>
          </a:p>
        </p:txBody>
      </p:sp>
      <p:sp>
        <p:nvSpPr>
          <p:cNvPr id="170" name="object 170"/>
          <p:cNvSpPr txBox="1"/>
          <p:nvPr/>
        </p:nvSpPr>
        <p:spPr>
          <a:xfrm>
            <a:off x="7011163" y="6062674"/>
            <a:ext cx="1018137" cy="228396"/>
          </a:xfrm>
          <a:prstGeom prst="rect">
            <a:avLst/>
          </a:prstGeom>
        </p:spPr>
        <p:txBody>
          <a:bodyPr wrap="square" lIns="0" tIns="0" rIns="0" bIns="0" rtlCol="0">
            <a:noAutofit/>
          </a:bodyPr>
          <a:lstStyle/>
          <a:p>
            <a:pPr marL="12700">
              <a:lnSpc>
                <a:spcPts val="1735"/>
              </a:lnSpc>
              <a:spcBef>
                <a:spcPts val="86"/>
              </a:spcBef>
            </a:pPr>
            <a:r>
              <a:rPr sz="1600" dirty="0">
                <a:latin typeface="Arial"/>
                <a:cs typeface="Arial"/>
              </a:rPr>
              <a:t>•</a:t>
            </a:r>
            <a:r>
              <a:rPr sz="1600" spc="442" dirty="0">
                <a:latin typeface="Arial"/>
                <a:cs typeface="Arial"/>
              </a:rPr>
              <a:t> </a:t>
            </a:r>
            <a:r>
              <a:rPr sz="1600" b="1" dirty="0">
                <a:latin typeface="Arial"/>
                <a:cs typeface="Arial"/>
              </a:rPr>
              <a:t>Packi</a:t>
            </a:r>
            <a:r>
              <a:rPr sz="1600" b="1" spc="-4" dirty="0">
                <a:latin typeface="Arial"/>
                <a:cs typeface="Arial"/>
              </a:rPr>
              <a:t>n</a:t>
            </a:r>
            <a:r>
              <a:rPr sz="1600" b="1" dirty="0">
                <a:latin typeface="Arial"/>
                <a:cs typeface="Arial"/>
              </a:rPr>
              <a:t>g</a:t>
            </a:r>
            <a:endParaRPr sz="1600">
              <a:latin typeface="Arial"/>
              <a:cs typeface="Arial"/>
            </a:endParaRPr>
          </a:p>
        </p:txBody>
      </p:sp>
      <p:sp>
        <p:nvSpPr>
          <p:cNvPr id="168" name="object 168"/>
          <p:cNvSpPr txBox="1"/>
          <p:nvPr/>
        </p:nvSpPr>
        <p:spPr>
          <a:xfrm>
            <a:off x="7527926" y="5805884"/>
            <a:ext cx="207175" cy="20241"/>
          </a:xfrm>
          <a:prstGeom prst="rect">
            <a:avLst/>
          </a:prstGeom>
        </p:spPr>
        <p:txBody>
          <a:bodyPr wrap="square" lIns="0" tIns="0" rIns="0" bIns="0" rtlCol="0">
            <a:noAutofit/>
          </a:bodyPr>
          <a:lstStyle/>
          <a:p>
            <a:endParaRPr/>
          </a:p>
        </p:txBody>
      </p:sp>
      <p:sp>
        <p:nvSpPr>
          <p:cNvPr id="167" name="object 167"/>
          <p:cNvSpPr txBox="1"/>
          <p:nvPr/>
        </p:nvSpPr>
        <p:spPr>
          <a:xfrm>
            <a:off x="7224776" y="5805884"/>
            <a:ext cx="210350" cy="20241"/>
          </a:xfrm>
          <a:prstGeom prst="rect">
            <a:avLst/>
          </a:prstGeom>
        </p:spPr>
        <p:txBody>
          <a:bodyPr wrap="square" lIns="0" tIns="0" rIns="0" bIns="0" rtlCol="0">
            <a:noAutofit/>
          </a:bodyPr>
          <a:lstStyle/>
          <a:p>
            <a:endParaRPr/>
          </a:p>
        </p:txBody>
      </p:sp>
      <p:sp>
        <p:nvSpPr>
          <p:cNvPr id="166" name="object 166"/>
          <p:cNvSpPr txBox="1"/>
          <p:nvPr/>
        </p:nvSpPr>
        <p:spPr>
          <a:xfrm>
            <a:off x="6900926" y="5805884"/>
            <a:ext cx="208762" cy="20241"/>
          </a:xfrm>
          <a:prstGeom prst="rect">
            <a:avLst/>
          </a:prstGeom>
        </p:spPr>
        <p:txBody>
          <a:bodyPr wrap="square" lIns="0" tIns="0" rIns="0" bIns="0" rtlCol="0">
            <a:noAutofit/>
          </a:bodyPr>
          <a:lstStyle/>
          <a:p>
            <a:endParaRPr/>
          </a:p>
        </p:txBody>
      </p:sp>
      <p:sp>
        <p:nvSpPr>
          <p:cNvPr id="165" name="object 165"/>
          <p:cNvSpPr txBox="1"/>
          <p:nvPr/>
        </p:nvSpPr>
        <p:spPr>
          <a:xfrm>
            <a:off x="6643751" y="5572521"/>
            <a:ext cx="208762" cy="20241"/>
          </a:xfrm>
          <a:prstGeom prst="rect">
            <a:avLst/>
          </a:prstGeom>
        </p:spPr>
        <p:txBody>
          <a:bodyPr wrap="square" lIns="0" tIns="0" rIns="0" bIns="0" rtlCol="0">
            <a:noAutofit/>
          </a:bodyPr>
          <a:lstStyle/>
          <a:p>
            <a:endParaRPr/>
          </a:p>
        </p:txBody>
      </p:sp>
      <p:sp>
        <p:nvSpPr>
          <p:cNvPr id="164" name="object 164"/>
          <p:cNvSpPr txBox="1"/>
          <p:nvPr/>
        </p:nvSpPr>
        <p:spPr>
          <a:xfrm>
            <a:off x="6856477" y="5179276"/>
            <a:ext cx="158051" cy="96245"/>
          </a:xfrm>
          <a:prstGeom prst="rect">
            <a:avLst/>
          </a:prstGeom>
        </p:spPr>
        <p:txBody>
          <a:bodyPr wrap="square" lIns="0" tIns="0" rIns="0" bIns="0" rtlCol="0">
            <a:noAutofit/>
          </a:bodyPr>
          <a:lstStyle/>
          <a:p>
            <a:pPr marL="25400">
              <a:lnSpc>
                <a:spcPts val="750"/>
              </a:lnSpc>
              <a:spcBef>
                <a:spcPts val="7"/>
              </a:spcBef>
            </a:pPr>
            <a:endParaRPr sz="750"/>
          </a:p>
        </p:txBody>
      </p:sp>
      <p:sp>
        <p:nvSpPr>
          <p:cNvPr id="163" name="object 163"/>
          <p:cNvSpPr txBox="1"/>
          <p:nvPr/>
        </p:nvSpPr>
        <p:spPr>
          <a:xfrm>
            <a:off x="7014527" y="5179276"/>
            <a:ext cx="147224" cy="96245"/>
          </a:xfrm>
          <a:prstGeom prst="rect">
            <a:avLst/>
          </a:prstGeom>
        </p:spPr>
        <p:txBody>
          <a:bodyPr wrap="square" lIns="0" tIns="0" rIns="0" bIns="0" rtlCol="0">
            <a:noAutofit/>
          </a:bodyPr>
          <a:lstStyle/>
          <a:p>
            <a:pPr marL="25400">
              <a:lnSpc>
                <a:spcPts val="750"/>
              </a:lnSpc>
              <a:spcBef>
                <a:spcPts val="7"/>
              </a:spcBef>
            </a:pPr>
            <a:endParaRPr sz="750"/>
          </a:p>
        </p:txBody>
      </p:sp>
      <p:sp>
        <p:nvSpPr>
          <p:cNvPr id="162" name="object 162"/>
          <p:cNvSpPr txBox="1"/>
          <p:nvPr/>
        </p:nvSpPr>
        <p:spPr>
          <a:xfrm>
            <a:off x="7161752" y="5179276"/>
            <a:ext cx="154400" cy="96245"/>
          </a:xfrm>
          <a:prstGeom prst="rect">
            <a:avLst/>
          </a:prstGeom>
        </p:spPr>
        <p:txBody>
          <a:bodyPr wrap="square" lIns="0" tIns="0" rIns="0" bIns="0" rtlCol="0">
            <a:noAutofit/>
          </a:bodyPr>
          <a:lstStyle/>
          <a:p>
            <a:pPr marL="25400">
              <a:lnSpc>
                <a:spcPts val="750"/>
              </a:lnSpc>
              <a:spcBef>
                <a:spcPts val="7"/>
              </a:spcBef>
            </a:pPr>
            <a:endParaRPr sz="750"/>
          </a:p>
        </p:txBody>
      </p:sp>
      <p:sp>
        <p:nvSpPr>
          <p:cNvPr id="161" name="object 161"/>
          <p:cNvSpPr txBox="1"/>
          <p:nvPr/>
        </p:nvSpPr>
        <p:spPr>
          <a:xfrm>
            <a:off x="7316152" y="5179276"/>
            <a:ext cx="157226" cy="96245"/>
          </a:xfrm>
          <a:prstGeom prst="rect">
            <a:avLst/>
          </a:prstGeom>
        </p:spPr>
        <p:txBody>
          <a:bodyPr wrap="square" lIns="0" tIns="0" rIns="0" bIns="0" rtlCol="0">
            <a:noAutofit/>
          </a:bodyPr>
          <a:lstStyle/>
          <a:p>
            <a:pPr marL="25400">
              <a:lnSpc>
                <a:spcPts val="750"/>
              </a:lnSpc>
              <a:spcBef>
                <a:spcPts val="7"/>
              </a:spcBef>
            </a:pPr>
            <a:endParaRPr sz="750"/>
          </a:p>
        </p:txBody>
      </p:sp>
      <p:sp>
        <p:nvSpPr>
          <p:cNvPr id="160" name="object 160"/>
          <p:cNvSpPr txBox="1"/>
          <p:nvPr/>
        </p:nvSpPr>
        <p:spPr>
          <a:xfrm>
            <a:off x="7473379" y="5179276"/>
            <a:ext cx="261315" cy="199563"/>
          </a:xfrm>
          <a:prstGeom prst="rect">
            <a:avLst/>
          </a:prstGeom>
        </p:spPr>
        <p:txBody>
          <a:bodyPr wrap="square" lIns="0" tIns="0" rIns="0" bIns="0" rtlCol="0">
            <a:noAutofit/>
          </a:bodyPr>
          <a:lstStyle/>
          <a:p>
            <a:pPr marL="25400">
              <a:lnSpc>
                <a:spcPts val="1000"/>
              </a:lnSpc>
            </a:pPr>
            <a:endParaRPr sz="1000"/>
          </a:p>
        </p:txBody>
      </p:sp>
      <p:sp>
        <p:nvSpPr>
          <p:cNvPr id="159" name="object 159"/>
          <p:cNvSpPr txBox="1"/>
          <p:nvPr/>
        </p:nvSpPr>
        <p:spPr>
          <a:xfrm>
            <a:off x="6856477" y="5275520"/>
            <a:ext cx="158051" cy="103318"/>
          </a:xfrm>
          <a:prstGeom prst="rect">
            <a:avLst/>
          </a:prstGeom>
        </p:spPr>
        <p:txBody>
          <a:bodyPr wrap="square" lIns="0" tIns="0" rIns="0" bIns="0" rtlCol="0">
            <a:noAutofit/>
          </a:bodyPr>
          <a:lstStyle/>
          <a:p>
            <a:pPr marL="25400">
              <a:lnSpc>
                <a:spcPts val="800"/>
              </a:lnSpc>
              <a:spcBef>
                <a:spcPts val="13"/>
              </a:spcBef>
            </a:pPr>
            <a:endParaRPr sz="800"/>
          </a:p>
        </p:txBody>
      </p:sp>
      <p:sp>
        <p:nvSpPr>
          <p:cNvPr id="158" name="object 158"/>
          <p:cNvSpPr txBox="1"/>
          <p:nvPr/>
        </p:nvSpPr>
        <p:spPr>
          <a:xfrm>
            <a:off x="7014527" y="5275520"/>
            <a:ext cx="147224" cy="103318"/>
          </a:xfrm>
          <a:prstGeom prst="rect">
            <a:avLst/>
          </a:prstGeom>
        </p:spPr>
        <p:txBody>
          <a:bodyPr wrap="square" lIns="0" tIns="0" rIns="0" bIns="0" rtlCol="0">
            <a:noAutofit/>
          </a:bodyPr>
          <a:lstStyle/>
          <a:p>
            <a:pPr marL="25400">
              <a:lnSpc>
                <a:spcPts val="800"/>
              </a:lnSpc>
              <a:spcBef>
                <a:spcPts val="13"/>
              </a:spcBef>
            </a:pPr>
            <a:endParaRPr sz="800"/>
          </a:p>
        </p:txBody>
      </p:sp>
      <p:sp>
        <p:nvSpPr>
          <p:cNvPr id="157" name="object 157"/>
          <p:cNvSpPr txBox="1"/>
          <p:nvPr/>
        </p:nvSpPr>
        <p:spPr>
          <a:xfrm>
            <a:off x="7161752" y="5275520"/>
            <a:ext cx="154400" cy="103318"/>
          </a:xfrm>
          <a:prstGeom prst="rect">
            <a:avLst/>
          </a:prstGeom>
        </p:spPr>
        <p:txBody>
          <a:bodyPr wrap="square" lIns="0" tIns="0" rIns="0" bIns="0" rtlCol="0">
            <a:noAutofit/>
          </a:bodyPr>
          <a:lstStyle/>
          <a:p>
            <a:pPr marL="25400">
              <a:lnSpc>
                <a:spcPts val="800"/>
              </a:lnSpc>
              <a:spcBef>
                <a:spcPts val="13"/>
              </a:spcBef>
            </a:pPr>
            <a:endParaRPr sz="800"/>
          </a:p>
        </p:txBody>
      </p:sp>
      <p:sp>
        <p:nvSpPr>
          <p:cNvPr id="156" name="object 156"/>
          <p:cNvSpPr txBox="1"/>
          <p:nvPr/>
        </p:nvSpPr>
        <p:spPr>
          <a:xfrm>
            <a:off x="7316152" y="5275520"/>
            <a:ext cx="157226" cy="103318"/>
          </a:xfrm>
          <a:prstGeom prst="rect">
            <a:avLst/>
          </a:prstGeom>
        </p:spPr>
        <p:txBody>
          <a:bodyPr wrap="square" lIns="0" tIns="0" rIns="0" bIns="0" rtlCol="0">
            <a:noAutofit/>
          </a:bodyPr>
          <a:lstStyle/>
          <a:p>
            <a:pPr marL="25400">
              <a:lnSpc>
                <a:spcPts val="800"/>
              </a:lnSpc>
              <a:spcBef>
                <a:spcPts val="13"/>
              </a:spcBef>
            </a:pPr>
            <a:endParaRPr sz="800"/>
          </a:p>
        </p:txBody>
      </p:sp>
      <p:sp>
        <p:nvSpPr>
          <p:cNvPr id="155" name="object 155"/>
          <p:cNvSpPr txBox="1"/>
          <p:nvPr/>
        </p:nvSpPr>
        <p:spPr>
          <a:xfrm>
            <a:off x="6856476" y="5378840"/>
            <a:ext cx="616902" cy="91685"/>
          </a:xfrm>
          <a:prstGeom prst="rect">
            <a:avLst/>
          </a:prstGeom>
        </p:spPr>
        <p:txBody>
          <a:bodyPr wrap="square" lIns="0" tIns="0" rIns="0" bIns="0" rtlCol="0">
            <a:noAutofit/>
          </a:bodyPr>
          <a:lstStyle/>
          <a:p>
            <a:pPr marL="25400">
              <a:lnSpc>
                <a:spcPts val="700"/>
              </a:lnSpc>
              <a:spcBef>
                <a:spcPts val="21"/>
              </a:spcBef>
            </a:pPr>
            <a:endParaRPr sz="700"/>
          </a:p>
        </p:txBody>
      </p:sp>
      <p:sp>
        <p:nvSpPr>
          <p:cNvPr id="154" name="object 154"/>
          <p:cNvSpPr txBox="1"/>
          <p:nvPr/>
        </p:nvSpPr>
        <p:spPr>
          <a:xfrm>
            <a:off x="7473379" y="5378840"/>
            <a:ext cx="257365" cy="91685"/>
          </a:xfrm>
          <a:prstGeom prst="rect">
            <a:avLst/>
          </a:prstGeom>
        </p:spPr>
        <p:txBody>
          <a:bodyPr wrap="square" lIns="0" tIns="0" rIns="0" bIns="0" rtlCol="0">
            <a:noAutofit/>
          </a:bodyPr>
          <a:lstStyle/>
          <a:p>
            <a:pPr marL="25400">
              <a:lnSpc>
                <a:spcPts val="700"/>
              </a:lnSpc>
              <a:spcBef>
                <a:spcPts val="21"/>
              </a:spcBef>
            </a:pPr>
            <a:endParaRPr sz="700"/>
          </a:p>
        </p:txBody>
      </p:sp>
      <p:sp>
        <p:nvSpPr>
          <p:cNvPr id="153" name="object 153"/>
          <p:cNvSpPr txBox="1"/>
          <p:nvPr/>
        </p:nvSpPr>
        <p:spPr>
          <a:xfrm>
            <a:off x="6856477" y="5470525"/>
            <a:ext cx="111125" cy="233362"/>
          </a:xfrm>
          <a:prstGeom prst="rect">
            <a:avLst/>
          </a:prstGeom>
        </p:spPr>
        <p:txBody>
          <a:bodyPr wrap="square" lIns="0" tIns="0" rIns="0" bIns="0" rtlCol="0">
            <a:noAutofit/>
          </a:bodyPr>
          <a:lstStyle/>
          <a:p>
            <a:pPr marL="25400">
              <a:lnSpc>
                <a:spcPts val="1000"/>
              </a:lnSpc>
            </a:pPr>
            <a:endParaRPr sz="1000"/>
          </a:p>
        </p:txBody>
      </p:sp>
      <p:sp>
        <p:nvSpPr>
          <p:cNvPr id="152" name="object 152"/>
          <p:cNvSpPr txBox="1"/>
          <p:nvPr/>
        </p:nvSpPr>
        <p:spPr>
          <a:xfrm>
            <a:off x="6967601" y="5470525"/>
            <a:ext cx="146050" cy="108028"/>
          </a:xfrm>
          <a:prstGeom prst="rect">
            <a:avLst/>
          </a:prstGeom>
        </p:spPr>
        <p:txBody>
          <a:bodyPr wrap="square" lIns="0" tIns="0" rIns="0" bIns="0" rtlCol="0">
            <a:noAutofit/>
          </a:bodyPr>
          <a:lstStyle/>
          <a:p>
            <a:pPr marL="25400">
              <a:lnSpc>
                <a:spcPts val="850"/>
              </a:lnSpc>
            </a:pPr>
            <a:endParaRPr sz="850"/>
          </a:p>
        </p:txBody>
      </p:sp>
      <p:sp>
        <p:nvSpPr>
          <p:cNvPr id="151" name="object 151"/>
          <p:cNvSpPr txBox="1"/>
          <p:nvPr/>
        </p:nvSpPr>
        <p:spPr>
          <a:xfrm>
            <a:off x="7113652" y="5470525"/>
            <a:ext cx="158241" cy="43252"/>
          </a:xfrm>
          <a:prstGeom prst="rect">
            <a:avLst/>
          </a:prstGeom>
        </p:spPr>
        <p:txBody>
          <a:bodyPr wrap="square" lIns="0" tIns="0" rIns="0" bIns="0" rtlCol="0">
            <a:noAutofit/>
          </a:bodyPr>
          <a:lstStyle/>
          <a:p>
            <a:endParaRPr/>
          </a:p>
        </p:txBody>
      </p:sp>
      <p:sp>
        <p:nvSpPr>
          <p:cNvPr id="150" name="object 150"/>
          <p:cNvSpPr txBox="1"/>
          <p:nvPr/>
        </p:nvSpPr>
        <p:spPr>
          <a:xfrm>
            <a:off x="7271893" y="5470525"/>
            <a:ext cx="150552" cy="43252"/>
          </a:xfrm>
          <a:prstGeom prst="rect">
            <a:avLst/>
          </a:prstGeom>
        </p:spPr>
        <p:txBody>
          <a:bodyPr wrap="square" lIns="0" tIns="0" rIns="0" bIns="0" rtlCol="0">
            <a:noAutofit/>
          </a:bodyPr>
          <a:lstStyle/>
          <a:p>
            <a:endParaRPr/>
          </a:p>
        </p:txBody>
      </p:sp>
      <p:sp>
        <p:nvSpPr>
          <p:cNvPr id="149" name="object 149"/>
          <p:cNvSpPr txBox="1"/>
          <p:nvPr/>
        </p:nvSpPr>
        <p:spPr>
          <a:xfrm>
            <a:off x="7422445" y="5470525"/>
            <a:ext cx="151072" cy="43252"/>
          </a:xfrm>
          <a:prstGeom prst="rect">
            <a:avLst/>
          </a:prstGeom>
        </p:spPr>
        <p:txBody>
          <a:bodyPr wrap="square" lIns="0" tIns="0" rIns="0" bIns="0" rtlCol="0">
            <a:noAutofit/>
          </a:bodyPr>
          <a:lstStyle/>
          <a:p>
            <a:endParaRPr/>
          </a:p>
        </p:txBody>
      </p:sp>
      <p:sp>
        <p:nvSpPr>
          <p:cNvPr id="148" name="object 148"/>
          <p:cNvSpPr txBox="1"/>
          <p:nvPr/>
        </p:nvSpPr>
        <p:spPr>
          <a:xfrm>
            <a:off x="7573518" y="5470525"/>
            <a:ext cx="157226" cy="43252"/>
          </a:xfrm>
          <a:prstGeom prst="rect">
            <a:avLst/>
          </a:prstGeom>
        </p:spPr>
        <p:txBody>
          <a:bodyPr wrap="square" lIns="0" tIns="0" rIns="0" bIns="0" rtlCol="0">
            <a:noAutofit/>
          </a:bodyPr>
          <a:lstStyle/>
          <a:p>
            <a:endParaRPr/>
          </a:p>
        </p:txBody>
      </p:sp>
      <p:sp>
        <p:nvSpPr>
          <p:cNvPr id="147" name="object 147"/>
          <p:cNvSpPr txBox="1"/>
          <p:nvPr/>
        </p:nvSpPr>
        <p:spPr>
          <a:xfrm>
            <a:off x="7113652" y="5513778"/>
            <a:ext cx="158241" cy="64775"/>
          </a:xfrm>
          <a:prstGeom prst="rect">
            <a:avLst/>
          </a:prstGeom>
        </p:spPr>
        <p:txBody>
          <a:bodyPr wrap="square" lIns="0" tIns="0" rIns="0" bIns="0" rtlCol="0">
            <a:noAutofit/>
          </a:bodyPr>
          <a:lstStyle/>
          <a:p>
            <a:pPr marL="25400">
              <a:lnSpc>
                <a:spcPts val="500"/>
              </a:lnSpc>
              <a:spcBef>
                <a:spcPts val="10"/>
              </a:spcBef>
            </a:pPr>
            <a:endParaRPr sz="500"/>
          </a:p>
        </p:txBody>
      </p:sp>
      <p:sp>
        <p:nvSpPr>
          <p:cNvPr id="146" name="object 146"/>
          <p:cNvSpPr txBox="1"/>
          <p:nvPr/>
        </p:nvSpPr>
        <p:spPr>
          <a:xfrm>
            <a:off x="7271893" y="5513778"/>
            <a:ext cx="150552" cy="64775"/>
          </a:xfrm>
          <a:prstGeom prst="rect">
            <a:avLst/>
          </a:prstGeom>
        </p:spPr>
        <p:txBody>
          <a:bodyPr wrap="square" lIns="0" tIns="0" rIns="0" bIns="0" rtlCol="0">
            <a:noAutofit/>
          </a:bodyPr>
          <a:lstStyle/>
          <a:p>
            <a:pPr marL="25400">
              <a:lnSpc>
                <a:spcPts val="500"/>
              </a:lnSpc>
              <a:spcBef>
                <a:spcPts val="10"/>
              </a:spcBef>
            </a:pPr>
            <a:endParaRPr sz="500"/>
          </a:p>
        </p:txBody>
      </p:sp>
      <p:sp>
        <p:nvSpPr>
          <p:cNvPr id="145" name="object 145"/>
          <p:cNvSpPr txBox="1"/>
          <p:nvPr/>
        </p:nvSpPr>
        <p:spPr>
          <a:xfrm>
            <a:off x="7422445" y="5513778"/>
            <a:ext cx="151072" cy="64775"/>
          </a:xfrm>
          <a:prstGeom prst="rect">
            <a:avLst/>
          </a:prstGeom>
        </p:spPr>
        <p:txBody>
          <a:bodyPr wrap="square" lIns="0" tIns="0" rIns="0" bIns="0" rtlCol="0">
            <a:noAutofit/>
          </a:bodyPr>
          <a:lstStyle/>
          <a:p>
            <a:pPr marL="25400">
              <a:lnSpc>
                <a:spcPts val="500"/>
              </a:lnSpc>
              <a:spcBef>
                <a:spcPts val="10"/>
              </a:spcBef>
            </a:pPr>
            <a:endParaRPr sz="500"/>
          </a:p>
        </p:txBody>
      </p:sp>
      <p:sp>
        <p:nvSpPr>
          <p:cNvPr id="144" name="object 144"/>
          <p:cNvSpPr txBox="1"/>
          <p:nvPr/>
        </p:nvSpPr>
        <p:spPr>
          <a:xfrm>
            <a:off x="7573518" y="5513778"/>
            <a:ext cx="157226" cy="64775"/>
          </a:xfrm>
          <a:prstGeom prst="rect">
            <a:avLst/>
          </a:prstGeom>
        </p:spPr>
        <p:txBody>
          <a:bodyPr wrap="square" lIns="0" tIns="0" rIns="0" bIns="0" rtlCol="0">
            <a:noAutofit/>
          </a:bodyPr>
          <a:lstStyle/>
          <a:p>
            <a:pPr marL="25400">
              <a:lnSpc>
                <a:spcPts val="500"/>
              </a:lnSpc>
              <a:spcBef>
                <a:spcPts val="10"/>
              </a:spcBef>
            </a:pPr>
            <a:endParaRPr sz="500"/>
          </a:p>
        </p:txBody>
      </p:sp>
      <p:sp>
        <p:nvSpPr>
          <p:cNvPr id="143" name="object 143"/>
          <p:cNvSpPr txBox="1"/>
          <p:nvPr/>
        </p:nvSpPr>
        <p:spPr>
          <a:xfrm>
            <a:off x="6967601" y="5578553"/>
            <a:ext cx="146050" cy="125334"/>
          </a:xfrm>
          <a:prstGeom prst="rect">
            <a:avLst/>
          </a:prstGeom>
        </p:spPr>
        <p:txBody>
          <a:bodyPr wrap="square" lIns="0" tIns="0" rIns="0" bIns="0" rtlCol="0">
            <a:noAutofit/>
          </a:bodyPr>
          <a:lstStyle/>
          <a:p>
            <a:pPr marL="25400">
              <a:lnSpc>
                <a:spcPts val="950"/>
              </a:lnSpc>
              <a:spcBef>
                <a:spcPts val="36"/>
              </a:spcBef>
            </a:pPr>
            <a:endParaRPr sz="950"/>
          </a:p>
        </p:txBody>
      </p:sp>
      <p:sp>
        <p:nvSpPr>
          <p:cNvPr id="142" name="object 142"/>
          <p:cNvSpPr txBox="1"/>
          <p:nvPr/>
        </p:nvSpPr>
        <p:spPr>
          <a:xfrm>
            <a:off x="7113652" y="5578553"/>
            <a:ext cx="158241" cy="125334"/>
          </a:xfrm>
          <a:prstGeom prst="rect">
            <a:avLst/>
          </a:prstGeom>
        </p:spPr>
        <p:txBody>
          <a:bodyPr wrap="square" lIns="0" tIns="0" rIns="0" bIns="0" rtlCol="0">
            <a:noAutofit/>
          </a:bodyPr>
          <a:lstStyle/>
          <a:p>
            <a:pPr marL="25400">
              <a:lnSpc>
                <a:spcPts val="950"/>
              </a:lnSpc>
              <a:spcBef>
                <a:spcPts val="36"/>
              </a:spcBef>
            </a:pPr>
            <a:endParaRPr sz="950"/>
          </a:p>
        </p:txBody>
      </p:sp>
      <p:sp>
        <p:nvSpPr>
          <p:cNvPr id="141" name="object 141"/>
          <p:cNvSpPr txBox="1"/>
          <p:nvPr/>
        </p:nvSpPr>
        <p:spPr>
          <a:xfrm>
            <a:off x="7271893" y="5578553"/>
            <a:ext cx="150552" cy="125334"/>
          </a:xfrm>
          <a:prstGeom prst="rect">
            <a:avLst/>
          </a:prstGeom>
        </p:spPr>
        <p:txBody>
          <a:bodyPr wrap="square" lIns="0" tIns="0" rIns="0" bIns="0" rtlCol="0">
            <a:noAutofit/>
          </a:bodyPr>
          <a:lstStyle/>
          <a:p>
            <a:pPr marL="25400">
              <a:lnSpc>
                <a:spcPts val="950"/>
              </a:lnSpc>
              <a:spcBef>
                <a:spcPts val="36"/>
              </a:spcBef>
            </a:pPr>
            <a:endParaRPr sz="950"/>
          </a:p>
        </p:txBody>
      </p:sp>
      <p:sp>
        <p:nvSpPr>
          <p:cNvPr id="140" name="object 140"/>
          <p:cNvSpPr txBox="1"/>
          <p:nvPr/>
        </p:nvSpPr>
        <p:spPr>
          <a:xfrm>
            <a:off x="7422445" y="5578553"/>
            <a:ext cx="151072" cy="125334"/>
          </a:xfrm>
          <a:prstGeom prst="rect">
            <a:avLst/>
          </a:prstGeom>
        </p:spPr>
        <p:txBody>
          <a:bodyPr wrap="square" lIns="0" tIns="0" rIns="0" bIns="0" rtlCol="0">
            <a:noAutofit/>
          </a:bodyPr>
          <a:lstStyle/>
          <a:p>
            <a:pPr marL="25400">
              <a:lnSpc>
                <a:spcPts val="950"/>
              </a:lnSpc>
              <a:spcBef>
                <a:spcPts val="36"/>
              </a:spcBef>
            </a:pPr>
            <a:endParaRPr sz="950"/>
          </a:p>
        </p:txBody>
      </p:sp>
      <p:sp>
        <p:nvSpPr>
          <p:cNvPr id="139" name="object 139"/>
          <p:cNvSpPr txBox="1"/>
          <p:nvPr/>
        </p:nvSpPr>
        <p:spPr>
          <a:xfrm>
            <a:off x="7573518" y="5578553"/>
            <a:ext cx="157226" cy="125334"/>
          </a:xfrm>
          <a:prstGeom prst="rect">
            <a:avLst/>
          </a:prstGeom>
        </p:spPr>
        <p:txBody>
          <a:bodyPr wrap="square" lIns="0" tIns="0" rIns="0" bIns="0" rtlCol="0">
            <a:noAutofit/>
          </a:bodyPr>
          <a:lstStyle/>
          <a:p>
            <a:pPr marL="25400">
              <a:lnSpc>
                <a:spcPts val="950"/>
              </a:lnSpc>
              <a:spcBef>
                <a:spcPts val="36"/>
              </a:spcBef>
            </a:pPr>
            <a:endParaRPr sz="950"/>
          </a:p>
        </p:txBody>
      </p:sp>
      <p:sp>
        <p:nvSpPr>
          <p:cNvPr id="138" name="object 138"/>
          <p:cNvSpPr txBox="1"/>
          <p:nvPr/>
        </p:nvSpPr>
        <p:spPr>
          <a:xfrm>
            <a:off x="4654550" y="5160360"/>
            <a:ext cx="170662" cy="61709"/>
          </a:xfrm>
          <a:prstGeom prst="rect">
            <a:avLst/>
          </a:prstGeom>
        </p:spPr>
        <p:txBody>
          <a:bodyPr wrap="square" lIns="0" tIns="0" rIns="0" bIns="0" rtlCol="0">
            <a:noAutofit/>
          </a:bodyPr>
          <a:lstStyle/>
          <a:p>
            <a:endParaRPr/>
          </a:p>
        </p:txBody>
      </p:sp>
      <p:sp>
        <p:nvSpPr>
          <p:cNvPr id="137" name="object 137"/>
          <p:cNvSpPr txBox="1"/>
          <p:nvPr/>
        </p:nvSpPr>
        <p:spPr>
          <a:xfrm>
            <a:off x="4825212" y="5160360"/>
            <a:ext cx="170078" cy="61709"/>
          </a:xfrm>
          <a:prstGeom prst="rect">
            <a:avLst/>
          </a:prstGeom>
        </p:spPr>
        <p:txBody>
          <a:bodyPr wrap="square" lIns="0" tIns="0" rIns="0" bIns="0" rtlCol="0">
            <a:noAutofit/>
          </a:bodyPr>
          <a:lstStyle/>
          <a:p>
            <a:endParaRPr/>
          </a:p>
        </p:txBody>
      </p:sp>
      <p:sp>
        <p:nvSpPr>
          <p:cNvPr id="136" name="object 136"/>
          <p:cNvSpPr txBox="1"/>
          <p:nvPr/>
        </p:nvSpPr>
        <p:spPr>
          <a:xfrm>
            <a:off x="4995291" y="5160360"/>
            <a:ext cx="174866" cy="61709"/>
          </a:xfrm>
          <a:prstGeom prst="rect">
            <a:avLst/>
          </a:prstGeom>
        </p:spPr>
        <p:txBody>
          <a:bodyPr wrap="square" lIns="0" tIns="0" rIns="0" bIns="0" rtlCol="0">
            <a:noAutofit/>
          </a:bodyPr>
          <a:lstStyle/>
          <a:p>
            <a:endParaRPr/>
          </a:p>
        </p:txBody>
      </p:sp>
      <p:sp>
        <p:nvSpPr>
          <p:cNvPr id="135" name="object 135"/>
          <p:cNvSpPr txBox="1"/>
          <p:nvPr/>
        </p:nvSpPr>
        <p:spPr>
          <a:xfrm>
            <a:off x="5170158" y="5160360"/>
            <a:ext cx="167779" cy="61709"/>
          </a:xfrm>
          <a:prstGeom prst="rect">
            <a:avLst/>
          </a:prstGeom>
        </p:spPr>
        <p:txBody>
          <a:bodyPr wrap="square" lIns="0" tIns="0" rIns="0" bIns="0" rtlCol="0">
            <a:noAutofit/>
          </a:bodyPr>
          <a:lstStyle/>
          <a:p>
            <a:endParaRPr/>
          </a:p>
        </p:txBody>
      </p:sp>
      <p:sp>
        <p:nvSpPr>
          <p:cNvPr id="134" name="object 134"/>
          <p:cNvSpPr txBox="1"/>
          <p:nvPr/>
        </p:nvSpPr>
        <p:spPr>
          <a:xfrm>
            <a:off x="4654551" y="5222068"/>
            <a:ext cx="117475" cy="60788"/>
          </a:xfrm>
          <a:prstGeom prst="rect">
            <a:avLst/>
          </a:prstGeom>
        </p:spPr>
        <p:txBody>
          <a:bodyPr wrap="square" lIns="0" tIns="0" rIns="0" bIns="0" rtlCol="0">
            <a:noAutofit/>
          </a:bodyPr>
          <a:lstStyle/>
          <a:p>
            <a:endParaRPr/>
          </a:p>
        </p:txBody>
      </p:sp>
      <p:sp>
        <p:nvSpPr>
          <p:cNvPr id="133" name="object 133"/>
          <p:cNvSpPr txBox="1"/>
          <p:nvPr/>
        </p:nvSpPr>
        <p:spPr>
          <a:xfrm>
            <a:off x="4772026" y="5222068"/>
            <a:ext cx="53187" cy="60788"/>
          </a:xfrm>
          <a:prstGeom prst="rect">
            <a:avLst/>
          </a:prstGeom>
        </p:spPr>
        <p:txBody>
          <a:bodyPr wrap="square" lIns="0" tIns="0" rIns="0" bIns="0" rtlCol="0">
            <a:noAutofit/>
          </a:bodyPr>
          <a:lstStyle/>
          <a:p>
            <a:endParaRPr/>
          </a:p>
        </p:txBody>
      </p:sp>
      <p:sp>
        <p:nvSpPr>
          <p:cNvPr id="132" name="object 132"/>
          <p:cNvSpPr txBox="1"/>
          <p:nvPr/>
        </p:nvSpPr>
        <p:spPr>
          <a:xfrm>
            <a:off x="4825213" y="5222068"/>
            <a:ext cx="112293" cy="60788"/>
          </a:xfrm>
          <a:prstGeom prst="rect">
            <a:avLst/>
          </a:prstGeom>
        </p:spPr>
        <p:txBody>
          <a:bodyPr wrap="square" lIns="0" tIns="0" rIns="0" bIns="0" rtlCol="0">
            <a:noAutofit/>
          </a:bodyPr>
          <a:lstStyle/>
          <a:p>
            <a:endParaRPr/>
          </a:p>
        </p:txBody>
      </p:sp>
      <p:sp>
        <p:nvSpPr>
          <p:cNvPr id="131" name="object 131"/>
          <p:cNvSpPr txBox="1"/>
          <p:nvPr/>
        </p:nvSpPr>
        <p:spPr>
          <a:xfrm>
            <a:off x="4937506" y="5222068"/>
            <a:ext cx="57785" cy="145332"/>
          </a:xfrm>
          <a:prstGeom prst="rect">
            <a:avLst/>
          </a:prstGeom>
        </p:spPr>
        <p:txBody>
          <a:bodyPr wrap="square" lIns="0" tIns="0" rIns="0" bIns="0" rtlCol="0">
            <a:noAutofit/>
          </a:bodyPr>
          <a:lstStyle/>
          <a:p>
            <a:pPr marL="25400">
              <a:lnSpc>
                <a:spcPts val="1000"/>
              </a:lnSpc>
            </a:pPr>
            <a:endParaRPr sz="1000"/>
          </a:p>
        </p:txBody>
      </p:sp>
      <p:sp>
        <p:nvSpPr>
          <p:cNvPr id="130" name="object 130"/>
          <p:cNvSpPr txBox="1"/>
          <p:nvPr/>
        </p:nvSpPr>
        <p:spPr>
          <a:xfrm>
            <a:off x="4995292" y="5222068"/>
            <a:ext cx="121285" cy="60394"/>
          </a:xfrm>
          <a:prstGeom prst="rect">
            <a:avLst/>
          </a:prstGeom>
        </p:spPr>
        <p:txBody>
          <a:bodyPr wrap="square" lIns="0" tIns="0" rIns="0" bIns="0" rtlCol="0">
            <a:noAutofit/>
          </a:bodyPr>
          <a:lstStyle/>
          <a:p>
            <a:endParaRPr/>
          </a:p>
        </p:txBody>
      </p:sp>
      <p:sp>
        <p:nvSpPr>
          <p:cNvPr id="129" name="object 129"/>
          <p:cNvSpPr txBox="1"/>
          <p:nvPr/>
        </p:nvSpPr>
        <p:spPr>
          <a:xfrm>
            <a:off x="5116577" y="5222068"/>
            <a:ext cx="53581" cy="60394"/>
          </a:xfrm>
          <a:prstGeom prst="rect">
            <a:avLst/>
          </a:prstGeom>
        </p:spPr>
        <p:txBody>
          <a:bodyPr wrap="square" lIns="0" tIns="0" rIns="0" bIns="0" rtlCol="0">
            <a:noAutofit/>
          </a:bodyPr>
          <a:lstStyle/>
          <a:p>
            <a:endParaRPr/>
          </a:p>
        </p:txBody>
      </p:sp>
      <p:sp>
        <p:nvSpPr>
          <p:cNvPr id="128" name="object 128"/>
          <p:cNvSpPr txBox="1"/>
          <p:nvPr/>
        </p:nvSpPr>
        <p:spPr>
          <a:xfrm>
            <a:off x="5170157" y="5222068"/>
            <a:ext cx="109486" cy="60394"/>
          </a:xfrm>
          <a:prstGeom prst="rect">
            <a:avLst/>
          </a:prstGeom>
        </p:spPr>
        <p:txBody>
          <a:bodyPr wrap="square" lIns="0" tIns="0" rIns="0" bIns="0" rtlCol="0">
            <a:noAutofit/>
          </a:bodyPr>
          <a:lstStyle/>
          <a:p>
            <a:endParaRPr/>
          </a:p>
        </p:txBody>
      </p:sp>
      <p:sp>
        <p:nvSpPr>
          <p:cNvPr id="127" name="object 127"/>
          <p:cNvSpPr txBox="1"/>
          <p:nvPr/>
        </p:nvSpPr>
        <p:spPr>
          <a:xfrm>
            <a:off x="5279644" y="5222068"/>
            <a:ext cx="58292" cy="145332"/>
          </a:xfrm>
          <a:prstGeom prst="rect">
            <a:avLst/>
          </a:prstGeom>
        </p:spPr>
        <p:txBody>
          <a:bodyPr wrap="square" lIns="0" tIns="0" rIns="0" bIns="0" rtlCol="0">
            <a:noAutofit/>
          </a:bodyPr>
          <a:lstStyle/>
          <a:p>
            <a:pPr marL="25400">
              <a:lnSpc>
                <a:spcPts val="1000"/>
              </a:lnSpc>
            </a:pPr>
            <a:endParaRPr sz="1000"/>
          </a:p>
        </p:txBody>
      </p:sp>
      <p:sp>
        <p:nvSpPr>
          <p:cNvPr id="126" name="object 126"/>
          <p:cNvSpPr txBox="1"/>
          <p:nvPr/>
        </p:nvSpPr>
        <p:spPr>
          <a:xfrm>
            <a:off x="4654550" y="5282858"/>
            <a:ext cx="58800" cy="84543"/>
          </a:xfrm>
          <a:prstGeom prst="rect">
            <a:avLst/>
          </a:prstGeom>
        </p:spPr>
        <p:txBody>
          <a:bodyPr wrap="square" lIns="0" tIns="0" rIns="0" bIns="0" rtlCol="0">
            <a:noAutofit/>
          </a:bodyPr>
          <a:lstStyle/>
          <a:p>
            <a:pPr marL="25400">
              <a:lnSpc>
                <a:spcPts val="650"/>
              </a:lnSpc>
              <a:spcBef>
                <a:spcPts val="15"/>
              </a:spcBef>
            </a:pPr>
            <a:endParaRPr sz="650"/>
          </a:p>
        </p:txBody>
      </p:sp>
      <p:sp>
        <p:nvSpPr>
          <p:cNvPr id="125" name="object 125"/>
          <p:cNvSpPr txBox="1"/>
          <p:nvPr/>
        </p:nvSpPr>
        <p:spPr>
          <a:xfrm>
            <a:off x="4713351" y="5282858"/>
            <a:ext cx="58674" cy="84543"/>
          </a:xfrm>
          <a:prstGeom prst="rect">
            <a:avLst/>
          </a:prstGeom>
        </p:spPr>
        <p:txBody>
          <a:bodyPr wrap="square" lIns="0" tIns="0" rIns="0" bIns="0" rtlCol="0">
            <a:noAutofit/>
          </a:bodyPr>
          <a:lstStyle/>
          <a:p>
            <a:pPr marL="25400">
              <a:lnSpc>
                <a:spcPts val="650"/>
              </a:lnSpc>
              <a:spcBef>
                <a:spcPts val="15"/>
              </a:spcBef>
            </a:pPr>
            <a:endParaRPr sz="650"/>
          </a:p>
        </p:txBody>
      </p:sp>
      <p:sp>
        <p:nvSpPr>
          <p:cNvPr id="124" name="object 124"/>
          <p:cNvSpPr txBox="1"/>
          <p:nvPr/>
        </p:nvSpPr>
        <p:spPr>
          <a:xfrm>
            <a:off x="4772026" y="5282858"/>
            <a:ext cx="53187" cy="84543"/>
          </a:xfrm>
          <a:prstGeom prst="rect">
            <a:avLst/>
          </a:prstGeom>
        </p:spPr>
        <p:txBody>
          <a:bodyPr wrap="square" lIns="0" tIns="0" rIns="0" bIns="0" rtlCol="0">
            <a:noAutofit/>
          </a:bodyPr>
          <a:lstStyle/>
          <a:p>
            <a:pPr marL="25400">
              <a:lnSpc>
                <a:spcPts val="650"/>
              </a:lnSpc>
              <a:spcBef>
                <a:spcPts val="15"/>
              </a:spcBef>
            </a:pPr>
            <a:endParaRPr sz="650"/>
          </a:p>
        </p:txBody>
      </p:sp>
      <p:sp>
        <p:nvSpPr>
          <p:cNvPr id="123" name="object 123"/>
          <p:cNvSpPr txBox="1"/>
          <p:nvPr/>
        </p:nvSpPr>
        <p:spPr>
          <a:xfrm>
            <a:off x="4825213" y="5282858"/>
            <a:ext cx="53619" cy="84543"/>
          </a:xfrm>
          <a:prstGeom prst="rect">
            <a:avLst/>
          </a:prstGeom>
        </p:spPr>
        <p:txBody>
          <a:bodyPr wrap="square" lIns="0" tIns="0" rIns="0" bIns="0" rtlCol="0">
            <a:noAutofit/>
          </a:bodyPr>
          <a:lstStyle/>
          <a:p>
            <a:pPr marL="25400">
              <a:lnSpc>
                <a:spcPts val="650"/>
              </a:lnSpc>
              <a:spcBef>
                <a:spcPts val="15"/>
              </a:spcBef>
            </a:pPr>
            <a:endParaRPr sz="650"/>
          </a:p>
        </p:txBody>
      </p:sp>
      <p:sp>
        <p:nvSpPr>
          <p:cNvPr id="122" name="object 122"/>
          <p:cNvSpPr txBox="1"/>
          <p:nvPr/>
        </p:nvSpPr>
        <p:spPr>
          <a:xfrm>
            <a:off x="4878833" y="5282858"/>
            <a:ext cx="58673" cy="84543"/>
          </a:xfrm>
          <a:prstGeom prst="rect">
            <a:avLst/>
          </a:prstGeom>
        </p:spPr>
        <p:txBody>
          <a:bodyPr wrap="square" lIns="0" tIns="0" rIns="0" bIns="0" rtlCol="0">
            <a:noAutofit/>
          </a:bodyPr>
          <a:lstStyle/>
          <a:p>
            <a:pPr marL="25400">
              <a:lnSpc>
                <a:spcPts val="650"/>
              </a:lnSpc>
              <a:spcBef>
                <a:spcPts val="15"/>
              </a:spcBef>
            </a:pPr>
            <a:endParaRPr sz="650"/>
          </a:p>
        </p:txBody>
      </p:sp>
      <p:sp>
        <p:nvSpPr>
          <p:cNvPr id="121" name="object 121"/>
          <p:cNvSpPr txBox="1"/>
          <p:nvPr/>
        </p:nvSpPr>
        <p:spPr>
          <a:xfrm>
            <a:off x="4995292" y="5282464"/>
            <a:ext cx="64135" cy="84937"/>
          </a:xfrm>
          <a:prstGeom prst="rect">
            <a:avLst/>
          </a:prstGeom>
        </p:spPr>
        <p:txBody>
          <a:bodyPr wrap="square" lIns="0" tIns="0" rIns="0" bIns="0" rtlCol="0">
            <a:noAutofit/>
          </a:bodyPr>
          <a:lstStyle/>
          <a:p>
            <a:pPr marL="25400">
              <a:lnSpc>
                <a:spcPts val="650"/>
              </a:lnSpc>
              <a:spcBef>
                <a:spcPts val="18"/>
              </a:spcBef>
            </a:pPr>
            <a:endParaRPr sz="650"/>
          </a:p>
        </p:txBody>
      </p:sp>
      <p:sp>
        <p:nvSpPr>
          <p:cNvPr id="120" name="object 120"/>
          <p:cNvSpPr txBox="1"/>
          <p:nvPr/>
        </p:nvSpPr>
        <p:spPr>
          <a:xfrm>
            <a:off x="5059426" y="5282464"/>
            <a:ext cx="57150" cy="84937"/>
          </a:xfrm>
          <a:prstGeom prst="rect">
            <a:avLst/>
          </a:prstGeom>
        </p:spPr>
        <p:txBody>
          <a:bodyPr wrap="square" lIns="0" tIns="0" rIns="0" bIns="0" rtlCol="0">
            <a:noAutofit/>
          </a:bodyPr>
          <a:lstStyle/>
          <a:p>
            <a:pPr marL="25400">
              <a:lnSpc>
                <a:spcPts val="650"/>
              </a:lnSpc>
              <a:spcBef>
                <a:spcPts val="18"/>
              </a:spcBef>
            </a:pPr>
            <a:endParaRPr sz="650"/>
          </a:p>
        </p:txBody>
      </p:sp>
      <p:sp>
        <p:nvSpPr>
          <p:cNvPr id="119" name="object 119"/>
          <p:cNvSpPr txBox="1"/>
          <p:nvPr/>
        </p:nvSpPr>
        <p:spPr>
          <a:xfrm>
            <a:off x="5116577" y="5282464"/>
            <a:ext cx="53581" cy="84937"/>
          </a:xfrm>
          <a:prstGeom prst="rect">
            <a:avLst/>
          </a:prstGeom>
        </p:spPr>
        <p:txBody>
          <a:bodyPr wrap="square" lIns="0" tIns="0" rIns="0" bIns="0" rtlCol="0">
            <a:noAutofit/>
          </a:bodyPr>
          <a:lstStyle/>
          <a:p>
            <a:pPr marL="25400">
              <a:lnSpc>
                <a:spcPts val="650"/>
              </a:lnSpc>
              <a:spcBef>
                <a:spcPts val="18"/>
              </a:spcBef>
            </a:pPr>
            <a:endParaRPr sz="650"/>
          </a:p>
        </p:txBody>
      </p:sp>
      <p:sp>
        <p:nvSpPr>
          <p:cNvPr id="118" name="object 118"/>
          <p:cNvSpPr txBox="1"/>
          <p:nvPr/>
        </p:nvSpPr>
        <p:spPr>
          <a:xfrm>
            <a:off x="5170158" y="5282464"/>
            <a:ext cx="53479" cy="84937"/>
          </a:xfrm>
          <a:prstGeom prst="rect">
            <a:avLst/>
          </a:prstGeom>
        </p:spPr>
        <p:txBody>
          <a:bodyPr wrap="square" lIns="0" tIns="0" rIns="0" bIns="0" rtlCol="0">
            <a:noAutofit/>
          </a:bodyPr>
          <a:lstStyle/>
          <a:p>
            <a:pPr marL="25400">
              <a:lnSpc>
                <a:spcPts val="650"/>
              </a:lnSpc>
              <a:spcBef>
                <a:spcPts val="18"/>
              </a:spcBef>
            </a:pPr>
            <a:endParaRPr sz="650"/>
          </a:p>
        </p:txBody>
      </p:sp>
      <p:sp>
        <p:nvSpPr>
          <p:cNvPr id="117" name="object 117"/>
          <p:cNvSpPr txBox="1"/>
          <p:nvPr/>
        </p:nvSpPr>
        <p:spPr>
          <a:xfrm>
            <a:off x="5223638" y="5282464"/>
            <a:ext cx="56007" cy="84937"/>
          </a:xfrm>
          <a:prstGeom prst="rect">
            <a:avLst/>
          </a:prstGeom>
        </p:spPr>
        <p:txBody>
          <a:bodyPr wrap="square" lIns="0" tIns="0" rIns="0" bIns="0" rtlCol="0">
            <a:noAutofit/>
          </a:bodyPr>
          <a:lstStyle/>
          <a:p>
            <a:pPr marL="25400">
              <a:lnSpc>
                <a:spcPts val="650"/>
              </a:lnSpc>
              <a:spcBef>
                <a:spcPts val="18"/>
              </a:spcBef>
            </a:pPr>
            <a:endParaRPr sz="650"/>
          </a:p>
        </p:txBody>
      </p:sp>
      <p:sp>
        <p:nvSpPr>
          <p:cNvPr id="116" name="object 116"/>
          <p:cNvSpPr txBox="1"/>
          <p:nvPr/>
        </p:nvSpPr>
        <p:spPr>
          <a:xfrm>
            <a:off x="4654550" y="5367401"/>
            <a:ext cx="58800" cy="107950"/>
          </a:xfrm>
          <a:prstGeom prst="rect">
            <a:avLst/>
          </a:prstGeom>
        </p:spPr>
        <p:txBody>
          <a:bodyPr wrap="square" lIns="0" tIns="0" rIns="0" bIns="0" rtlCol="0">
            <a:noAutofit/>
          </a:bodyPr>
          <a:lstStyle/>
          <a:p>
            <a:pPr marL="25400">
              <a:lnSpc>
                <a:spcPts val="850"/>
              </a:lnSpc>
            </a:pPr>
            <a:endParaRPr sz="850"/>
          </a:p>
        </p:txBody>
      </p:sp>
      <p:sp>
        <p:nvSpPr>
          <p:cNvPr id="115" name="object 115"/>
          <p:cNvSpPr txBox="1"/>
          <p:nvPr/>
        </p:nvSpPr>
        <p:spPr>
          <a:xfrm>
            <a:off x="4713351" y="5367401"/>
            <a:ext cx="58674" cy="45974"/>
          </a:xfrm>
          <a:prstGeom prst="rect">
            <a:avLst/>
          </a:prstGeom>
        </p:spPr>
        <p:txBody>
          <a:bodyPr wrap="square" lIns="0" tIns="0" rIns="0" bIns="0" rtlCol="0">
            <a:noAutofit/>
          </a:bodyPr>
          <a:lstStyle/>
          <a:p>
            <a:endParaRPr/>
          </a:p>
        </p:txBody>
      </p:sp>
      <p:sp>
        <p:nvSpPr>
          <p:cNvPr id="114" name="object 114"/>
          <p:cNvSpPr txBox="1"/>
          <p:nvPr/>
        </p:nvSpPr>
        <p:spPr>
          <a:xfrm>
            <a:off x="4772026" y="5367401"/>
            <a:ext cx="53187" cy="45974"/>
          </a:xfrm>
          <a:prstGeom prst="rect">
            <a:avLst/>
          </a:prstGeom>
        </p:spPr>
        <p:txBody>
          <a:bodyPr wrap="square" lIns="0" tIns="0" rIns="0" bIns="0" rtlCol="0">
            <a:noAutofit/>
          </a:bodyPr>
          <a:lstStyle/>
          <a:p>
            <a:endParaRPr/>
          </a:p>
        </p:txBody>
      </p:sp>
      <p:sp>
        <p:nvSpPr>
          <p:cNvPr id="113" name="object 113"/>
          <p:cNvSpPr txBox="1"/>
          <p:nvPr/>
        </p:nvSpPr>
        <p:spPr>
          <a:xfrm>
            <a:off x="4825213" y="5367401"/>
            <a:ext cx="53619" cy="45974"/>
          </a:xfrm>
          <a:prstGeom prst="rect">
            <a:avLst/>
          </a:prstGeom>
        </p:spPr>
        <p:txBody>
          <a:bodyPr wrap="square" lIns="0" tIns="0" rIns="0" bIns="0" rtlCol="0">
            <a:noAutofit/>
          </a:bodyPr>
          <a:lstStyle/>
          <a:p>
            <a:endParaRPr/>
          </a:p>
        </p:txBody>
      </p:sp>
      <p:sp>
        <p:nvSpPr>
          <p:cNvPr id="112" name="object 112"/>
          <p:cNvSpPr txBox="1"/>
          <p:nvPr/>
        </p:nvSpPr>
        <p:spPr>
          <a:xfrm>
            <a:off x="4878833" y="5367401"/>
            <a:ext cx="58673" cy="45974"/>
          </a:xfrm>
          <a:prstGeom prst="rect">
            <a:avLst/>
          </a:prstGeom>
        </p:spPr>
        <p:txBody>
          <a:bodyPr wrap="square" lIns="0" tIns="0" rIns="0" bIns="0" rtlCol="0">
            <a:noAutofit/>
          </a:bodyPr>
          <a:lstStyle/>
          <a:p>
            <a:endParaRPr/>
          </a:p>
        </p:txBody>
      </p:sp>
      <p:sp>
        <p:nvSpPr>
          <p:cNvPr id="111" name="object 111"/>
          <p:cNvSpPr txBox="1"/>
          <p:nvPr/>
        </p:nvSpPr>
        <p:spPr>
          <a:xfrm>
            <a:off x="4937506" y="5367401"/>
            <a:ext cx="57785" cy="45974"/>
          </a:xfrm>
          <a:prstGeom prst="rect">
            <a:avLst/>
          </a:prstGeom>
        </p:spPr>
        <p:txBody>
          <a:bodyPr wrap="square" lIns="0" tIns="0" rIns="0" bIns="0" rtlCol="0">
            <a:noAutofit/>
          </a:bodyPr>
          <a:lstStyle/>
          <a:p>
            <a:endParaRPr/>
          </a:p>
        </p:txBody>
      </p:sp>
      <p:sp>
        <p:nvSpPr>
          <p:cNvPr id="110" name="object 110"/>
          <p:cNvSpPr txBox="1"/>
          <p:nvPr/>
        </p:nvSpPr>
        <p:spPr>
          <a:xfrm>
            <a:off x="4995291" y="5367401"/>
            <a:ext cx="174866" cy="151130"/>
          </a:xfrm>
          <a:prstGeom prst="rect">
            <a:avLst/>
          </a:prstGeom>
        </p:spPr>
        <p:txBody>
          <a:bodyPr wrap="square" lIns="0" tIns="0" rIns="0" bIns="0" rtlCol="0">
            <a:noAutofit/>
          </a:bodyPr>
          <a:lstStyle/>
          <a:p>
            <a:pPr marL="25400">
              <a:lnSpc>
                <a:spcPts val="1000"/>
              </a:lnSpc>
            </a:pPr>
            <a:endParaRPr sz="1000"/>
          </a:p>
        </p:txBody>
      </p:sp>
      <p:sp>
        <p:nvSpPr>
          <p:cNvPr id="109" name="object 109"/>
          <p:cNvSpPr txBox="1"/>
          <p:nvPr/>
        </p:nvSpPr>
        <p:spPr>
          <a:xfrm>
            <a:off x="5059426" y="5367401"/>
            <a:ext cx="57150" cy="45974"/>
          </a:xfrm>
          <a:prstGeom prst="rect">
            <a:avLst/>
          </a:prstGeom>
        </p:spPr>
        <p:txBody>
          <a:bodyPr wrap="square" lIns="0" tIns="0" rIns="0" bIns="0" rtlCol="0">
            <a:noAutofit/>
          </a:bodyPr>
          <a:lstStyle/>
          <a:p>
            <a:endParaRPr/>
          </a:p>
        </p:txBody>
      </p:sp>
      <p:sp>
        <p:nvSpPr>
          <p:cNvPr id="108" name="object 108"/>
          <p:cNvSpPr txBox="1"/>
          <p:nvPr/>
        </p:nvSpPr>
        <p:spPr>
          <a:xfrm>
            <a:off x="5116577" y="5367401"/>
            <a:ext cx="53581" cy="45974"/>
          </a:xfrm>
          <a:prstGeom prst="rect">
            <a:avLst/>
          </a:prstGeom>
        </p:spPr>
        <p:txBody>
          <a:bodyPr wrap="square" lIns="0" tIns="0" rIns="0" bIns="0" rtlCol="0">
            <a:noAutofit/>
          </a:bodyPr>
          <a:lstStyle/>
          <a:p>
            <a:endParaRPr/>
          </a:p>
        </p:txBody>
      </p:sp>
      <p:sp>
        <p:nvSpPr>
          <p:cNvPr id="107" name="object 107"/>
          <p:cNvSpPr txBox="1"/>
          <p:nvPr/>
        </p:nvSpPr>
        <p:spPr>
          <a:xfrm>
            <a:off x="5170158" y="5367401"/>
            <a:ext cx="53479" cy="45974"/>
          </a:xfrm>
          <a:prstGeom prst="rect">
            <a:avLst/>
          </a:prstGeom>
        </p:spPr>
        <p:txBody>
          <a:bodyPr wrap="square" lIns="0" tIns="0" rIns="0" bIns="0" rtlCol="0">
            <a:noAutofit/>
          </a:bodyPr>
          <a:lstStyle/>
          <a:p>
            <a:endParaRPr/>
          </a:p>
        </p:txBody>
      </p:sp>
      <p:sp>
        <p:nvSpPr>
          <p:cNvPr id="106" name="object 106"/>
          <p:cNvSpPr txBox="1"/>
          <p:nvPr/>
        </p:nvSpPr>
        <p:spPr>
          <a:xfrm>
            <a:off x="5223638" y="5367401"/>
            <a:ext cx="56007" cy="45974"/>
          </a:xfrm>
          <a:prstGeom prst="rect">
            <a:avLst/>
          </a:prstGeom>
        </p:spPr>
        <p:txBody>
          <a:bodyPr wrap="square" lIns="0" tIns="0" rIns="0" bIns="0" rtlCol="0">
            <a:noAutofit/>
          </a:bodyPr>
          <a:lstStyle/>
          <a:p>
            <a:endParaRPr/>
          </a:p>
        </p:txBody>
      </p:sp>
      <p:sp>
        <p:nvSpPr>
          <p:cNvPr id="105" name="object 105"/>
          <p:cNvSpPr txBox="1"/>
          <p:nvPr/>
        </p:nvSpPr>
        <p:spPr>
          <a:xfrm>
            <a:off x="5279644" y="5367401"/>
            <a:ext cx="58394" cy="45974"/>
          </a:xfrm>
          <a:prstGeom prst="rect">
            <a:avLst/>
          </a:prstGeom>
        </p:spPr>
        <p:txBody>
          <a:bodyPr wrap="square" lIns="0" tIns="0" rIns="0" bIns="0" rtlCol="0">
            <a:noAutofit/>
          </a:bodyPr>
          <a:lstStyle/>
          <a:p>
            <a:endParaRPr/>
          </a:p>
        </p:txBody>
      </p:sp>
      <p:sp>
        <p:nvSpPr>
          <p:cNvPr id="104" name="object 104"/>
          <p:cNvSpPr txBox="1"/>
          <p:nvPr/>
        </p:nvSpPr>
        <p:spPr>
          <a:xfrm>
            <a:off x="4713352" y="5413376"/>
            <a:ext cx="111861" cy="61975"/>
          </a:xfrm>
          <a:prstGeom prst="rect">
            <a:avLst/>
          </a:prstGeom>
        </p:spPr>
        <p:txBody>
          <a:bodyPr wrap="square" lIns="0" tIns="0" rIns="0" bIns="0" rtlCol="0">
            <a:noAutofit/>
          </a:bodyPr>
          <a:lstStyle/>
          <a:p>
            <a:endParaRPr/>
          </a:p>
        </p:txBody>
      </p:sp>
      <p:sp>
        <p:nvSpPr>
          <p:cNvPr id="103" name="object 103"/>
          <p:cNvSpPr txBox="1"/>
          <p:nvPr/>
        </p:nvSpPr>
        <p:spPr>
          <a:xfrm>
            <a:off x="4825213" y="5413376"/>
            <a:ext cx="53619" cy="61975"/>
          </a:xfrm>
          <a:prstGeom prst="rect">
            <a:avLst/>
          </a:prstGeom>
        </p:spPr>
        <p:txBody>
          <a:bodyPr wrap="square" lIns="0" tIns="0" rIns="0" bIns="0" rtlCol="0">
            <a:noAutofit/>
          </a:bodyPr>
          <a:lstStyle/>
          <a:p>
            <a:endParaRPr/>
          </a:p>
        </p:txBody>
      </p:sp>
      <p:sp>
        <p:nvSpPr>
          <p:cNvPr id="102" name="object 102"/>
          <p:cNvSpPr txBox="1"/>
          <p:nvPr/>
        </p:nvSpPr>
        <p:spPr>
          <a:xfrm>
            <a:off x="4878832" y="5413376"/>
            <a:ext cx="116458" cy="61975"/>
          </a:xfrm>
          <a:prstGeom prst="rect">
            <a:avLst/>
          </a:prstGeom>
        </p:spPr>
        <p:txBody>
          <a:bodyPr wrap="square" lIns="0" tIns="0" rIns="0" bIns="0" rtlCol="0">
            <a:noAutofit/>
          </a:bodyPr>
          <a:lstStyle/>
          <a:p>
            <a:endParaRPr/>
          </a:p>
        </p:txBody>
      </p:sp>
      <p:sp>
        <p:nvSpPr>
          <p:cNvPr id="101" name="object 101"/>
          <p:cNvSpPr txBox="1"/>
          <p:nvPr/>
        </p:nvSpPr>
        <p:spPr>
          <a:xfrm>
            <a:off x="5059427" y="5413376"/>
            <a:ext cx="110731" cy="61975"/>
          </a:xfrm>
          <a:prstGeom prst="rect">
            <a:avLst/>
          </a:prstGeom>
        </p:spPr>
        <p:txBody>
          <a:bodyPr wrap="square" lIns="0" tIns="0" rIns="0" bIns="0" rtlCol="0">
            <a:noAutofit/>
          </a:bodyPr>
          <a:lstStyle/>
          <a:p>
            <a:endParaRPr/>
          </a:p>
        </p:txBody>
      </p:sp>
      <p:sp>
        <p:nvSpPr>
          <p:cNvPr id="100" name="object 100"/>
          <p:cNvSpPr txBox="1"/>
          <p:nvPr/>
        </p:nvSpPr>
        <p:spPr>
          <a:xfrm>
            <a:off x="5170158" y="5413376"/>
            <a:ext cx="53479" cy="61975"/>
          </a:xfrm>
          <a:prstGeom prst="rect">
            <a:avLst/>
          </a:prstGeom>
        </p:spPr>
        <p:txBody>
          <a:bodyPr wrap="square" lIns="0" tIns="0" rIns="0" bIns="0" rtlCol="0">
            <a:noAutofit/>
          </a:bodyPr>
          <a:lstStyle/>
          <a:p>
            <a:endParaRPr/>
          </a:p>
        </p:txBody>
      </p:sp>
      <p:sp>
        <p:nvSpPr>
          <p:cNvPr id="99" name="object 99"/>
          <p:cNvSpPr txBox="1"/>
          <p:nvPr/>
        </p:nvSpPr>
        <p:spPr>
          <a:xfrm>
            <a:off x="5223638" y="5413376"/>
            <a:ext cx="114401" cy="61975"/>
          </a:xfrm>
          <a:prstGeom prst="rect">
            <a:avLst/>
          </a:prstGeom>
        </p:spPr>
        <p:txBody>
          <a:bodyPr wrap="square" lIns="0" tIns="0" rIns="0" bIns="0" rtlCol="0">
            <a:noAutofit/>
          </a:bodyPr>
          <a:lstStyle/>
          <a:p>
            <a:endParaRPr/>
          </a:p>
        </p:txBody>
      </p:sp>
      <p:sp>
        <p:nvSpPr>
          <p:cNvPr id="98" name="object 98"/>
          <p:cNvSpPr txBox="1"/>
          <p:nvPr/>
        </p:nvSpPr>
        <p:spPr>
          <a:xfrm>
            <a:off x="4654550" y="5475351"/>
            <a:ext cx="170662" cy="63500"/>
          </a:xfrm>
          <a:prstGeom prst="rect">
            <a:avLst/>
          </a:prstGeom>
        </p:spPr>
        <p:txBody>
          <a:bodyPr wrap="square" lIns="0" tIns="0" rIns="0" bIns="0" rtlCol="0">
            <a:noAutofit/>
          </a:bodyPr>
          <a:lstStyle/>
          <a:p>
            <a:endParaRPr/>
          </a:p>
        </p:txBody>
      </p:sp>
      <p:sp>
        <p:nvSpPr>
          <p:cNvPr id="97" name="object 97"/>
          <p:cNvSpPr txBox="1"/>
          <p:nvPr/>
        </p:nvSpPr>
        <p:spPr>
          <a:xfrm>
            <a:off x="4825212" y="5475351"/>
            <a:ext cx="170078" cy="63500"/>
          </a:xfrm>
          <a:prstGeom prst="rect">
            <a:avLst/>
          </a:prstGeom>
        </p:spPr>
        <p:txBody>
          <a:bodyPr wrap="square" lIns="0" tIns="0" rIns="0" bIns="0" rtlCol="0">
            <a:noAutofit/>
          </a:bodyPr>
          <a:lstStyle/>
          <a:p>
            <a:endParaRPr/>
          </a:p>
        </p:txBody>
      </p:sp>
      <p:sp>
        <p:nvSpPr>
          <p:cNvPr id="96" name="object 96"/>
          <p:cNvSpPr txBox="1"/>
          <p:nvPr/>
        </p:nvSpPr>
        <p:spPr>
          <a:xfrm>
            <a:off x="6553201" y="5014912"/>
            <a:ext cx="1474851" cy="901700"/>
          </a:xfrm>
          <a:prstGeom prst="rect">
            <a:avLst/>
          </a:prstGeom>
        </p:spPr>
        <p:txBody>
          <a:bodyPr wrap="square" lIns="0" tIns="0" rIns="0" bIns="0" rtlCol="0">
            <a:noAutofit/>
          </a:bodyPr>
          <a:lstStyle/>
          <a:p>
            <a:pPr marL="25400">
              <a:lnSpc>
                <a:spcPts val="1000"/>
              </a:lnSpc>
            </a:pPr>
            <a:endParaRPr sz="1000"/>
          </a:p>
        </p:txBody>
      </p:sp>
      <p:sp>
        <p:nvSpPr>
          <p:cNvPr id="95" name="object 95"/>
          <p:cNvSpPr txBox="1"/>
          <p:nvPr/>
        </p:nvSpPr>
        <p:spPr>
          <a:xfrm>
            <a:off x="4184651" y="5033963"/>
            <a:ext cx="1476375" cy="879475"/>
          </a:xfrm>
          <a:prstGeom prst="rect">
            <a:avLst/>
          </a:prstGeom>
        </p:spPr>
        <p:txBody>
          <a:bodyPr wrap="square" lIns="0" tIns="0" rIns="0" bIns="0" rtlCol="0">
            <a:noAutofit/>
          </a:bodyPr>
          <a:lstStyle/>
          <a:p>
            <a:pPr marL="25400">
              <a:lnSpc>
                <a:spcPts val="1000"/>
              </a:lnSpc>
            </a:pPr>
            <a:endParaRPr sz="1000"/>
          </a:p>
        </p:txBody>
      </p:sp>
      <p:sp>
        <p:nvSpPr>
          <p:cNvPr id="94" name="object 94"/>
          <p:cNvSpPr txBox="1"/>
          <p:nvPr/>
        </p:nvSpPr>
        <p:spPr>
          <a:xfrm>
            <a:off x="8667751" y="4117976"/>
            <a:ext cx="1133475" cy="936625"/>
          </a:xfrm>
          <a:prstGeom prst="rect">
            <a:avLst/>
          </a:prstGeom>
        </p:spPr>
        <p:txBody>
          <a:bodyPr wrap="square" lIns="0" tIns="0" rIns="0" bIns="0" rtlCol="0">
            <a:noAutofit/>
          </a:bodyPr>
          <a:lstStyle/>
          <a:p>
            <a:pPr marL="25400">
              <a:lnSpc>
                <a:spcPts val="1000"/>
              </a:lnSpc>
            </a:pPr>
            <a:endParaRPr sz="1000"/>
          </a:p>
        </p:txBody>
      </p:sp>
      <p:sp>
        <p:nvSpPr>
          <p:cNvPr id="93" name="object 93"/>
          <p:cNvSpPr txBox="1"/>
          <p:nvPr/>
        </p:nvSpPr>
        <p:spPr>
          <a:xfrm>
            <a:off x="2752726" y="3465512"/>
            <a:ext cx="865187" cy="373062"/>
          </a:xfrm>
          <a:prstGeom prst="rect">
            <a:avLst/>
          </a:prstGeom>
        </p:spPr>
        <p:txBody>
          <a:bodyPr wrap="square" lIns="0" tIns="0" rIns="0" bIns="0" rtlCol="0">
            <a:noAutofit/>
          </a:bodyPr>
          <a:lstStyle/>
          <a:p>
            <a:pPr marL="25400">
              <a:lnSpc>
                <a:spcPts val="1000"/>
              </a:lnSpc>
            </a:pPr>
            <a:endParaRPr sz="1000"/>
          </a:p>
        </p:txBody>
      </p:sp>
      <p:sp>
        <p:nvSpPr>
          <p:cNvPr id="92" name="object 92"/>
          <p:cNvSpPr txBox="1"/>
          <p:nvPr/>
        </p:nvSpPr>
        <p:spPr>
          <a:xfrm>
            <a:off x="2752726" y="3838576"/>
            <a:ext cx="865187" cy="41275"/>
          </a:xfrm>
          <a:prstGeom prst="rect">
            <a:avLst/>
          </a:prstGeom>
        </p:spPr>
        <p:txBody>
          <a:bodyPr wrap="square" lIns="0" tIns="0" rIns="0" bIns="0" rtlCol="0">
            <a:noAutofit/>
          </a:bodyPr>
          <a:lstStyle/>
          <a:p>
            <a:endParaRPr/>
          </a:p>
        </p:txBody>
      </p:sp>
      <p:sp>
        <p:nvSpPr>
          <p:cNvPr id="91" name="object 91"/>
          <p:cNvSpPr txBox="1"/>
          <p:nvPr/>
        </p:nvSpPr>
        <p:spPr>
          <a:xfrm>
            <a:off x="2752726" y="3879851"/>
            <a:ext cx="865187" cy="74953"/>
          </a:xfrm>
          <a:prstGeom prst="rect">
            <a:avLst/>
          </a:prstGeom>
        </p:spPr>
        <p:txBody>
          <a:bodyPr wrap="square" lIns="0" tIns="0" rIns="0" bIns="0" rtlCol="0">
            <a:noAutofit/>
          </a:bodyPr>
          <a:lstStyle/>
          <a:p>
            <a:pPr marL="25400">
              <a:lnSpc>
                <a:spcPts val="550"/>
              </a:lnSpc>
              <a:spcBef>
                <a:spcPts val="40"/>
              </a:spcBef>
            </a:pPr>
            <a:endParaRPr sz="550"/>
          </a:p>
        </p:txBody>
      </p:sp>
      <p:sp>
        <p:nvSpPr>
          <p:cNvPr id="90" name="object 90"/>
          <p:cNvSpPr txBox="1"/>
          <p:nvPr/>
        </p:nvSpPr>
        <p:spPr>
          <a:xfrm>
            <a:off x="2752725" y="3954804"/>
            <a:ext cx="61698" cy="70411"/>
          </a:xfrm>
          <a:prstGeom prst="rect">
            <a:avLst/>
          </a:prstGeom>
        </p:spPr>
        <p:txBody>
          <a:bodyPr wrap="square" lIns="0" tIns="0" rIns="0" bIns="0" rtlCol="0">
            <a:noAutofit/>
          </a:bodyPr>
          <a:lstStyle/>
          <a:p>
            <a:pPr marL="25400">
              <a:lnSpc>
                <a:spcPts val="550"/>
              </a:lnSpc>
              <a:spcBef>
                <a:spcPts val="4"/>
              </a:spcBef>
            </a:pPr>
            <a:endParaRPr sz="550"/>
          </a:p>
        </p:txBody>
      </p:sp>
      <p:sp>
        <p:nvSpPr>
          <p:cNvPr id="89" name="object 89"/>
          <p:cNvSpPr txBox="1"/>
          <p:nvPr/>
        </p:nvSpPr>
        <p:spPr>
          <a:xfrm>
            <a:off x="2814423" y="3954804"/>
            <a:ext cx="751942" cy="70411"/>
          </a:xfrm>
          <a:prstGeom prst="rect">
            <a:avLst/>
          </a:prstGeom>
        </p:spPr>
        <p:txBody>
          <a:bodyPr wrap="square" lIns="0" tIns="0" rIns="0" bIns="0" rtlCol="0">
            <a:noAutofit/>
          </a:bodyPr>
          <a:lstStyle/>
          <a:p>
            <a:pPr marL="25400">
              <a:lnSpc>
                <a:spcPts val="550"/>
              </a:lnSpc>
              <a:spcBef>
                <a:spcPts val="4"/>
              </a:spcBef>
            </a:pPr>
            <a:endParaRPr sz="550"/>
          </a:p>
        </p:txBody>
      </p:sp>
      <p:sp>
        <p:nvSpPr>
          <p:cNvPr id="88" name="object 88"/>
          <p:cNvSpPr txBox="1"/>
          <p:nvPr/>
        </p:nvSpPr>
        <p:spPr>
          <a:xfrm>
            <a:off x="3566365" y="3954803"/>
            <a:ext cx="51546" cy="542344"/>
          </a:xfrm>
          <a:prstGeom prst="rect">
            <a:avLst/>
          </a:prstGeom>
        </p:spPr>
        <p:txBody>
          <a:bodyPr wrap="square" lIns="0" tIns="0" rIns="0" bIns="0" rtlCol="0">
            <a:noAutofit/>
          </a:bodyPr>
          <a:lstStyle/>
          <a:p>
            <a:pPr marL="25400">
              <a:lnSpc>
                <a:spcPts val="1000"/>
              </a:lnSpc>
            </a:pPr>
            <a:endParaRPr sz="1000"/>
          </a:p>
        </p:txBody>
      </p:sp>
      <p:sp>
        <p:nvSpPr>
          <p:cNvPr id="87" name="object 87"/>
          <p:cNvSpPr txBox="1"/>
          <p:nvPr/>
        </p:nvSpPr>
        <p:spPr>
          <a:xfrm>
            <a:off x="2752725" y="4025214"/>
            <a:ext cx="61698" cy="78648"/>
          </a:xfrm>
          <a:prstGeom prst="rect">
            <a:avLst/>
          </a:prstGeom>
        </p:spPr>
        <p:txBody>
          <a:bodyPr wrap="square" lIns="0" tIns="0" rIns="0" bIns="0" rtlCol="0">
            <a:noAutofit/>
          </a:bodyPr>
          <a:lstStyle/>
          <a:p>
            <a:pPr marL="25400">
              <a:lnSpc>
                <a:spcPts val="600"/>
              </a:lnSpc>
              <a:spcBef>
                <a:spcPts val="19"/>
              </a:spcBef>
            </a:pPr>
            <a:endParaRPr sz="600"/>
          </a:p>
        </p:txBody>
      </p:sp>
      <p:sp>
        <p:nvSpPr>
          <p:cNvPr id="86" name="object 86"/>
          <p:cNvSpPr txBox="1"/>
          <p:nvPr/>
        </p:nvSpPr>
        <p:spPr>
          <a:xfrm>
            <a:off x="2814424" y="4025214"/>
            <a:ext cx="70419" cy="78648"/>
          </a:xfrm>
          <a:prstGeom prst="rect">
            <a:avLst/>
          </a:prstGeom>
        </p:spPr>
        <p:txBody>
          <a:bodyPr wrap="square" lIns="0" tIns="0" rIns="0" bIns="0" rtlCol="0">
            <a:noAutofit/>
          </a:bodyPr>
          <a:lstStyle/>
          <a:p>
            <a:pPr marL="25400">
              <a:lnSpc>
                <a:spcPts val="600"/>
              </a:lnSpc>
              <a:spcBef>
                <a:spcPts val="19"/>
              </a:spcBef>
            </a:pPr>
            <a:endParaRPr sz="600"/>
          </a:p>
        </p:txBody>
      </p:sp>
      <p:sp>
        <p:nvSpPr>
          <p:cNvPr id="85" name="object 85"/>
          <p:cNvSpPr txBox="1"/>
          <p:nvPr/>
        </p:nvSpPr>
        <p:spPr>
          <a:xfrm>
            <a:off x="2884844" y="4025214"/>
            <a:ext cx="110769" cy="78648"/>
          </a:xfrm>
          <a:prstGeom prst="rect">
            <a:avLst/>
          </a:prstGeom>
        </p:spPr>
        <p:txBody>
          <a:bodyPr wrap="square" lIns="0" tIns="0" rIns="0" bIns="0" rtlCol="0">
            <a:noAutofit/>
          </a:bodyPr>
          <a:lstStyle/>
          <a:p>
            <a:pPr marL="25400">
              <a:lnSpc>
                <a:spcPts val="600"/>
              </a:lnSpc>
              <a:spcBef>
                <a:spcPts val="19"/>
              </a:spcBef>
            </a:pPr>
            <a:endParaRPr sz="600"/>
          </a:p>
        </p:txBody>
      </p:sp>
      <p:sp>
        <p:nvSpPr>
          <p:cNvPr id="84" name="object 84"/>
          <p:cNvSpPr txBox="1"/>
          <p:nvPr/>
        </p:nvSpPr>
        <p:spPr>
          <a:xfrm>
            <a:off x="2995613" y="4025214"/>
            <a:ext cx="111055" cy="78648"/>
          </a:xfrm>
          <a:prstGeom prst="rect">
            <a:avLst/>
          </a:prstGeom>
        </p:spPr>
        <p:txBody>
          <a:bodyPr wrap="square" lIns="0" tIns="0" rIns="0" bIns="0" rtlCol="0">
            <a:noAutofit/>
          </a:bodyPr>
          <a:lstStyle/>
          <a:p>
            <a:pPr marL="25400">
              <a:lnSpc>
                <a:spcPts val="600"/>
              </a:lnSpc>
              <a:spcBef>
                <a:spcPts val="19"/>
              </a:spcBef>
            </a:pPr>
            <a:endParaRPr sz="600"/>
          </a:p>
        </p:txBody>
      </p:sp>
      <p:sp>
        <p:nvSpPr>
          <p:cNvPr id="83" name="object 83"/>
          <p:cNvSpPr txBox="1"/>
          <p:nvPr/>
        </p:nvSpPr>
        <p:spPr>
          <a:xfrm>
            <a:off x="3106667" y="4025214"/>
            <a:ext cx="111350" cy="78648"/>
          </a:xfrm>
          <a:prstGeom prst="rect">
            <a:avLst/>
          </a:prstGeom>
        </p:spPr>
        <p:txBody>
          <a:bodyPr wrap="square" lIns="0" tIns="0" rIns="0" bIns="0" rtlCol="0">
            <a:noAutofit/>
          </a:bodyPr>
          <a:lstStyle/>
          <a:p>
            <a:pPr marL="25400">
              <a:lnSpc>
                <a:spcPts val="600"/>
              </a:lnSpc>
              <a:spcBef>
                <a:spcPts val="19"/>
              </a:spcBef>
            </a:pPr>
            <a:endParaRPr sz="600"/>
          </a:p>
        </p:txBody>
      </p:sp>
      <p:sp>
        <p:nvSpPr>
          <p:cNvPr id="82" name="object 82"/>
          <p:cNvSpPr txBox="1"/>
          <p:nvPr/>
        </p:nvSpPr>
        <p:spPr>
          <a:xfrm>
            <a:off x="3218018" y="4025214"/>
            <a:ext cx="110772" cy="78648"/>
          </a:xfrm>
          <a:prstGeom prst="rect">
            <a:avLst/>
          </a:prstGeom>
        </p:spPr>
        <p:txBody>
          <a:bodyPr wrap="square" lIns="0" tIns="0" rIns="0" bIns="0" rtlCol="0">
            <a:noAutofit/>
          </a:bodyPr>
          <a:lstStyle/>
          <a:p>
            <a:pPr marL="25400">
              <a:lnSpc>
                <a:spcPts val="600"/>
              </a:lnSpc>
              <a:spcBef>
                <a:spcPts val="19"/>
              </a:spcBef>
            </a:pPr>
            <a:endParaRPr sz="600"/>
          </a:p>
        </p:txBody>
      </p:sp>
      <p:sp>
        <p:nvSpPr>
          <p:cNvPr id="81" name="object 81"/>
          <p:cNvSpPr txBox="1"/>
          <p:nvPr/>
        </p:nvSpPr>
        <p:spPr>
          <a:xfrm>
            <a:off x="3328790" y="4025214"/>
            <a:ext cx="111914" cy="78648"/>
          </a:xfrm>
          <a:prstGeom prst="rect">
            <a:avLst/>
          </a:prstGeom>
        </p:spPr>
        <p:txBody>
          <a:bodyPr wrap="square" lIns="0" tIns="0" rIns="0" bIns="0" rtlCol="0">
            <a:noAutofit/>
          </a:bodyPr>
          <a:lstStyle/>
          <a:p>
            <a:pPr marL="25400">
              <a:lnSpc>
                <a:spcPts val="600"/>
              </a:lnSpc>
              <a:spcBef>
                <a:spcPts val="19"/>
              </a:spcBef>
            </a:pPr>
            <a:endParaRPr sz="600"/>
          </a:p>
        </p:txBody>
      </p:sp>
      <p:sp>
        <p:nvSpPr>
          <p:cNvPr id="80" name="object 80"/>
          <p:cNvSpPr txBox="1"/>
          <p:nvPr/>
        </p:nvSpPr>
        <p:spPr>
          <a:xfrm>
            <a:off x="3440704" y="4025214"/>
            <a:ext cx="125660" cy="78648"/>
          </a:xfrm>
          <a:prstGeom prst="rect">
            <a:avLst/>
          </a:prstGeom>
        </p:spPr>
        <p:txBody>
          <a:bodyPr wrap="square" lIns="0" tIns="0" rIns="0" bIns="0" rtlCol="0">
            <a:noAutofit/>
          </a:bodyPr>
          <a:lstStyle/>
          <a:p>
            <a:pPr marL="25400">
              <a:lnSpc>
                <a:spcPts val="600"/>
              </a:lnSpc>
              <a:spcBef>
                <a:spcPts val="19"/>
              </a:spcBef>
            </a:pPr>
            <a:endParaRPr sz="600"/>
          </a:p>
        </p:txBody>
      </p:sp>
      <p:sp>
        <p:nvSpPr>
          <p:cNvPr id="79" name="object 79"/>
          <p:cNvSpPr txBox="1"/>
          <p:nvPr/>
        </p:nvSpPr>
        <p:spPr>
          <a:xfrm>
            <a:off x="2752725" y="4103863"/>
            <a:ext cx="61698" cy="75764"/>
          </a:xfrm>
          <a:prstGeom prst="rect">
            <a:avLst/>
          </a:prstGeom>
        </p:spPr>
        <p:txBody>
          <a:bodyPr wrap="square" lIns="0" tIns="0" rIns="0" bIns="0" rtlCol="0">
            <a:noAutofit/>
          </a:bodyPr>
          <a:lstStyle/>
          <a:p>
            <a:pPr marL="25400">
              <a:lnSpc>
                <a:spcPts val="550"/>
              </a:lnSpc>
              <a:spcBef>
                <a:spcPts val="46"/>
              </a:spcBef>
            </a:pPr>
            <a:endParaRPr sz="550"/>
          </a:p>
        </p:txBody>
      </p:sp>
      <p:sp>
        <p:nvSpPr>
          <p:cNvPr id="78" name="object 78"/>
          <p:cNvSpPr txBox="1"/>
          <p:nvPr/>
        </p:nvSpPr>
        <p:spPr>
          <a:xfrm>
            <a:off x="2814424" y="4103863"/>
            <a:ext cx="70419" cy="75764"/>
          </a:xfrm>
          <a:prstGeom prst="rect">
            <a:avLst/>
          </a:prstGeom>
        </p:spPr>
        <p:txBody>
          <a:bodyPr wrap="square" lIns="0" tIns="0" rIns="0" bIns="0" rtlCol="0">
            <a:noAutofit/>
          </a:bodyPr>
          <a:lstStyle/>
          <a:p>
            <a:pPr marL="25400">
              <a:lnSpc>
                <a:spcPts val="550"/>
              </a:lnSpc>
              <a:spcBef>
                <a:spcPts val="46"/>
              </a:spcBef>
            </a:pPr>
            <a:endParaRPr sz="550"/>
          </a:p>
        </p:txBody>
      </p:sp>
      <p:sp>
        <p:nvSpPr>
          <p:cNvPr id="77" name="object 77"/>
          <p:cNvSpPr txBox="1"/>
          <p:nvPr/>
        </p:nvSpPr>
        <p:spPr>
          <a:xfrm>
            <a:off x="2884844" y="4103863"/>
            <a:ext cx="110769" cy="75764"/>
          </a:xfrm>
          <a:prstGeom prst="rect">
            <a:avLst/>
          </a:prstGeom>
        </p:spPr>
        <p:txBody>
          <a:bodyPr wrap="square" lIns="0" tIns="0" rIns="0" bIns="0" rtlCol="0">
            <a:noAutofit/>
          </a:bodyPr>
          <a:lstStyle/>
          <a:p>
            <a:pPr marL="25400">
              <a:lnSpc>
                <a:spcPts val="550"/>
              </a:lnSpc>
              <a:spcBef>
                <a:spcPts val="46"/>
              </a:spcBef>
            </a:pPr>
            <a:endParaRPr sz="550"/>
          </a:p>
        </p:txBody>
      </p:sp>
      <p:sp>
        <p:nvSpPr>
          <p:cNvPr id="76" name="object 76"/>
          <p:cNvSpPr txBox="1"/>
          <p:nvPr/>
        </p:nvSpPr>
        <p:spPr>
          <a:xfrm>
            <a:off x="2995613" y="4103863"/>
            <a:ext cx="111055" cy="75764"/>
          </a:xfrm>
          <a:prstGeom prst="rect">
            <a:avLst/>
          </a:prstGeom>
        </p:spPr>
        <p:txBody>
          <a:bodyPr wrap="square" lIns="0" tIns="0" rIns="0" bIns="0" rtlCol="0">
            <a:noAutofit/>
          </a:bodyPr>
          <a:lstStyle/>
          <a:p>
            <a:pPr marL="25400">
              <a:lnSpc>
                <a:spcPts val="550"/>
              </a:lnSpc>
              <a:spcBef>
                <a:spcPts val="46"/>
              </a:spcBef>
            </a:pPr>
            <a:endParaRPr sz="550"/>
          </a:p>
        </p:txBody>
      </p:sp>
      <p:sp>
        <p:nvSpPr>
          <p:cNvPr id="75" name="object 75"/>
          <p:cNvSpPr txBox="1"/>
          <p:nvPr/>
        </p:nvSpPr>
        <p:spPr>
          <a:xfrm>
            <a:off x="3106667" y="4103863"/>
            <a:ext cx="111350" cy="75764"/>
          </a:xfrm>
          <a:prstGeom prst="rect">
            <a:avLst/>
          </a:prstGeom>
        </p:spPr>
        <p:txBody>
          <a:bodyPr wrap="square" lIns="0" tIns="0" rIns="0" bIns="0" rtlCol="0">
            <a:noAutofit/>
          </a:bodyPr>
          <a:lstStyle/>
          <a:p>
            <a:pPr marL="25400">
              <a:lnSpc>
                <a:spcPts val="550"/>
              </a:lnSpc>
              <a:spcBef>
                <a:spcPts val="46"/>
              </a:spcBef>
            </a:pPr>
            <a:endParaRPr sz="550"/>
          </a:p>
        </p:txBody>
      </p:sp>
      <p:sp>
        <p:nvSpPr>
          <p:cNvPr id="74" name="object 74"/>
          <p:cNvSpPr txBox="1"/>
          <p:nvPr/>
        </p:nvSpPr>
        <p:spPr>
          <a:xfrm>
            <a:off x="3218018" y="4103863"/>
            <a:ext cx="110772" cy="75764"/>
          </a:xfrm>
          <a:prstGeom prst="rect">
            <a:avLst/>
          </a:prstGeom>
        </p:spPr>
        <p:txBody>
          <a:bodyPr wrap="square" lIns="0" tIns="0" rIns="0" bIns="0" rtlCol="0">
            <a:noAutofit/>
          </a:bodyPr>
          <a:lstStyle/>
          <a:p>
            <a:pPr marL="25400">
              <a:lnSpc>
                <a:spcPts val="550"/>
              </a:lnSpc>
              <a:spcBef>
                <a:spcPts val="46"/>
              </a:spcBef>
            </a:pPr>
            <a:endParaRPr sz="550"/>
          </a:p>
        </p:txBody>
      </p:sp>
      <p:sp>
        <p:nvSpPr>
          <p:cNvPr id="73" name="object 73"/>
          <p:cNvSpPr txBox="1"/>
          <p:nvPr/>
        </p:nvSpPr>
        <p:spPr>
          <a:xfrm>
            <a:off x="3328790" y="4103863"/>
            <a:ext cx="111914" cy="75764"/>
          </a:xfrm>
          <a:prstGeom prst="rect">
            <a:avLst/>
          </a:prstGeom>
        </p:spPr>
        <p:txBody>
          <a:bodyPr wrap="square" lIns="0" tIns="0" rIns="0" bIns="0" rtlCol="0">
            <a:noAutofit/>
          </a:bodyPr>
          <a:lstStyle/>
          <a:p>
            <a:pPr marL="25400">
              <a:lnSpc>
                <a:spcPts val="550"/>
              </a:lnSpc>
              <a:spcBef>
                <a:spcPts val="46"/>
              </a:spcBef>
            </a:pPr>
            <a:endParaRPr sz="550"/>
          </a:p>
        </p:txBody>
      </p:sp>
      <p:sp>
        <p:nvSpPr>
          <p:cNvPr id="72" name="object 72"/>
          <p:cNvSpPr txBox="1"/>
          <p:nvPr/>
        </p:nvSpPr>
        <p:spPr>
          <a:xfrm>
            <a:off x="3440704" y="4103863"/>
            <a:ext cx="125660" cy="75764"/>
          </a:xfrm>
          <a:prstGeom prst="rect">
            <a:avLst/>
          </a:prstGeom>
        </p:spPr>
        <p:txBody>
          <a:bodyPr wrap="square" lIns="0" tIns="0" rIns="0" bIns="0" rtlCol="0">
            <a:noAutofit/>
          </a:bodyPr>
          <a:lstStyle/>
          <a:p>
            <a:pPr marL="25400">
              <a:lnSpc>
                <a:spcPts val="550"/>
              </a:lnSpc>
              <a:spcBef>
                <a:spcPts val="46"/>
              </a:spcBef>
            </a:pPr>
            <a:endParaRPr sz="550"/>
          </a:p>
        </p:txBody>
      </p:sp>
      <p:sp>
        <p:nvSpPr>
          <p:cNvPr id="71" name="object 71"/>
          <p:cNvSpPr txBox="1"/>
          <p:nvPr/>
        </p:nvSpPr>
        <p:spPr>
          <a:xfrm>
            <a:off x="2752725" y="4179629"/>
            <a:ext cx="61698" cy="74227"/>
          </a:xfrm>
          <a:prstGeom prst="rect">
            <a:avLst/>
          </a:prstGeom>
        </p:spPr>
        <p:txBody>
          <a:bodyPr wrap="square" lIns="0" tIns="0" rIns="0" bIns="0" rtlCol="0">
            <a:noAutofit/>
          </a:bodyPr>
          <a:lstStyle/>
          <a:p>
            <a:pPr marL="25400">
              <a:lnSpc>
                <a:spcPts val="550"/>
              </a:lnSpc>
              <a:spcBef>
                <a:spcPts val="34"/>
              </a:spcBef>
            </a:pPr>
            <a:endParaRPr sz="550"/>
          </a:p>
        </p:txBody>
      </p:sp>
      <p:sp>
        <p:nvSpPr>
          <p:cNvPr id="70" name="object 70"/>
          <p:cNvSpPr txBox="1"/>
          <p:nvPr/>
        </p:nvSpPr>
        <p:spPr>
          <a:xfrm>
            <a:off x="2814424" y="4179629"/>
            <a:ext cx="70419" cy="74227"/>
          </a:xfrm>
          <a:prstGeom prst="rect">
            <a:avLst/>
          </a:prstGeom>
        </p:spPr>
        <p:txBody>
          <a:bodyPr wrap="square" lIns="0" tIns="0" rIns="0" bIns="0" rtlCol="0">
            <a:noAutofit/>
          </a:bodyPr>
          <a:lstStyle/>
          <a:p>
            <a:pPr marL="25400">
              <a:lnSpc>
                <a:spcPts val="550"/>
              </a:lnSpc>
              <a:spcBef>
                <a:spcPts val="34"/>
              </a:spcBef>
            </a:pPr>
            <a:endParaRPr sz="550"/>
          </a:p>
        </p:txBody>
      </p:sp>
      <p:sp>
        <p:nvSpPr>
          <p:cNvPr id="69" name="object 69"/>
          <p:cNvSpPr txBox="1"/>
          <p:nvPr/>
        </p:nvSpPr>
        <p:spPr>
          <a:xfrm>
            <a:off x="2884844" y="4179629"/>
            <a:ext cx="110769" cy="74227"/>
          </a:xfrm>
          <a:prstGeom prst="rect">
            <a:avLst/>
          </a:prstGeom>
        </p:spPr>
        <p:txBody>
          <a:bodyPr wrap="square" lIns="0" tIns="0" rIns="0" bIns="0" rtlCol="0">
            <a:noAutofit/>
          </a:bodyPr>
          <a:lstStyle/>
          <a:p>
            <a:pPr marL="25400">
              <a:lnSpc>
                <a:spcPts val="550"/>
              </a:lnSpc>
              <a:spcBef>
                <a:spcPts val="34"/>
              </a:spcBef>
            </a:pPr>
            <a:endParaRPr sz="550"/>
          </a:p>
        </p:txBody>
      </p:sp>
      <p:sp>
        <p:nvSpPr>
          <p:cNvPr id="68" name="object 68"/>
          <p:cNvSpPr txBox="1"/>
          <p:nvPr/>
        </p:nvSpPr>
        <p:spPr>
          <a:xfrm>
            <a:off x="2995613" y="4179629"/>
            <a:ext cx="111055" cy="74227"/>
          </a:xfrm>
          <a:prstGeom prst="rect">
            <a:avLst/>
          </a:prstGeom>
        </p:spPr>
        <p:txBody>
          <a:bodyPr wrap="square" lIns="0" tIns="0" rIns="0" bIns="0" rtlCol="0">
            <a:noAutofit/>
          </a:bodyPr>
          <a:lstStyle/>
          <a:p>
            <a:pPr marL="25400">
              <a:lnSpc>
                <a:spcPts val="550"/>
              </a:lnSpc>
              <a:spcBef>
                <a:spcPts val="34"/>
              </a:spcBef>
            </a:pPr>
            <a:endParaRPr sz="550"/>
          </a:p>
        </p:txBody>
      </p:sp>
      <p:sp>
        <p:nvSpPr>
          <p:cNvPr id="67" name="object 67"/>
          <p:cNvSpPr txBox="1"/>
          <p:nvPr/>
        </p:nvSpPr>
        <p:spPr>
          <a:xfrm>
            <a:off x="3106667" y="4179629"/>
            <a:ext cx="111350" cy="74227"/>
          </a:xfrm>
          <a:prstGeom prst="rect">
            <a:avLst/>
          </a:prstGeom>
        </p:spPr>
        <p:txBody>
          <a:bodyPr wrap="square" lIns="0" tIns="0" rIns="0" bIns="0" rtlCol="0">
            <a:noAutofit/>
          </a:bodyPr>
          <a:lstStyle/>
          <a:p>
            <a:pPr marL="25400">
              <a:lnSpc>
                <a:spcPts val="550"/>
              </a:lnSpc>
              <a:spcBef>
                <a:spcPts val="34"/>
              </a:spcBef>
            </a:pPr>
            <a:endParaRPr sz="550"/>
          </a:p>
        </p:txBody>
      </p:sp>
      <p:sp>
        <p:nvSpPr>
          <p:cNvPr id="66" name="object 66"/>
          <p:cNvSpPr txBox="1"/>
          <p:nvPr/>
        </p:nvSpPr>
        <p:spPr>
          <a:xfrm>
            <a:off x="3218018" y="4179629"/>
            <a:ext cx="110772" cy="74227"/>
          </a:xfrm>
          <a:prstGeom prst="rect">
            <a:avLst/>
          </a:prstGeom>
        </p:spPr>
        <p:txBody>
          <a:bodyPr wrap="square" lIns="0" tIns="0" rIns="0" bIns="0" rtlCol="0">
            <a:noAutofit/>
          </a:bodyPr>
          <a:lstStyle/>
          <a:p>
            <a:pPr marL="25400">
              <a:lnSpc>
                <a:spcPts val="550"/>
              </a:lnSpc>
              <a:spcBef>
                <a:spcPts val="34"/>
              </a:spcBef>
            </a:pPr>
            <a:endParaRPr sz="550"/>
          </a:p>
        </p:txBody>
      </p:sp>
      <p:sp>
        <p:nvSpPr>
          <p:cNvPr id="65" name="object 65"/>
          <p:cNvSpPr txBox="1"/>
          <p:nvPr/>
        </p:nvSpPr>
        <p:spPr>
          <a:xfrm>
            <a:off x="3328790" y="4179629"/>
            <a:ext cx="111914" cy="74227"/>
          </a:xfrm>
          <a:prstGeom prst="rect">
            <a:avLst/>
          </a:prstGeom>
        </p:spPr>
        <p:txBody>
          <a:bodyPr wrap="square" lIns="0" tIns="0" rIns="0" bIns="0" rtlCol="0">
            <a:noAutofit/>
          </a:bodyPr>
          <a:lstStyle/>
          <a:p>
            <a:pPr marL="25400">
              <a:lnSpc>
                <a:spcPts val="550"/>
              </a:lnSpc>
              <a:spcBef>
                <a:spcPts val="34"/>
              </a:spcBef>
            </a:pPr>
            <a:endParaRPr sz="550"/>
          </a:p>
        </p:txBody>
      </p:sp>
      <p:sp>
        <p:nvSpPr>
          <p:cNvPr id="64" name="object 64"/>
          <p:cNvSpPr txBox="1"/>
          <p:nvPr/>
        </p:nvSpPr>
        <p:spPr>
          <a:xfrm>
            <a:off x="3440704" y="4179629"/>
            <a:ext cx="125660" cy="74227"/>
          </a:xfrm>
          <a:prstGeom prst="rect">
            <a:avLst/>
          </a:prstGeom>
        </p:spPr>
        <p:txBody>
          <a:bodyPr wrap="square" lIns="0" tIns="0" rIns="0" bIns="0" rtlCol="0">
            <a:noAutofit/>
          </a:bodyPr>
          <a:lstStyle/>
          <a:p>
            <a:pPr marL="25400">
              <a:lnSpc>
                <a:spcPts val="550"/>
              </a:lnSpc>
              <a:spcBef>
                <a:spcPts val="34"/>
              </a:spcBef>
            </a:pPr>
            <a:endParaRPr sz="550"/>
          </a:p>
        </p:txBody>
      </p:sp>
      <p:sp>
        <p:nvSpPr>
          <p:cNvPr id="63" name="object 63"/>
          <p:cNvSpPr txBox="1"/>
          <p:nvPr/>
        </p:nvSpPr>
        <p:spPr>
          <a:xfrm>
            <a:off x="2752725" y="4253856"/>
            <a:ext cx="61698" cy="72617"/>
          </a:xfrm>
          <a:prstGeom prst="rect">
            <a:avLst/>
          </a:prstGeom>
        </p:spPr>
        <p:txBody>
          <a:bodyPr wrap="square" lIns="0" tIns="0" rIns="0" bIns="0" rtlCol="0">
            <a:noAutofit/>
          </a:bodyPr>
          <a:lstStyle/>
          <a:p>
            <a:pPr marL="25400">
              <a:lnSpc>
                <a:spcPts val="550"/>
              </a:lnSpc>
              <a:spcBef>
                <a:spcPts val="21"/>
              </a:spcBef>
            </a:pPr>
            <a:endParaRPr sz="550"/>
          </a:p>
        </p:txBody>
      </p:sp>
      <p:sp>
        <p:nvSpPr>
          <p:cNvPr id="62" name="object 62"/>
          <p:cNvSpPr txBox="1"/>
          <p:nvPr/>
        </p:nvSpPr>
        <p:spPr>
          <a:xfrm>
            <a:off x="2814424" y="4253856"/>
            <a:ext cx="70419" cy="72617"/>
          </a:xfrm>
          <a:prstGeom prst="rect">
            <a:avLst/>
          </a:prstGeom>
        </p:spPr>
        <p:txBody>
          <a:bodyPr wrap="square" lIns="0" tIns="0" rIns="0" bIns="0" rtlCol="0">
            <a:noAutofit/>
          </a:bodyPr>
          <a:lstStyle/>
          <a:p>
            <a:pPr marL="25400">
              <a:lnSpc>
                <a:spcPts val="550"/>
              </a:lnSpc>
              <a:spcBef>
                <a:spcPts val="21"/>
              </a:spcBef>
            </a:pPr>
            <a:endParaRPr sz="550"/>
          </a:p>
        </p:txBody>
      </p:sp>
      <p:sp>
        <p:nvSpPr>
          <p:cNvPr id="61" name="object 61"/>
          <p:cNvSpPr txBox="1"/>
          <p:nvPr/>
        </p:nvSpPr>
        <p:spPr>
          <a:xfrm>
            <a:off x="2884844" y="4253856"/>
            <a:ext cx="110769" cy="72617"/>
          </a:xfrm>
          <a:prstGeom prst="rect">
            <a:avLst/>
          </a:prstGeom>
        </p:spPr>
        <p:txBody>
          <a:bodyPr wrap="square" lIns="0" tIns="0" rIns="0" bIns="0" rtlCol="0">
            <a:noAutofit/>
          </a:bodyPr>
          <a:lstStyle/>
          <a:p>
            <a:pPr marL="25400">
              <a:lnSpc>
                <a:spcPts val="550"/>
              </a:lnSpc>
              <a:spcBef>
                <a:spcPts val="21"/>
              </a:spcBef>
            </a:pPr>
            <a:endParaRPr sz="550"/>
          </a:p>
        </p:txBody>
      </p:sp>
      <p:sp>
        <p:nvSpPr>
          <p:cNvPr id="60" name="object 60"/>
          <p:cNvSpPr txBox="1"/>
          <p:nvPr/>
        </p:nvSpPr>
        <p:spPr>
          <a:xfrm>
            <a:off x="2995613" y="4253856"/>
            <a:ext cx="111055" cy="72617"/>
          </a:xfrm>
          <a:prstGeom prst="rect">
            <a:avLst/>
          </a:prstGeom>
        </p:spPr>
        <p:txBody>
          <a:bodyPr wrap="square" lIns="0" tIns="0" rIns="0" bIns="0" rtlCol="0">
            <a:noAutofit/>
          </a:bodyPr>
          <a:lstStyle/>
          <a:p>
            <a:pPr marL="25400">
              <a:lnSpc>
                <a:spcPts val="550"/>
              </a:lnSpc>
              <a:spcBef>
                <a:spcPts val="21"/>
              </a:spcBef>
            </a:pPr>
            <a:endParaRPr sz="550"/>
          </a:p>
        </p:txBody>
      </p:sp>
      <p:sp>
        <p:nvSpPr>
          <p:cNvPr id="59" name="object 59"/>
          <p:cNvSpPr txBox="1"/>
          <p:nvPr/>
        </p:nvSpPr>
        <p:spPr>
          <a:xfrm>
            <a:off x="3106667" y="4253856"/>
            <a:ext cx="111350" cy="72617"/>
          </a:xfrm>
          <a:prstGeom prst="rect">
            <a:avLst/>
          </a:prstGeom>
        </p:spPr>
        <p:txBody>
          <a:bodyPr wrap="square" lIns="0" tIns="0" rIns="0" bIns="0" rtlCol="0">
            <a:noAutofit/>
          </a:bodyPr>
          <a:lstStyle/>
          <a:p>
            <a:pPr marL="25400">
              <a:lnSpc>
                <a:spcPts val="550"/>
              </a:lnSpc>
              <a:spcBef>
                <a:spcPts val="21"/>
              </a:spcBef>
            </a:pPr>
            <a:endParaRPr sz="550"/>
          </a:p>
        </p:txBody>
      </p:sp>
      <p:sp>
        <p:nvSpPr>
          <p:cNvPr id="58" name="object 58"/>
          <p:cNvSpPr txBox="1"/>
          <p:nvPr/>
        </p:nvSpPr>
        <p:spPr>
          <a:xfrm>
            <a:off x="3218018" y="4253856"/>
            <a:ext cx="110772" cy="72617"/>
          </a:xfrm>
          <a:prstGeom prst="rect">
            <a:avLst/>
          </a:prstGeom>
        </p:spPr>
        <p:txBody>
          <a:bodyPr wrap="square" lIns="0" tIns="0" rIns="0" bIns="0" rtlCol="0">
            <a:noAutofit/>
          </a:bodyPr>
          <a:lstStyle/>
          <a:p>
            <a:pPr marL="25400">
              <a:lnSpc>
                <a:spcPts val="550"/>
              </a:lnSpc>
              <a:spcBef>
                <a:spcPts val="21"/>
              </a:spcBef>
            </a:pPr>
            <a:endParaRPr sz="550"/>
          </a:p>
        </p:txBody>
      </p:sp>
      <p:sp>
        <p:nvSpPr>
          <p:cNvPr id="57" name="object 57"/>
          <p:cNvSpPr txBox="1"/>
          <p:nvPr/>
        </p:nvSpPr>
        <p:spPr>
          <a:xfrm>
            <a:off x="3328790" y="4253856"/>
            <a:ext cx="111914" cy="72617"/>
          </a:xfrm>
          <a:prstGeom prst="rect">
            <a:avLst/>
          </a:prstGeom>
        </p:spPr>
        <p:txBody>
          <a:bodyPr wrap="square" lIns="0" tIns="0" rIns="0" bIns="0" rtlCol="0">
            <a:noAutofit/>
          </a:bodyPr>
          <a:lstStyle/>
          <a:p>
            <a:pPr marL="25400">
              <a:lnSpc>
                <a:spcPts val="550"/>
              </a:lnSpc>
              <a:spcBef>
                <a:spcPts val="21"/>
              </a:spcBef>
            </a:pPr>
            <a:endParaRPr sz="550"/>
          </a:p>
        </p:txBody>
      </p:sp>
      <p:sp>
        <p:nvSpPr>
          <p:cNvPr id="56" name="object 56"/>
          <p:cNvSpPr txBox="1"/>
          <p:nvPr/>
        </p:nvSpPr>
        <p:spPr>
          <a:xfrm>
            <a:off x="3440704" y="4253856"/>
            <a:ext cx="125660" cy="72617"/>
          </a:xfrm>
          <a:prstGeom prst="rect">
            <a:avLst/>
          </a:prstGeom>
        </p:spPr>
        <p:txBody>
          <a:bodyPr wrap="square" lIns="0" tIns="0" rIns="0" bIns="0" rtlCol="0">
            <a:noAutofit/>
          </a:bodyPr>
          <a:lstStyle/>
          <a:p>
            <a:pPr marL="25400">
              <a:lnSpc>
                <a:spcPts val="550"/>
              </a:lnSpc>
              <a:spcBef>
                <a:spcPts val="21"/>
              </a:spcBef>
            </a:pPr>
            <a:endParaRPr sz="550"/>
          </a:p>
        </p:txBody>
      </p:sp>
      <p:sp>
        <p:nvSpPr>
          <p:cNvPr id="55" name="object 55"/>
          <p:cNvSpPr txBox="1"/>
          <p:nvPr/>
        </p:nvSpPr>
        <p:spPr>
          <a:xfrm>
            <a:off x="2752725" y="4326474"/>
            <a:ext cx="61698" cy="73691"/>
          </a:xfrm>
          <a:prstGeom prst="rect">
            <a:avLst/>
          </a:prstGeom>
        </p:spPr>
        <p:txBody>
          <a:bodyPr wrap="square" lIns="0" tIns="0" rIns="0" bIns="0" rtlCol="0">
            <a:noAutofit/>
          </a:bodyPr>
          <a:lstStyle/>
          <a:p>
            <a:pPr marL="25400">
              <a:lnSpc>
                <a:spcPts val="550"/>
              </a:lnSpc>
              <a:spcBef>
                <a:spcPts val="30"/>
              </a:spcBef>
            </a:pPr>
            <a:endParaRPr sz="550"/>
          </a:p>
        </p:txBody>
      </p:sp>
      <p:sp>
        <p:nvSpPr>
          <p:cNvPr id="54" name="object 54"/>
          <p:cNvSpPr txBox="1"/>
          <p:nvPr/>
        </p:nvSpPr>
        <p:spPr>
          <a:xfrm>
            <a:off x="2814424" y="4326474"/>
            <a:ext cx="70419" cy="73691"/>
          </a:xfrm>
          <a:prstGeom prst="rect">
            <a:avLst/>
          </a:prstGeom>
        </p:spPr>
        <p:txBody>
          <a:bodyPr wrap="square" lIns="0" tIns="0" rIns="0" bIns="0" rtlCol="0">
            <a:noAutofit/>
          </a:bodyPr>
          <a:lstStyle/>
          <a:p>
            <a:pPr marL="25400">
              <a:lnSpc>
                <a:spcPts val="550"/>
              </a:lnSpc>
              <a:spcBef>
                <a:spcPts val="30"/>
              </a:spcBef>
            </a:pPr>
            <a:endParaRPr sz="550"/>
          </a:p>
        </p:txBody>
      </p:sp>
      <p:sp>
        <p:nvSpPr>
          <p:cNvPr id="53" name="object 53"/>
          <p:cNvSpPr txBox="1"/>
          <p:nvPr/>
        </p:nvSpPr>
        <p:spPr>
          <a:xfrm>
            <a:off x="2884844" y="4326474"/>
            <a:ext cx="110769" cy="73691"/>
          </a:xfrm>
          <a:prstGeom prst="rect">
            <a:avLst/>
          </a:prstGeom>
        </p:spPr>
        <p:txBody>
          <a:bodyPr wrap="square" lIns="0" tIns="0" rIns="0" bIns="0" rtlCol="0">
            <a:noAutofit/>
          </a:bodyPr>
          <a:lstStyle/>
          <a:p>
            <a:pPr marL="25400">
              <a:lnSpc>
                <a:spcPts val="550"/>
              </a:lnSpc>
              <a:spcBef>
                <a:spcPts val="30"/>
              </a:spcBef>
            </a:pPr>
            <a:endParaRPr sz="550"/>
          </a:p>
        </p:txBody>
      </p:sp>
      <p:sp>
        <p:nvSpPr>
          <p:cNvPr id="52" name="object 52"/>
          <p:cNvSpPr txBox="1"/>
          <p:nvPr/>
        </p:nvSpPr>
        <p:spPr>
          <a:xfrm>
            <a:off x="2995613" y="4326474"/>
            <a:ext cx="111055" cy="73691"/>
          </a:xfrm>
          <a:prstGeom prst="rect">
            <a:avLst/>
          </a:prstGeom>
        </p:spPr>
        <p:txBody>
          <a:bodyPr wrap="square" lIns="0" tIns="0" rIns="0" bIns="0" rtlCol="0">
            <a:noAutofit/>
          </a:bodyPr>
          <a:lstStyle/>
          <a:p>
            <a:pPr marL="25400">
              <a:lnSpc>
                <a:spcPts val="550"/>
              </a:lnSpc>
              <a:spcBef>
                <a:spcPts val="30"/>
              </a:spcBef>
            </a:pPr>
            <a:endParaRPr sz="550"/>
          </a:p>
        </p:txBody>
      </p:sp>
      <p:sp>
        <p:nvSpPr>
          <p:cNvPr id="51" name="object 51"/>
          <p:cNvSpPr txBox="1"/>
          <p:nvPr/>
        </p:nvSpPr>
        <p:spPr>
          <a:xfrm>
            <a:off x="3106667" y="4326474"/>
            <a:ext cx="111350" cy="73691"/>
          </a:xfrm>
          <a:prstGeom prst="rect">
            <a:avLst/>
          </a:prstGeom>
        </p:spPr>
        <p:txBody>
          <a:bodyPr wrap="square" lIns="0" tIns="0" rIns="0" bIns="0" rtlCol="0">
            <a:noAutofit/>
          </a:bodyPr>
          <a:lstStyle/>
          <a:p>
            <a:pPr marL="25400">
              <a:lnSpc>
                <a:spcPts val="550"/>
              </a:lnSpc>
              <a:spcBef>
                <a:spcPts val="30"/>
              </a:spcBef>
            </a:pPr>
            <a:endParaRPr sz="550"/>
          </a:p>
        </p:txBody>
      </p:sp>
      <p:sp>
        <p:nvSpPr>
          <p:cNvPr id="50" name="object 50"/>
          <p:cNvSpPr txBox="1"/>
          <p:nvPr/>
        </p:nvSpPr>
        <p:spPr>
          <a:xfrm>
            <a:off x="3218018" y="4326474"/>
            <a:ext cx="110772" cy="73691"/>
          </a:xfrm>
          <a:prstGeom prst="rect">
            <a:avLst/>
          </a:prstGeom>
        </p:spPr>
        <p:txBody>
          <a:bodyPr wrap="square" lIns="0" tIns="0" rIns="0" bIns="0" rtlCol="0">
            <a:noAutofit/>
          </a:bodyPr>
          <a:lstStyle/>
          <a:p>
            <a:pPr marL="25400">
              <a:lnSpc>
                <a:spcPts val="550"/>
              </a:lnSpc>
              <a:spcBef>
                <a:spcPts val="30"/>
              </a:spcBef>
            </a:pPr>
            <a:endParaRPr sz="550"/>
          </a:p>
        </p:txBody>
      </p:sp>
      <p:sp>
        <p:nvSpPr>
          <p:cNvPr id="49" name="object 49"/>
          <p:cNvSpPr txBox="1"/>
          <p:nvPr/>
        </p:nvSpPr>
        <p:spPr>
          <a:xfrm>
            <a:off x="3328790" y="4326474"/>
            <a:ext cx="111914" cy="73691"/>
          </a:xfrm>
          <a:prstGeom prst="rect">
            <a:avLst/>
          </a:prstGeom>
        </p:spPr>
        <p:txBody>
          <a:bodyPr wrap="square" lIns="0" tIns="0" rIns="0" bIns="0" rtlCol="0">
            <a:noAutofit/>
          </a:bodyPr>
          <a:lstStyle/>
          <a:p>
            <a:pPr marL="25400">
              <a:lnSpc>
                <a:spcPts val="550"/>
              </a:lnSpc>
              <a:spcBef>
                <a:spcPts val="30"/>
              </a:spcBef>
            </a:pPr>
            <a:endParaRPr sz="550"/>
          </a:p>
        </p:txBody>
      </p:sp>
      <p:sp>
        <p:nvSpPr>
          <p:cNvPr id="48" name="object 48"/>
          <p:cNvSpPr txBox="1"/>
          <p:nvPr/>
        </p:nvSpPr>
        <p:spPr>
          <a:xfrm>
            <a:off x="3440704" y="4326474"/>
            <a:ext cx="125660" cy="73691"/>
          </a:xfrm>
          <a:prstGeom prst="rect">
            <a:avLst/>
          </a:prstGeom>
        </p:spPr>
        <p:txBody>
          <a:bodyPr wrap="square" lIns="0" tIns="0" rIns="0" bIns="0" rtlCol="0">
            <a:noAutofit/>
          </a:bodyPr>
          <a:lstStyle/>
          <a:p>
            <a:pPr marL="25400">
              <a:lnSpc>
                <a:spcPts val="550"/>
              </a:lnSpc>
              <a:spcBef>
                <a:spcPts val="30"/>
              </a:spcBef>
            </a:pPr>
            <a:endParaRPr sz="550"/>
          </a:p>
        </p:txBody>
      </p:sp>
      <p:sp>
        <p:nvSpPr>
          <p:cNvPr id="47" name="object 47"/>
          <p:cNvSpPr txBox="1"/>
          <p:nvPr/>
        </p:nvSpPr>
        <p:spPr>
          <a:xfrm>
            <a:off x="2752725" y="4400165"/>
            <a:ext cx="61698" cy="96983"/>
          </a:xfrm>
          <a:prstGeom prst="rect">
            <a:avLst/>
          </a:prstGeom>
        </p:spPr>
        <p:txBody>
          <a:bodyPr wrap="square" lIns="0" tIns="0" rIns="0" bIns="0" rtlCol="0">
            <a:noAutofit/>
          </a:bodyPr>
          <a:lstStyle/>
          <a:p>
            <a:pPr marL="25400">
              <a:lnSpc>
                <a:spcPts val="750"/>
              </a:lnSpc>
              <a:spcBef>
                <a:spcPts val="13"/>
              </a:spcBef>
            </a:pPr>
            <a:endParaRPr sz="750"/>
          </a:p>
        </p:txBody>
      </p:sp>
      <p:sp>
        <p:nvSpPr>
          <p:cNvPr id="46" name="object 46"/>
          <p:cNvSpPr txBox="1"/>
          <p:nvPr/>
        </p:nvSpPr>
        <p:spPr>
          <a:xfrm>
            <a:off x="2814424" y="4400165"/>
            <a:ext cx="70419" cy="96983"/>
          </a:xfrm>
          <a:prstGeom prst="rect">
            <a:avLst/>
          </a:prstGeom>
        </p:spPr>
        <p:txBody>
          <a:bodyPr wrap="square" lIns="0" tIns="0" rIns="0" bIns="0" rtlCol="0">
            <a:noAutofit/>
          </a:bodyPr>
          <a:lstStyle/>
          <a:p>
            <a:pPr marL="25400">
              <a:lnSpc>
                <a:spcPts val="750"/>
              </a:lnSpc>
              <a:spcBef>
                <a:spcPts val="13"/>
              </a:spcBef>
            </a:pPr>
            <a:endParaRPr sz="750"/>
          </a:p>
        </p:txBody>
      </p:sp>
      <p:sp>
        <p:nvSpPr>
          <p:cNvPr id="45" name="object 45"/>
          <p:cNvSpPr txBox="1"/>
          <p:nvPr/>
        </p:nvSpPr>
        <p:spPr>
          <a:xfrm>
            <a:off x="2884844" y="4400165"/>
            <a:ext cx="110769" cy="96983"/>
          </a:xfrm>
          <a:prstGeom prst="rect">
            <a:avLst/>
          </a:prstGeom>
        </p:spPr>
        <p:txBody>
          <a:bodyPr wrap="square" lIns="0" tIns="0" rIns="0" bIns="0" rtlCol="0">
            <a:noAutofit/>
          </a:bodyPr>
          <a:lstStyle/>
          <a:p>
            <a:pPr marL="25400">
              <a:lnSpc>
                <a:spcPts val="750"/>
              </a:lnSpc>
              <a:spcBef>
                <a:spcPts val="13"/>
              </a:spcBef>
            </a:pPr>
            <a:endParaRPr sz="750"/>
          </a:p>
        </p:txBody>
      </p:sp>
      <p:sp>
        <p:nvSpPr>
          <p:cNvPr id="44" name="object 44"/>
          <p:cNvSpPr txBox="1"/>
          <p:nvPr/>
        </p:nvSpPr>
        <p:spPr>
          <a:xfrm>
            <a:off x="2995613" y="4400165"/>
            <a:ext cx="111055" cy="96983"/>
          </a:xfrm>
          <a:prstGeom prst="rect">
            <a:avLst/>
          </a:prstGeom>
        </p:spPr>
        <p:txBody>
          <a:bodyPr wrap="square" lIns="0" tIns="0" rIns="0" bIns="0" rtlCol="0">
            <a:noAutofit/>
          </a:bodyPr>
          <a:lstStyle/>
          <a:p>
            <a:pPr marL="25400">
              <a:lnSpc>
                <a:spcPts val="750"/>
              </a:lnSpc>
              <a:spcBef>
                <a:spcPts val="13"/>
              </a:spcBef>
            </a:pPr>
            <a:endParaRPr sz="750"/>
          </a:p>
        </p:txBody>
      </p:sp>
      <p:sp>
        <p:nvSpPr>
          <p:cNvPr id="43" name="object 43"/>
          <p:cNvSpPr txBox="1"/>
          <p:nvPr/>
        </p:nvSpPr>
        <p:spPr>
          <a:xfrm>
            <a:off x="3106667" y="4400165"/>
            <a:ext cx="111350" cy="96983"/>
          </a:xfrm>
          <a:prstGeom prst="rect">
            <a:avLst/>
          </a:prstGeom>
        </p:spPr>
        <p:txBody>
          <a:bodyPr wrap="square" lIns="0" tIns="0" rIns="0" bIns="0" rtlCol="0">
            <a:noAutofit/>
          </a:bodyPr>
          <a:lstStyle/>
          <a:p>
            <a:pPr marL="25400">
              <a:lnSpc>
                <a:spcPts val="750"/>
              </a:lnSpc>
              <a:spcBef>
                <a:spcPts val="13"/>
              </a:spcBef>
            </a:pPr>
            <a:endParaRPr sz="750"/>
          </a:p>
        </p:txBody>
      </p:sp>
      <p:sp>
        <p:nvSpPr>
          <p:cNvPr id="42" name="object 42"/>
          <p:cNvSpPr txBox="1"/>
          <p:nvPr/>
        </p:nvSpPr>
        <p:spPr>
          <a:xfrm>
            <a:off x="3218018" y="4400165"/>
            <a:ext cx="110772" cy="96983"/>
          </a:xfrm>
          <a:prstGeom prst="rect">
            <a:avLst/>
          </a:prstGeom>
        </p:spPr>
        <p:txBody>
          <a:bodyPr wrap="square" lIns="0" tIns="0" rIns="0" bIns="0" rtlCol="0">
            <a:noAutofit/>
          </a:bodyPr>
          <a:lstStyle/>
          <a:p>
            <a:pPr marL="25400">
              <a:lnSpc>
                <a:spcPts val="750"/>
              </a:lnSpc>
              <a:spcBef>
                <a:spcPts val="13"/>
              </a:spcBef>
            </a:pPr>
            <a:endParaRPr sz="750"/>
          </a:p>
        </p:txBody>
      </p:sp>
      <p:sp>
        <p:nvSpPr>
          <p:cNvPr id="41" name="object 41"/>
          <p:cNvSpPr txBox="1"/>
          <p:nvPr/>
        </p:nvSpPr>
        <p:spPr>
          <a:xfrm>
            <a:off x="3328790" y="4400165"/>
            <a:ext cx="111914" cy="96983"/>
          </a:xfrm>
          <a:prstGeom prst="rect">
            <a:avLst/>
          </a:prstGeom>
        </p:spPr>
        <p:txBody>
          <a:bodyPr wrap="square" lIns="0" tIns="0" rIns="0" bIns="0" rtlCol="0">
            <a:noAutofit/>
          </a:bodyPr>
          <a:lstStyle/>
          <a:p>
            <a:pPr marL="25400">
              <a:lnSpc>
                <a:spcPts val="750"/>
              </a:lnSpc>
              <a:spcBef>
                <a:spcPts val="13"/>
              </a:spcBef>
            </a:pPr>
            <a:endParaRPr sz="750"/>
          </a:p>
        </p:txBody>
      </p:sp>
      <p:sp>
        <p:nvSpPr>
          <p:cNvPr id="40" name="object 40"/>
          <p:cNvSpPr txBox="1"/>
          <p:nvPr/>
        </p:nvSpPr>
        <p:spPr>
          <a:xfrm>
            <a:off x="3440704" y="4400165"/>
            <a:ext cx="125660" cy="96983"/>
          </a:xfrm>
          <a:prstGeom prst="rect">
            <a:avLst/>
          </a:prstGeom>
        </p:spPr>
        <p:txBody>
          <a:bodyPr wrap="square" lIns="0" tIns="0" rIns="0" bIns="0" rtlCol="0">
            <a:noAutofit/>
          </a:bodyPr>
          <a:lstStyle/>
          <a:p>
            <a:pPr marL="25400">
              <a:lnSpc>
                <a:spcPts val="750"/>
              </a:lnSpc>
              <a:spcBef>
                <a:spcPts val="13"/>
              </a:spcBef>
            </a:pPr>
            <a:endParaRPr sz="750"/>
          </a:p>
        </p:txBody>
      </p:sp>
      <p:sp>
        <p:nvSpPr>
          <p:cNvPr id="39" name="object 39"/>
          <p:cNvSpPr txBox="1"/>
          <p:nvPr/>
        </p:nvSpPr>
        <p:spPr>
          <a:xfrm>
            <a:off x="2752726" y="4497148"/>
            <a:ext cx="865187" cy="58977"/>
          </a:xfrm>
          <a:prstGeom prst="rect">
            <a:avLst/>
          </a:prstGeom>
        </p:spPr>
        <p:txBody>
          <a:bodyPr wrap="square" lIns="0" tIns="0" rIns="0" bIns="0" rtlCol="0">
            <a:noAutofit/>
          </a:bodyPr>
          <a:lstStyle/>
          <a:p>
            <a:endParaRPr/>
          </a:p>
        </p:txBody>
      </p:sp>
      <p:sp>
        <p:nvSpPr>
          <p:cNvPr id="38" name="object 38"/>
          <p:cNvSpPr txBox="1"/>
          <p:nvPr/>
        </p:nvSpPr>
        <p:spPr>
          <a:xfrm>
            <a:off x="2628901" y="3371786"/>
            <a:ext cx="1101725" cy="1268412"/>
          </a:xfrm>
          <a:prstGeom prst="rect">
            <a:avLst/>
          </a:prstGeom>
        </p:spPr>
        <p:txBody>
          <a:bodyPr wrap="square" lIns="0" tIns="0" rIns="0" bIns="0" rtlCol="0">
            <a:noAutofit/>
          </a:bodyPr>
          <a:lstStyle/>
          <a:p>
            <a:pPr>
              <a:lnSpc>
                <a:spcPts val="1300"/>
              </a:lnSpc>
              <a:spcBef>
                <a:spcPts val="83"/>
              </a:spcBef>
            </a:pPr>
            <a:endParaRPr sz="1300"/>
          </a:p>
          <a:p>
            <a:pPr marL="140817">
              <a:lnSpc>
                <a:spcPct val="95825"/>
              </a:lnSpc>
            </a:pPr>
            <a:r>
              <a:rPr sz="1400" b="1" spc="-4" dirty="0">
                <a:latin typeface="Arial"/>
                <a:cs typeface="Arial"/>
              </a:rPr>
              <a:t>D</a:t>
            </a:r>
            <a:r>
              <a:rPr sz="1400" b="1" dirty="0">
                <a:latin typeface="Arial"/>
                <a:cs typeface="Arial"/>
              </a:rPr>
              <a:t>e</a:t>
            </a:r>
            <a:r>
              <a:rPr sz="1400" b="1" spc="4" dirty="0">
                <a:latin typeface="Arial"/>
                <a:cs typeface="Arial"/>
              </a:rPr>
              <a:t>li</a:t>
            </a:r>
            <a:r>
              <a:rPr sz="1400" b="1" spc="-14" dirty="0">
                <a:latin typeface="Arial"/>
                <a:cs typeface="Arial"/>
              </a:rPr>
              <a:t>v</a:t>
            </a:r>
            <a:r>
              <a:rPr sz="1400" b="1" dirty="0">
                <a:latin typeface="Arial"/>
                <a:cs typeface="Arial"/>
              </a:rPr>
              <a:t>e</a:t>
            </a:r>
            <a:r>
              <a:rPr sz="1400" b="1" spc="4" dirty="0">
                <a:latin typeface="Arial"/>
                <a:cs typeface="Arial"/>
              </a:rPr>
              <a:t>r</a:t>
            </a:r>
            <a:r>
              <a:rPr sz="1400" b="1" dirty="0">
                <a:latin typeface="Arial"/>
                <a:cs typeface="Arial"/>
              </a:rPr>
              <a:t>y</a:t>
            </a:r>
            <a:endParaRPr sz="1400">
              <a:latin typeface="Arial"/>
              <a:cs typeface="Arial"/>
            </a:endParaRPr>
          </a:p>
          <a:p>
            <a:pPr marL="395643" marR="381294" algn="ctr">
              <a:lnSpc>
                <a:spcPct val="95825"/>
              </a:lnSpc>
              <a:spcBef>
                <a:spcPts val="1722"/>
              </a:spcBef>
            </a:pPr>
            <a:r>
              <a:rPr sz="1000" b="1" dirty="0">
                <a:latin typeface="Arial"/>
                <a:cs typeface="Arial"/>
              </a:rPr>
              <a:t>1997</a:t>
            </a:r>
            <a:endParaRPr sz="1000">
              <a:latin typeface="Arial"/>
              <a:cs typeface="Arial"/>
            </a:endParaRPr>
          </a:p>
        </p:txBody>
      </p:sp>
      <p:sp>
        <p:nvSpPr>
          <p:cNvPr id="37" name="object 37"/>
          <p:cNvSpPr txBox="1"/>
          <p:nvPr/>
        </p:nvSpPr>
        <p:spPr>
          <a:xfrm>
            <a:off x="8658225" y="2582101"/>
            <a:ext cx="627126" cy="89725"/>
          </a:xfrm>
          <a:prstGeom prst="rect">
            <a:avLst/>
          </a:prstGeom>
        </p:spPr>
        <p:txBody>
          <a:bodyPr wrap="square" lIns="0" tIns="0" rIns="0" bIns="0" rtlCol="0">
            <a:noAutofit/>
          </a:bodyPr>
          <a:lstStyle/>
          <a:p>
            <a:pPr marL="25400">
              <a:lnSpc>
                <a:spcPts val="700"/>
              </a:lnSpc>
              <a:spcBef>
                <a:spcPts val="6"/>
              </a:spcBef>
            </a:pPr>
            <a:endParaRPr sz="700"/>
          </a:p>
        </p:txBody>
      </p:sp>
      <p:sp>
        <p:nvSpPr>
          <p:cNvPr id="36" name="object 36"/>
          <p:cNvSpPr txBox="1"/>
          <p:nvPr/>
        </p:nvSpPr>
        <p:spPr>
          <a:xfrm>
            <a:off x="9285352" y="2582101"/>
            <a:ext cx="157099" cy="89725"/>
          </a:xfrm>
          <a:prstGeom prst="rect">
            <a:avLst/>
          </a:prstGeom>
        </p:spPr>
        <p:txBody>
          <a:bodyPr wrap="square" lIns="0" tIns="0" rIns="0" bIns="0" rtlCol="0">
            <a:noAutofit/>
          </a:bodyPr>
          <a:lstStyle/>
          <a:p>
            <a:pPr marL="25400">
              <a:lnSpc>
                <a:spcPts val="700"/>
              </a:lnSpc>
              <a:spcBef>
                <a:spcPts val="6"/>
              </a:spcBef>
            </a:pPr>
            <a:endParaRPr sz="700"/>
          </a:p>
        </p:txBody>
      </p:sp>
      <p:sp>
        <p:nvSpPr>
          <p:cNvPr id="35" name="object 35"/>
          <p:cNvSpPr txBox="1"/>
          <p:nvPr/>
        </p:nvSpPr>
        <p:spPr>
          <a:xfrm>
            <a:off x="9442450" y="2582101"/>
            <a:ext cx="317500" cy="599249"/>
          </a:xfrm>
          <a:prstGeom prst="rect">
            <a:avLst/>
          </a:prstGeom>
        </p:spPr>
        <p:txBody>
          <a:bodyPr wrap="square" lIns="0" tIns="0" rIns="0" bIns="0" rtlCol="0">
            <a:noAutofit/>
          </a:bodyPr>
          <a:lstStyle/>
          <a:p>
            <a:pPr marL="25400">
              <a:lnSpc>
                <a:spcPts val="1000"/>
              </a:lnSpc>
            </a:pPr>
            <a:endParaRPr sz="1000"/>
          </a:p>
        </p:txBody>
      </p:sp>
      <p:sp>
        <p:nvSpPr>
          <p:cNvPr id="34" name="object 34"/>
          <p:cNvSpPr txBox="1"/>
          <p:nvPr/>
        </p:nvSpPr>
        <p:spPr>
          <a:xfrm>
            <a:off x="8658226" y="2671826"/>
            <a:ext cx="250825" cy="184150"/>
          </a:xfrm>
          <a:prstGeom prst="rect">
            <a:avLst/>
          </a:prstGeom>
        </p:spPr>
        <p:txBody>
          <a:bodyPr wrap="square" lIns="0" tIns="0" rIns="0" bIns="0" rtlCol="0">
            <a:noAutofit/>
          </a:bodyPr>
          <a:lstStyle/>
          <a:p>
            <a:pPr marL="25400">
              <a:lnSpc>
                <a:spcPts val="1000"/>
              </a:lnSpc>
            </a:pPr>
            <a:endParaRPr sz="1000"/>
          </a:p>
        </p:txBody>
      </p:sp>
      <p:sp>
        <p:nvSpPr>
          <p:cNvPr id="33" name="object 33"/>
          <p:cNvSpPr txBox="1"/>
          <p:nvPr/>
        </p:nvSpPr>
        <p:spPr>
          <a:xfrm>
            <a:off x="8909050" y="2671826"/>
            <a:ext cx="196850" cy="184150"/>
          </a:xfrm>
          <a:prstGeom prst="rect">
            <a:avLst/>
          </a:prstGeom>
        </p:spPr>
        <p:txBody>
          <a:bodyPr wrap="square" lIns="0" tIns="0" rIns="0" bIns="0" rtlCol="0">
            <a:noAutofit/>
          </a:bodyPr>
          <a:lstStyle/>
          <a:p>
            <a:pPr marL="25400">
              <a:lnSpc>
                <a:spcPts val="1000"/>
              </a:lnSpc>
            </a:pPr>
            <a:endParaRPr sz="1000"/>
          </a:p>
        </p:txBody>
      </p:sp>
      <p:sp>
        <p:nvSpPr>
          <p:cNvPr id="32" name="object 32"/>
          <p:cNvSpPr txBox="1"/>
          <p:nvPr/>
        </p:nvSpPr>
        <p:spPr>
          <a:xfrm>
            <a:off x="9105900" y="2671826"/>
            <a:ext cx="132588" cy="58674"/>
          </a:xfrm>
          <a:prstGeom prst="rect">
            <a:avLst/>
          </a:prstGeom>
        </p:spPr>
        <p:txBody>
          <a:bodyPr wrap="square" lIns="0" tIns="0" rIns="0" bIns="0" rtlCol="0">
            <a:noAutofit/>
          </a:bodyPr>
          <a:lstStyle/>
          <a:p>
            <a:endParaRPr/>
          </a:p>
        </p:txBody>
      </p:sp>
      <p:sp>
        <p:nvSpPr>
          <p:cNvPr id="31" name="object 31"/>
          <p:cNvSpPr txBox="1"/>
          <p:nvPr/>
        </p:nvSpPr>
        <p:spPr>
          <a:xfrm>
            <a:off x="9238489" y="2671826"/>
            <a:ext cx="203961" cy="58674"/>
          </a:xfrm>
          <a:prstGeom prst="rect">
            <a:avLst/>
          </a:prstGeom>
        </p:spPr>
        <p:txBody>
          <a:bodyPr wrap="square" lIns="0" tIns="0" rIns="0" bIns="0" rtlCol="0">
            <a:noAutofit/>
          </a:bodyPr>
          <a:lstStyle/>
          <a:p>
            <a:endParaRPr/>
          </a:p>
        </p:txBody>
      </p:sp>
      <p:sp>
        <p:nvSpPr>
          <p:cNvPr id="30" name="object 30"/>
          <p:cNvSpPr txBox="1"/>
          <p:nvPr/>
        </p:nvSpPr>
        <p:spPr>
          <a:xfrm>
            <a:off x="9105901" y="2730501"/>
            <a:ext cx="60325" cy="125475"/>
          </a:xfrm>
          <a:prstGeom prst="rect">
            <a:avLst/>
          </a:prstGeom>
        </p:spPr>
        <p:txBody>
          <a:bodyPr wrap="square" lIns="0" tIns="0" rIns="0" bIns="0" rtlCol="0">
            <a:noAutofit/>
          </a:bodyPr>
          <a:lstStyle/>
          <a:p>
            <a:pPr marL="25400">
              <a:lnSpc>
                <a:spcPts val="950"/>
              </a:lnSpc>
              <a:spcBef>
                <a:spcPts val="37"/>
              </a:spcBef>
            </a:pPr>
            <a:endParaRPr sz="950"/>
          </a:p>
        </p:txBody>
      </p:sp>
      <p:sp>
        <p:nvSpPr>
          <p:cNvPr id="29" name="object 29"/>
          <p:cNvSpPr txBox="1"/>
          <p:nvPr/>
        </p:nvSpPr>
        <p:spPr>
          <a:xfrm>
            <a:off x="9166226" y="2730501"/>
            <a:ext cx="72263" cy="125475"/>
          </a:xfrm>
          <a:prstGeom prst="rect">
            <a:avLst/>
          </a:prstGeom>
        </p:spPr>
        <p:txBody>
          <a:bodyPr wrap="square" lIns="0" tIns="0" rIns="0" bIns="0" rtlCol="0">
            <a:noAutofit/>
          </a:bodyPr>
          <a:lstStyle/>
          <a:p>
            <a:pPr marL="25400">
              <a:lnSpc>
                <a:spcPts val="950"/>
              </a:lnSpc>
              <a:spcBef>
                <a:spcPts val="37"/>
              </a:spcBef>
            </a:pPr>
            <a:endParaRPr sz="950"/>
          </a:p>
        </p:txBody>
      </p:sp>
      <p:sp>
        <p:nvSpPr>
          <p:cNvPr id="28" name="object 28"/>
          <p:cNvSpPr txBox="1"/>
          <p:nvPr/>
        </p:nvSpPr>
        <p:spPr>
          <a:xfrm>
            <a:off x="9238489" y="2730500"/>
            <a:ext cx="110235" cy="376300"/>
          </a:xfrm>
          <a:prstGeom prst="rect">
            <a:avLst/>
          </a:prstGeom>
        </p:spPr>
        <p:txBody>
          <a:bodyPr wrap="square" lIns="0" tIns="0" rIns="0" bIns="0" rtlCol="0">
            <a:noAutofit/>
          </a:bodyPr>
          <a:lstStyle/>
          <a:p>
            <a:pPr marL="25400">
              <a:lnSpc>
                <a:spcPts val="1000"/>
              </a:lnSpc>
            </a:pPr>
            <a:endParaRPr sz="1000"/>
          </a:p>
        </p:txBody>
      </p:sp>
      <p:sp>
        <p:nvSpPr>
          <p:cNvPr id="27" name="object 27"/>
          <p:cNvSpPr txBox="1"/>
          <p:nvPr/>
        </p:nvSpPr>
        <p:spPr>
          <a:xfrm>
            <a:off x="9348725" y="2730500"/>
            <a:ext cx="93725" cy="376300"/>
          </a:xfrm>
          <a:prstGeom prst="rect">
            <a:avLst/>
          </a:prstGeom>
        </p:spPr>
        <p:txBody>
          <a:bodyPr wrap="square" lIns="0" tIns="0" rIns="0" bIns="0" rtlCol="0">
            <a:noAutofit/>
          </a:bodyPr>
          <a:lstStyle/>
          <a:p>
            <a:pPr marL="25400">
              <a:lnSpc>
                <a:spcPts val="1000"/>
              </a:lnSpc>
            </a:pPr>
            <a:endParaRPr sz="1000"/>
          </a:p>
        </p:txBody>
      </p:sp>
      <p:sp>
        <p:nvSpPr>
          <p:cNvPr id="26" name="object 26"/>
          <p:cNvSpPr txBox="1"/>
          <p:nvPr/>
        </p:nvSpPr>
        <p:spPr>
          <a:xfrm>
            <a:off x="8658226" y="2855976"/>
            <a:ext cx="157225" cy="395224"/>
          </a:xfrm>
          <a:prstGeom prst="rect">
            <a:avLst/>
          </a:prstGeom>
        </p:spPr>
        <p:txBody>
          <a:bodyPr wrap="square" lIns="0" tIns="0" rIns="0" bIns="0" rtlCol="0">
            <a:noAutofit/>
          </a:bodyPr>
          <a:lstStyle/>
          <a:p>
            <a:pPr marL="25400">
              <a:lnSpc>
                <a:spcPts val="1000"/>
              </a:lnSpc>
            </a:pPr>
            <a:endParaRPr sz="1000"/>
          </a:p>
        </p:txBody>
      </p:sp>
      <p:sp>
        <p:nvSpPr>
          <p:cNvPr id="25" name="object 25"/>
          <p:cNvSpPr txBox="1"/>
          <p:nvPr/>
        </p:nvSpPr>
        <p:spPr>
          <a:xfrm>
            <a:off x="8815452" y="2855976"/>
            <a:ext cx="93599" cy="336550"/>
          </a:xfrm>
          <a:prstGeom prst="rect">
            <a:avLst/>
          </a:prstGeom>
        </p:spPr>
        <p:txBody>
          <a:bodyPr wrap="square" lIns="0" tIns="0" rIns="0" bIns="0" rtlCol="0">
            <a:noAutofit/>
          </a:bodyPr>
          <a:lstStyle/>
          <a:p>
            <a:pPr marL="25400">
              <a:lnSpc>
                <a:spcPts val="1000"/>
              </a:lnSpc>
            </a:pPr>
            <a:endParaRPr sz="1000"/>
          </a:p>
        </p:txBody>
      </p:sp>
      <p:sp>
        <p:nvSpPr>
          <p:cNvPr id="24" name="object 24"/>
          <p:cNvSpPr txBox="1"/>
          <p:nvPr/>
        </p:nvSpPr>
        <p:spPr>
          <a:xfrm>
            <a:off x="8909050" y="2855976"/>
            <a:ext cx="88900" cy="336550"/>
          </a:xfrm>
          <a:prstGeom prst="rect">
            <a:avLst/>
          </a:prstGeom>
        </p:spPr>
        <p:txBody>
          <a:bodyPr wrap="square" lIns="0" tIns="0" rIns="0" bIns="0" rtlCol="0">
            <a:noAutofit/>
          </a:bodyPr>
          <a:lstStyle/>
          <a:p>
            <a:pPr marL="25400">
              <a:lnSpc>
                <a:spcPts val="1000"/>
              </a:lnSpc>
            </a:pPr>
            <a:endParaRPr sz="1000"/>
          </a:p>
        </p:txBody>
      </p:sp>
      <p:sp>
        <p:nvSpPr>
          <p:cNvPr id="23" name="object 23"/>
          <p:cNvSpPr txBox="1"/>
          <p:nvPr/>
        </p:nvSpPr>
        <p:spPr>
          <a:xfrm>
            <a:off x="8997950" y="2855976"/>
            <a:ext cx="52450" cy="336550"/>
          </a:xfrm>
          <a:prstGeom prst="rect">
            <a:avLst/>
          </a:prstGeom>
        </p:spPr>
        <p:txBody>
          <a:bodyPr wrap="square" lIns="0" tIns="0" rIns="0" bIns="0" rtlCol="0">
            <a:noAutofit/>
          </a:bodyPr>
          <a:lstStyle/>
          <a:p>
            <a:pPr marL="25400">
              <a:lnSpc>
                <a:spcPts val="1000"/>
              </a:lnSpc>
            </a:pPr>
            <a:endParaRPr sz="1000"/>
          </a:p>
        </p:txBody>
      </p:sp>
      <p:sp>
        <p:nvSpPr>
          <p:cNvPr id="22" name="object 22"/>
          <p:cNvSpPr txBox="1"/>
          <p:nvPr/>
        </p:nvSpPr>
        <p:spPr>
          <a:xfrm>
            <a:off x="9050402" y="2855976"/>
            <a:ext cx="55499" cy="336550"/>
          </a:xfrm>
          <a:prstGeom prst="rect">
            <a:avLst/>
          </a:prstGeom>
        </p:spPr>
        <p:txBody>
          <a:bodyPr wrap="square" lIns="0" tIns="0" rIns="0" bIns="0" rtlCol="0">
            <a:noAutofit/>
          </a:bodyPr>
          <a:lstStyle/>
          <a:p>
            <a:pPr marL="25400">
              <a:lnSpc>
                <a:spcPts val="1000"/>
              </a:lnSpc>
            </a:pPr>
            <a:endParaRPr sz="1000"/>
          </a:p>
        </p:txBody>
      </p:sp>
      <p:sp>
        <p:nvSpPr>
          <p:cNvPr id="21" name="object 21"/>
          <p:cNvSpPr txBox="1"/>
          <p:nvPr/>
        </p:nvSpPr>
        <p:spPr>
          <a:xfrm>
            <a:off x="9105901" y="2855977"/>
            <a:ext cx="60325" cy="250825"/>
          </a:xfrm>
          <a:prstGeom prst="rect">
            <a:avLst/>
          </a:prstGeom>
        </p:spPr>
        <p:txBody>
          <a:bodyPr wrap="square" lIns="0" tIns="0" rIns="0" bIns="0" rtlCol="0">
            <a:noAutofit/>
          </a:bodyPr>
          <a:lstStyle/>
          <a:p>
            <a:pPr marL="25400">
              <a:lnSpc>
                <a:spcPts val="1000"/>
              </a:lnSpc>
            </a:pPr>
            <a:endParaRPr sz="1000"/>
          </a:p>
        </p:txBody>
      </p:sp>
      <p:sp>
        <p:nvSpPr>
          <p:cNvPr id="20" name="object 20"/>
          <p:cNvSpPr txBox="1"/>
          <p:nvPr/>
        </p:nvSpPr>
        <p:spPr>
          <a:xfrm>
            <a:off x="9166226" y="2855977"/>
            <a:ext cx="72263" cy="250825"/>
          </a:xfrm>
          <a:prstGeom prst="rect">
            <a:avLst/>
          </a:prstGeom>
        </p:spPr>
        <p:txBody>
          <a:bodyPr wrap="square" lIns="0" tIns="0" rIns="0" bIns="0" rtlCol="0">
            <a:noAutofit/>
          </a:bodyPr>
          <a:lstStyle/>
          <a:p>
            <a:pPr marL="25400">
              <a:lnSpc>
                <a:spcPts val="1000"/>
              </a:lnSpc>
            </a:pPr>
            <a:endParaRPr sz="1000"/>
          </a:p>
        </p:txBody>
      </p:sp>
      <p:sp>
        <p:nvSpPr>
          <p:cNvPr id="19" name="object 19"/>
          <p:cNvSpPr txBox="1"/>
          <p:nvPr/>
        </p:nvSpPr>
        <p:spPr>
          <a:xfrm>
            <a:off x="9105900" y="3106802"/>
            <a:ext cx="132588" cy="144399"/>
          </a:xfrm>
          <a:prstGeom prst="rect">
            <a:avLst/>
          </a:prstGeom>
        </p:spPr>
        <p:txBody>
          <a:bodyPr wrap="square" lIns="0" tIns="0" rIns="0" bIns="0" rtlCol="0">
            <a:noAutofit/>
          </a:bodyPr>
          <a:lstStyle/>
          <a:p>
            <a:pPr marL="25400">
              <a:lnSpc>
                <a:spcPts val="1000"/>
              </a:lnSpc>
            </a:pPr>
            <a:endParaRPr sz="1000"/>
          </a:p>
        </p:txBody>
      </p:sp>
      <p:sp>
        <p:nvSpPr>
          <p:cNvPr id="18" name="object 18"/>
          <p:cNvSpPr txBox="1"/>
          <p:nvPr/>
        </p:nvSpPr>
        <p:spPr>
          <a:xfrm>
            <a:off x="9238489" y="3106802"/>
            <a:ext cx="203961" cy="74549"/>
          </a:xfrm>
          <a:prstGeom prst="rect">
            <a:avLst/>
          </a:prstGeom>
        </p:spPr>
        <p:txBody>
          <a:bodyPr wrap="square" lIns="0" tIns="0" rIns="0" bIns="0" rtlCol="0">
            <a:noAutofit/>
          </a:bodyPr>
          <a:lstStyle/>
          <a:p>
            <a:pPr marL="25400">
              <a:lnSpc>
                <a:spcPts val="550"/>
              </a:lnSpc>
              <a:spcBef>
                <a:spcPts val="37"/>
              </a:spcBef>
            </a:pPr>
            <a:endParaRPr sz="550"/>
          </a:p>
        </p:txBody>
      </p:sp>
      <p:sp>
        <p:nvSpPr>
          <p:cNvPr id="17" name="object 17"/>
          <p:cNvSpPr txBox="1"/>
          <p:nvPr/>
        </p:nvSpPr>
        <p:spPr>
          <a:xfrm>
            <a:off x="8815452" y="3192526"/>
            <a:ext cx="182499" cy="58674"/>
          </a:xfrm>
          <a:prstGeom prst="rect">
            <a:avLst/>
          </a:prstGeom>
        </p:spPr>
        <p:txBody>
          <a:bodyPr wrap="square" lIns="0" tIns="0" rIns="0" bIns="0" rtlCol="0">
            <a:noAutofit/>
          </a:bodyPr>
          <a:lstStyle/>
          <a:p>
            <a:endParaRPr/>
          </a:p>
        </p:txBody>
      </p:sp>
      <p:sp>
        <p:nvSpPr>
          <p:cNvPr id="16" name="object 16"/>
          <p:cNvSpPr txBox="1"/>
          <p:nvPr/>
        </p:nvSpPr>
        <p:spPr>
          <a:xfrm>
            <a:off x="8997950" y="3192526"/>
            <a:ext cx="52450" cy="58674"/>
          </a:xfrm>
          <a:prstGeom prst="rect">
            <a:avLst/>
          </a:prstGeom>
        </p:spPr>
        <p:txBody>
          <a:bodyPr wrap="square" lIns="0" tIns="0" rIns="0" bIns="0" rtlCol="0">
            <a:noAutofit/>
          </a:bodyPr>
          <a:lstStyle/>
          <a:p>
            <a:endParaRPr/>
          </a:p>
        </p:txBody>
      </p:sp>
      <p:sp>
        <p:nvSpPr>
          <p:cNvPr id="15" name="object 15"/>
          <p:cNvSpPr txBox="1"/>
          <p:nvPr/>
        </p:nvSpPr>
        <p:spPr>
          <a:xfrm>
            <a:off x="9050402" y="3192526"/>
            <a:ext cx="55499" cy="58674"/>
          </a:xfrm>
          <a:prstGeom prst="rect">
            <a:avLst/>
          </a:prstGeom>
        </p:spPr>
        <p:txBody>
          <a:bodyPr wrap="square" lIns="0" tIns="0" rIns="0" bIns="0" rtlCol="0">
            <a:noAutofit/>
          </a:bodyPr>
          <a:lstStyle/>
          <a:p>
            <a:endParaRPr/>
          </a:p>
        </p:txBody>
      </p:sp>
      <p:sp>
        <p:nvSpPr>
          <p:cNvPr id="14" name="object 14"/>
          <p:cNvSpPr txBox="1"/>
          <p:nvPr/>
        </p:nvSpPr>
        <p:spPr>
          <a:xfrm>
            <a:off x="9238489" y="3181351"/>
            <a:ext cx="521461" cy="112775"/>
          </a:xfrm>
          <a:prstGeom prst="rect">
            <a:avLst/>
          </a:prstGeom>
        </p:spPr>
        <p:txBody>
          <a:bodyPr wrap="square" lIns="0" tIns="0" rIns="0" bIns="0" rtlCol="0">
            <a:noAutofit/>
          </a:bodyPr>
          <a:lstStyle/>
          <a:p>
            <a:pPr marL="25400">
              <a:lnSpc>
                <a:spcPts val="850"/>
              </a:lnSpc>
              <a:spcBef>
                <a:spcPts val="37"/>
              </a:spcBef>
            </a:pPr>
            <a:endParaRPr sz="850"/>
          </a:p>
        </p:txBody>
      </p:sp>
      <p:sp>
        <p:nvSpPr>
          <p:cNvPr id="13" name="object 13"/>
          <p:cNvSpPr txBox="1"/>
          <p:nvPr/>
        </p:nvSpPr>
        <p:spPr>
          <a:xfrm>
            <a:off x="8658226" y="3251201"/>
            <a:ext cx="447675" cy="42925"/>
          </a:xfrm>
          <a:prstGeom prst="rect">
            <a:avLst/>
          </a:prstGeom>
        </p:spPr>
        <p:txBody>
          <a:bodyPr wrap="square" lIns="0" tIns="0" rIns="0" bIns="0" rtlCol="0">
            <a:noAutofit/>
          </a:bodyPr>
          <a:lstStyle/>
          <a:p>
            <a:endParaRPr/>
          </a:p>
        </p:txBody>
      </p:sp>
      <p:sp>
        <p:nvSpPr>
          <p:cNvPr id="12" name="object 12"/>
          <p:cNvSpPr txBox="1"/>
          <p:nvPr/>
        </p:nvSpPr>
        <p:spPr>
          <a:xfrm>
            <a:off x="9105900" y="3251201"/>
            <a:ext cx="132588" cy="42925"/>
          </a:xfrm>
          <a:prstGeom prst="rect">
            <a:avLst/>
          </a:prstGeom>
        </p:spPr>
        <p:txBody>
          <a:bodyPr wrap="square" lIns="0" tIns="0" rIns="0" bIns="0" rtlCol="0">
            <a:noAutofit/>
          </a:bodyPr>
          <a:lstStyle/>
          <a:p>
            <a:endParaRPr/>
          </a:p>
        </p:txBody>
      </p:sp>
      <p:sp>
        <p:nvSpPr>
          <p:cNvPr id="11" name="object 11"/>
          <p:cNvSpPr txBox="1"/>
          <p:nvPr/>
        </p:nvSpPr>
        <p:spPr>
          <a:xfrm>
            <a:off x="8658226" y="3294127"/>
            <a:ext cx="1101725" cy="168275"/>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3295705" y="1991670"/>
            <a:ext cx="81735" cy="463763"/>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3377440" y="1991670"/>
            <a:ext cx="97524" cy="463763"/>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3474965" y="1991670"/>
            <a:ext cx="455400" cy="463763"/>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3930366" y="1991670"/>
            <a:ext cx="97309" cy="463763"/>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4027675" y="1991670"/>
            <a:ext cx="98276" cy="463763"/>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3295705" y="2455434"/>
            <a:ext cx="496429" cy="99269"/>
          </a:xfrm>
          <a:prstGeom prst="rect">
            <a:avLst/>
          </a:prstGeom>
        </p:spPr>
        <p:txBody>
          <a:bodyPr wrap="square" lIns="0" tIns="0" rIns="0" bIns="0" rtlCol="0">
            <a:noAutofit/>
          </a:bodyPr>
          <a:lstStyle/>
          <a:p>
            <a:pPr marL="25400">
              <a:lnSpc>
                <a:spcPts val="750"/>
              </a:lnSpc>
              <a:spcBef>
                <a:spcPts val="31"/>
              </a:spcBef>
            </a:pPr>
            <a:endParaRPr sz="750"/>
          </a:p>
        </p:txBody>
      </p:sp>
      <p:sp>
        <p:nvSpPr>
          <p:cNvPr id="4" name="object 4"/>
          <p:cNvSpPr txBox="1"/>
          <p:nvPr/>
        </p:nvSpPr>
        <p:spPr>
          <a:xfrm>
            <a:off x="3792135" y="2455434"/>
            <a:ext cx="333817" cy="99269"/>
          </a:xfrm>
          <a:prstGeom prst="rect">
            <a:avLst/>
          </a:prstGeom>
        </p:spPr>
        <p:txBody>
          <a:bodyPr wrap="square" lIns="0" tIns="0" rIns="0" bIns="0" rtlCol="0">
            <a:noAutofit/>
          </a:bodyPr>
          <a:lstStyle/>
          <a:p>
            <a:pPr marL="25400">
              <a:lnSpc>
                <a:spcPts val="750"/>
              </a:lnSpc>
              <a:spcBef>
                <a:spcPts val="31"/>
              </a:spcBef>
            </a:pPr>
            <a:endParaRPr sz="750"/>
          </a:p>
        </p:txBody>
      </p:sp>
      <p:sp>
        <p:nvSpPr>
          <p:cNvPr id="3" name="object 3"/>
          <p:cNvSpPr txBox="1"/>
          <p:nvPr/>
        </p:nvSpPr>
        <p:spPr>
          <a:xfrm>
            <a:off x="8789433" y="1656687"/>
            <a:ext cx="152030" cy="186562"/>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3252852" y="1411351"/>
            <a:ext cx="915987" cy="1193800"/>
          </a:xfrm>
          <a:prstGeom prst="rect">
            <a:avLst/>
          </a:prstGeom>
        </p:spPr>
        <p:txBody>
          <a:bodyPr wrap="square" lIns="0" tIns="0" rIns="0" bIns="0" rtlCol="0">
            <a:noAutofit/>
          </a:bodyPr>
          <a:lstStyle/>
          <a:p>
            <a:pPr marL="25400">
              <a:lnSpc>
                <a:spcPts val="1000"/>
              </a:lnSpc>
            </a:pPr>
            <a:endParaRPr sz="1000"/>
          </a:p>
        </p:txBody>
      </p:sp>
      <p:sp>
        <p:nvSpPr>
          <p:cNvPr id="169" name="Title 168"/>
          <p:cNvSpPr>
            <a:spLocks noGrp="1"/>
          </p:cNvSpPr>
          <p:nvPr>
            <p:ph type="title"/>
          </p:nvPr>
        </p:nvSpPr>
        <p:spPr>
          <a:xfrm>
            <a:off x="1752601" y="304800"/>
            <a:ext cx="8509933" cy="859536"/>
          </a:xfrm>
        </p:spPr>
        <p:txBody>
          <a:bodyPr>
            <a:normAutofit fontScale="90000"/>
          </a:bodyPr>
          <a:lstStyle/>
          <a:p>
            <a:r>
              <a:rPr lang="en-US" sz="2700" dirty="0">
                <a:latin typeface="+mn-lt"/>
                <a:cs typeface="Arial"/>
              </a:rPr>
              <a:t>Shipping – An Overvi</a:t>
            </a:r>
            <a:r>
              <a:rPr lang="en-US" sz="2700" spc="9" dirty="0">
                <a:latin typeface="+mn-lt"/>
                <a:cs typeface="Arial"/>
              </a:rPr>
              <a:t>e</a:t>
            </a:r>
            <a:r>
              <a:rPr lang="en-US" sz="2700" dirty="0">
                <a:latin typeface="+mn-lt"/>
                <a:cs typeface="Arial"/>
              </a:rPr>
              <a:t>w</a:t>
            </a:r>
            <a:br>
              <a:rPr lang="en-US" sz="2800" dirty="0">
                <a:latin typeface="Arial"/>
                <a:cs typeface="Arial"/>
              </a:rPr>
            </a:br>
            <a:br>
              <a:rPr lang="en-US" sz="2800" dirty="0">
                <a:latin typeface="Arial"/>
                <a:cs typeface="Arial"/>
              </a:rPr>
            </a:br>
            <a:br>
              <a:rPr lang="en-US" sz="2800" dirty="0">
                <a:latin typeface="Arial"/>
                <a:cs typeface="Arial"/>
              </a:rPr>
            </a:br>
            <a:r>
              <a:rPr lang="en-US" sz="2800" dirty="0">
                <a:latin typeface="Arial"/>
                <a:cs typeface="Arial"/>
              </a:rPr>
              <a:t> </a:t>
            </a:r>
            <a:br>
              <a:rPr lang="en-US" sz="2800" dirty="0">
                <a:latin typeface="Arial"/>
                <a:cs typeface="Arial"/>
              </a:rPr>
            </a:b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BCD381722064479A5EA9D7EC92045A" ma:contentTypeVersion="10" ma:contentTypeDescription="Create a new document." ma:contentTypeScope="" ma:versionID="c940bf9fffd54edf400feb71bd6e9006">
  <xsd:schema xmlns:xsd="http://www.w3.org/2001/XMLSchema" xmlns:xs="http://www.w3.org/2001/XMLSchema" xmlns:p="http://schemas.microsoft.com/office/2006/metadata/properties" xmlns:ns2="043e609e-8ea6-489d-9bda-f76e8937d4d5" xmlns:ns3="aeec9bad-f8f0-45e8-a380-c3a46b6a9bef" targetNamespace="http://schemas.microsoft.com/office/2006/metadata/properties" ma:root="true" ma:fieldsID="b48a0ec00eaea76fa19da93d176f3ccc" ns2:_="" ns3:_="">
    <xsd:import namespace="043e609e-8ea6-489d-9bda-f76e8937d4d5"/>
    <xsd:import namespace="aeec9bad-f8f0-45e8-a380-c3a46b6a9bef"/>
    <xsd:element name="properties">
      <xsd:complexType>
        <xsd:sequence>
          <xsd:element name="documentManagement">
            <xsd:complexType>
              <xsd:all>
                <xsd:element ref="ns2:Description0" minOccurs="0"/>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3e609e-8ea6-489d-9bda-f76e8937d4d5" elementFormDefault="qualified">
    <xsd:import namespace="http://schemas.microsoft.com/office/2006/documentManagement/types"/>
    <xsd:import namespace="http://schemas.microsoft.com/office/infopath/2007/PartnerControls"/>
    <xsd:element name="Description0" ma:index="8" nillable="true" ma:displayName="Description" ma:internalName="Description0">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eec9bad-f8f0-45e8-a380-c3a46b6a9be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escription0 xmlns="043e609e-8ea6-489d-9bda-f76e8937d4d5" xsi:nil="true"/>
  </documentManagement>
</p:properties>
</file>

<file path=customXml/itemProps1.xml><?xml version="1.0" encoding="utf-8"?>
<ds:datastoreItem xmlns:ds="http://schemas.openxmlformats.org/officeDocument/2006/customXml" ds:itemID="{C44DD60E-032C-4E23-B989-0E967531C73D}"/>
</file>

<file path=customXml/itemProps2.xml><?xml version="1.0" encoding="utf-8"?>
<ds:datastoreItem xmlns:ds="http://schemas.openxmlformats.org/officeDocument/2006/customXml" ds:itemID="{6E404A3B-E69C-42E2-90D5-E0F8E19117F4}"/>
</file>

<file path=customXml/itemProps3.xml><?xml version="1.0" encoding="utf-8"?>
<ds:datastoreItem xmlns:ds="http://schemas.openxmlformats.org/officeDocument/2006/customXml" ds:itemID="{864547E3-D7B2-4C90-95A8-44BA15FFC00F}"/>
</file>

<file path=docProps/app.xml><?xml version="1.0" encoding="utf-8"?>
<Properties xmlns="http://schemas.openxmlformats.org/officeDocument/2006/extended-properties" xmlns:vt="http://schemas.openxmlformats.org/officeDocument/2006/docPropsVTypes">
  <Template/>
  <TotalTime>8236</TotalTime>
  <Words>2366</Words>
  <Application>Microsoft Office PowerPoint</Application>
  <PresentationFormat>Widescreen</PresentationFormat>
  <Paragraphs>462</Paragraphs>
  <Slides>3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3" baseType="lpstr">
      <vt:lpstr>Arial</vt:lpstr>
      <vt:lpstr>Verdana</vt:lpstr>
      <vt:lpstr>Wingdings</vt:lpstr>
      <vt:lpstr>Capgemini Master</vt:lpstr>
      <vt:lpstr>think-cell Slide</vt:lpstr>
      <vt:lpstr>PowerPoint Presentation</vt:lpstr>
      <vt:lpstr>PowerPoint Presentation</vt:lpstr>
      <vt:lpstr>PowerPoint Presentation</vt:lpstr>
      <vt:lpstr>PowerPoint Presentation</vt:lpstr>
      <vt:lpstr>Shipping</vt:lpstr>
      <vt:lpstr>Purpose</vt:lpstr>
      <vt:lpstr>Use</vt:lpstr>
      <vt:lpstr>Challenges </vt:lpstr>
      <vt:lpstr>Shipping – An Overview     </vt:lpstr>
      <vt:lpstr>Outbound Delivery </vt:lpstr>
      <vt:lpstr>Delivery-Associated Functions </vt:lpstr>
      <vt:lpstr>Picking </vt:lpstr>
      <vt:lpstr>Packing </vt:lpstr>
      <vt:lpstr>Post Goods Issue </vt:lpstr>
      <vt:lpstr>Delivery Document Structure </vt:lpstr>
      <vt:lpstr>Copy Controls </vt:lpstr>
      <vt:lpstr>Delivery Type </vt:lpstr>
      <vt:lpstr>Delivery Type - controls </vt:lpstr>
      <vt:lpstr>Delivery Item Category </vt:lpstr>
      <vt:lpstr>Delivery Item Category-Controls </vt:lpstr>
      <vt:lpstr>Delivery Processing - Create </vt:lpstr>
      <vt:lpstr>Delivery Processing - Create </vt:lpstr>
      <vt:lpstr>Delivery Header Views </vt:lpstr>
      <vt:lpstr>Delivery Header Views </vt:lpstr>
      <vt:lpstr>Delivery Item Views </vt:lpstr>
      <vt:lpstr>Delivery Item Views </vt:lpstr>
      <vt:lpstr>Outbound Delivery - Environment </vt:lpstr>
      <vt:lpstr>Post Goods Issue(PGI) </vt:lpstr>
      <vt:lpstr>Copy Controls </vt:lpstr>
      <vt:lpstr>Outbound Delivery Monitor </vt:lpstr>
      <vt:lpstr>Transaction Codes </vt:lpstr>
      <vt:lpstr>Additional Info </vt:lpstr>
      <vt:lpstr>Additional Info</vt:lpstr>
      <vt:lpstr>Additional Info </vt:lpstr>
      <vt:lpstr>Additional Info </vt:lpstr>
      <vt:lpstr>Additional Info </vt:lpstr>
      <vt:lpstr>Additional Info</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Roy, Arnab</cp:lastModifiedBy>
  <cp:revision>440</cp:revision>
  <dcterms:created xsi:type="dcterms:W3CDTF">2019-11-18T03:14:39Z</dcterms:created>
  <dcterms:modified xsi:type="dcterms:W3CDTF">2020-07-28T05:1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BCD381722064479A5EA9D7EC92045A</vt:lpwstr>
  </property>
</Properties>
</file>